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tl="1" saveSubsetFonts="1">
  <p:sldMasterIdLst>
    <p:sldMasterId id="2147483648" r:id="rId1"/>
    <p:sldMasterId id="2147483663" r:id="rId2"/>
    <p:sldMasterId id="2147483665" r:id="rId3"/>
  </p:sldMasterIdLst>
  <p:notesMasterIdLst>
    <p:notesMasterId r:id="rId101"/>
  </p:notesMasterIdLst>
  <p:sldIdLst>
    <p:sldId id="812" r:id="rId4"/>
    <p:sldId id="257" r:id="rId5"/>
    <p:sldId id="397" r:id="rId6"/>
    <p:sldId id="433" r:id="rId7"/>
    <p:sldId id="434" r:id="rId8"/>
    <p:sldId id="425" r:id="rId9"/>
    <p:sldId id="341" r:id="rId10"/>
    <p:sldId id="415" r:id="rId11"/>
    <p:sldId id="340" r:id="rId12"/>
    <p:sldId id="333" r:id="rId13"/>
    <p:sldId id="348" r:id="rId14"/>
    <p:sldId id="712" r:id="rId15"/>
    <p:sldId id="327" r:id="rId16"/>
    <p:sldId id="328" r:id="rId17"/>
    <p:sldId id="438" r:id="rId18"/>
    <p:sldId id="439" r:id="rId19"/>
    <p:sldId id="691" r:id="rId20"/>
    <p:sldId id="707" r:id="rId21"/>
    <p:sldId id="292" r:id="rId22"/>
    <p:sldId id="267" r:id="rId23"/>
    <p:sldId id="699" r:id="rId24"/>
    <p:sldId id="403" r:id="rId25"/>
    <p:sldId id="376" r:id="rId26"/>
    <p:sldId id="377" r:id="rId27"/>
    <p:sldId id="286" r:id="rId28"/>
    <p:sldId id="402" r:id="rId29"/>
    <p:sldId id="696" r:id="rId30"/>
    <p:sldId id="289" r:id="rId31"/>
    <p:sldId id="271" r:id="rId32"/>
    <p:sldId id="273" r:id="rId33"/>
    <p:sldId id="272" r:id="rId34"/>
    <p:sldId id="697" r:id="rId35"/>
    <p:sldId id="700" r:id="rId36"/>
    <p:sldId id="698" r:id="rId37"/>
    <p:sldId id="705" r:id="rId38"/>
    <p:sldId id="288" r:id="rId39"/>
    <p:sldId id="294" r:id="rId40"/>
    <p:sldId id="277" r:id="rId41"/>
    <p:sldId id="711" r:id="rId42"/>
    <p:sldId id="710" r:id="rId43"/>
    <p:sldId id="827" r:id="rId44"/>
    <p:sldId id="384" r:id="rId45"/>
    <p:sldId id="715" r:id="rId46"/>
    <p:sldId id="713" r:id="rId47"/>
    <p:sldId id="714" r:id="rId48"/>
    <p:sldId id="716" r:id="rId49"/>
    <p:sldId id="717" r:id="rId50"/>
    <p:sldId id="708" r:id="rId51"/>
    <p:sldId id="718" r:id="rId52"/>
    <p:sldId id="721" r:id="rId53"/>
    <p:sldId id="720" r:id="rId54"/>
    <p:sldId id="702" r:id="rId55"/>
    <p:sldId id="722" r:id="rId56"/>
    <p:sldId id="723" r:id="rId57"/>
    <p:sldId id="724" r:id="rId58"/>
    <p:sldId id="725" r:id="rId59"/>
    <p:sldId id="726" r:id="rId60"/>
    <p:sldId id="727" r:id="rId61"/>
    <p:sldId id="728" r:id="rId62"/>
    <p:sldId id="729" r:id="rId63"/>
    <p:sldId id="256" r:id="rId64"/>
    <p:sldId id="818" r:id="rId65"/>
    <p:sldId id="258" r:id="rId66"/>
    <p:sldId id="259" r:id="rId67"/>
    <p:sldId id="260" r:id="rId68"/>
    <p:sldId id="261" r:id="rId69"/>
    <p:sldId id="262" r:id="rId70"/>
    <p:sldId id="263" r:id="rId71"/>
    <p:sldId id="264" r:id="rId72"/>
    <p:sldId id="819" r:id="rId73"/>
    <p:sldId id="266" r:id="rId74"/>
    <p:sldId id="828" r:id="rId75"/>
    <p:sldId id="268" r:id="rId76"/>
    <p:sldId id="269" r:id="rId77"/>
    <p:sldId id="706" r:id="rId78"/>
    <p:sldId id="826" r:id="rId79"/>
    <p:sldId id="820" r:id="rId80"/>
    <p:sldId id="285" r:id="rId81"/>
    <p:sldId id="821" r:id="rId82"/>
    <p:sldId id="822" r:id="rId83"/>
    <p:sldId id="823" r:id="rId84"/>
    <p:sldId id="431" r:id="rId85"/>
    <p:sldId id="824" r:id="rId86"/>
    <p:sldId id="825" r:id="rId87"/>
    <p:sldId id="769" r:id="rId88"/>
    <p:sldId id="265" r:id="rId89"/>
    <p:sldId id="497" r:id="rId90"/>
    <p:sldId id="804" r:id="rId91"/>
    <p:sldId id="811" r:id="rId92"/>
    <p:sldId id="807" r:id="rId93"/>
    <p:sldId id="808" r:id="rId94"/>
    <p:sldId id="809" r:id="rId95"/>
    <p:sldId id="814" r:id="rId96"/>
    <p:sldId id="829" r:id="rId97"/>
    <p:sldId id="810" r:id="rId98"/>
    <p:sldId id="770" r:id="rId99"/>
    <p:sldId id="730" r:id="rId100"/>
  </p:sldIdLst>
  <p:sldSz cx="12192000" cy="6858000"/>
  <p:notesSz cx="6858000" cy="9144000"/>
  <p:defaultTextStyle>
    <a:defPPr>
      <a:defRPr lang="ar-SA"/>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B050"/>
    <a:srgbClr val="99CC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5005" autoAdjust="0"/>
    <p:restoredTop sz="94660"/>
  </p:normalViewPr>
  <p:slideViewPr>
    <p:cSldViewPr snapToGrid="0">
      <p:cViewPr varScale="1">
        <p:scale>
          <a:sx n="63" d="100"/>
          <a:sy n="63" d="100"/>
        </p:scale>
        <p:origin x="804" y="5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3.xml"/><Relationship Id="rId21" Type="http://schemas.openxmlformats.org/officeDocument/2006/relationships/slide" Target="slides/slide18.xml"/><Relationship Id="rId42" Type="http://schemas.openxmlformats.org/officeDocument/2006/relationships/slide" Target="slides/slide39.xml"/><Relationship Id="rId47" Type="http://schemas.openxmlformats.org/officeDocument/2006/relationships/slide" Target="slides/slide44.xml"/><Relationship Id="rId63" Type="http://schemas.openxmlformats.org/officeDocument/2006/relationships/slide" Target="slides/slide60.xml"/><Relationship Id="rId68" Type="http://schemas.openxmlformats.org/officeDocument/2006/relationships/slide" Target="slides/slide65.xml"/><Relationship Id="rId84" Type="http://schemas.openxmlformats.org/officeDocument/2006/relationships/slide" Target="slides/slide81.xml"/><Relationship Id="rId89" Type="http://schemas.openxmlformats.org/officeDocument/2006/relationships/slide" Target="slides/slide86.xml"/><Relationship Id="rId7" Type="http://schemas.openxmlformats.org/officeDocument/2006/relationships/slide" Target="slides/slide4.xml"/><Relationship Id="rId71" Type="http://schemas.openxmlformats.org/officeDocument/2006/relationships/slide" Target="slides/slide68.xml"/><Relationship Id="rId92" Type="http://schemas.openxmlformats.org/officeDocument/2006/relationships/slide" Target="slides/slide89.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slide" Target="slides/slide55.xml"/><Relationship Id="rId66" Type="http://schemas.openxmlformats.org/officeDocument/2006/relationships/slide" Target="slides/slide63.xml"/><Relationship Id="rId74" Type="http://schemas.openxmlformats.org/officeDocument/2006/relationships/slide" Target="slides/slide71.xml"/><Relationship Id="rId79" Type="http://schemas.openxmlformats.org/officeDocument/2006/relationships/slide" Target="slides/slide76.xml"/><Relationship Id="rId87" Type="http://schemas.openxmlformats.org/officeDocument/2006/relationships/slide" Target="slides/slide84.xml"/><Relationship Id="rId102" Type="http://schemas.openxmlformats.org/officeDocument/2006/relationships/presProps" Target="presProps.xml"/><Relationship Id="rId5" Type="http://schemas.openxmlformats.org/officeDocument/2006/relationships/slide" Target="slides/slide2.xml"/><Relationship Id="rId61" Type="http://schemas.openxmlformats.org/officeDocument/2006/relationships/slide" Target="slides/slide58.xml"/><Relationship Id="rId82" Type="http://schemas.openxmlformats.org/officeDocument/2006/relationships/slide" Target="slides/slide79.xml"/><Relationship Id="rId90" Type="http://schemas.openxmlformats.org/officeDocument/2006/relationships/slide" Target="slides/slide87.xml"/><Relationship Id="rId95" Type="http://schemas.openxmlformats.org/officeDocument/2006/relationships/slide" Target="slides/slide92.xml"/><Relationship Id="rId19" Type="http://schemas.openxmlformats.org/officeDocument/2006/relationships/slide" Target="slides/slide1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slide" Target="slides/slide61.xml"/><Relationship Id="rId69" Type="http://schemas.openxmlformats.org/officeDocument/2006/relationships/slide" Target="slides/slide66.xml"/><Relationship Id="rId77" Type="http://schemas.openxmlformats.org/officeDocument/2006/relationships/slide" Target="slides/slide74.xml"/><Relationship Id="rId100" Type="http://schemas.openxmlformats.org/officeDocument/2006/relationships/slide" Target="slides/slide97.xml"/><Relationship Id="rId105" Type="http://schemas.openxmlformats.org/officeDocument/2006/relationships/tableStyles" Target="tableStyles.xml"/><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slide" Target="slides/slide69.xml"/><Relationship Id="rId80" Type="http://schemas.openxmlformats.org/officeDocument/2006/relationships/slide" Target="slides/slide77.xml"/><Relationship Id="rId85" Type="http://schemas.openxmlformats.org/officeDocument/2006/relationships/slide" Target="slides/slide82.xml"/><Relationship Id="rId93" Type="http://schemas.openxmlformats.org/officeDocument/2006/relationships/slide" Target="slides/slide90.xml"/><Relationship Id="rId98" Type="http://schemas.openxmlformats.org/officeDocument/2006/relationships/slide" Target="slides/slide95.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67" Type="http://schemas.openxmlformats.org/officeDocument/2006/relationships/slide" Target="slides/slide64.xml"/><Relationship Id="rId103" Type="http://schemas.openxmlformats.org/officeDocument/2006/relationships/viewProps" Target="viewProps.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slide" Target="slides/slide59.xml"/><Relationship Id="rId70" Type="http://schemas.openxmlformats.org/officeDocument/2006/relationships/slide" Target="slides/slide67.xml"/><Relationship Id="rId75" Type="http://schemas.openxmlformats.org/officeDocument/2006/relationships/slide" Target="slides/slide72.xml"/><Relationship Id="rId83" Type="http://schemas.openxmlformats.org/officeDocument/2006/relationships/slide" Target="slides/slide80.xml"/><Relationship Id="rId88" Type="http://schemas.openxmlformats.org/officeDocument/2006/relationships/slide" Target="slides/slide85.xml"/><Relationship Id="rId91" Type="http://schemas.openxmlformats.org/officeDocument/2006/relationships/slide" Target="slides/slide88.xml"/><Relationship Id="rId96" Type="http://schemas.openxmlformats.org/officeDocument/2006/relationships/slide" Target="slides/slide93.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slide" Target="slides/slide62.xml"/><Relationship Id="rId73" Type="http://schemas.openxmlformats.org/officeDocument/2006/relationships/slide" Target="slides/slide70.xml"/><Relationship Id="rId78" Type="http://schemas.openxmlformats.org/officeDocument/2006/relationships/slide" Target="slides/slide75.xml"/><Relationship Id="rId81" Type="http://schemas.openxmlformats.org/officeDocument/2006/relationships/slide" Target="slides/slide78.xml"/><Relationship Id="rId86" Type="http://schemas.openxmlformats.org/officeDocument/2006/relationships/slide" Target="slides/slide83.xml"/><Relationship Id="rId94" Type="http://schemas.openxmlformats.org/officeDocument/2006/relationships/slide" Target="slides/slide91.xml"/><Relationship Id="rId99" Type="http://schemas.openxmlformats.org/officeDocument/2006/relationships/slide" Target="slides/slide96.xml"/><Relationship Id="rId101" Type="http://schemas.openxmlformats.org/officeDocument/2006/relationships/notesMaster" Target="notesMasters/notesMaster1.xml"/><Relationship Id="rId4" Type="http://schemas.openxmlformats.org/officeDocument/2006/relationships/slide" Target="slides/slide1.xml"/><Relationship Id="rId9" Type="http://schemas.openxmlformats.org/officeDocument/2006/relationships/slide" Target="slides/slide6.xml"/><Relationship Id="rId13" Type="http://schemas.openxmlformats.org/officeDocument/2006/relationships/slide" Target="slides/slide10.xml"/><Relationship Id="rId18" Type="http://schemas.openxmlformats.org/officeDocument/2006/relationships/slide" Target="slides/slide15.xml"/><Relationship Id="rId39" Type="http://schemas.openxmlformats.org/officeDocument/2006/relationships/slide" Target="slides/slide36.xml"/><Relationship Id="rId34" Type="http://schemas.openxmlformats.org/officeDocument/2006/relationships/slide" Target="slides/slide31.xml"/><Relationship Id="rId50" Type="http://schemas.openxmlformats.org/officeDocument/2006/relationships/slide" Target="slides/slide47.xml"/><Relationship Id="rId55" Type="http://schemas.openxmlformats.org/officeDocument/2006/relationships/slide" Target="slides/slide52.xml"/><Relationship Id="rId76" Type="http://schemas.openxmlformats.org/officeDocument/2006/relationships/slide" Target="slides/slide73.xml"/><Relationship Id="rId97" Type="http://schemas.openxmlformats.org/officeDocument/2006/relationships/slide" Target="slides/slide94.xml"/><Relationship Id="rId104"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عنصر نائب للرأس 1"/>
          <p:cNvSpPr>
            <a:spLocks noGrp="1"/>
          </p:cNvSpPr>
          <p:nvPr>
            <p:ph type="hdr" sz="quarter"/>
          </p:nvPr>
        </p:nvSpPr>
        <p:spPr>
          <a:xfrm>
            <a:off x="3886200" y="0"/>
            <a:ext cx="2971800" cy="458788"/>
          </a:xfrm>
          <a:prstGeom prst="rect">
            <a:avLst/>
          </a:prstGeom>
        </p:spPr>
        <p:txBody>
          <a:bodyPr vert="horz" lIns="91440" tIns="45720" rIns="91440" bIns="45720" rtlCol="1"/>
          <a:lstStyle>
            <a:lvl1pPr algn="r">
              <a:defRPr sz="1200"/>
            </a:lvl1pPr>
          </a:lstStyle>
          <a:p>
            <a:endParaRPr lang="ar-SA"/>
          </a:p>
        </p:txBody>
      </p:sp>
      <p:sp>
        <p:nvSpPr>
          <p:cNvPr id="3" name="عنصر نائب للتاريخ 2"/>
          <p:cNvSpPr>
            <a:spLocks noGrp="1"/>
          </p:cNvSpPr>
          <p:nvPr>
            <p:ph type="dt" idx="1"/>
          </p:nvPr>
        </p:nvSpPr>
        <p:spPr>
          <a:xfrm>
            <a:off x="1588" y="0"/>
            <a:ext cx="2971800" cy="458788"/>
          </a:xfrm>
          <a:prstGeom prst="rect">
            <a:avLst/>
          </a:prstGeom>
        </p:spPr>
        <p:txBody>
          <a:bodyPr vert="horz" lIns="91440" tIns="45720" rIns="91440" bIns="45720" rtlCol="1"/>
          <a:lstStyle>
            <a:lvl1pPr algn="l">
              <a:defRPr sz="1200"/>
            </a:lvl1pPr>
          </a:lstStyle>
          <a:p>
            <a:fld id="{374089DE-7B96-49AE-95C4-9D10C3397405}" type="datetimeFigureOut">
              <a:rPr lang="ar-SA" smtClean="0"/>
              <a:t>18/05/45</a:t>
            </a:fld>
            <a:endParaRPr lang="ar-SA"/>
          </a:p>
        </p:txBody>
      </p:sp>
      <p:sp>
        <p:nvSpPr>
          <p:cNvPr id="4" name="عنصر نائب لصورة الشريحة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1" anchor="ctr"/>
          <a:lstStyle/>
          <a:p>
            <a:endParaRPr lang="ar-SA"/>
          </a:p>
        </p:txBody>
      </p:sp>
      <p:sp>
        <p:nvSpPr>
          <p:cNvPr id="5" name="عنصر نائب للملاحظات 4"/>
          <p:cNvSpPr>
            <a:spLocks noGrp="1"/>
          </p:cNvSpPr>
          <p:nvPr>
            <p:ph type="body" sz="quarter" idx="3"/>
          </p:nvPr>
        </p:nvSpPr>
        <p:spPr>
          <a:xfrm>
            <a:off x="685800" y="4400550"/>
            <a:ext cx="5486400" cy="3600450"/>
          </a:xfrm>
          <a:prstGeom prst="rect">
            <a:avLst/>
          </a:prstGeom>
        </p:spPr>
        <p:txBody>
          <a:bodyPr vert="horz" lIns="91440" tIns="45720" rIns="91440" bIns="45720" rtlCol="1"/>
          <a:lstStyle/>
          <a:p>
            <a:pPr lvl="0"/>
            <a:r>
              <a:rPr lang="ar-SA"/>
              <a:t>انقر لتحرير أنماط نص الشكل الرئيسي</a:t>
            </a:r>
          </a:p>
          <a:p>
            <a:pPr lvl="1"/>
            <a:r>
              <a:rPr lang="ar-SA"/>
              <a:t>المستوى الثاني</a:t>
            </a:r>
          </a:p>
          <a:p>
            <a:pPr lvl="2"/>
            <a:r>
              <a:rPr lang="ar-SA"/>
              <a:t>المستوى الثالث</a:t>
            </a:r>
          </a:p>
          <a:p>
            <a:pPr lvl="3"/>
            <a:r>
              <a:rPr lang="ar-SA"/>
              <a:t>المستوى الرابع</a:t>
            </a:r>
          </a:p>
          <a:p>
            <a:pPr lvl="4"/>
            <a:r>
              <a:rPr lang="ar-SA"/>
              <a:t>المستوى الخامس</a:t>
            </a:r>
          </a:p>
        </p:txBody>
      </p:sp>
      <p:sp>
        <p:nvSpPr>
          <p:cNvPr id="6" name="عنصر نائب للتذييل 5"/>
          <p:cNvSpPr>
            <a:spLocks noGrp="1"/>
          </p:cNvSpPr>
          <p:nvPr>
            <p:ph type="ftr" sz="quarter" idx="4"/>
          </p:nvPr>
        </p:nvSpPr>
        <p:spPr>
          <a:xfrm>
            <a:off x="3886200" y="8685213"/>
            <a:ext cx="2971800" cy="458787"/>
          </a:xfrm>
          <a:prstGeom prst="rect">
            <a:avLst/>
          </a:prstGeom>
        </p:spPr>
        <p:txBody>
          <a:bodyPr vert="horz" lIns="91440" tIns="45720" rIns="91440" bIns="45720" rtlCol="1" anchor="b"/>
          <a:lstStyle>
            <a:lvl1pPr algn="r">
              <a:defRPr sz="1200"/>
            </a:lvl1pPr>
          </a:lstStyle>
          <a:p>
            <a:endParaRPr lang="ar-SA"/>
          </a:p>
        </p:txBody>
      </p:sp>
      <p:sp>
        <p:nvSpPr>
          <p:cNvPr id="7" name="عنصر نائب لرقم الشريحة 6"/>
          <p:cNvSpPr>
            <a:spLocks noGrp="1"/>
          </p:cNvSpPr>
          <p:nvPr>
            <p:ph type="sldNum" sz="quarter" idx="5"/>
          </p:nvPr>
        </p:nvSpPr>
        <p:spPr>
          <a:xfrm>
            <a:off x="1588" y="8685213"/>
            <a:ext cx="2971800" cy="458787"/>
          </a:xfrm>
          <a:prstGeom prst="rect">
            <a:avLst/>
          </a:prstGeom>
        </p:spPr>
        <p:txBody>
          <a:bodyPr vert="horz" lIns="91440" tIns="45720" rIns="91440" bIns="45720" rtlCol="1" anchor="b"/>
          <a:lstStyle>
            <a:lvl1pPr algn="l">
              <a:defRPr sz="1200"/>
            </a:lvl1pPr>
          </a:lstStyle>
          <a:p>
            <a:fld id="{77AA9AA8-088E-4259-A590-CD01AF810C06}" type="slidenum">
              <a:rPr lang="ar-SA" smtClean="0"/>
              <a:t>‹#›</a:t>
            </a:fld>
            <a:endParaRPr lang="ar-SA"/>
          </a:p>
        </p:txBody>
      </p:sp>
    </p:spTree>
    <p:extLst>
      <p:ext uri="{BB962C8B-B14F-4D97-AF65-F5344CB8AC3E}">
        <p14:creationId xmlns:p14="http://schemas.microsoft.com/office/powerpoint/2010/main" val="1564034341"/>
      </p:ext>
    </p:extLst>
  </p:cSld>
  <p:clrMap bg1="lt1" tx1="dk1" bg2="lt2" tx2="dk2" accent1="accent1" accent2="accent2" accent3="accent3" accent4="accent4" accent5="accent5" accent6="accent6" hlink="hlink" folHlink="folHlink"/>
  <p:notesStyle>
    <a:lvl1pPr marL="0" algn="r" defTabSz="914400" rtl="1" eaLnBrk="1" latinLnBrk="0" hangingPunct="1">
      <a:defRPr sz="1200" kern="1200">
        <a:solidFill>
          <a:schemeClr val="tx1"/>
        </a:solidFill>
        <a:latin typeface="+mn-lt"/>
        <a:ea typeface="+mn-ea"/>
        <a:cs typeface="+mn-cs"/>
      </a:defRPr>
    </a:lvl1pPr>
    <a:lvl2pPr marL="457200" algn="r" defTabSz="914400" rtl="1" eaLnBrk="1" latinLnBrk="0" hangingPunct="1">
      <a:defRPr sz="1200" kern="1200">
        <a:solidFill>
          <a:schemeClr val="tx1"/>
        </a:solidFill>
        <a:latin typeface="+mn-lt"/>
        <a:ea typeface="+mn-ea"/>
        <a:cs typeface="+mn-cs"/>
      </a:defRPr>
    </a:lvl2pPr>
    <a:lvl3pPr marL="914400" algn="r" defTabSz="914400" rtl="1" eaLnBrk="1" latinLnBrk="0" hangingPunct="1">
      <a:defRPr sz="1200" kern="1200">
        <a:solidFill>
          <a:schemeClr val="tx1"/>
        </a:solidFill>
        <a:latin typeface="+mn-lt"/>
        <a:ea typeface="+mn-ea"/>
        <a:cs typeface="+mn-cs"/>
      </a:defRPr>
    </a:lvl3pPr>
    <a:lvl4pPr marL="1371600" algn="r" defTabSz="914400" rtl="1" eaLnBrk="1" latinLnBrk="0" hangingPunct="1">
      <a:defRPr sz="1200" kern="1200">
        <a:solidFill>
          <a:schemeClr val="tx1"/>
        </a:solidFill>
        <a:latin typeface="+mn-lt"/>
        <a:ea typeface="+mn-ea"/>
        <a:cs typeface="+mn-cs"/>
      </a:defRPr>
    </a:lvl4pPr>
    <a:lvl5pPr marL="1828800" algn="r" defTabSz="914400" rtl="1" eaLnBrk="1" latinLnBrk="0" hangingPunct="1">
      <a:defRPr sz="1200" kern="1200">
        <a:solidFill>
          <a:schemeClr val="tx1"/>
        </a:solidFill>
        <a:latin typeface="+mn-lt"/>
        <a:ea typeface="+mn-ea"/>
        <a:cs typeface="+mn-cs"/>
      </a:defRPr>
    </a:lvl5pPr>
    <a:lvl6pPr marL="2286000" algn="r" defTabSz="914400" rtl="1" eaLnBrk="1" latinLnBrk="0" hangingPunct="1">
      <a:defRPr sz="1200" kern="1200">
        <a:solidFill>
          <a:schemeClr val="tx1"/>
        </a:solidFill>
        <a:latin typeface="+mn-lt"/>
        <a:ea typeface="+mn-ea"/>
        <a:cs typeface="+mn-cs"/>
      </a:defRPr>
    </a:lvl6pPr>
    <a:lvl7pPr marL="2743200" algn="r" defTabSz="914400" rtl="1" eaLnBrk="1" latinLnBrk="0" hangingPunct="1">
      <a:defRPr sz="1200" kern="1200">
        <a:solidFill>
          <a:schemeClr val="tx1"/>
        </a:solidFill>
        <a:latin typeface="+mn-lt"/>
        <a:ea typeface="+mn-ea"/>
        <a:cs typeface="+mn-cs"/>
      </a:defRPr>
    </a:lvl7pPr>
    <a:lvl8pPr marL="3200400" algn="r" defTabSz="914400" rtl="1" eaLnBrk="1" latinLnBrk="0" hangingPunct="1">
      <a:defRPr sz="1200" kern="1200">
        <a:solidFill>
          <a:schemeClr val="tx1"/>
        </a:solidFill>
        <a:latin typeface="+mn-lt"/>
        <a:ea typeface="+mn-ea"/>
        <a:cs typeface="+mn-cs"/>
      </a:defRPr>
    </a:lvl8pPr>
    <a:lvl9pPr marL="3657600" algn="r" defTabSz="914400" rtl="1"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EEB816B-E79C-456D-86C0-0A5913EB9FE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14500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0687354-5AD0-3C4F-861B-21D4C72BE2A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65791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0687354-5AD0-3C4F-861B-21D4C72BE2A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2113454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شريحة عنوان">
    <p:spTree>
      <p:nvGrpSpPr>
        <p:cNvPr id="1" name=""/>
        <p:cNvGrpSpPr/>
        <p:nvPr/>
      </p:nvGrpSpPr>
      <p:grpSpPr>
        <a:xfrm>
          <a:off x="0" y="0"/>
          <a:ext cx="0" cy="0"/>
          <a:chOff x="0" y="0"/>
          <a:chExt cx="0" cy="0"/>
        </a:xfrm>
      </p:grpSpPr>
      <p:sp>
        <p:nvSpPr>
          <p:cNvPr id="2" name="عنوان 1">
            <a:extLst>
              <a:ext uri="{FF2B5EF4-FFF2-40B4-BE49-F238E27FC236}">
                <a16:creationId xmlns:a16="http://schemas.microsoft.com/office/drawing/2014/main" id="{63CEF33A-48E6-FB5E-0583-01E96628F587}"/>
              </a:ext>
            </a:extLst>
          </p:cNvPr>
          <p:cNvSpPr>
            <a:spLocks noGrp="1"/>
          </p:cNvSpPr>
          <p:nvPr>
            <p:ph type="ctrTitle"/>
          </p:nvPr>
        </p:nvSpPr>
        <p:spPr>
          <a:xfrm>
            <a:off x="1524000" y="1122363"/>
            <a:ext cx="9144000" cy="2387600"/>
          </a:xfrm>
        </p:spPr>
        <p:txBody>
          <a:bodyPr anchor="b"/>
          <a:lstStyle>
            <a:lvl1pPr algn="ctr">
              <a:defRPr sz="6000"/>
            </a:lvl1pPr>
          </a:lstStyle>
          <a:p>
            <a:r>
              <a:rPr lang="ar-SA"/>
              <a:t>انقر لتحرير نمط عنوان الشكل الرئيسي</a:t>
            </a:r>
          </a:p>
        </p:txBody>
      </p:sp>
      <p:sp>
        <p:nvSpPr>
          <p:cNvPr id="3" name="عنوان فرعي 2">
            <a:extLst>
              <a:ext uri="{FF2B5EF4-FFF2-40B4-BE49-F238E27FC236}">
                <a16:creationId xmlns:a16="http://schemas.microsoft.com/office/drawing/2014/main" id="{873F2281-C372-6D41-EECE-4F6A050CE1D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ar-SA"/>
              <a:t>انقر لتحرير نمط العنوان الفرعي للشكل الرئيسي</a:t>
            </a:r>
          </a:p>
        </p:txBody>
      </p:sp>
      <p:sp>
        <p:nvSpPr>
          <p:cNvPr id="4" name="عنصر نائب للتاريخ 3">
            <a:extLst>
              <a:ext uri="{FF2B5EF4-FFF2-40B4-BE49-F238E27FC236}">
                <a16:creationId xmlns:a16="http://schemas.microsoft.com/office/drawing/2014/main" id="{C6618598-57A8-B5B3-8669-7F9903FB0CB4}"/>
              </a:ext>
            </a:extLst>
          </p:cNvPr>
          <p:cNvSpPr>
            <a:spLocks noGrp="1"/>
          </p:cNvSpPr>
          <p:nvPr>
            <p:ph type="dt" sz="half" idx="10"/>
          </p:nvPr>
        </p:nvSpPr>
        <p:spPr/>
        <p:txBody>
          <a:bodyPr/>
          <a:lstStyle/>
          <a:p>
            <a:fld id="{584C6E9D-85A4-4FD5-893B-CAFA4CA60927}" type="datetimeFigureOut">
              <a:rPr lang="ar-SA" smtClean="0"/>
              <a:t>18/05/45</a:t>
            </a:fld>
            <a:endParaRPr lang="ar-SA"/>
          </a:p>
        </p:txBody>
      </p:sp>
      <p:sp>
        <p:nvSpPr>
          <p:cNvPr id="5" name="عنصر نائب للتذييل 4">
            <a:extLst>
              <a:ext uri="{FF2B5EF4-FFF2-40B4-BE49-F238E27FC236}">
                <a16:creationId xmlns:a16="http://schemas.microsoft.com/office/drawing/2014/main" id="{026DDD9E-5614-2191-7DDC-C5B9FA57FD0B}"/>
              </a:ext>
            </a:extLst>
          </p:cNvPr>
          <p:cNvSpPr>
            <a:spLocks noGrp="1"/>
          </p:cNvSpPr>
          <p:nvPr>
            <p:ph type="ftr" sz="quarter" idx="11"/>
          </p:nvPr>
        </p:nvSpPr>
        <p:spPr/>
        <p:txBody>
          <a:bodyPr/>
          <a:lstStyle/>
          <a:p>
            <a:endParaRPr lang="ar-SA"/>
          </a:p>
        </p:txBody>
      </p:sp>
      <p:sp>
        <p:nvSpPr>
          <p:cNvPr id="6" name="عنصر نائب لرقم الشريحة 5">
            <a:extLst>
              <a:ext uri="{FF2B5EF4-FFF2-40B4-BE49-F238E27FC236}">
                <a16:creationId xmlns:a16="http://schemas.microsoft.com/office/drawing/2014/main" id="{73C78369-AA74-5D24-35DC-BA466AA1EABA}"/>
              </a:ext>
            </a:extLst>
          </p:cNvPr>
          <p:cNvSpPr>
            <a:spLocks noGrp="1"/>
          </p:cNvSpPr>
          <p:nvPr>
            <p:ph type="sldNum" sz="quarter" idx="12"/>
          </p:nvPr>
        </p:nvSpPr>
        <p:spPr/>
        <p:txBody>
          <a:bodyPr/>
          <a:lstStyle/>
          <a:p>
            <a:fld id="{C555A33E-CEF6-4887-AF0D-FBE8CDD3E1FC}" type="slidenum">
              <a:rPr lang="ar-SA" smtClean="0"/>
              <a:t>‹#›</a:t>
            </a:fld>
            <a:endParaRPr lang="ar-SA"/>
          </a:p>
        </p:txBody>
      </p:sp>
    </p:spTree>
    <p:extLst>
      <p:ext uri="{BB962C8B-B14F-4D97-AF65-F5344CB8AC3E}">
        <p14:creationId xmlns:p14="http://schemas.microsoft.com/office/powerpoint/2010/main" val="7682590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عنوان ونص عمودي">
    <p:spTree>
      <p:nvGrpSpPr>
        <p:cNvPr id="1" name=""/>
        <p:cNvGrpSpPr/>
        <p:nvPr/>
      </p:nvGrpSpPr>
      <p:grpSpPr>
        <a:xfrm>
          <a:off x="0" y="0"/>
          <a:ext cx="0" cy="0"/>
          <a:chOff x="0" y="0"/>
          <a:chExt cx="0" cy="0"/>
        </a:xfrm>
      </p:grpSpPr>
      <p:sp>
        <p:nvSpPr>
          <p:cNvPr id="2" name="عنوان 1">
            <a:extLst>
              <a:ext uri="{FF2B5EF4-FFF2-40B4-BE49-F238E27FC236}">
                <a16:creationId xmlns:a16="http://schemas.microsoft.com/office/drawing/2014/main" id="{EAA8914D-3E9D-B5AD-63AC-A92DBFA77C22}"/>
              </a:ext>
            </a:extLst>
          </p:cNvPr>
          <p:cNvSpPr>
            <a:spLocks noGrp="1"/>
          </p:cNvSpPr>
          <p:nvPr>
            <p:ph type="title"/>
          </p:nvPr>
        </p:nvSpPr>
        <p:spPr/>
        <p:txBody>
          <a:bodyPr/>
          <a:lstStyle/>
          <a:p>
            <a:r>
              <a:rPr lang="ar-SA"/>
              <a:t>انقر لتحرير نمط عنوان الشكل الرئيسي</a:t>
            </a:r>
          </a:p>
        </p:txBody>
      </p:sp>
      <p:sp>
        <p:nvSpPr>
          <p:cNvPr id="3" name="عنصر نائب للعنوان العمودي 2">
            <a:extLst>
              <a:ext uri="{FF2B5EF4-FFF2-40B4-BE49-F238E27FC236}">
                <a16:creationId xmlns:a16="http://schemas.microsoft.com/office/drawing/2014/main" id="{04D0105D-A113-B94C-DCE2-866B4CBC60DC}"/>
              </a:ext>
            </a:extLst>
          </p:cNvPr>
          <p:cNvSpPr>
            <a:spLocks noGrp="1"/>
          </p:cNvSpPr>
          <p:nvPr>
            <p:ph type="body" orient="vert" idx="1"/>
          </p:nvPr>
        </p:nvSpPr>
        <p:spPr/>
        <p:txBody>
          <a:bodyPr vert="eaVert"/>
          <a:lstStyle/>
          <a:p>
            <a:pPr lvl="0"/>
            <a:r>
              <a:rPr lang="ar-SA"/>
              <a:t>انقر لتحرير أنماط نص الشكل الرئيسي</a:t>
            </a:r>
          </a:p>
          <a:p>
            <a:pPr lvl="1"/>
            <a:r>
              <a:rPr lang="ar-SA"/>
              <a:t>المستوى الثاني</a:t>
            </a:r>
          </a:p>
          <a:p>
            <a:pPr lvl="2"/>
            <a:r>
              <a:rPr lang="ar-SA"/>
              <a:t>المستوى الثالث</a:t>
            </a:r>
          </a:p>
          <a:p>
            <a:pPr lvl="3"/>
            <a:r>
              <a:rPr lang="ar-SA"/>
              <a:t>المستوى الرابع</a:t>
            </a:r>
          </a:p>
          <a:p>
            <a:pPr lvl="4"/>
            <a:r>
              <a:rPr lang="ar-SA"/>
              <a:t>المستوى الخامس</a:t>
            </a:r>
          </a:p>
        </p:txBody>
      </p:sp>
      <p:sp>
        <p:nvSpPr>
          <p:cNvPr id="4" name="عنصر نائب للتاريخ 3">
            <a:extLst>
              <a:ext uri="{FF2B5EF4-FFF2-40B4-BE49-F238E27FC236}">
                <a16:creationId xmlns:a16="http://schemas.microsoft.com/office/drawing/2014/main" id="{1F4B192E-507A-EDED-4B44-F7BAAB7B25F3}"/>
              </a:ext>
            </a:extLst>
          </p:cNvPr>
          <p:cNvSpPr>
            <a:spLocks noGrp="1"/>
          </p:cNvSpPr>
          <p:nvPr>
            <p:ph type="dt" sz="half" idx="10"/>
          </p:nvPr>
        </p:nvSpPr>
        <p:spPr/>
        <p:txBody>
          <a:bodyPr/>
          <a:lstStyle/>
          <a:p>
            <a:fld id="{584C6E9D-85A4-4FD5-893B-CAFA4CA60927}" type="datetimeFigureOut">
              <a:rPr lang="ar-SA" smtClean="0"/>
              <a:t>18/05/45</a:t>
            </a:fld>
            <a:endParaRPr lang="ar-SA"/>
          </a:p>
        </p:txBody>
      </p:sp>
      <p:sp>
        <p:nvSpPr>
          <p:cNvPr id="5" name="عنصر نائب للتذييل 4">
            <a:extLst>
              <a:ext uri="{FF2B5EF4-FFF2-40B4-BE49-F238E27FC236}">
                <a16:creationId xmlns:a16="http://schemas.microsoft.com/office/drawing/2014/main" id="{61A45F34-0C26-4E65-2EA1-CF6E36E07200}"/>
              </a:ext>
            </a:extLst>
          </p:cNvPr>
          <p:cNvSpPr>
            <a:spLocks noGrp="1"/>
          </p:cNvSpPr>
          <p:nvPr>
            <p:ph type="ftr" sz="quarter" idx="11"/>
          </p:nvPr>
        </p:nvSpPr>
        <p:spPr/>
        <p:txBody>
          <a:bodyPr/>
          <a:lstStyle/>
          <a:p>
            <a:endParaRPr lang="ar-SA"/>
          </a:p>
        </p:txBody>
      </p:sp>
      <p:sp>
        <p:nvSpPr>
          <p:cNvPr id="6" name="عنصر نائب لرقم الشريحة 5">
            <a:extLst>
              <a:ext uri="{FF2B5EF4-FFF2-40B4-BE49-F238E27FC236}">
                <a16:creationId xmlns:a16="http://schemas.microsoft.com/office/drawing/2014/main" id="{7E2226B1-630D-D2DA-FD67-E5555D88727E}"/>
              </a:ext>
            </a:extLst>
          </p:cNvPr>
          <p:cNvSpPr>
            <a:spLocks noGrp="1"/>
          </p:cNvSpPr>
          <p:nvPr>
            <p:ph type="sldNum" sz="quarter" idx="12"/>
          </p:nvPr>
        </p:nvSpPr>
        <p:spPr/>
        <p:txBody>
          <a:bodyPr/>
          <a:lstStyle/>
          <a:p>
            <a:fld id="{C555A33E-CEF6-4887-AF0D-FBE8CDD3E1FC}" type="slidenum">
              <a:rPr lang="ar-SA" smtClean="0"/>
              <a:t>‹#›</a:t>
            </a:fld>
            <a:endParaRPr lang="ar-SA"/>
          </a:p>
        </p:txBody>
      </p:sp>
    </p:spTree>
    <p:extLst>
      <p:ext uri="{BB962C8B-B14F-4D97-AF65-F5344CB8AC3E}">
        <p14:creationId xmlns:p14="http://schemas.microsoft.com/office/powerpoint/2010/main" val="42795821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عنوان ونص عموديان">
    <p:spTree>
      <p:nvGrpSpPr>
        <p:cNvPr id="1" name=""/>
        <p:cNvGrpSpPr/>
        <p:nvPr/>
      </p:nvGrpSpPr>
      <p:grpSpPr>
        <a:xfrm>
          <a:off x="0" y="0"/>
          <a:ext cx="0" cy="0"/>
          <a:chOff x="0" y="0"/>
          <a:chExt cx="0" cy="0"/>
        </a:xfrm>
      </p:grpSpPr>
      <p:sp>
        <p:nvSpPr>
          <p:cNvPr id="2" name="عنوان عمودي 1">
            <a:extLst>
              <a:ext uri="{FF2B5EF4-FFF2-40B4-BE49-F238E27FC236}">
                <a16:creationId xmlns:a16="http://schemas.microsoft.com/office/drawing/2014/main" id="{ED20B0D9-7EB4-CAD1-FE19-69F6763121C5}"/>
              </a:ext>
            </a:extLst>
          </p:cNvPr>
          <p:cNvSpPr>
            <a:spLocks noGrp="1"/>
          </p:cNvSpPr>
          <p:nvPr>
            <p:ph type="title" orient="vert"/>
          </p:nvPr>
        </p:nvSpPr>
        <p:spPr>
          <a:xfrm>
            <a:off x="8724900" y="365125"/>
            <a:ext cx="2628900" cy="5811838"/>
          </a:xfrm>
        </p:spPr>
        <p:txBody>
          <a:bodyPr vert="eaVert"/>
          <a:lstStyle/>
          <a:p>
            <a:r>
              <a:rPr lang="ar-SA"/>
              <a:t>انقر لتحرير نمط عنوان الشكل الرئيسي</a:t>
            </a:r>
          </a:p>
        </p:txBody>
      </p:sp>
      <p:sp>
        <p:nvSpPr>
          <p:cNvPr id="3" name="عنصر نائب للعنوان العمودي 2">
            <a:extLst>
              <a:ext uri="{FF2B5EF4-FFF2-40B4-BE49-F238E27FC236}">
                <a16:creationId xmlns:a16="http://schemas.microsoft.com/office/drawing/2014/main" id="{360BCF17-B62B-31F1-73ED-F91737E48E81}"/>
              </a:ext>
            </a:extLst>
          </p:cNvPr>
          <p:cNvSpPr>
            <a:spLocks noGrp="1"/>
          </p:cNvSpPr>
          <p:nvPr>
            <p:ph type="body" orient="vert" idx="1"/>
          </p:nvPr>
        </p:nvSpPr>
        <p:spPr>
          <a:xfrm>
            <a:off x="838200" y="365125"/>
            <a:ext cx="7734300" cy="5811838"/>
          </a:xfrm>
        </p:spPr>
        <p:txBody>
          <a:bodyPr vert="eaVert"/>
          <a:lstStyle/>
          <a:p>
            <a:pPr lvl="0"/>
            <a:r>
              <a:rPr lang="ar-SA"/>
              <a:t>انقر لتحرير أنماط نص الشكل الرئيسي</a:t>
            </a:r>
          </a:p>
          <a:p>
            <a:pPr lvl="1"/>
            <a:r>
              <a:rPr lang="ar-SA"/>
              <a:t>المستوى الثاني</a:t>
            </a:r>
          </a:p>
          <a:p>
            <a:pPr lvl="2"/>
            <a:r>
              <a:rPr lang="ar-SA"/>
              <a:t>المستوى الثالث</a:t>
            </a:r>
          </a:p>
          <a:p>
            <a:pPr lvl="3"/>
            <a:r>
              <a:rPr lang="ar-SA"/>
              <a:t>المستوى الرابع</a:t>
            </a:r>
          </a:p>
          <a:p>
            <a:pPr lvl="4"/>
            <a:r>
              <a:rPr lang="ar-SA"/>
              <a:t>المستوى الخامس</a:t>
            </a:r>
          </a:p>
        </p:txBody>
      </p:sp>
      <p:sp>
        <p:nvSpPr>
          <p:cNvPr id="4" name="عنصر نائب للتاريخ 3">
            <a:extLst>
              <a:ext uri="{FF2B5EF4-FFF2-40B4-BE49-F238E27FC236}">
                <a16:creationId xmlns:a16="http://schemas.microsoft.com/office/drawing/2014/main" id="{CC6003D8-BD28-3DA7-CCD8-BA4DBB3079FB}"/>
              </a:ext>
            </a:extLst>
          </p:cNvPr>
          <p:cNvSpPr>
            <a:spLocks noGrp="1"/>
          </p:cNvSpPr>
          <p:nvPr>
            <p:ph type="dt" sz="half" idx="10"/>
          </p:nvPr>
        </p:nvSpPr>
        <p:spPr/>
        <p:txBody>
          <a:bodyPr/>
          <a:lstStyle/>
          <a:p>
            <a:fld id="{584C6E9D-85A4-4FD5-893B-CAFA4CA60927}" type="datetimeFigureOut">
              <a:rPr lang="ar-SA" smtClean="0"/>
              <a:t>18/05/45</a:t>
            </a:fld>
            <a:endParaRPr lang="ar-SA"/>
          </a:p>
        </p:txBody>
      </p:sp>
      <p:sp>
        <p:nvSpPr>
          <p:cNvPr id="5" name="عنصر نائب للتذييل 4">
            <a:extLst>
              <a:ext uri="{FF2B5EF4-FFF2-40B4-BE49-F238E27FC236}">
                <a16:creationId xmlns:a16="http://schemas.microsoft.com/office/drawing/2014/main" id="{571AF0C5-6258-C407-275E-A6E5500E4E5D}"/>
              </a:ext>
            </a:extLst>
          </p:cNvPr>
          <p:cNvSpPr>
            <a:spLocks noGrp="1"/>
          </p:cNvSpPr>
          <p:nvPr>
            <p:ph type="ftr" sz="quarter" idx="11"/>
          </p:nvPr>
        </p:nvSpPr>
        <p:spPr/>
        <p:txBody>
          <a:bodyPr/>
          <a:lstStyle/>
          <a:p>
            <a:endParaRPr lang="ar-SA"/>
          </a:p>
        </p:txBody>
      </p:sp>
      <p:sp>
        <p:nvSpPr>
          <p:cNvPr id="6" name="عنصر نائب لرقم الشريحة 5">
            <a:extLst>
              <a:ext uri="{FF2B5EF4-FFF2-40B4-BE49-F238E27FC236}">
                <a16:creationId xmlns:a16="http://schemas.microsoft.com/office/drawing/2014/main" id="{ED62AABA-CA6B-FBD6-96AF-D775BAF2F37B}"/>
              </a:ext>
            </a:extLst>
          </p:cNvPr>
          <p:cNvSpPr>
            <a:spLocks noGrp="1"/>
          </p:cNvSpPr>
          <p:nvPr>
            <p:ph type="sldNum" sz="quarter" idx="12"/>
          </p:nvPr>
        </p:nvSpPr>
        <p:spPr/>
        <p:txBody>
          <a:bodyPr/>
          <a:lstStyle/>
          <a:p>
            <a:fld id="{C555A33E-CEF6-4887-AF0D-FBE8CDD3E1FC}" type="slidenum">
              <a:rPr lang="ar-SA" smtClean="0"/>
              <a:t>‹#›</a:t>
            </a:fld>
            <a:endParaRPr lang="ar-SA"/>
          </a:p>
        </p:txBody>
      </p:sp>
    </p:spTree>
    <p:extLst>
      <p:ext uri="{BB962C8B-B14F-4D97-AF65-F5344CB8AC3E}">
        <p14:creationId xmlns:p14="http://schemas.microsoft.com/office/powerpoint/2010/main" val="93761394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Basic Layout">
    <p:spTree>
      <p:nvGrpSpPr>
        <p:cNvPr id="1" name=""/>
        <p:cNvGrpSpPr/>
        <p:nvPr/>
      </p:nvGrpSpPr>
      <p:grpSpPr>
        <a:xfrm>
          <a:off x="0" y="0"/>
          <a:ext cx="0" cy="0"/>
          <a:chOff x="0" y="0"/>
          <a:chExt cx="0" cy="0"/>
        </a:xfrm>
      </p:grpSpPr>
      <p:sp>
        <p:nvSpPr>
          <p:cNvPr id="10" name="Text Placeholder 9"/>
          <p:cNvSpPr>
            <a:spLocks noGrp="1"/>
          </p:cNvSpPr>
          <p:nvPr>
            <p:ph type="body" sz="quarter" idx="10" hasCustomPrompt="1"/>
          </p:nvPr>
        </p:nvSpPr>
        <p:spPr>
          <a:xfrm>
            <a:off x="0" y="164643"/>
            <a:ext cx="12192000" cy="768085"/>
          </a:xfrm>
          <a:prstGeom prst="rect">
            <a:avLst/>
          </a:prstGeom>
        </p:spPr>
        <p:txBody>
          <a:bodyPr anchor="ctr"/>
          <a:lstStyle>
            <a:lvl1pPr marL="0" indent="0" algn="ctr">
              <a:buNone/>
              <a:defRPr sz="4801" b="0" baseline="0">
                <a:solidFill>
                  <a:schemeClr val="tx1">
                    <a:lumMod val="75000"/>
                    <a:lumOff val="25000"/>
                  </a:schemeClr>
                </a:solidFill>
                <a:latin typeface="+mj-lt"/>
                <a:cs typeface="Arial" pitchFamily="34" charset="0"/>
              </a:defRPr>
            </a:lvl1pPr>
          </a:lstStyle>
          <a:p>
            <a:pPr lvl="0"/>
            <a:r>
              <a:rPr lang="en-US" altLang="ko-KR" dirty="0"/>
              <a:t>BASIC LAYOUT</a:t>
            </a:r>
          </a:p>
        </p:txBody>
      </p:sp>
      <p:sp>
        <p:nvSpPr>
          <p:cNvPr id="11" name="Text Placeholder 9"/>
          <p:cNvSpPr>
            <a:spLocks noGrp="1"/>
          </p:cNvSpPr>
          <p:nvPr>
            <p:ph type="body" sz="quarter" idx="11" hasCustomPrompt="1"/>
          </p:nvPr>
        </p:nvSpPr>
        <p:spPr>
          <a:xfrm>
            <a:off x="0" y="932731"/>
            <a:ext cx="12192000" cy="384044"/>
          </a:xfrm>
          <a:prstGeom prst="rect">
            <a:avLst/>
          </a:prstGeom>
        </p:spPr>
        <p:txBody>
          <a:bodyPr anchor="ctr"/>
          <a:lstStyle>
            <a:lvl1pPr marL="0" indent="0" algn="ctr">
              <a:buNone/>
              <a:defRPr sz="1865" b="0" baseline="0">
                <a:solidFill>
                  <a:schemeClr val="tx1">
                    <a:lumMod val="75000"/>
                    <a:lumOff val="25000"/>
                  </a:schemeClr>
                </a:solidFill>
                <a:latin typeface="+mn-lt"/>
                <a:cs typeface="Arial" pitchFamily="34" charset="0"/>
              </a:defRPr>
            </a:lvl1pPr>
          </a:lstStyle>
          <a:p>
            <a:pPr lvl="0"/>
            <a:r>
              <a:rPr lang="en-US" altLang="ko-KR" dirty="0"/>
              <a:t>Insert the title of your subtitle Here</a:t>
            </a:r>
          </a:p>
        </p:txBody>
      </p:sp>
      <p:sp>
        <p:nvSpPr>
          <p:cNvPr id="4" name="Rectangle 3"/>
          <p:cNvSpPr/>
          <p:nvPr userDrawn="1"/>
        </p:nvSpPr>
        <p:spPr>
          <a:xfrm>
            <a:off x="0" y="6618000"/>
            <a:ext cx="12192000" cy="24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 name="Rectangle 4"/>
          <p:cNvSpPr/>
          <p:nvPr userDrawn="1"/>
        </p:nvSpPr>
        <p:spPr>
          <a:xfrm>
            <a:off x="0" y="0"/>
            <a:ext cx="12192000" cy="9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Tree>
    <p:extLst>
      <p:ext uri="{BB962C8B-B14F-4D97-AF65-F5344CB8AC3E}">
        <p14:creationId xmlns:p14="http://schemas.microsoft.com/office/powerpoint/2010/main" val="108722061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Agenda Layout">
    <p:spTree>
      <p:nvGrpSpPr>
        <p:cNvPr id="1" name=""/>
        <p:cNvGrpSpPr/>
        <p:nvPr/>
      </p:nvGrpSpPr>
      <p:grpSpPr>
        <a:xfrm>
          <a:off x="0" y="0"/>
          <a:ext cx="0" cy="0"/>
          <a:chOff x="0" y="0"/>
          <a:chExt cx="0" cy="0"/>
        </a:xfrm>
      </p:grpSpPr>
      <p:sp>
        <p:nvSpPr>
          <p:cNvPr id="6" name="Rectangle 5"/>
          <p:cNvSpPr/>
          <p:nvPr userDrawn="1"/>
        </p:nvSpPr>
        <p:spPr>
          <a:xfrm>
            <a:off x="-3471" y="3"/>
            <a:ext cx="211223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pic>
        <p:nvPicPr>
          <p:cNvPr id="3074" name="Picture 2" descr="E:\002-KIMS BUSINESS\007-02-Fullslidesppt-Contents\20161228\02-edu\bulb-item2.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52649" y="1250977"/>
            <a:ext cx="2112235" cy="4687944"/>
          </a:xfrm>
          <a:prstGeom prst="rect">
            <a:avLst/>
          </a:prstGeom>
          <a:noFill/>
          <a:extLst>
            <a:ext uri="{909E8E84-426E-40DD-AFC4-6F175D3DCCD1}">
              <a14:hiddenFill xmlns:a14="http://schemas.microsoft.com/office/drawing/2010/main">
                <a:solidFill>
                  <a:srgbClr val="FFFFFF"/>
                </a:solidFill>
              </a14:hiddenFill>
            </a:ext>
          </a:extLst>
        </p:spPr>
      </p:pic>
      <p:pic>
        <p:nvPicPr>
          <p:cNvPr id="3075" name="Picture 3" descr="E:\002-KIMS BUSINESS\007-02-Fullslidesppt-Contents\20161228\02-edu\bulb-item.png"/>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50000"/>
          <a:stretch/>
        </p:blipFill>
        <p:spPr bwMode="auto">
          <a:xfrm>
            <a:off x="1052647" y="1250977"/>
            <a:ext cx="1056117" cy="46879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2990093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4_Basic Layout">
    <p:spTree>
      <p:nvGrpSpPr>
        <p:cNvPr id="1" name=""/>
        <p:cNvGrpSpPr/>
        <p:nvPr/>
      </p:nvGrpSpPr>
      <p:grpSpPr>
        <a:xfrm>
          <a:off x="0" y="0"/>
          <a:ext cx="0" cy="0"/>
          <a:chOff x="0" y="0"/>
          <a:chExt cx="0" cy="0"/>
        </a:xfrm>
      </p:grpSpPr>
      <p:sp>
        <p:nvSpPr>
          <p:cNvPr id="10" name="Text Placeholder 9"/>
          <p:cNvSpPr>
            <a:spLocks noGrp="1"/>
          </p:cNvSpPr>
          <p:nvPr>
            <p:ph type="body" sz="quarter" idx="10" hasCustomPrompt="1"/>
          </p:nvPr>
        </p:nvSpPr>
        <p:spPr>
          <a:xfrm>
            <a:off x="0" y="164643"/>
            <a:ext cx="12192000" cy="768085"/>
          </a:xfrm>
          <a:prstGeom prst="rect">
            <a:avLst/>
          </a:prstGeom>
        </p:spPr>
        <p:txBody>
          <a:bodyPr anchor="ctr"/>
          <a:lstStyle>
            <a:lvl1pPr marL="0" indent="0" algn="ctr">
              <a:buNone/>
              <a:defRPr sz="4801" b="0" baseline="0">
                <a:solidFill>
                  <a:schemeClr val="tx1">
                    <a:lumMod val="75000"/>
                    <a:lumOff val="25000"/>
                  </a:schemeClr>
                </a:solidFill>
                <a:latin typeface="+mj-lt"/>
                <a:cs typeface="Arial" pitchFamily="34" charset="0"/>
              </a:defRPr>
            </a:lvl1pPr>
          </a:lstStyle>
          <a:p>
            <a:pPr lvl="0"/>
            <a:r>
              <a:rPr lang="en-US" altLang="ko-KR" dirty="0"/>
              <a:t>BASIC LAYOUT</a:t>
            </a:r>
          </a:p>
        </p:txBody>
      </p:sp>
      <p:sp>
        <p:nvSpPr>
          <p:cNvPr id="11" name="Text Placeholder 9"/>
          <p:cNvSpPr>
            <a:spLocks noGrp="1"/>
          </p:cNvSpPr>
          <p:nvPr>
            <p:ph type="body" sz="quarter" idx="11" hasCustomPrompt="1"/>
          </p:nvPr>
        </p:nvSpPr>
        <p:spPr>
          <a:xfrm>
            <a:off x="0" y="932731"/>
            <a:ext cx="12192000" cy="384044"/>
          </a:xfrm>
          <a:prstGeom prst="rect">
            <a:avLst/>
          </a:prstGeom>
        </p:spPr>
        <p:txBody>
          <a:bodyPr anchor="ctr"/>
          <a:lstStyle>
            <a:lvl1pPr marL="0" indent="0" algn="ctr">
              <a:buNone/>
              <a:defRPr sz="1865" b="0" baseline="0">
                <a:solidFill>
                  <a:schemeClr val="tx1">
                    <a:lumMod val="75000"/>
                    <a:lumOff val="25000"/>
                  </a:schemeClr>
                </a:solidFill>
                <a:latin typeface="+mn-lt"/>
                <a:cs typeface="Arial" pitchFamily="34" charset="0"/>
              </a:defRPr>
            </a:lvl1pPr>
          </a:lstStyle>
          <a:p>
            <a:pPr lvl="0"/>
            <a:r>
              <a:rPr lang="en-US" altLang="ko-KR" dirty="0"/>
              <a:t>Insert the title of your subtitle Here</a:t>
            </a:r>
          </a:p>
        </p:txBody>
      </p:sp>
    </p:spTree>
    <p:extLst>
      <p:ext uri="{BB962C8B-B14F-4D97-AF65-F5344CB8AC3E}">
        <p14:creationId xmlns:p14="http://schemas.microsoft.com/office/powerpoint/2010/main" val="357014946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50601939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itle" preserve="1">
  <p:cSld name="شريحة عنوان">
    <p:spTree>
      <p:nvGrpSpPr>
        <p:cNvPr id="1" name=""/>
        <p:cNvGrpSpPr/>
        <p:nvPr/>
      </p:nvGrpSpPr>
      <p:grpSpPr>
        <a:xfrm>
          <a:off x="0" y="0"/>
          <a:ext cx="0" cy="0"/>
          <a:chOff x="0" y="0"/>
          <a:chExt cx="0" cy="0"/>
        </a:xfrm>
      </p:grpSpPr>
      <p:grpSp>
        <p:nvGrpSpPr>
          <p:cNvPr id="14" name="Group 13"/>
          <p:cNvGrpSpPr/>
          <p:nvPr/>
        </p:nvGrpSpPr>
        <p:grpSpPr>
          <a:xfrm>
            <a:off x="-1588" y="0"/>
            <a:ext cx="12193588" cy="6861555"/>
            <a:chOff x="-1588" y="0"/>
            <a:chExt cx="12193588" cy="6861555"/>
          </a:xfrm>
        </p:grpSpPr>
        <p:sp>
          <p:nvSpPr>
            <p:cNvPr id="9" name="Rectangle 8"/>
            <p:cNvSpPr/>
            <p:nvPr/>
          </p:nvSpPr>
          <p:spPr>
            <a:xfrm>
              <a:off x="0" y="0"/>
              <a:ext cx="12192000" cy="6858000"/>
            </a:xfrm>
            <a:prstGeom prst="rect">
              <a:avLst/>
            </a:prstGeom>
            <a:blipFill>
              <a:blip r:embed="rId2">
                <a:duotone>
                  <a:schemeClr val="dk2">
                    <a:shade val="69000"/>
                    <a:hueMod val="108000"/>
                    <a:satMod val="164000"/>
                    <a:lumMod val="74000"/>
                  </a:schemeClr>
                  <a:schemeClr val="dk2">
                    <a:tint val="96000"/>
                    <a:hueMod val="88000"/>
                    <a:satMod val="140000"/>
                    <a:lumMod val="132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Oval 10"/>
            <p:cNvSpPr/>
            <p:nvPr/>
          </p:nvSpPr>
          <p:spPr>
            <a:xfrm>
              <a:off x="8761412" y="1828800"/>
              <a:ext cx="2819400" cy="2819400"/>
            </a:xfrm>
            <a:prstGeom prst="ellipse">
              <a:avLst/>
            </a:prstGeom>
            <a:gradFill flip="none" rotWithShape="1">
              <a:gsLst>
                <a:gs pos="0">
                  <a:schemeClr val="accent5">
                    <a:alpha val="7000"/>
                  </a:schemeClr>
                </a:gs>
                <a:gs pos="69000">
                  <a:schemeClr val="accent5">
                    <a:alpha val="0"/>
                  </a:schemeClr>
                </a:gs>
                <a:gs pos="36000">
                  <a:schemeClr val="accent5">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2" name="Oval 11"/>
            <p:cNvSpPr/>
            <p:nvPr/>
          </p:nvSpPr>
          <p:spPr>
            <a:xfrm>
              <a:off x="8761412" y="5870955"/>
              <a:ext cx="990600" cy="990600"/>
            </a:xfrm>
            <a:prstGeom prst="ellipse">
              <a:avLst/>
            </a:prstGeom>
            <a:gradFill flip="none" rotWithShape="1">
              <a:gsLst>
                <a:gs pos="0">
                  <a:schemeClr val="accent5">
                    <a:alpha val="14000"/>
                  </a:schemeClr>
                </a:gs>
                <a:gs pos="66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3" name="Oval 12"/>
            <p:cNvSpPr/>
            <p:nvPr/>
          </p:nvSpPr>
          <p:spPr>
            <a:xfrm>
              <a:off x="-1588" y="2667000"/>
              <a:ext cx="4191000" cy="4191000"/>
            </a:xfrm>
            <a:prstGeom prst="ellipse">
              <a:avLst/>
            </a:prstGeom>
            <a:gradFill flip="none" rotWithShape="1">
              <a:gsLst>
                <a:gs pos="0">
                  <a:schemeClr val="accent5">
                    <a:alpha val="11000"/>
                  </a:schemeClr>
                </a:gs>
                <a:gs pos="75000">
                  <a:schemeClr val="accent5">
                    <a:alpha val="0"/>
                  </a:schemeClr>
                </a:gs>
                <a:gs pos="36000">
                  <a:schemeClr val="accent5">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0"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2" name="Title 1"/>
          <p:cNvSpPr>
            <a:spLocks noGrp="1"/>
          </p:cNvSpPr>
          <p:nvPr>
            <p:ph type="ctrTitle"/>
          </p:nvPr>
        </p:nvSpPr>
        <p:spPr>
          <a:xfrm>
            <a:off x="1154955" y="2099733"/>
            <a:ext cx="8825658" cy="2677648"/>
          </a:xfrm>
          <a:prstGeom prst="rect">
            <a:avLst/>
          </a:prstGeom>
        </p:spPr>
        <p:txBody>
          <a:bodyPr anchor="b"/>
          <a:lstStyle>
            <a:lvl1pPr>
              <a:defRPr sz="5400"/>
            </a:lvl1pPr>
          </a:lstStyle>
          <a:p>
            <a:r>
              <a:rPr lang="ar-SA"/>
              <a:t>انقر لتحرير نمط عنوان الشكل الرئيسي</a:t>
            </a:r>
            <a:endParaRPr lang="en-US" dirty="0"/>
          </a:p>
        </p:txBody>
      </p:sp>
      <p:sp>
        <p:nvSpPr>
          <p:cNvPr id="3" name="Subtitle 2"/>
          <p:cNvSpPr>
            <a:spLocks noGrp="1"/>
          </p:cNvSpPr>
          <p:nvPr>
            <p:ph type="subTitle" idx="1"/>
          </p:nvPr>
        </p:nvSpPr>
        <p:spPr>
          <a:xfrm>
            <a:off x="1154955" y="4777380"/>
            <a:ext cx="8825658" cy="861420"/>
          </a:xfrm>
        </p:spPr>
        <p:txBody>
          <a:bodyPr anchor="t"/>
          <a:lstStyle>
            <a:lvl1pPr marL="0" indent="0" algn="l">
              <a:buNone/>
              <a:defRPr cap="all">
                <a:solidFill>
                  <a:schemeClr val="tx2">
                    <a:lumMod val="40000"/>
                    <a:lumOff val="6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ar-SA"/>
              <a:t>انقر لتحرير نمط العنوان الفرعي للشكل الرئيسي</a:t>
            </a:r>
            <a:endParaRPr lang="en-US" dirty="0"/>
          </a:p>
        </p:txBody>
      </p:sp>
      <p:sp>
        <p:nvSpPr>
          <p:cNvPr id="4" name="Date Placeholder 3"/>
          <p:cNvSpPr>
            <a:spLocks noGrp="1"/>
          </p:cNvSpPr>
          <p:nvPr>
            <p:ph type="dt" sz="half" idx="10"/>
          </p:nvPr>
        </p:nvSpPr>
        <p:spPr>
          <a:xfrm rot="5400000">
            <a:off x="10158984" y="1792224"/>
            <a:ext cx="990599" cy="304799"/>
          </a:xfrm>
        </p:spPr>
        <p:txBody>
          <a:bodyPr/>
          <a:lstStyle>
            <a:lvl1pPr algn="l">
              <a:defRPr b="0">
                <a:solidFill>
                  <a:schemeClr val="bg1"/>
                </a:solidFill>
              </a:defRPr>
            </a:lvl1pPr>
          </a:lstStyle>
          <a:p>
            <a:fld id="{B4452A34-1B73-DC46-B7BD-8541B8060D38}" type="datetimeFigureOut">
              <a:rPr lang="en-US" smtClean="0"/>
              <a:t>11/30/2023</a:t>
            </a:fld>
            <a:endParaRPr lang="en-US"/>
          </a:p>
        </p:txBody>
      </p:sp>
      <p:sp>
        <p:nvSpPr>
          <p:cNvPr id="5" name="Footer Placeholder 4"/>
          <p:cNvSpPr>
            <a:spLocks noGrp="1"/>
          </p:cNvSpPr>
          <p:nvPr>
            <p:ph type="ftr" sz="quarter" idx="11"/>
          </p:nvPr>
        </p:nvSpPr>
        <p:spPr>
          <a:xfrm rot="5400000">
            <a:off x="8951976" y="3227832"/>
            <a:ext cx="3867912" cy="310896"/>
          </a:xfrm>
        </p:spPr>
        <p:txBody>
          <a:bodyPr/>
          <a:lstStyle>
            <a:lvl1pPr>
              <a:defRPr sz="1000" b="0">
                <a:solidFill>
                  <a:schemeClr val="bg1"/>
                </a:solidFill>
              </a:defRPr>
            </a:lvl1pPr>
          </a:lstStyle>
          <a:p>
            <a:endParaRPr lang="en-US"/>
          </a:p>
        </p:txBody>
      </p:sp>
      <p:sp>
        <p:nvSpPr>
          <p:cNvPr id="8" name="Rectangle 7"/>
          <p:cNvSpPr/>
          <p:nvPr/>
        </p:nvSpPr>
        <p:spPr>
          <a:xfrm>
            <a:off x="10437812"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6" name="Slide Number Placeholder 5"/>
          <p:cNvSpPr>
            <a:spLocks noGrp="1"/>
          </p:cNvSpPr>
          <p:nvPr>
            <p:ph type="sldNum" sz="quarter" idx="12"/>
          </p:nvPr>
        </p:nvSpPr>
        <p:spPr>
          <a:xfrm>
            <a:off x="10351008" y="292608"/>
            <a:ext cx="838199" cy="767687"/>
          </a:xfrm>
        </p:spPr>
        <p:txBody>
          <a:bodyPr/>
          <a:lstStyle>
            <a:lvl1pPr>
              <a:defRPr sz="2800" b="0" i="0">
                <a:latin typeface="+mj-lt"/>
              </a:defRPr>
            </a:lvl1pPr>
          </a:lstStyle>
          <a:p>
            <a:fld id="{8D522E7F-14B4-AC40-82A1-6B7B1ECB7C9E}" type="slidenum">
              <a:rPr lang="en-US" smtClean="0"/>
              <a:t>‹#›</a:t>
            </a:fld>
            <a:endParaRPr lang="en-US"/>
          </a:p>
        </p:txBody>
      </p:sp>
    </p:spTree>
    <p:extLst>
      <p:ext uri="{BB962C8B-B14F-4D97-AF65-F5344CB8AC3E}">
        <p14:creationId xmlns:p14="http://schemas.microsoft.com/office/powerpoint/2010/main" val="24773558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عنوان ومحتوى">
    <p:spTree>
      <p:nvGrpSpPr>
        <p:cNvPr id="1" name=""/>
        <p:cNvGrpSpPr/>
        <p:nvPr/>
      </p:nvGrpSpPr>
      <p:grpSpPr>
        <a:xfrm>
          <a:off x="0" y="0"/>
          <a:ext cx="0" cy="0"/>
          <a:chOff x="0" y="0"/>
          <a:chExt cx="0" cy="0"/>
        </a:xfrm>
      </p:grpSpPr>
      <p:sp>
        <p:nvSpPr>
          <p:cNvPr id="2" name="Title 1"/>
          <p:cNvSpPr>
            <a:spLocks noGrp="1"/>
          </p:cNvSpPr>
          <p:nvPr>
            <p:ph type="title"/>
          </p:nvPr>
        </p:nvSpPr>
        <p:spPr>
          <a:xfrm>
            <a:off x="1154954" y="973669"/>
            <a:ext cx="8825659" cy="706964"/>
          </a:xfrm>
          <a:prstGeom prst="rect">
            <a:avLst/>
          </a:prstGeom>
        </p:spPr>
        <p:txBody>
          <a:bodyPr anchor="ctr"/>
          <a:lstStyle/>
          <a:p>
            <a:r>
              <a:rPr lang="ar-SA"/>
              <a:t>انقر لتحرير نمط عنوان الشكل الرئيسي</a:t>
            </a:r>
            <a:endParaRPr lang="en-US" dirty="0"/>
          </a:p>
        </p:txBody>
      </p:sp>
      <p:sp>
        <p:nvSpPr>
          <p:cNvPr id="3" name="Content Placeholder 2"/>
          <p:cNvSpPr>
            <a:spLocks noGrp="1"/>
          </p:cNvSpPr>
          <p:nvPr>
            <p:ph idx="1"/>
          </p:nvPr>
        </p:nvSpPr>
        <p:spPr>
          <a:xfrm>
            <a:off x="1154954" y="2603500"/>
            <a:ext cx="8825659" cy="3416300"/>
          </a:xfrm>
        </p:spPr>
        <p:txBody>
          <a:bodyPr/>
          <a:lstStyle/>
          <a:p>
            <a:pPr lvl="0"/>
            <a:r>
              <a:rPr lang="ar-SA"/>
              <a:t>انقر لتحرير أنماط نص الشكل الرئيسي</a:t>
            </a:r>
          </a:p>
          <a:p>
            <a:pPr lvl="1"/>
            <a:r>
              <a:rPr lang="ar-SA"/>
              <a:t>المستوى الثاني</a:t>
            </a:r>
          </a:p>
          <a:p>
            <a:pPr lvl="2"/>
            <a:r>
              <a:rPr lang="ar-SA"/>
              <a:t>المستوى الثالث</a:t>
            </a:r>
          </a:p>
          <a:p>
            <a:pPr lvl="3"/>
            <a:r>
              <a:rPr lang="ar-SA"/>
              <a:t>المستوى الرابع</a:t>
            </a:r>
          </a:p>
          <a:p>
            <a:pPr lvl="4"/>
            <a:r>
              <a:rPr lang="ar-SA"/>
              <a:t>المستوى الخامس</a:t>
            </a:r>
            <a:endParaRPr lang="en-US" dirty="0"/>
          </a:p>
        </p:txBody>
      </p:sp>
      <p:sp>
        <p:nvSpPr>
          <p:cNvPr id="4" name="Date Placeholder 3"/>
          <p:cNvSpPr>
            <a:spLocks noGrp="1"/>
          </p:cNvSpPr>
          <p:nvPr>
            <p:ph type="dt" sz="half" idx="10"/>
          </p:nvPr>
        </p:nvSpPr>
        <p:spPr/>
        <p:txBody>
          <a:bodyPr/>
          <a:lstStyle/>
          <a:p>
            <a:fld id="{B4452A34-1B73-DC46-B7BD-8541B8060D38}" type="datetimeFigureOut">
              <a:rPr lang="en-US" smtClean="0"/>
              <a:t>11/30/2023</a:t>
            </a:fld>
            <a:endParaRPr lang="en-US"/>
          </a:p>
        </p:txBody>
      </p:sp>
      <p:sp>
        <p:nvSpPr>
          <p:cNvPr id="5" name="Footer Placeholder 4"/>
          <p:cNvSpPr>
            <a:spLocks noGrp="1"/>
          </p:cNvSpPr>
          <p:nvPr>
            <p:ph type="ftr" sz="quarter" idx="11"/>
          </p:nvPr>
        </p:nvSpPr>
        <p:spPr/>
        <p:txBody>
          <a:bodyPr/>
          <a:lstStyle>
            <a:lvl1pPr>
              <a:defRPr sz="1000" b="1"/>
            </a:lvl1pPr>
          </a:lstStyle>
          <a:p>
            <a:endParaRPr lang="en-US"/>
          </a:p>
        </p:txBody>
      </p:sp>
      <p:sp>
        <p:nvSpPr>
          <p:cNvPr id="6" name="Slide Number Placeholder 5"/>
          <p:cNvSpPr>
            <a:spLocks noGrp="1"/>
          </p:cNvSpPr>
          <p:nvPr>
            <p:ph type="sldNum" sz="quarter" idx="12"/>
          </p:nvPr>
        </p:nvSpPr>
        <p:spPr/>
        <p:txBody>
          <a:bodyPr/>
          <a:lstStyle/>
          <a:p>
            <a:fld id="{8D522E7F-14B4-AC40-82A1-6B7B1ECB7C9E}" type="slidenum">
              <a:rPr lang="en-US" smtClean="0"/>
              <a:t>‹#›</a:t>
            </a:fld>
            <a:endParaRPr lang="en-US"/>
          </a:p>
        </p:txBody>
      </p:sp>
    </p:spTree>
    <p:extLst>
      <p:ext uri="{BB962C8B-B14F-4D97-AF65-F5344CB8AC3E}">
        <p14:creationId xmlns:p14="http://schemas.microsoft.com/office/powerpoint/2010/main" val="54493015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secHead" preserve="1">
  <p:cSld name="عنوان المقطع">
    <p:spTree>
      <p:nvGrpSpPr>
        <p:cNvPr id="1" name=""/>
        <p:cNvGrpSpPr/>
        <p:nvPr/>
      </p:nvGrpSpPr>
      <p:grpSpPr>
        <a:xfrm>
          <a:off x="0" y="0"/>
          <a:ext cx="0" cy="0"/>
          <a:chOff x="0" y="0"/>
          <a:chExt cx="0" cy="0"/>
        </a:xfrm>
      </p:grpSpPr>
      <p:grpSp>
        <p:nvGrpSpPr>
          <p:cNvPr id="17" name="Group 16"/>
          <p:cNvGrpSpPr/>
          <p:nvPr/>
        </p:nvGrpSpPr>
        <p:grpSpPr>
          <a:xfrm>
            <a:off x="-1588" y="0"/>
            <a:ext cx="12193588" cy="6861555"/>
            <a:chOff x="-1588" y="0"/>
            <a:chExt cx="12193588" cy="6861555"/>
          </a:xfrm>
        </p:grpSpPr>
        <p:sp>
          <p:nvSpPr>
            <p:cNvPr id="12" name="Rectangle 11"/>
            <p:cNvSpPr/>
            <p:nvPr/>
          </p:nvSpPr>
          <p:spPr>
            <a:xfrm>
              <a:off x="0" y="0"/>
              <a:ext cx="12192000" cy="6858000"/>
            </a:xfrm>
            <a:prstGeom prst="rect">
              <a:avLst/>
            </a:prstGeom>
            <a:blipFill>
              <a:blip r:embed="rId2">
                <a:duotone>
                  <a:schemeClr val="dk2">
                    <a:shade val="69000"/>
                    <a:hueMod val="108000"/>
                    <a:satMod val="164000"/>
                    <a:lumMod val="74000"/>
                  </a:schemeClr>
                  <a:schemeClr val="dk2">
                    <a:tint val="96000"/>
                    <a:hueMod val="88000"/>
                    <a:satMod val="140000"/>
                    <a:lumMod val="132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4" name="Oval 13"/>
            <p:cNvSpPr/>
            <p:nvPr/>
          </p:nvSpPr>
          <p:spPr>
            <a:xfrm>
              <a:off x="8761412" y="1828800"/>
              <a:ext cx="2819400" cy="2819400"/>
            </a:xfrm>
            <a:prstGeom prst="ellipse">
              <a:avLst/>
            </a:prstGeom>
            <a:gradFill flip="none" rotWithShape="1">
              <a:gsLst>
                <a:gs pos="0">
                  <a:schemeClr val="accent5">
                    <a:alpha val="7000"/>
                  </a:schemeClr>
                </a:gs>
                <a:gs pos="69000">
                  <a:schemeClr val="accent5">
                    <a:alpha val="0"/>
                  </a:schemeClr>
                </a:gs>
                <a:gs pos="36000">
                  <a:schemeClr val="accent5">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5" name="Oval 14"/>
            <p:cNvSpPr/>
            <p:nvPr/>
          </p:nvSpPr>
          <p:spPr>
            <a:xfrm>
              <a:off x="8761412" y="5870955"/>
              <a:ext cx="990600" cy="990600"/>
            </a:xfrm>
            <a:prstGeom prst="ellipse">
              <a:avLst/>
            </a:prstGeom>
            <a:gradFill flip="none" rotWithShape="1">
              <a:gsLst>
                <a:gs pos="0">
                  <a:schemeClr val="accent5">
                    <a:alpha val="14000"/>
                  </a:schemeClr>
                </a:gs>
                <a:gs pos="66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6" name="Oval 15"/>
            <p:cNvSpPr/>
            <p:nvPr/>
          </p:nvSpPr>
          <p:spPr>
            <a:xfrm>
              <a:off x="-1588" y="2667000"/>
              <a:ext cx="4191000" cy="4191000"/>
            </a:xfrm>
            <a:prstGeom prst="ellipse">
              <a:avLst/>
            </a:prstGeom>
            <a:gradFill flip="none" rotWithShape="1">
              <a:gsLst>
                <a:gs pos="0">
                  <a:schemeClr val="accent5">
                    <a:alpha val="11000"/>
                  </a:schemeClr>
                </a:gs>
                <a:gs pos="75000">
                  <a:schemeClr val="accent5">
                    <a:alpha val="0"/>
                  </a:schemeClr>
                </a:gs>
                <a:gs pos="36000">
                  <a:schemeClr val="accent5">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9" name="Rectangle 8"/>
            <p:cNvSpPr/>
            <p:nvPr/>
          </p:nvSpPr>
          <p:spPr bwMode="gray">
            <a:xfrm>
              <a:off x="7289800" y="402165"/>
              <a:ext cx="4478865" cy="605367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sp>
        <p:sp>
          <p:nvSpPr>
            <p:cNvPr id="8" name="Freeform 5"/>
            <p:cNvSpPr/>
            <p:nvPr/>
          </p:nvSpPr>
          <p:spPr bwMode="gray">
            <a:xfrm rot="15922489">
              <a:off x="4698352" y="1826078"/>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7" name="Freeform 5"/>
            <p:cNvSpPr/>
            <p:nvPr/>
          </p:nvSpPr>
          <p:spPr bwMode="gray">
            <a:xfrm rot="16200000">
              <a:off x="3787244" y="2801721"/>
              <a:ext cx="6053670" cy="1254558"/>
            </a:xfrm>
            <a:custGeom>
              <a:avLst/>
              <a:gdLst/>
              <a:ahLst/>
              <a:cxnLst/>
              <a:rect l="l" t="t" r="r" b="b"/>
              <a:pathLst>
                <a:path w="10000" h="8000">
                  <a:moveTo>
                    <a:pt x="0" y="0"/>
                  </a:moveTo>
                  <a:lnTo>
                    <a:pt x="0" y="7970"/>
                  </a:lnTo>
                  <a:lnTo>
                    <a:pt x="10000" y="8000"/>
                  </a:lnTo>
                  <a:lnTo>
                    <a:pt x="10000" y="7"/>
                  </a:lnTo>
                  <a:lnTo>
                    <a:pt x="10000" y="7"/>
                  </a:lnTo>
                  <a:lnTo>
                    <a:pt x="9773" y="156"/>
                  </a:lnTo>
                  <a:lnTo>
                    <a:pt x="9547" y="298"/>
                  </a:lnTo>
                  <a:lnTo>
                    <a:pt x="9320" y="437"/>
                  </a:lnTo>
                  <a:lnTo>
                    <a:pt x="9092" y="556"/>
                  </a:lnTo>
                  <a:lnTo>
                    <a:pt x="8865" y="676"/>
                  </a:lnTo>
                  <a:lnTo>
                    <a:pt x="8637" y="788"/>
                  </a:lnTo>
                  <a:lnTo>
                    <a:pt x="8412" y="884"/>
                  </a:lnTo>
                  <a:lnTo>
                    <a:pt x="8184" y="975"/>
                  </a:lnTo>
                  <a:lnTo>
                    <a:pt x="7957" y="1058"/>
                  </a:lnTo>
                  <a:lnTo>
                    <a:pt x="7734" y="1130"/>
                  </a:lnTo>
                  <a:lnTo>
                    <a:pt x="7508" y="1202"/>
                  </a:lnTo>
                  <a:lnTo>
                    <a:pt x="7285" y="1262"/>
                  </a:lnTo>
                  <a:lnTo>
                    <a:pt x="7062" y="1309"/>
                  </a:lnTo>
                  <a:lnTo>
                    <a:pt x="6840" y="1358"/>
                  </a:lnTo>
                  <a:lnTo>
                    <a:pt x="6620" y="1399"/>
                  </a:lnTo>
                  <a:lnTo>
                    <a:pt x="6402" y="1428"/>
                  </a:lnTo>
                  <a:lnTo>
                    <a:pt x="6184" y="1453"/>
                  </a:lnTo>
                  <a:lnTo>
                    <a:pt x="5968" y="1477"/>
                  </a:lnTo>
                  <a:lnTo>
                    <a:pt x="5755" y="1488"/>
                  </a:lnTo>
                  <a:lnTo>
                    <a:pt x="5542" y="1500"/>
                  </a:lnTo>
                  <a:lnTo>
                    <a:pt x="5332" y="1506"/>
                  </a:lnTo>
                  <a:lnTo>
                    <a:pt x="5124" y="1500"/>
                  </a:lnTo>
                  <a:lnTo>
                    <a:pt x="4918" y="1500"/>
                  </a:lnTo>
                  <a:lnTo>
                    <a:pt x="4714" y="1488"/>
                  </a:lnTo>
                  <a:lnTo>
                    <a:pt x="4514" y="1470"/>
                  </a:lnTo>
                  <a:lnTo>
                    <a:pt x="4316" y="1453"/>
                  </a:lnTo>
                  <a:lnTo>
                    <a:pt x="4122" y="1434"/>
                  </a:lnTo>
                  <a:lnTo>
                    <a:pt x="3929" y="1405"/>
                  </a:lnTo>
                  <a:lnTo>
                    <a:pt x="3739" y="1374"/>
                  </a:lnTo>
                  <a:lnTo>
                    <a:pt x="3553" y="1346"/>
                  </a:lnTo>
                  <a:lnTo>
                    <a:pt x="3190" y="1267"/>
                  </a:lnTo>
                  <a:lnTo>
                    <a:pt x="2842" y="1183"/>
                  </a:lnTo>
                  <a:lnTo>
                    <a:pt x="2508" y="1095"/>
                  </a:lnTo>
                  <a:lnTo>
                    <a:pt x="2192" y="998"/>
                  </a:lnTo>
                  <a:lnTo>
                    <a:pt x="1890" y="897"/>
                  </a:lnTo>
                  <a:lnTo>
                    <a:pt x="1610" y="788"/>
                  </a:lnTo>
                  <a:lnTo>
                    <a:pt x="1347" y="681"/>
                  </a:lnTo>
                  <a:lnTo>
                    <a:pt x="1105" y="574"/>
                  </a:lnTo>
                  <a:lnTo>
                    <a:pt x="883" y="473"/>
                  </a:lnTo>
                  <a:lnTo>
                    <a:pt x="686" y="377"/>
                  </a:lnTo>
                  <a:lnTo>
                    <a:pt x="508" y="286"/>
                  </a:lnTo>
                  <a:lnTo>
                    <a:pt x="358" y="210"/>
                  </a:lnTo>
                  <a:lnTo>
                    <a:pt x="232" y="138"/>
                  </a:lnTo>
                  <a:lnTo>
                    <a:pt x="59" y="35"/>
                  </a:lnTo>
                  <a:lnTo>
                    <a:pt x="0" y="0"/>
                  </a:lnTo>
                  <a:lnTo>
                    <a:pt x="0" y="0"/>
                  </a:lnTo>
                  <a:close/>
                </a:path>
              </a:pathLst>
            </a:custGeom>
            <a:solidFill>
              <a:schemeClr val="bg1"/>
            </a:solidFill>
            <a:ln>
              <a:noFill/>
            </a:ln>
          </p:spPr>
        </p:sp>
        <p:sp>
          <p:nvSpPr>
            <p:cNvPr id="13"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2" name="Title 1"/>
          <p:cNvSpPr>
            <a:spLocks noGrp="1"/>
          </p:cNvSpPr>
          <p:nvPr>
            <p:ph type="title"/>
          </p:nvPr>
        </p:nvSpPr>
        <p:spPr>
          <a:xfrm>
            <a:off x="1154956" y="2679192"/>
            <a:ext cx="4343400" cy="2286000"/>
          </a:xfrm>
          <a:prstGeom prst="rect">
            <a:avLst/>
          </a:prstGeom>
        </p:spPr>
        <p:txBody>
          <a:bodyPr anchor="ctr" anchorCtr="0"/>
          <a:lstStyle>
            <a:lvl1pPr algn="l">
              <a:defRPr sz="4000" b="0" cap="none"/>
            </a:lvl1pPr>
          </a:lstStyle>
          <a:p>
            <a:r>
              <a:rPr lang="ar-SA"/>
              <a:t>انقر لتحرير نمط عنوان الشكل الرئيسي</a:t>
            </a:r>
            <a:endParaRPr lang="en-US" dirty="0"/>
          </a:p>
        </p:txBody>
      </p:sp>
      <p:sp>
        <p:nvSpPr>
          <p:cNvPr id="3" name="Text Placeholder 2"/>
          <p:cNvSpPr>
            <a:spLocks noGrp="1"/>
          </p:cNvSpPr>
          <p:nvPr>
            <p:ph type="body" idx="1"/>
          </p:nvPr>
        </p:nvSpPr>
        <p:spPr>
          <a:xfrm>
            <a:off x="6894576" y="2679192"/>
            <a:ext cx="3758184" cy="2286000"/>
          </a:xfrm>
        </p:spPr>
        <p:txBody>
          <a:bodyPr anchor="ctr" anchorCtr="0"/>
          <a:lstStyle>
            <a:lvl1pPr marL="0" indent="0" algn="l">
              <a:buNone/>
              <a:defRPr sz="2000" cap="all">
                <a:solidFill>
                  <a:schemeClr val="accent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ar-SA"/>
              <a:t>انقر لتحرير أنماط نص الشكل الرئيسي</a:t>
            </a:r>
          </a:p>
        </p:txBody>
      </p:sp>
      <p:sp>
        <p:nvSpPr>
          <p:cNvPr id="4" name="Date Placeholder 3"/>
          <p:cNvSpPr>
            <a:spLocks noGrp="1"/>
          </p:cNvSpPr>
          <p:nvPr>
            <p:ph type="dt" sz="half" idx="10"/>
          </p:nvPr>
        </p:nvSpPr>
        <p:spPr/>
        <p:txBody>
          <a:bodyPr/>
          <a:lstStyle/>
          <a:p>
            <a:fld id="{B4452A34-1B73-DC46-B7BD-8541B8060D38}" type="datetimeFigureOut">
              <a:rPr lang="en-US" smtClean="0"/>
              <a:t>11/30/2023</a:t>
            </a:fld>
            <a:endParaRPr lang="en-US"/>
          </a:p>
        </p:txBody>
      </p:sp>
      <p:sp>
        <p:nvSpPr>
          <p:cNvPr id="5" name="Footer Placeholder 4"/>
          <p:cNvSpPr>
            <a:spLocks noGrp="1"/>
          </p:cNvSpPr>
          <p:nvPr>
            <p:ph type="ftr" sz="quarter" idx="11"/>
          </p:nvPr>
        </p:nvSpPr>
        <p:spPr/>
        <p:txBody>
          <a:bodyPr/>
          <a:lstStyle>
            <a:lvl1pPr>
              <a:defRPr sz="1000" b="1"/>
            </a:lvl1pPr>
          </a:lstStyle>
          <a:p>
            <a:endParaRPr lang="en-US"/>
          </a:p>
        </p:txBody>
      </p:sp>
      <p:sp>
        <p:nvSpPr>
          <p:cNvPr id="10" name="Rectangle 9"/>
          <p:cNvSpPr/>
          <p:nvPr/>
        </p:nvSpPr>
        <p:spPr>
          <a:xfrm>
            <a:off x="10437812"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6" name="Slide Number Placeholder 5"/>
          <p:cNvSpPr>
            <a:spLocks noGrp="1"/>
          </p:cNvSpPr>
          <p:nvPr>
            <p:ph type="sldNum" sz="quarter" idx="12"/>
          </p:nvPr>
        </p:nvSpPr>
        <p:spPr/>
        <p:txBody>
          <a:bodyPr/>
          <a:lstStyle/>
          <a:p>
            <a:fld id="{8D522E7F-14B4-AC40-82A1-6B7B1ECB7C9E}" type="slidenum">
              <a:rPr lang="en-US" smtClean="0"/>
              <a:t>‹#›</a:t>
            </a:fld>
            <a:endParaRPr lang="en-US"/>
          </a:p>
        </p:txBody>
      </p:sp>
    </p:spTree>
    <p:extLst>
      <p:ext uri="{BB962C8B-B14F-4D97-AF65-F5344CB8AC3E}">
        <p14:creationId xmlns:p14="http://schemas.microsoft.com/office/powerpoint/2010/main" val="393061090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محتويان">
    <p:spTree>
      <p:nvGrpSpPr>
        <p:cNvPr id="1" name=""/>
        <p:cNvGrpSpPr/>
        <p:nvPr/>
      </p:nvGrpSpPr>
      <p:grpSpPr>
        <a:xfrm>
          <a:off x="0" y="0"/>
          <a:ext cx="0" cy="0"/>
          <a:chOff x="0" y="0"/>
          <a:chExt cx="0" cy="0"/>
        </a:xfrm>
      </p:grpSpPr>
      <p:sp>
        <p:nvSpPr>
          <p:cNvPr id="2" name="Title 1"/>
          <p:cNvSpPr>
            <a:spLocks noGrp="1"/>
          </p:cNvSpPr>
          <p:nvPr>
            <p:ph type="title"/>
          </p:nvPr>
        </p:nvSpPr>
        <p:spPr>
          <a:xfrm>
            <a:off x="1154953" y="969264"/>
            <a:ext cx="8825659" cy="704088"/>
          </a:xfrm>
          <a:prstGeom prst="rect">
            <a:avLst/>
          </a:prstGeom>
        </p:spPr>
        <p:txBody>
          <a:bodyPr/>
          <a:lstStyle/>
          <a:p>
            <a:r>
              <a:rPr lang="ar-SA"/>
              <a:t>انقر لتحرير نمط عنوان الشكل الرئيسي</a:t>
            </a:r>
            <a:endParaRPr lang="en-US" dirty="0"/>
          </a:p>
        </p:txBody>
      </p:sp>
      <p:sp>
        <p:nvSpPr>
          <p:cNvPr id="3" name="Content Placeholder 2"/>
          <p:cNvSpPr>
            <a:spLocks noGrp="1"/>
          </p:cNvSpPr>
          <p:nvPr>
            <p:ph sz="half" idx="1"/>
          </p:nvPr>
        </p:nvSpPr>
        <p:spPr>
          <a:xfrm>
            <a:off x="1154954" y="2603500"/>
            <a:ext cx="4828032" cy="3416301"/>
          </a:xfrm>
        </p:spPr>
        <p:txBody>
          <a:bodyPr>
            <a:normAutofit/>
          </a:bodyPr>
          <a:lstStyle/>
          <a:p>
            <a:pPr lvl="0"/>
            <a:r>
              <a:rPr lang="ar-SA"/>
              <a:t>انقر لتحرير أنماط نص الشكل الرئيسي</a:t>
            </a:r>
          </a:p>
          <a:p>
            <a:pPr lvl="1"/>
            <a:r>
              <a:rPr lang="ar-SA"/>
              <a:t>المستوى الثاني</a:t>
            </a:r>
          </a:p>
          <a:p>
            <a:pPr lvl="2"/>
            <a:r>
              <a:rPr lang="ar-SA"/>
              <a:t>المستوى الثالث</a:t>
            </a:r>
          </a:p>
          <a:p>
            <a:pPr lvl="3"/>
            <a:r>
              <a:rPr lang="ar-SA"/>
              <a:t>المستوى الرابع</a:t>
            </a:r>
          </a:p>
          <a:p>
            <a:pPr lvl="4"/>
            <a:r>
              <a:rPr lang="ar-SA"/>
              <a:t>المستوى الخامس</a:t>
            </a:r>
            <a:endParaRPr lang="en-US" dirty="0"/>
          </a:p>
        </p:txBody>
      </p:sp>
      <p:sp>
        <p:nvSpPr>
          <p:cNvPr id="4" name="Content Placeholder 3"/>
          <p:cNvSpPr>
            <a:spLocks noGrp="1"/>
          </p:cNvSpPr>
          <p:nvPr>
            <p:ph sz="half" idx="2"/>
          </p:nvPr>
        </p:nvSpPr>
        <p:spPr>
          <a:xfrm>
            <a:off x="6208776" y="2603500"/>
            <a:ext cx="4828032" cy="3416300"/>
          </a:xfrm>
        </p:spPr>
        <p:txBody>
          <a:bodyPr>
            <a:normAutofit/>
          </a:bodyPr>
          <a:lstStyle/>
          <a:p>
            <a:pPr lvl="0"/>
            <a:r>
              <a:rPr lang="ar-SA"/>
              <a:t>انقر لتحرير أنماط نص الشكل الرئيسي</a:t>
            </a:r>
          </a:p>
          <a:p>
            <a:pPr lvl="1"/>
            <a:r>
              <a:rPr lang="ar-SA"/>
              <a:t>المستوى الثاني</a:t>
            </a:r>
          </a:p>
          <a:p>
            <a:pPr lvl="2"/>
            <a:r>
              <a:rPr lang="ar-SA"/>
              <a:t>المستوى الثالث</a:t>
            </a:r>
          </a:p>
          <a:p>
            <a:pPr lvl="3"/>
            <a:r>
              <a:rPr lang="ar-SA"/>
              <a:t>المستوى الرابع</a:t>
            </a:r>
          </a:p>
          <a:p>
            <a:pPr lvl="4"/>
            <a:r>
              <a:rPr lang="ar-SA"/>
              <a:t>المستوى الخامس</a:t>
            </a:r>
            <a:endParaRPr lang="en-US" dirty="0"/>
          </a:p>
        </p:txBody>
      </p:sp>
      <p:sp>
        <p:nvSpPr>
          <p:cNvPr id="5" name="Date Placeholder 4"/>
          <p:cNvSpPr>
            <a:spLocks noGrp="1"/>
          </p:cNvSpPr>
          <p:nvPr>
            <p:ph type="dt" sz="half" idx="10"/>
          </p:nvPr>
        </p:nvSpPr>
        <p:spPr/>
        <p:txBody>
          <a:bodyPr/>
          <a:lstStyle/>
          <a:p>
            <a:fld id="{B4452A34-1B73-DC46-B7BD-8541B8060D38}" type="datetimeFigureOut">
              <a:rPr lang="en-US" smtClean="0"/>
              <a:t>11/30/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D522E7F-14B4-AC40-82A1-6B7B1ECB7C9E}" type="slidenum">
              <a:rPr lang="en-US" smtClean="0"/>
              <a:t>‹#›</a:t>
            </a:fld>
            <a:endParaRPr lang="en-US"/>
          </a:p>
        </p:txBody>
      </p:sp>
    </p:spTree>
    <p:extLst>
      <p:ext uri="{BB962C8B-B14F-4D97-AF65-F5344CB8AC3E}">
        <p14:creationId xmlns:p14="http://schemas.microsoft.com/office/powerpoint/2010/main" val="6512987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عنوان ومحتوى">
    <p:spTree>
      <p:nvGrpSpPr>
        <p:cNvPr id="1" name=""/>
        <p:cNvGrpSpPr/>
        <p:nvPr/>
      </p:nvGrpSpPr>
      <p:grpSpPr>
        <a:xfrm>
          <a:off x="0" y="0"/>
          <a:ext cx="0" cy="0"/>
          <a:chOff x="0" y="0"/>
          <a:chExt cx="0" cy="0"/>
        </a:xfrm>
      </p:grpSpPr>
      <p:sp>
        <p:nvSpPr>
          <p:cNvPr id="2" name="عنوان 1">
            <a:extLst>
              <a:ext uri="{FF2B5EF4-FFF2-40B4-BE49-F238E27FC236}">
                <a16:creationId xmlns:a16="http://schemas.microsoft.com/office/drawing/2014/main" id="{0623F707-846E-1F7E-3BDB-85D9BC611959}"/>
              </a:ext>
            </a:extLst>
          </p:cNvPr>
          <p:cNvSpPr>
            <a:spLocks noGrp="1"/>
          </p:cNvSpPr>
          <p:nvPr>
            <p:ph type="title"/>
          </p:nvPr>
        </p:nvSpPr>
        <p:spPr/>
        <p:txBody>
          <a:bodyPr/>
          <a:lstStyle/>
          <a:p>
            <a:r>
              <a:rPr lang="ar-SA"/>
              <a:t>انقر لتحرير نمط عنوان الشكل الرئيسي</a:t>
            </a:r>
          </a:p>
        </p:txBody>
      </p:sp>
      <p:sp>
        <p:nvSpPr>
          <p:cNvPr id="3" name="عنصر نائب للمحتوى 2">
            <a:extLst>
              <a:ext uri="{FF2B5EF4-FFF2-40B4-BE49-F238E27FC236}">
                <a16:creationId xmlns:a16="http://schemas.microsoft.com/office/drawing/2014/main" id="{B0C274C4-66DB-4E15-D0C2-548C1ECF9F12}"/>
              </a:ext>
            </a:extLst>
          </p:cNvPr>
          <p:cNvSpPr>
            <a:spLocks noGrp="1"/>
          </p:cNvSpPr>
          <p:nvPr>
            <p:ph idx="1"/>
          </p:nvPr>
        </p:nvSpPr>
        <p:spPr/>
        <p:txBody>
          <a:bodyPr/>
          <a:lstStyle/>
          <a:p>
            <a:pPr lvl="0"/>
            <a:r>
              <a:rPr lang="ar-SA"/>
              <a:t>انقر لتحرير أنماط نص الشكل الرئيسي</a:t>
            </a:r>
          </a:p>
          <a:p>
            <a:pPr lvl="1"/>
            <a:r>
              <a:rPr lang="ar-SA"/>
              <a:t>المستوى الثاني</a:t>
            </a:r>
          </a:p>
          <a:p>
            <a:pPr lvl="2"/>
            <a:r>
              <a:rPr lang="ar-SA"/>
              <a:t>المستوى الثالث</a:t>
            </a:r>
          </a:p>
          <a:p>
            <a:pPr lvl="3"/>
            <a:r>
              <a:rPr lang="ar-SA"/>
              <a:t>المستوى الرابع</a:t>
            </a:r>
          </a:p>
          <a:p>
            <a:pPr lvl="4"/>
            <a:r>
              <a:rPr lang="ar-SA"/>
              <a:t>المستوى الخامس</a:t>
            </a:r>
          </a:p>
        </p:txBody>
      </p:sp>
      <p:sp>
        <p:nvSpPr>
          <p:cNvPr id="4" name="عنصر نائب للتاريخ 3">
            <a:extLst>
              <a:ext uri="{FF2B5EF4-FFF2-40B4-BE49-F238E27FC236}">
                <a16:creationId xmlns:a16="http://schemas.microsoft.com/office/drawing/2014/main" id="{076FEB03-A378-474D-6672-2300985508BD}"/>
              </a:ext>
            </a:extLst>
          </p:cNvPr>
          <p:cNvSpPr>
            <a:spLocks noGrp="1"/>
          </p:cNvSpPr>
          <p:nvPr>
            <p:ph type="dt" sz="half" idx="10"/>
          </p:nvPr>
        </p:nvSpPr>
        <p:spPr/>
        <p:txBody>
          <a:bodyPr/>
          <a:lstStyle/>
          <a:p>
            <a:fld id="{584C6E9D-85A4-4FD5-893B-CAFA4CA60927}" type="datetimeFigureOut">
              <a:rPr lang="ar-SA" smtClean="0"/>
              <a:t>18/05/45</a:t>
            </a:fld>
            <a:endParaRPr lang="ar-SA"/>
          </a:p>
        </p:txBody>
      </p:sp>
      <p:sp>
        <p:nvSpPr>
          <p:cNvPr id="5" name="عنصر نائب للتذييل 4">
            <a:extLst>
              <a:ext uri="{FF2B5EF4-FFF2-40B4-BE49-F238E27FC236}">
                <a16:creationId xmlns:a16="http://schemas.microsoft.com/office/drawing/2014/main" id="{9D3AAD57-C408-6322-EB57-D1029CC94710}"/>
              </a:ext>
            </a:extLst>
          </p:cNvPr>
          <p:cNvSpPr>
            <a:spLocks noGrp="1"/>
          </p:cNvSpPr>
          <p:nvPr>
            <p:ph type="ftr" sz="quarter" idx="11"/>
          </p:nvPr>
        </p:nvSpPr>
        <p:spPr/>
        <p:txBody>
          <a:bodyPr/>
          <a:lstStyle/>
          <a:p>
            <a:endParaRPr lang="ar-SA"/>
          </a:p>
        </p:txBody>
      </p:sp>
      <p:sp>
        <p:nvSpPr>
          <p:cNvPr id="6" name="عنصر نائب لرقم الشريحة 5">
            <a:extLst>
              <a:ext uri="{FF2B5EF4-FFF2-40B4-BE49-F238E27FC236}">
                <a16:creationId xmlns:a16="http://schemas.microsoft.com/office/drawing/2014/main" id="{F58B9ED5-A767-C298-0FE6-32D78DD55D71}"/>
              </a:ext>
            </a:extLst>
          </p:cNvPr>
          <p:cNvSpPr>
            <a:spLocks noGrp="1"/>
          </p:cNvSpPr>
          <p:nvPr>
            <p:ph type="sldNum" sz="quarter" idx="12"/>
          </p:nvPr>
        </p:nvSpPr>
        <p:spPr/>
        <p:txBody>
          <a:bodyPr/>
          <a:lstStyle/>
          <a:p>
            <a:fld id="{C555A33E-CEF6-4887-AF0D-FBE8CDD3E1FC}" type="slidenum">
              <a:rPr lang="ar-SA" smtClean="0"/>
              <a:t>‹#›</a:t>
            </a:fld>
            <a:endParaRPr lang="ar-SA"/>
          </a:p>
        </p:txBody>
      </p:sp>
    </p:spTree>
    <p:extLst>
      <p:ext uri="{BB962C8B-B14F-4D97-AF65-F5344CB8AC3E}">
        <p14:creationId xmlns:p14="http://schemas.microsoft.com/office/powerpoint/2010/main" val="225374252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مقارنة">
    <p:spTree>
      <p:nvGrpSpPr>
        <p:cNvPr id="1" name=""/>
        <p:cNvGrpSpPr/>
        <p:nvPr/>
      </p:nvGrpSpPr>
      <p:grpSpPr>
        <a:xfrm>
          <a:off x="0" y="0"/>
          <a:ext cx="0" cy="0"/>
          <a:chOff x="0" y="0"/>
          <a:chExt cx="0" cy="0"/>
        </a:xfrm>
      </p:grpSpPr>
      <p:sp>
        <p:nvSpPr>
          <p:cNvPr id="2" name="Title 1"/>
          <p:cNvSpPr>
            <a:spLocks noGrp="1"/>
          </p:cNvSpPr>
          <p:nvPr>
            <p:ph type="title"/>
          </p:nvPr>
        </p:nvSpPr>
        <p:spPr>
          <a:xfrm>
            <a:off x="1154954" y="969264"/>
            <a:ext cx="8825659" cy="704088"/>
          </a:xfrm>
          <a:prstGeom prst="rect">
            <a:avLst/>
          </a:prstGeom>
        </p:spPr>
        <p:txBody>
          <a:bodyPr/>
          <a:lstStyle>
            <a:lvl1pPr>
              <a:defRPr/>
            </a:lvl1pPr>
          </a:lstStyle>
          <a:p>
            <a:r>
              <a:rPr lang="ar-SA"/>
              <a:t>انقر لتحرير نمط عنوان الشكل الرئيسي</a:t>
            </a:r>
            <a:endParaRPr lang="en-US" dirty="0"/>
          </a:p>
        </p:txBody>
      </p:sp>
      <p:sp>
        <p:nvSpPr>
          <p:cNvPr id="3" name="Text Placeholder 2"/>
          <p:cNvSpPr>
            <a:spLocks noGrp="1"/>
          </p:cNvSpPr>
          <p:nvPr>
            <p:ph type="body" idx="1"/>
          </p:nvPr>
        </p:nvSpPr>
        <p:spPr>
          <a:xfrm>
            <a:off x="1154954" y="2606040"/>
            <a:ext cx="4828032" cy="576262"/>
          </a:xfrm>
        </p:spPr>
        <p:txBody>
          <a:bodyPr anchor="b">
            <a:noAutofit/>
          </a:bodyPr>
          <a:lstStyle>
            <a:lvl1pPr marL="0" indent="0">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ar-SA"/>
              <a:t>انقر لتحرير أنماط نص الشكل الرئيسي</a:t>
            </a:r>
          </a:p>
        </p:txBody>
      </p:sp>
      <p:sp>
        <p:nvSpPr>
          <p:cNvPr id="4" name="Content Placeholder 3"/>
          <p:cNvSpPr>
            <a:spLocks noGrp="1"/>
          </p:cNvSpPr>
          <p:nvPr>
            <p:ph sz="half" idx="2"/>
          </p:nvPr>
        </p:nvSpPr>
        <p:spPr>
          <a:xfrm>
            <a:off x="1154954" y="3198448"/>
            <a:ext cx="4828032" cy="2843784"/>
          </a:xfrm>
        </p:spPr>
        <p:txBody>
          <a:bodyPr>
            <a:normAutofit/>
          </a:bodyPr>
          <a:lstStyle/>
          <a:p>
            <a:pPr lvl="0"/>
            <a:r>
              <a:rPr lang="ar-SA"/>
              <a:t>انقر لتحرير أنماط نص الشكل الرئيسي</a:t>
            </a:r>
          </a:p>
          <a:p>
            <a:pPr lvl="1"/>
            <a:r>
              <a:rPr lang="ar-SA"/>
              <a:t>المستوى الثاني</a:t>
            </a:r>
          </a:p>
          <a:p>
            <a:pPr lvl="2"/>
            <a:r>
              <a:rPr lang="ar-SA"/>
              <a:t>المستوى الثالث</a:t>
            </a:r>
          </a:p>
          <a:p>
            <a:pPr lvl="3"/>
            <a:r>
              <a:rPr lang="ar-SA"/>
              <a:t>المستوى الرابع</a:t>
            </a:r>
          </a:p>
          <a:p>
            <a:pPr lvl="4"/>
            <a:r>
              <a:rPr lang="ar-SA"/>
              <a:t>المستوى الخامس</a:t>
            </a:r>
            <a:endParaRPr lang="en-US" dirty="0"/>
          </a:p>
        </p:txBody>
      </p:sp>
      <p:sp>
        <p:nvSpPr>
          <p:cNvPr id="5" name="Text Placeholder 4"/>
          <p:cNvSpPr>
            <a:spLocks noGrp="1"/>
          </p:cNvSpPr>
          <p:nvPr>
            <p:ph type="body" sz="quarter" idx="3"/>
          </p:nvPr>
        </p:nvSpPr>
        <p:spPr>
          <a:xfrm>
            <a:off x="6208776" y="2606040"/>
            <a:ext cx="4828032" cy="576262"/>
          </a:xfrm>
        </p:spPr>
        <p:txBody>
          <a:bodyPr anchor="b">
            <a:noAutofit/>
          </a:bodyPr>
          <a:lstStyle>
            <a:lvl1pPr marL="0" indent="0">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ar-SA"/>
              <a:t>انقر لتحرير أنماط نص الشكل الرئيسي</a:t>
            </a:r>
          </a:p>
        </p:txBody>
      </p:sp>
      <p:sp>
        <p:nvSpPr>
          <p:cNvPr id="6" name="Content Placeholder 5"/>
          <p:cNvSpPr>
            <a:spLocks noGrp="1"/>
          </p:cNvSpPr>
          <p:nvPr>
            <p:ph sz="quarter" idx="4"/>
          </p:nvPr>
        </p:nvSpPr>
        <p:spPr>
          <a:xfrm>
            <a:off x="6208711" y="3187921"/>
            <a:ext cx="4825160" cy="2854311"/>
          </a:xfrm>
        </p:spPr>
        <p:txBody>
          <a:bodyPr>
            <a:normAutofit/>
          </a:bodyPr>
          <a:lstStyle/>
          <a:p>
            <a:pPr lvl="0"/>
            <a:r>
              <a:rPr lang="ar-SA"/>
              <a:t>انقر لتحرير أنماط نص الشكل الرئيسي</a:t>
            </a:r>
          </a:p>
          <a:p>
            <a:pPr lvl="1"/>
            <a:r>
              <a:rPr lang="ar-SA"/>
              <a:t>المستوى الثاني</a:t>
            </a:r>
          </a:p>
          <a:p>
            <a:pPr lvl="2"/>
            <a:r>
              <a:rPr lang="ar-SA"/>
              <a:t>المستوى الثالث</a:t>
            </a:r>
          </a:p>
          <a:p>
            <a:pPr lvl="3"/>
            <a:r>
              <a:rPr lang="ar-SA"/>
              <a:t>المستوى الرابع</a:t>
            </a:r>
          </a:p>
          <a:p>
            <a:pPr lvl="4"/>
            <a:r>
              <a:rPr lang="ar-SA"/>
              <a:t>المستوى الخامس</a:t>
            </a:r>
            <a:endParaRPr lang="en-US" dirty="0"/>
          </a:p>
        </p:txBody>
      </p:sp>
      <p:sp>
        <p:nvSpPr>
          <p:cNvPr id="7" name="Date Placeholder 6"/>
          <p:cNvSpPr>
            <a:spLocks noGrp="1"/>
          </p:cNvSpPr>
          <p:nvPr>
            <p:ph type="dt" sz="half" idx="10"/>
          </p:nvPr>
        </p:nvSpPr>
        <p:spPr/>
        <p:txBody>
          <a:bodyPr/>
          <a:lstStyle/>
          <a:p>
            <a:fld id="{B4452A34-1B73-DC46-B7BD-8541B8060D38}" type="datetimeFigureOut">
              <a:rPr lang="en-US" smtClean="0"/>
              <a:t>11/30/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D522E7F-14B4-AC40-82A1-6B7B1ECB7C9E}" type="slidenum">
              <a:rPr lang="en-US" smtClean="0"/>
              <a:t>‹#›</a:t>
            </a:fld>
            <a:endParaRPr lang="en-US"/>
          </a:p>
        </p:txBody>
      </p:sp>
    </p:spTree>
    <p:extLst>
      <p:ext uri="{BB962C8B-B14F-4D97-AF65-F5344CB8AC3E}">
        <p14:creationId xmlns:p14="http://schemas.microsoft.com/office/powerpoint/2010/main" val="54003167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عنوان فقط">
    <p:spTree>
      <p:nvGrpSpPr>
        <p:cNvPr id="1" name=""/>
        <p:cNvGrpSpPr/>
        <p:nvPr/>
      </p:nvGrpSpPr>
      <p:grpSpPr>
        <a:xfrm>
          <a:off x="0" y="0"/>
          <a:ext cx="0" cy="0"/>
          <a:chOff x="0" y="0"/>
          <a:chExt cx="0" cy="0"/>
        </a:xfrm>
      </p:grpSpPr>
      <p:sp>
        <p:nvSpPr>
          <p:cNvPr id="2" name="Title 1"/>
          <p:cNvSpPr>
            <a:spLocks noGrp="1"/>
          </p:cNvSpPr>
          <p:nvPr>
            <p:ph type="title"/>
          </p:nvPr>
        </p:nvSpPr>
        <p:spPr>
          <a:xfrm>
            <a:off x="1152144" y="969264"/>
            <a:ext cx="8825659" cy="704088"/>
          </a:xfrm>
          <a:prstGeom prst="rect">
            <a:avLst/>
          </a:prstGeom>
        </p:spPr>
        <p:txBody>
          <a:bodyPr/>
          <a:lstStyle/>
          <a:p>
            <a:r>
              <a:rPr lang="ar-SA"/>
              <a:t>انقر لتحرير نمط عنوان الشكل الرئيسي</a:t>
            </a:r>
            <a:endParaRPr lang="en-US" dirty="0"/>
          </a:p>
        </p:txBody>
      </p:sp>
      <p:sp>
        <p:nvSpPr>
          <p:cNvPr id="3" name="Date Placeholder 2"/>
          <p:cNvSpPr>
            <a:spLocks noGrp="1"/>
          </p:cNvSpPr>
          <p:nvPr>
            <p:ph type="dt" sz="half" idx="10"/>
          </p:nvPr>
        </p:nvSpPr>
        <p:spPr/>
        <p:txBody>
          <a:bodyPr/>
          <a:lstStyle/>
          <a:p>
            <a:fld id="{B4452A34-1B73-DC46-B7BD-8541B8060D38}" type="datetimeFigureOut">
              <a:rPr lang="en-US" smtClean="0"/>
              <a:t>11/30/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D522E7F-14B4-AC40-82A1-6B7B1ECB7C9E}" type="slidenum">
              <a:rPr lang="en-US" smtClean="0"/>
              <a:t>‹#›</a:t>
            </a:fld>
            <a:endParaRPr lang="en-US"/>
          </a:p>
        </p:txBody>
      </p:sp>
    </p:spTree>
    <p:extLst>
      <p:ext uri="{BB962C8B-B14F-4D97-AF65-F5344CB8AC3E}">
        <p14:creationId xmlns:p14="http://schemas.microsoft.com/office/powerpoint/2010/main" val="225460278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blank" preserve="1">
  <p:cSld name="فارغ">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4452A34-1B73-DC46-B7BD-8541B8060D38}" type="datetimeFigureOut">
              <a:rPr lang="en-US" smtClean="0"/>
              <a:t>11/30/2023</a:t>
            </a:fld>
            <a:endParaRPr lang="en-US"/>
          </a:p>
        </p:txBody>
      </p:sp>
      <p:sp>
        <p:nvSpPr>
          <p:cNvPr id="3" name="Footer Placeholder 2"/>
          <p:cNvSpPr>
            <a:spLocks noGrp="1"/>
          </p:cNvSpPr>
          <p:nvPr>
            <p:ph type="ftr" sz="quarter" idx="11"/>
          </p:nvPr>
        </p:nvSpPr>
        <p:spPr/>
        <p:txBody>
          <a:bodyPr/>
          <a:lstStyle/>
          <a:p>
            <a:endParaRPr lang="en-US"/>
          </a:p>
        </p:txBody>
      </p:sp>
      <p:sp>
        <p:nvSpPr>
          <p:cNvPr id="6" name="Rectangle 5"/>
          <p:cNvSpPr/>
          <p:nvPr/>
        </p:nvSpPr>
        <p:spPr>
          <a:xfrm>
            <a:off x="10437812"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4" name="Slide Number Placeholder 3"/>
          <p:cNvSpPr>
            <a:spLocks noGrp="1"/>
          </p:cNvSpPr>
          <p:nvPr>
            <p:ph type="sldNum" sz="quarter" idx="12"/>
          </p:nvPr>
        </p:nvSpPr>
        <p:spPr/>
        <p:txBody>
          <a:bodyPr/>
          <a:lstStyle/>
          <a:p>
            <a:fld id="{8D522E7F-14B4-AC40-82A1-6B7B1ECB7C9E}" type="slidenum">
              <a:rPr lang="en-US" smtClean="0"/>
              <a:t>‹#›</a:t>
            </a:fld>
            <a:endParaRPr lang="en-US"/>
          </a:p>
        </p:txBody>
      </p:sp>
    </p:spTree>
    <p:extLst>
      <p:ext uri="{BB962C8B-B14F-4D97-AF65-F5344CB8AC3E}">
        <p14:creationId xmlns:p14="http://schemas.microsoft.com/office/powerpoint/2010/main" val="120502519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objTx" preserve="1">
  <p:cSld name="محتوى مع تسمية توضيحية">
    <p:spTree>
      <p:nvGrpSpPr>
        <p:cNvPr id="1" name=""/>
        <p:cNvGrpSpPr/>
        <p:nvPr/>
      </p:nvGrpSpPr>
      <p:grpSpPr>
        <a:xfrm>
          <a:off x="0" y="0"/>
          <a:ext cx="0" cy="0"/>
          <a:chOff x="0" y="0"/>
          <a:chExt cx="0" cy="0"/>
        </a:xfrm>
      </p:grpSpPr>
      <p:grpSp>
        <p:nvGrpSpPr>
          <p:cNvPr id="18" name="Group 17"/>
          <p:cNvGrpSpPr/>
          <p:nvPr/>
        </p:nvGrpSpPr>
        <p:grpSpPr>
          <a:xfrm>
            <a:off x="-1588" y="0"/>
            <a:ext cx="12193588" cy="6861555"/>
            <a:chOff x="-1588" y="0"/>
            <a:chExt cx="12193588" cy="6861555"/>
          </a:xfrm>
        </p:grpSpPr>
        <p:sp>
          <p:nvSpPr>
            <p:cNvPr id="12" name="Rectangle 11"/>
            <p:cNvSpPr/>
            <p:nvPr/>
          </p:nvSpPr>
          <p:spPr>
            <a:xfrm>
              <a:off x="0" y="0"/>
              <a:ext cx="12192000" cy="6858000"/>
            </a:xfrm>
            <a:prstGeom prst="rect">
              <a:avLst/>
            </a:prstGeom>
            <a:blipFill>
              <a:blip r:embed="rId2">
                <a:duotone>
                  <a:schemeClr val="dk2">
                    <a:shade val="69000"/>
                    <a:hueMod val="108000"/>
                    <a:satMod val="164000"/>
                    <a:lumMod val="74000"/>
                  </a:schemeClr>
                  <a:schemeClr val="dk2">
                    <a:tint val="96000"/>
                    <a:hueMod val="88000"/>
                    <a:satMod val="140000"/>
                    <a:lumMod val="132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5" name="Oval 14"/>
            <p:cNvSpPr/>
            <p:nvPr/>
          </p:nvSpPr>
          <p:spPr>
            <a:xfrm>
              <a:off x="8761412" y="1828800"/>
              <a:ext cx="2819400" cy="2819400"/>
            </a:xfrm>
            <a:prstGeom prst="ellipse">
              <a:avLst/>
            </a:prstGeom>
            <a:gradFill flip="none" rotWithShape="1">
              <a:gsLst>
                <a:gs pos="0">
                  <a:schemeClr val="accent5">
                    <a:alpha val="7000"/>
                  </a:schemeClr>
                </a:gs>
                <a:gs pos="69000">
                  <a:schemeClr val="accent5">
                    <a:alpha val="0"/>
                  </a:schemeClr>
                </a:gs>
                <a:gs pos="36000">
                  <a:schemeClr val="accent5">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6" name="Oval 15"/>
            <p:cNvSpPr/>
            <p:nvPr/>
          </p:nvSpPr>
          <p:spPr>
            <a:xfrm>
              <a:off x="8761412" y="5870955"/>
              <a:ext cx="990600" cy="990600"/>
            </a:xfrm>
            <a:prstGeom prst="ellipse">
              <a:avLst/>
            </a:prstGeom>
            <a:gradFill flip="none" rotWithShape="1">
              <a:gsLst>
                <a:gs pos="0">
                  <a:schemeClr val="accent5">
                    <a:alpha val="14000"/>
                  </a:schemeClr>
                </a:gs>
                <a:gs pos="66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7" name="Oval 16"/>
            <p:cNvSpPr/>
            <p:nvPr/>
          </p:nvSpPr>
          <p:spPr>
            <a:xfrm>
              <a:off x="-1588" y="2667000"/>
              <a:ext cx="4191000" cy="4191000"/>
            </a:xfrm>
            <a:prstGeom prst="ellipse">
              <a:avLst/>
            </a:prstGeom>
            <a:gradFill flip="none" rotWithShape="1">
              <a:gsLst>
                <a:gs pos="0">
                  <a:schemeClr val="accent5">
                    <a:alpha val="11000"/>
                  </a:schemeClr>
                </a:gs>
                <a:gs pos="75000">
                  <a:schemeClr val="accent5">
                    <a:alpha val="0"/>
                  </a:schemeClr>
                </a:gs>
                <a:gs pos="36000">
                  <a:schemeClr val="accent5">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8" name="Rectangle 7"/>
            <p:cNvSpPr/>
            <p:nvPr/>
          </p:nvSpPr>
          <p:spPr>
            <a:xfrm>
              <a:off x="5713412" y="402165"/>
              <a:ext cx="6055253" cy="605367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sp>
        <p:sp>
          <p:nvSpPr>
            <p:cNvPr id="9" name="Freeform 5"/>
            <p:cNvSpPr/>
            <p:nvPr/>
          </p:nvSpPr>
          <p:spPr bwMode="gray">
            <a:xfrm rot="16200000">
              <a:off x="2229377" y="2801721"/>
              <a:ext cx="6053670" cy="1254558"/>
            </a:xfrm>
            <a:custGeom>
              <a:avLst/>
              <a:gdLst/>
              <a:ahLst/>
              <a:cxnLst/>
              <a:rect l="l" t="t" r="r" b="b"/>
              <a:pathLst>
                <a:path w="10000" h="8000">
                  <a:moveTo>
                    <a:pt x="0" y="0"/>
                  </a:moveTo>
                  <a:lnTo>
                    <a:pt x="0" y="7970"/>
                  </a:lnTo>
                  <a:lnTo>
                    <a:pt x="10000" y="8000"/>
                  </a:lnTo>
                  <a:lnTo>
                    <a:pt x="10000" y="7"/>
                  </a:lnTo>
                  <a:lnTo>
                    <a:pt x="10000" y="7"/>
                  </a:lnTo>
                  <a:lnTo>
                    <a:pt x="9773" y="156"/>
                  </a:lnTo>
                  <a:lnTo>
                    <a:pt x="9547" y="298"/>
                  </a:lnTo>
                  <a:lnTo>
                    <a:pt x="9320" y="437"/>
                  </a:lnTo>
                  <a:lnTo>
                    <a:pt x="9092" y="556"/>
                  </a:lnTo>
                  <a:lnTo>
                    <a:pt x="8865" y="676"/>
                  </a:lnTo>
                  <a:lnTo>
                    <a:pt x="8637" y="788"/>
                  </a:lnTo>
                  <a:lnTo>
                    <a:pt x="8412" y="884"/>
                  </a:lnTo>
                  <a:lnTo>
                    <a:pt x="8184" y="975"/>
                  </a:lnTo>
                  <a:lnTo>
                    <a:pt x="7957" y="1058"/>
                  </a:lnTo>
                  <a:lnTo>
                    <a:pt x="7734" y="1130"/>
                  </a:lnTo>
                  <a:lnTo>
                    <a:pt x="7508" y="1202"/>
                  </a:lnTo>
                  <a:lnTo>
                    <a:pt x="7285" y="1262"/>
                  </a:lnTo>
                  <a:lnTo>
                    <a:pt x="7062" y="1309"/>
                  </a:lnTo>
                  <a:lnTo>
                    <a:pt x="6840" y="1358"/>
                  </a:lnTo>
                  <a:lnTo>
                    <a:pt x="6620" y="1399"/>
                  </a:lnTo>
                  <a:lnTo>
                    <a:pt x="6402" y="1428"/>
                  </a:lnTo>
                  <a:lnTo>
                    <a:pt x="6184" y="1453"/>
                  </a:lnTo>
                  <a:lnTo>
                    <a:pt x="5968" y="1477"/>
                  </a:lnTo>
                  <a:lnTo>
                    <a:pt x="5755" y="1488"/>
                  </a:lnTo>
                  <a:lnTo>
                    <a:pt x="5542" y="1500"/>
                  </a:lnTo>
                  <a:lnTo>
                    <a:pt x="5332" y="1506"/>
                  </a:lnTo>
                  <a:lnTo>
                    <a:pt x="5124" y="1500"/>
                  </a:lnTo>
                  <a:lnTo>
                    <a:pt x="4918" y="1500"/>
                  </a:lnTo>
                  <a:lnTo>
                    <a:pt x="4714" y="1488"/>
                  </a:lnTo>
                  <a:lnTo>
                    <a:pt x="4514" y="1470"/>
                  </a:lnTo>
                  <a:lnTo>
                    <a:pt x="4316" y="1453"/>
                  </a:lnTo>
                  <a:lnTo>
                    <a:pt x="4122" y="1434"/>
                  </a:lnTo>
                  <a:lnTo>
                    <a:pt x="3929" y="1405"/>
                  </a:lnTo>
                  <a:lnTo>
                    <a:pt x="3739" y="1374"/>
                  </a:lnTo>
                  <a:lnTo>
                    <a:pt x="3553" y="1346"/>
                  </a:lnTo>
                  <a:lnTo>
                    <a:pt x="3190" y="1267"/>
                  </a:lnTo>
                  <a:lnTo>
                    <a:pt x="2842" y="1183"/>
                  </a:lnTo>
                  <a:lnTo>
                    <a:pt x="2508" y="1095"/>
                  </a:lnTo>
                  <a:lnTo>
                    <a:pt x="2192" y="998"/>
                  </a:lnTo>
                  <a:lnTo>
                    <a:pt x="1890" y="897"/>
                  </a:lnTo>
                  <a:lnTo>
                    <a:pt x="1610" y="788"/>
                  </a:lnTo>
                  <a:lnTo>
                    <a:pt x="1347" y="681"/>
                  </a:lnTo>
                  <a:lnTo>
                    <a:pt x="1105" y="574"/>
                  </a:lnTo>
                  <a:lnTo>
                    <a:pt x="883" y="473"/>
                  </a:lnTo>
                  <a:lnTo>
                    <a:pt x="686" y="377"/>
                  </a:lnTo>
                  <a:lnTo>
                    <a:pt x="508" y="286"/>
                  </a:lnTo>
                  <a:lnTo>
                    <a:pt x="358" y="210"/>
                  </a:lnTo>
                  <a:lnTo>
                    <a:pt x="232" y="138"/>
                  </a:lnTo>
                  <a:lnTo>
                    <a:pt x="59" y="35"/>
                  </a:lnTo>
                  <a:lnTo>
                    <a:pt x="0" y="0"/>
                  </a:lnTo>
                  <a:lnTo>
                    <a:pt x="0" y="0"/>
                  </a:lnTo>
                  <a:close/>
                </a:path>
              </a:pathLst>
            </a:custGeom>
            <a:solidFill>
              <a:schemeClr val="bg1"/>
            </a:solidFill>
            <a:ln>
              <a:noFill/>
            </a:ln>
          </p:spPr>
        </p:sp>
        <p:sp>
          <p:nvSpPr>
            <p:cNvPr id="10" name="Freeform 5"/>
            <p:cNvSpPr/>
            <p:nvPr/>
          </p:nvSpPr>
          <p:spPr bwMode="gray">
            <a:xfrm rot="15922489">
              <a:off x="3140485" y="1826078"/>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14"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2" name="Title 1"/>
          <p:cNvSpPr>
            <a:spLocks noGrp="1"/>
          </p:cNvSpPr>
          <p:nvPr>
            <p:ph type="title"/>
          </p:nvPr>
        </p:nvSpPr>
        <p:spPr>
          <a:xfrm>
            <a:off x="1154953" y="1298448"/>
            <a:ext cx="2793159" cy="1597152"/>
          </a:xfrm>
          <a:prstGeom prst="rect">
            <a:avLst/>
          </a:prstGeom>
        </p:spPr>
        <p:txBody>
          <a:bodyPr anchor="b"/>
          <a:lstStyle>
            <a:lvl1pPr algn="l">
              <a:defRPr sz="2400" b="0"/>
            </a:lvl1pPr>
          </a:lstStyle>
          <a:p>
            <a:r>
              <a:rPr lang="ar-SA"/>
              <a:t>انقر لتحرير نمط عنوان الشكل الرئيسي</a:t>
            </a:r>
            <a:endParaRPr lang="en-US" dirty="0"/>
          </a:p>
        </p:txBody>
      </p:sp>
      <p:sp>
        <p:nvSpPr>
          <p:cNvPr id="3" name="Content Placeholder 2"/>
          <p:cNvSpPr>
            <a:spLocks noGrp="1"/>
          </p:cNvSpPr>
          <p:nvPr>
            <p:ph idx="1"/>
          </p:nvPr>
        </p:nvSpPr>
        <p:spPr>
          <a:xfrm>
            <a:off x="5779008" y="1447800"/>
            <a:ext cx="5195997" cy="4572000"/>
          </a:xfrm>
        </p:spPr>
        <p:txBody>
          <a:bodyPr anchor="ctr">
            <a:normAutofit/>
          </a:bodyPr>
          <a:lstStyle/>
          <a:p>
            <a:pPr lvl="0"/>
            <a:r>
              <a:rPr lang="ar-SA"/>
              <a:t>انقر لتحرير أنماط نص الشكل الرئيسي</a:t>
            </a:r>
          </a:p>
          <a:p>
            <a:pPr lvl="1"/>
            <a:r>
              <a:rPr lang="ar-SA"/>
              <a:t>المستوى الثاني</a:t>
            </a:r>
          </a:p>
          <a:p>
            <a:pPr lvl="2"/>
            <a:r>
              <a:rPr lang="ar-SA"/>
              <a:t>المستوى الثالث</a:t>
            </a:r>
          </a:p>
          <a:p>
            <a:pPr lvl="3"/>
            <a:r>
              <a:rPr lang="ar-SA"/>
              <a:t>المستوى الرابع</a:t>
            </a:r>
          </a:p>
          <a:p>
            <a:pPr lvl="4"/>
            <a:r>
              <a:rPr lang="ar-SA"/>
              <a:t>المستوى الخامس</a:t>
            </a:r>
            <a:endParaRPr lang="en-US" dirty="0"/>
          </a:p>
        </p:txBody>
      </p:sp>
      <p:sp>
        <p:nvSpPr>
          <p:cNvPr id="4" name="Text Placeholder 3"/>
          <p:cNvSpPr>
            <a:spLocks noGrp="1"/>
          </p:cNvSpPr>
          <p:nvPr>
            <p:ph type="body" sz="half" idx="2"/>
          </p:nvPr>
        </p:nvSpPr>
        <p:spPr bwMode="gray">
          <a:xfrm>
            <a:off x="1154953" y="3129280"/>
            <a:ext cx="2793159" cy="2895599"/>
          </a:xfrm>
        </p:spPr>
        <p:txBody>
          <a:bodyPr/>
          <a:lstStyle>
            <a:lvl1pPr marL="0" indent="0">
              <a:buNone/>
              <a:defRPr sz="1400">
                <a:solidFill>
                  <a:schemeClr val="tx2">
                    <a:lumMod val="40000"/>
                    <a:lumOff val="6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ar-SA"/>
              <a:t>انقر لتحرير أنماط نص الشكل الرئيسي</a:t>
            </a:r>
          </a:p>
        </p:txBody>
      </p:sp>
      <p:sp>
        <p:nvSpPr>
          <p:cNvPr id="5" name="Date Placeholder 4"/>
          <p:cNvSpPr>
            <a:spLocks noGrp="1"/>
          </p:cNvSpPr>
          <p:nvPr>
            <p:ph type="dt" sz="half" idx="10"/>
          </p:nvPr>
        </p:nvSpPr>
        <p:spPr/>
        <p:txBody>
          <a:bodyPr/>
          <a:lstStyle/>
          <a:p>
            <a:fld id="{B4452A34-1B73-DC46-B7BD-8541B8060D38}" type="datetimeFigureOut">
              <a:rPr lang="en-US" smtClean="0"/>
              <a:t>11/30/2023</a:t>
            </a:fld>
            <a:endParaRPr lang="en-US"/>
          </a:p>
        </p:txBody>
      </p:sp>
      <p:sp>
        <p:nvSpPr>
          <p:cNvPr id="6" name="Footer Placeholder 5"/>
          <p:cNvSpPr>
            <a:spLocks noGrp="1"/>
          </p:cNvSpPr>
          <p:nvPr>
            <p:ph type="ftr" sz="quarter" idx="11"/>
          </p:nvPr>
        </p:nvSpPr>
        <p:spPr/>
        <p:txBody>
          <a:bodyPr/>
          <a:lstStyle/>
          <a:p>
            <a:endParaRPr lang="en-US"/>
          </a:p>
        </p:txBody>
      </p:sp>
      <p:sp>
        <p:nvSpPr>
          <p:cNvPr id="13" name="Rectangle 12"/>
          <p:cNvSpPr/>
          <p:nvPr/>
        </p:nvSpPr>
        <p:spPr>
          <a:xfrm>
            <a:off x="10437812"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7" name="Slide Number Placeholder 6"/>
          <p:cNvSpPr>
            <a:spLocks noGrp="1"/>
          </p:cNvSpPr>
          <p:nvPr>
            <p:ph type="sldNum" sz="quarter" idx="12"/>
          </p:nvPr>
        </p:nvSpPr>
        <p:spPr/>
        <p:txBody>
          <a:bodyPr/>
          <a:lstStyle/>
          <a:p>
            <a:fld id="{8D522E7F-14B4-AC40-82A1-6B7B1ECB7C9E}" type="slidenum">
              <a:rPr lang="en-US" smtClean="0"/>
              <a:t>‹#›</a:t>
            </a:fld>
            <a:endParaRPr lang="en-US"/>
          </a:p>
        </p:txBody>
      </p:sp>
    </p:spTree>
    <p:extLst>
      <p:ext uri="{BB962C8B-B14F-4D97-AF65-F5344CB8AC3E}">
        <p14:creationId xmlns:p14="http://schemas.microsoft.com/office/powerpoint/2010/main" val="36158029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picTx" preserve="1">
  <p:cSld name="صورة مع تسمية توضيحية">
    <p:spTree>
      <p:nvGrpSpPr>
        <p:cNvPr id="1" name=""/>
        <p:cNvGrpSpPr/>
        <p:nvPr/>
      </p:nvGrpSpPr>
      <p:grpSpPr>
        <a:xfrm>
          <a:off x="0" y="0"/>
          <a:ext cx="0" cy="0"/>
          <a:chOff x="0" y="0"/>
          <a:chExt cx="0" cy="0"/>
        </a:xfrm>
      </p:grpSpPr>
      <p:grpSp>
        <p:nvGrpSpPr>
          <p:cNvPr id="18" name="Group 17"/>
          <p:cNvGrpSpPr/>
          <p:nvPr/>
        </p:nvGrpSpPr>
        <p:grpSpPr>
          <a:xfrm>
            <a:off x="-1588" y="0"/>
            <a:ext cx="12193588" cy="6861555"/>
            <a:chOff x="-1588" y="0"/>
            <a:chExt cx="12193588" cy="6861555"/>
          </a:xfrm>
        </p:grpSpPr>
        <p:sp>
          <p:nvSpPr>
            <p:cNvPr id="12" name="Rectangle 11"/>
            <p:cNvSpPr/>
            <p:nvPr/>
          </p:nvSpPr>
          <p:spPr>
            <a:xfrm>
              <a:off x="0" y="0"/>
              <a:ext cx="12192000" cy="6858000"/>
            </a:xfrm>
            <a:prstGeom prst="rect">
              <a:avLst/>
            </a:prstGeom>
            <a:blipFill>
              <a:blip r:embed="rId2">
                <a:duotone>
                  <a:schemeClr val="dk2">
                    <a:shade val="69000"/>
                    <a:hueMod val="108000"/>
                    <a:satMod val="164000"/>
                    <a:lumMod val="74000"/>
                  </a:schemeClr>
                  <a:schemeClr val="dk2">
                    <a:tint val="96000"/>
                    <a:hueMod val="88000"/>
                    <a:satMod val="140000"/>
                    <a:lumMod val="132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5" name="Oval 14"/>
            <p:cNvSpPr/>
            <p:nvPr/>
          </p:nvSpPr>
          <p:spPr>
            <a:xfrm>
              <a:off x="8761412" y="1828800"/>
              <a:ext cx="2819400" cy="2819400"/>
            </a:xfrm>
            <a:prstGeom prst="ellipse">
              <a:avLst/>
            </a:prstGeom>
            <a:gradFill flip="none" rotWithShape="1">
              <a:gsLst>
                <a:gs pos="0">
                  <a:schemeClr val="accent5">
                    <a:alpha val="7000"/>
                  </a:schemeClr>
                </a:gs>
                <a:gs pos="69000">
                  <a:schemeClr val="accent5">
                    <a:alpha val="0"/>
                  </a:schemeClr>
                </a:gs>
                <a:gs pos="36000">
                  <a:schemeClr val="accent5">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6" name="Oval 15"/>
            <p:cNvSpPr/>
            <p:nvPr/>
          </p:nvSpPr>
          <p:spPr>
            <a:xfrm>
              <a:off x="8761412" y="5870955"/>
              <a:ext cx="990600" cy="990600"/>
            </a:xfrm>
            <a:prstGeom prst="ellipse">
              <a:avLst/>
            </a:prstGeom>
            <a:gradFill flip="none" rotWithShape="1">
              <a:gsLst>
                <a:gs pos="0">
                  <a:schemeClr val="accent5">
                    <a:alpha val="14000"/>
                  </a:schemeClr>
                </a:gs>
                <a:gs pos="66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7" name="Oval 16"/>
            <p:cNvSpPr/>
            <p:nvPr/>
          </p:nvSpPr>
          <p:spPr>
            <a:xfrm>
              <a:off x="-1588" y="2667000"/>
              <a:ext cx="4191000" cy="4191000"/>
            </a:xfrm>
            <a:prstGeom prst="ellipse">
              <a:avLst/>
            </a:prstGeom>
            <a:gradFill flip="none" rotWithShape="1">
              <a:gsLst>
                <a:gs pos="0">
                  <a:schemeClr val="accent5">
                    <a:alpha val="11000"/>
                  </a:schemeClr>
                </a:gs>
                <a:gs pos="75000">
                  <a:schemeClr val="accent5">
                    <a:alpha val="0"/>
                  </a:schemeClr>
                </a:gs>
                <a:gs pos="36000">
                  <a:schemeClr val="accent5">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8" name="Rectangle 7"/>
            <p:cNvSpPr/>
            <p:nvPr/>
          </p:nvSpPr>
          <p:spPr>
            <a:xfrm>
              <a:off x="6172200" y="402165"/>
              <a:ext cx="5596465" cy="605367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sp>
        <p:sp>
          <p:nvSpPr>
            <p:cNvPr id="9" name="Freeform 5"/>
            <p:cNvSpPr/>
            <p:nvPr/>
          </p:nvSpPr>
          <p:spPr bwMode="gray">
            <a:xfrm rot="16200000">
              <a:off x="3295432" y="2801721"/>
              <a:ext cx="6053670" cy="1254558"/>
            </a:xfrm>
            <a:custGeom>
              <a:avLst/>
              <a:gdLst/>
              <a:ahLst/>
              <a:cxnLst/>
              <a:rect l="l" t="t" r="r" b="b"/>
              <a:pathLst>
                <a:path w="10000" h="8000">
                  <a:moveTo>
                    <a:pt x="0" y="0"/>
                  </a:moveTo>
                  <a:lnTo>
                    <a:pt x="0" y="7970"/>
                  </a:lnTo>
                  <a:lnTo>
                    <a:pt x="10000" y="8000"/>
                  </a:lnTo>
                  <a:lnTo>
                    <a:pt x="10000" y="7"/>
                  </a:lnTo>
                  <a:lnTo>
                    <a:pt x="10000" y="7"/>
                  </a:lnTo>
                  <a:lnTo>
                    <a:pt x="9773" y="156"/>
                  </a:lnTo>
                  <a:lnTo>
                    <a:pt x="9547" y="298"/>
                  </a:lnTo>
                  <a:lnTo>
                    <a:pt x="9320" y="437"/>
                  </a:lnTo>
                  <a:lnTo>
                    <a:pt x="9092" y="556"/>
                  </a:lnTo>
                  <a:lnTo>
                    <a:pt x="8865" y="676"/>
                  </a:lnTo>
                  <a:lnTo>
                    <a:pt x="8637" y="788"/>
                  </a:lnTo>
                  <a:lnTo>
                    <a:pt x="8412" y="884"/>
                  </a:lnTo>
                  <a:lnTo>
                    <a:pt x="8184" y="975"/>
                  </a:lnTo>
                  <a:lnTo>
                    <a:pt x="7957" y="1058"/>
                  </a:lnTo>
                  <a:lnTo>
                    <a:pt x="7734" y="1130"/>
                  </a:lnTo>
                  <a:lnTo>
                    <a:pt x="7508" y="1202"/>
                  </a:lnTo>
                  <a:lnTo>
                    <a:pt x="7285" y="1262"/>
                  </a:lnTo>
                  <a:lnTo>
                    <a:pt x="7062" y="1309"/>
                  </a:lnTo>
                  <a:lnTo>
                    <a:pt x="6840" y="1358"/>
                  </a:lnTo>
                  <a:lnTo>
                    <a:pt x="6620" y="1399"/>
                  </a:lnTo>
                  <a:lnTo>
                    <a:pt x="6402" y="1428"/>
                  </a:lnTo>
                  <a:lnTo>
                    <a:pt x="6184" y="1453"/>
                  </a:lnTo>
                  <a:lnTo>
                    <a:pt x="5968" y="1477"/>
                  </a:lnTo>
                  <a:lnTo>
                    <a:pt x="5755" y="1488"/>
                  </a:lnTo>
                  <a:lnTo>
                    <a:pt x="5542" y="1500"/>
                  </a:lnTo>
                  <a:lnTo>
                    <a:pt x="5332" y="1506"/>
                  </a:lnTo>
                  <a:lnTo>
                    <a:pt x="5124" y="1500"/>
                  </a:lnTo>
                  <a:lnTo>
                    <a:pt x="4918" y="1500"/>
                  </a:lnTo>
                  <a:lnTo>
                    <a:pt x="4714" y="1488"/>
                  </a:lnTo>
                  <a:lnTo>
                    <a:pt x="4514" y="1470"/>
                  </a:lnTo>
                  <a:lnTo>
                    <a:pt x="4316" y="1453"/>
                  </a:lnTo>
                  <a:lnTo>
                    <a:pt x="4122" y="1434"/>
                  </a:lnTo>
                  <a:lnTo>
                    <a:pt x="3929" y="1405"/>
                  </a:lnTo>
                  <a:lnTo>
                    <a:pt x="3739" y="1374"/>
                  </a:lnTo>
                  <a:lnTo>
                    <a:pt x="3553" y="1346"/>
                  </a:lnTo>
                  <a:lnTo>
                    <a:pt x="3190" y="1267"/>
                  </a:lnTo>
                  <a:lnTo>
                    <a:pt x="2842" y="1183"/>
                  </a:lnTo>
                  <a:lnTo>
                    <a:pt x="2508" y="1095"/>
                  </a:lnTo>
                  <a:lnTo>
                    <a:pt x="2192" y="998"/>
                  </a:lnTo>
                  <a:lnTo>
                    <a:pt x="1890" y="897"/>
                  </a:lnTo>
                  <a:lnTo>
                    <a:pt x="1610" y="788"/>
                  </a:lnTo>
                  <a:lnTo>
                    <a:pt x="1347" y="681"/>
                  </a:lnTo>
                  <a:lnTo>
                    <a:pt x="1105" y="574"/>
                  </a:lnTo>
                  <a:lnTo>
                    <a:pt x="883" y="473"/>
                  </a:lnTo>
                  <a:lnTo>
                    <a:pt x="686" y="377"/>
                  </a:lnTo>
                  <a:lnTo>
                    <a:pt x="508" y="286"/>
                  </a:lnTo>
                  <a:lnTo>
                    <a:pt x="358" y="210"/>
                  </a:lnTo>
                  <a:lnTo>
                    <a:pt x="232" y="138"/>
                  </a:lnTo>
                  <a:lnTo>
                    <a:pt x="59" y="35"/>
                  </a:lnTo>
                  <a:lnTo>
                    <a:pt x="0" y="0"/>
                  </a:lnTo>
                  <a:lnTo>
                    <a:pt x="0" y="0"/>
                  </a:lnTo>
                  <a:close/>
                </a:path>
              </a:pathLst>
            </a:custGeom>
            <a:solidFill>
              <a:schemeClr val="bg1"/>
            </a:solidFill>
            <a:ln>
              <a:noFill/>
            </a:ln>
          </p:spPr>
        </p:sp>
        <p:sp>
          <p:nvSpPr>
            <p:cNvPr id="10" name="Freeform 5"/>
            <p:cNvSpPr/>
            <p:nvPr/>
          </p:nvSpPr>
          <p:spPr bwMode="gray">
            <a:xfrm rot="15922489">
              <a:off x="4203594" y="1826078"/>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14"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2" name="Title 1"/>
          <p:cNvSpPr>
            <a:spLocks noGrp="1"/>
          </p:cNvSpPr>
          <p:nvPr>
            <p:ph type="title"/>
          </p:nvPr>
        </p:nvSpPr>
        <p:spPr>
          <a:xfrm>
            <a:off x="1153907" y="1693332"/>
            <a:ext cx="3860259" cy="1735668"/>
          </a:xfrm>
          <a:prstGeom prst="rect">
            <a:avLst/>
          </a:prstGeom>
        </p:spPr>
        <p:txBody>
          <a:bodyPr anchor="b">
            <a:normAutofit/>
          </a:bodyPr>
          <a:lstStyle>
            <a:lvl1pPr algn="l">
              <a:defRPr sz="3600" b="0"/>
            </a:lvl1pPr>
          </a:lstStyle>
          <a:p>
            <a:r>
              <a:rPr lang="ar-SA"/>
              <a:t>انقر لتحرير نمط عنوان الشكل الرئيسي</a:t>
            </a:r>
            <a:endParaRPr lang="en-US" dirty="0"/>
          </a:p>
        </p:txBody>
      </p:sp>
      <p:sp>
        <p:nvSpPr>
          <p:cNvPr id="3" name="Picture Placeholder 2"/>
          <p:cNvSpPr>
            <a:spLocks noGrp="1" noChangeAspect="1"/>
          </p:cNvSpPr>
          <p:nvPr>
            <p:ph type="pic" idx="1"/>
          </p:nvPr>
        </p:nvSpPr>
        <p:spPr>
          <a:xfrm>
            <a:off x="6547870" y="1143000"/>
            <a:ext cx="3227193" cy="4572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ar-SA"/>
              <a:t>انقر فوق الأيقونة لإضافة صورة</a:t>
            </a:r>
            <a:endParaRPr lang="en-US" dirty="0"/>
          </a:p>
        </p:txBody>
      </p:sp>
      <p:sp>
        <p:nvSpPr>
          <p:cNvPr id="4" name="Text Placeholder 3"/>
          <p:cNvSpPr>
            <a:spLocks noGrp="1"/>
          </p:cNvSpPr>
          <p:nvPr>
            <p:ph type="body" sz="half" idx="2"/>
          </p:nvPr>
        </p:nvSpPr>
        <p:spPr bwMode="gray">
          <a:xfrm>
            <a:off x="1154955" y="3657600"/>
            <a:ext cx="3859212" cy="1371600"/>
          </a:xfrm>
        </p:spPr>
        <p:txBody>
          <a:bodyPr>
            <a:normAutofit/>
          </a:bodyPr>
          <a:lstStyle>
            <a:lvl1pPr marL="0" indent="0">
              <a:buNone/>
              <a:defRPr sz="1400">
                <a:solidFill>
                  <a:schemeClr val="tx2">
                    <a:lumMod val="40000"/>
                    <a:lumOff val="6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ar-SA"/>
              <a:t>انقر لتحرير أنماط نص الشكل الرئيسي</a:t>
            </a:r>
          </a:p>
        </p:txBody>
      </p:sp>
      <p:sp>
        <p:nvSpPr>
          <p:cNvPr id="5" name="Date Placeholder 4"/>
          <p:cNvSpPr>
            <a:spLocks noGrp="1"/>
          </p:cNvSpPr>
          <p:nvPr>
            <p:ph type="dt" sz="half" idx="10"/>
          </p:nvPr>
        </p:nvSpPr>
        <p:spPr/>
        <p:txBody>
          <a:bodyPr/>
          <a:lstStyle/>
          <a:p>
            <a:fld id="{B4452A34-1B73-DC46-B7BD-8541B8060D38}" type="datetimeFigureOut">
              <a:rPr lang="en-US" smtClean="0"/>
              <a:t>11/30/2023</a:t>
            </a:fld>
            <a:endParaRPr lang="en-US"/>
          </a:p>
        </p:txBody>
      </p:sp>
      <p:sp>
        <p:nvSpPr>
          <p:cNvPr id="6" name="Footer Placeholder 5"/>
          <p:cNvSpPr>
            <a:spLocks noGrp="1"/>
          </p:cNvSpPr>
          <p:nvPr>
            <p:ph type="ftr" sz="quarter" idx="11"/>
          </p:nvPr>
        </p:nvSpPr>
        <p:spPr/>
        <p:txBody>
          <a:bodyPr/>
          <a:lstStyle/>
          <a:p>
            <a:endParaRPr lang="en-US"/>
          </a:p>
        </p:txBody>
      </p:sp>
      <p:sp>
        <p:nvSpPr>
          <p:cNvPr id="13" name="Rectangle 12"/>
          <p:cNvSpPr/>
          <p:nvPr/>
        </p:nvSpPr>
        <p:spPr>
          <a:xfrm>
            <a:off x="10437812"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7" name="Slide Number Placeholder 6"/>
          <p:cNvSpPr>
            <a:spLocks noGrp="1"/>
          </p:cNvSpPr>
          <p:nvPr>
            <p:ph type="sldNum" sz="quarter" idx="12"/>
          </p:nvPr>
        </p:nvSpPr>
        <p:spPr/>
        <p:txBody>
          <a:bodyPr/>
          <a:lstStyle/>
          <a:p>
            <a:fld id="{8D522E7F-14B4-AC40-82A1-6B7B1ECB7C9E}" type="slidenum">
              <a:rPr lang="en-US" smtClean="0"/>
              <a:t>‹#›</a:t>
            </a:fld>
            <a:endParaRPr lang="en-US"/>
          </a:p>
        </p:txBody>
      </p:sp>
    </p:spTree>
    <p:extLst>
      <p:ext uri="{BB962C8B-B14F-4D97-AF65-F5344CB8AC3E}">
        <p14:creationId xmlns:p14="http://schemas.microsoft.com/office/powerpoint/2010/main" val="325156743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صورة بانورامية مع تسمية توضيحية">
    <p:spTree>
      <p:nvGrpSpPr>
        <p:cNvPr id="1" name=""/>
        <p:cNvGrpSpPr/>
        <p:nvPr/>
      </p:nvGrpSpPr>
      <p:grpSpPr>
        <a:xfrm>
          <a:off x="0" y="0"/>
          <a:ext cx="0" cy="0"/>
          <a:chOff x="0" y="0"/>
          <a:chExt cx="0" cy="0"/>
        </a:xfrm>
      </p:grpSpPr>
      <p:grpSp>
        <p:nvGrpSpPr>
          <p:cNvPr id="17" name="Group 16"/>
          <p:cNvGrpSpPr/>
          <p:nvPr/>
        </p:nvGrpSpPr>
        <p:grpSpPr>
          <a:xfrm>
            <a:off x="-1588" y="0"/>
            <a:ext cx="12193588" cy="6861555"/>
            <a:chOff x="-1588" y="0"/>
            <a:chExt cx="12193588" cy="6861555"/>
          </a:xfrm>
        </p:grpSpPr>
        <p:sp>
          <p:nvSpPr>
            <p:cNvPr id="11" name="Rectangle 10"/>
            <p:cNvSpPr/>
            <p:nvPr/>
          </p:nvSpPr>
          <p:spPr>
            <a:xfrm>
              <a:off x="0" y="0"/>
              <a:ext cx="12192000" cy="6858000"/>
            </a:xfrm>
            <a:prstGeom prst="rect">
              <a:avLst/>
            </a:prstGeom>
            <a:blipFill>
              <a:blip r:embed="rId2">
                <a:duotone>
                  <a:schemeClr val="dk2">
                    <a:shade val="69000"/>
                    <a:hueMod val="108000"/>
                    <a:satMod val="164000"/>
                    <a:lumMod val="74000"/>
                  </a:schemeClr>
                  <a:schemeClr val="dk2">
                    <a:tint val="96000"/>
                    <a:hueMod val="88000"/>
                    <a:satMod val="140000"/>
                    <a:lumMod val="132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4" name="Oval 13"/>
            <p:cNvSpPr/>
            <p:nvPr/>
          </p:nvSpPr>
          <p:spPr>
            <a:xfrm>
              <a:off x="8761412" y="1828800"/>
              <a:ext cx="2819400" cy="2819400"/>
            </a:xfrm>
            <a:prstGeom prst="ellipse">
              <a:avLst/>
            </a:prstGeom>
            <a:gradFill flip="none" rotWithShape="1">
              <a:gsLst>
                <a:gs pos="0">
                  <a:schemeClr val="accent5">
                    <a:alpha val="7000"/>
                  </a:schemeClr>
                </a:gs>
                <a:gs pos="69000">
                  <a:schemeClr val="accent5">
                    <a:alpha val="0"/>
                  </a:schemeClr>
                </a:gs>
                <a:gs pos="36000">
                  <a:schemeClr val="accent5">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5" name="Oval 14"/>
            <p:cNvSpPr/>
            <p:nvPr/>
          </p:nvSpPr>
          <p:spPr>
            <a:xfrm>
              <a:off x="8761412" y="5870955"/>
              <a:ext cx="990600" cy="990600"/>
            </a:xfrm>
            <a:prstGeom prst="ellipse">
              <a:avLst/>
            </a:prstGeom>
            <a:gradFill flip="none" rotWithShape="1">
              <a:gsLst>
                <a:gs pos="0">
                  <a:schemeClr val="accent5">
                    <a:alpha val="14000"/>
                  </a:schemeClr>
                </a:gs>
                <a:gs pos="66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6" name="Oval 15"/>
            <p:cNvSpPr/>
            <p:nvPr/>
          </p:nvSpPr>
          <p:spPr>
            <a:xfrm>
              <a:off x="-1588" y="2667000"/>
              <a:ext cx="4191000" cy="4191000"/>
            </a:xfrm>
            <a:prstGeom prst="ellipse">
              <a:avLst/>
            </a:prstGeom>
            <a:gradFill flip="none" rotWithShape="1">
              <a:gsLst>
                <a:gs pos="0">
                  <a:schemeClr val="accent5">
                    <a:alpha val="11000"/>
                  </a:schemeClr>
                </a:gs>
                <a:gs pos="75000">
                  <a:schemeClr val="accent5">
                    <a:alpha val="0"/>
                  </a:schemeClr>
                </a:gs>
                <a:gs pos="36000">
                  <a:schemeClr val="accent5">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8" name="Freeform 5"/>
            <p:cNvSpPr/>
            <p:nvPr/>
          </p:nvSpPr>
          <p:spPr bwMode="gray">
            <a:xfrm rot="10371525">
              <a:off x="263767" y="4438254"/>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9" name="Freeform 5"/>
            <p:cNvSpPr/>
            <p:nvPr/>
          </p:nvSpPr>
          <p:spPr bwMode="gray">
            <a:xfrm rot="10800000">
              <a:off x="459506" y="321130"/>
              <a:ext cx="11277600" cy="4533900"/>
            </a:xfrm>
            <a:custGeom>
              <a:avLst/>
              <a:gdLst/>
              <a:ahLst/>
              <a:cxnLst/>
              <a:rect l="0" t="0" r="r" b="b"/>
              <a:pathLst>
                <a:path w="7104" h="2856">
                  <a:moveTo>
                    <a:pt x="0" y="0"/>
                  </a:moveTo>
                  <a:lnTo>
                    <a:pt x="0" y="2856"/>
                  </a:lnTo>
                  <a:lnTo>
                    <a:pt x="7104" y="2856"/>
                  </a:lnTo>
                  <a:lnTo>
                    <a:pt x="7104" y="1"/>
                  </a:lnTo>
                  <a:lnTo>
                    <a:pt x="7104" y="1"/>
                  </a:lnTo>
                  <a:lnTo>
                    <a:pt x="6943" y="26"/>
                  </a:lnTo>
                  <a:lnTo>
                    <a:pt x="6782" y="50"/>
                  </a:lnTo>
                  <a:lnTo>
                    <a:pt x="6621" y="73"/>
                  </a:lnTo>
                  <a:lnTo>
                    <a:pt x="6459" y="93"/>
                  </a:lnTo>
                  <a:lnTo>
                    <a:pt x="6298" y="113"/>
                  </a:lnTo>
                  <a:lnTo>
                    <a:pt x="6136" y="132"/>
                  </a:lnTo>
                  <a:lnTo>
                    <a:pt x="5976" y="148"/>
                  </a:lnTo>
                  <a:lnTo>
                    <a:pt x="5814" y="163"/>
                  </a:lnTo>
                  <a:lnTo>
                    <a:pt x="5653" y="177"/>
                  </a:lnTo>
                  <a:lnTo>
                    <a:pt x="5494" y="189"/>
                  </a:lnTo>
                  <a:lnTo>
                    <a:pt x="5334" y="201"/>
                  </a:lnTo>
                  <a:lnTo>
                    <a:pt x="5175" y="211"/>
                  </a:lnTo>
                  <a:lnTo>
                    <a:pt x="5017" y="219"/>
                  </a:lnTo>
                  <a:lnTo>
                    <a:pt x="4859" y="227"/>
                  </a:lnTo>
                  <a:lnTo>
                    <a:pt x="4703" y="234"/>
                  </a:lnTo>
                  <a:lnTo>
                    <a:pt x="4548" y="239"/>
                  </a:lnTo>
                  <a:lnTo>
                    <a:pt x="4393" y="243"/>
                  </a:lnTo>
                  <a:lnTo>
                    <a:pt x="4240" y="247"/>
                  </a:lnTo>
                  <a:lnTo>
                    <a:pt x="4088" y="249"/>
                  </a:lnTo>
                  <a:lnTo>
                    <a:pt x="3937" y="251"/>
                  </a:lnTo>
                  <a:lnTo>
                    <a:pt x="3788" y="252"/>
                  </a:lnTo>
                  <a:lnTo>
                    <a:pt x="3640" y="251"/>
                  </a:lnTo>
                  <a:lnTo>
                    <a:pt x="3494" y="251"/>
                  </a:lnTo>
                  <a:lnTo>
                    <a:pt x="3349" y="249"/>
                  </a:lnTo>
                  <a:lnTo>
                    <a:pt x="3207" y="246"/>
                  </a:lnTo>
                  <a:lnTo>
                    <a:pt x="3066" y="243"/>
                  </a:lnTo>
                  <a:lnTo>
                    <a:pt x="2928" y="240"/>
                  </a:lnTo>
                  <a:lnTo>
                    <a:pt x="2791" y="235"/>
                  </a:lnTo>
                  <a:lnTo>
                    <a:pt x="2656" y="230"/>
                  </a:lnTo>
                  <a:lnTo>
                    <a:pt x="2524" y="225"/>
                  </a:lnTo>
                  <a:lnTo>
                    <a:pt x="2266" y="212"/>
                  </a:lnTo>
                  <a:lnTo>
                    <a:pt x="2019" y="198"/>
                  </a:lnTo>
                  <a:lnTo>
                    <a:pt x="1782" y="183"/>
                  </a:lnTo>
                  <a:lnTo>
                    <a:pt x="1557" y="167"/>
                  </a:lnTo>
                  <a:lnTo>
                    <a:pt x="1343" y="150"/>
                  </a:lnTo>
                  <a:lnTo>
                    <a:pt x="1144" y="132"/>
                  </a:lnTo>
                  <a:lnTo>
                    <a:pt x="957" y="114"/>
                  </a:lnTo>
                  <a:lnTo>
                    <a:pt x="785" y="96"/>
                  </a:lnTo>
                  <a:lnTo>
                    <a:pt x="627" y="79"/>
                  </a:lnTo>
                  <a:lnTo>
                    <a:pt x="487" y="63"/>
                  </a:lnTo>
                  <a:lnTo>
                    <a:pt x="361" y="48"/>
                  </a:lnTo>
                  <a:lnTo>
                    <a:pt x="254" y="35"/>
                  </a:lnTo>
                  <a:lnTo>
                    <a:pt x="165" y="23"/>
                  </a:lnTo>
                  <a:lnTo>
                    <a:pt x="42" y="6"/>
                  </a:lnTo>
                  <a:lnTo>
                    <a:pt x="0" y="0"/>
                  </a:lnTo>
                  <a:lnTo>
                    <a:pt x="0" y="0"/>
                  </a:lnTo>
                  <a:close/>
                </a:path>
              </a:pathLst>
            </a:custGeom>
            <a:solidFill>
              <a:schemeClr val="bg1"/>
            </a:solidFill>
            <a:ln>
              <a:noFill/>
            </a:ln>
          </p:spPr>
        </p:sp>
        <p:sp>
          <p:nvSpPr>
            <p:cNvPr id="13"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2" name="Title 1"/>
          <p:cNvSpPr>
            <a:spLocks noGrp="1"/>
          </p:cNvSpPr>
          <p:nvPr>
            <p:ph type="title"/>
          </p:nvPr>
        </p:nvSpPr>
        <p:spPr>
          <a:xfrm>
            <a:off x="1154957" y="4969927"/>
            <a:ext cx="8825657" cy="566738"/>
          </a:xfrm>
          <a:prstGeom prst="rect">
            <a:avLst/>
          </a:prstGeom>
        </p:spPr>
        <p:txBody>
          <a:bodyPr anchor="b">
            <a:normAutofit/>
          </a:bodyPr>
          <a:lstStyle>
            <a:lvl1pPr algn="l">
              <a:defRPr sz="2400" b="0"/>
            </a:lvl1pPr>
          </a:lstStyle>
          <a:p>
            <a:r>
              <a:rPr lang="ar-SA"/>
              <a:t>انقر لتحرير نمط عنوان الشكل الرئيسي</a:t>
            </a:r>
            <a:endParaRPr lang="en-US" dirty="0"/>
          </a:p>
        </p:txBody>
      </p:sp>
      <p:sp>
        <p:nvSpPr>
          <p:cNvPr id="3" name="Picture Placeholder 2"/>
          <p:cNvSpPr>
            <a:spLocks noGrp="1" noChangeAspect="1"/>
          </p:cNvSpPr>
          <p:nvPr>
            <p:ph type="pic" idx="1"/>
          </p:nvPr>
        </p:nvSpPr>
        <p:spPr>
          <a:xfrm>
            <a:off x="1154955" y="685800"/>
            <a:ext cx="8825658" cy="3429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ar-SA"/>
              <a:t>انقر فوق الأيقونة لإضافة صورة</a:t>
            </a:r>
            <a:endParaRPr lang="en-US" dirty="0"/>
          </a:p>
        </p:txBody>
      </p:sp>
      <p:sp>
        <p:nvSpPr>
          <p:cNvPr id="4" name="Text Placeholder 3"/>
          <p:cNvSpPr>
            <a:spLocks noGrp="1"/>
          </p:cNvSpPr>
          <p:nvPr>
            <p:ph type="body" sz="half" idx="2"/>
          </p:nvPr>
        </p:nvSpPr>
        <p:spPr bwMode="gray">
          <a:xfrm>
            <a:off x="1154957" y="5536665"/>
            <a:ext cx="8825656" cy="493712"/>
          </a:xfrm>
        </p:spPr>
        <p:txBody>
          <a:bodyPr>
            <a:normAutofit/>
          </a:bodyPr>
          <a:lstStyle>
            <a:lvl1pPr marL="0" indent="0">
              <a:buNone/>
              <a:defRPr sz="1200">
                <a:solidFill>
                  <a:schemeClr val="tx2">
                    <a:lumMod val="40000"/>
                    <a:lumOff val="6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ar-SA"/>
              <a:t>انقر لتحرير أنماط نص الشكل الرئيسي</a:t>
            </a:r>
          </a:p>
        </p:txBody>
      </p:sp>
      <p:sp>
        <p:nvSpPr>
          <p:cNvPr id="5" name="Date Placeholder 4"/>
          <p:cNvSpPr>
            <a:spLocks noGrp="1"/>
          </p:cNvSpPr>
          <p:nvPr>
            <p:ph type="dt" sz="half" idx="10"/>
          </p:nvPr>
        </p:nvSpPr>
        <p:spPr/>
        <p:txBody>
          <a:bodyPr/>
          <a:lstStyle/>
          <a:p>
            <a:fld id="{B4452A34-1B73-DC46-B7BD-8541B8060D38}" type="datetimeFigureOut">
              <a:rPr lang="en-US" smtClean="0"/>
              <a:t>11/30/2023</a:t>
            </a:fld>
            <a:endParaRPr lang="en-US"/>
          </a:p>
        </p:txBody>
      </p:sp>
      <p:sp>
        <p:nvSpPr>
          <p:cNvPr id="6" name="Footer Placeholder 5"/>
          <p:cNvSpPr>
            <a:spLocks noGrp="1"/>
          </p:cNvSpPr>
          <p:nvPr>
            <p:ph type="ftr" sz="quarter" idx="11"/>
          </p:nvPr>
        </p:nvSpPr>
        <p:spPr/>
        <p:txBody>
          <a:bodyPr/>
          <a:lstStyle/>
          <a:p>
            <a:endParaRPr lang="en-US"/>
          </a:p>
        </p:txBody>
      </p:sp>
      <p:sp>
        <p:nvSpPr>
          <p:cNvPr id="12" name="Rectangle 11"/>
          <p:cNvSpPr/>
          <p:nvPr/>
        </p:nvSpPr>
        <p:spPr>
          <a:xfrm>
            <a:off x="10437812"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7" name="Slide Number Placeholder 6"/>
          <p:cNvSpPr>
            <a:spLocks noGrp="1"/>
          </p:cNvSpPr>
          <p:nvPr>
            <p:ph type="sldNum" sz="quarter" idx="12"/>
          </p:nvPr>
        </p:nvSpPr>
        <p:spPr/>
        <p:txBody>
          <a:bodyPr/>
          <a:lstStyle/>
          <a:p>
            <a:fld id="{8D522E7F-14B4-AC40-82A1-6B7B1ECB7C9E}" type="slidenum">
              <a:rPr lang="en-US" smtClean="0"/>
              <a:t>‹#›</a:t>
            </a:fld>
            <a:endParaRPr lang="en-US"/>
          </a:p>
        </p:txBody>
      </p:sp>
    </p:spTree>
    <p:extLst>
      <p:ext uri="{BB962C8B-B14F-4D97-AF65-F5344CB8AC3E}">
        <p14:creationId xmlns:p14="http://schemas.microsoft.com/office/powerpoint/2010/main" val="419968487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العنوان والتسمية التوضيحية">
    <p:spTree>
      <p:nvGrpSpPr>
        <p:cNvPr id="1" name=""/>
        <p:cNvGrpSpPr/>
        <p:nvPr/>
      </p:nvGrpSpPr>
      <p:grpSpPr>
        <a:xfrm>
          <a:off x="0" y="0"/>
          <a:ext cx="0" cy="0"/>
          <a:chOff x="0" y="0"/>
          <a:chExt cx="0" cy="0"/>
        </a:xfrm>
      </p:grpSpPr>
      <p:grpSp>
        <p:nvGrpSpPr>
          <p:cNvPr id="16" name="Group 15"/>
          <p:cNvGrpSpPr/>
          <p:nvPr/>
        </p:nvGrpSpPr>
        <p:grpSpPr>
          <a:xfrm>
            <a:off x="-1588" y="0"/>
            <a:ext cx="12193588" cy="6861555"/>
            <a:chOff x="-1588" y="0"/>
            <a:chExt cx="12193588" cy="6861555"/>
          </a:xfrm>
        </p:grpSpPr>
        <p:sp>
          <p:nvSpPr>
            <p:cNvPr id="10" name="Rectangle 9"/>
            <p:cNvSpPr/>
            <p:nvPr/>
          </p:nvSpPr>
          <p:spPr>
            <a:xfrm>
              <a:off x="0" y="0"/>
              <a:ext cx="12192000" cy="6858000"/>
            </a:xfrm>
            <a:prstGeom prst="rect">
              <a:avLst/>
            </a:prstGeom>
            <a:blipFill>
              <a:blip r:embed="rId2">
                <a:duotone>
                  <a:schemeClr val="dk2">
                    <a:shade val="69000"/>
                    <a:hueMod val="108000"/>
                    <a:satMod val="164000"/>
                    <a:lumMod val="74000"/>
                  </a:schemeClr>
                  <a:schemeClr val="dk2">
                    <a:tint val="96000"/>
                    <a:hueMod val="88000"/>
                    <a:satMod val="140000"/>
                    <a:lumMod val="132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3" name="Oval 12"/>
            <p:cNvSpPr/>
            <p:nvPr/>
          </p:nvSpPr>
          <p:spPr>
            <a:xfrm>
              <a:off x="8761412" y="1828800"/>
              <a:ext cx="2819400" cy="2819400"/>
            </a:xfrm>
            <a:prstGeom prst="ellipse">
              <a:avLst/>
            </a:prstGeom>
            <a:gradFill flip="none" rotWithShape="1">
              <a:gsLst>
                <a:gs pos="0">
                  <a:schemeClr val="accent5">
                    <a:alpha val="7000"/>
                  </a:schemeClr>
                </a:gs>
                <a:gs pos="69000">
                  <a:schemeClr val="accent5">
                    <a:alpha val="0"/>
                  </a:schemeClr>
                </a:gs>
                <a:gs pos="36000">
                  <a:schemeClr val="accent5">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4" name="Oval 13"/>
            <p:cNvSpPr/>
            <p:nvPr/>
          </p:nvSpPr>
          <p:spPr>
            <a:xfrm>
              <a:off x="8761412" y="5870955"/>
              <a:ext cx="990600" cy="990600"/>
            </a:xfrm>
            <a:prstGeom prst="ellipse">
              <a:avLst/>
            </a:prstGeom>
            <a:gradFill flip="none" rotWithShape="1">
              <a:gsLst>
                <a:gs pos="0">
                  <a:schemeClr val="accent5">
                    <a:alpha val="14000"/>
                  </a:schemeClr>
                </a:gs>
                <a:gs pos="66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5" name="Oval 14"/>
            <p:cNvSpPr/>
            <p:nvPr/>
          </p:nvSpPr>
          <p:spPr>
            <a:xfrm>
              <a:off x="-1588" y="2667000"/>
              <a:ext cx="4191000" cy="4191000"/>
            </a:xfrm>
            <a:prstGeom prst="ellipse">
              <a:avLst/>
            </a:prstGeom>
            <a:gradFill flip="none" rotWithShape="1">
              <a:gsLst>
                <a:gs pos="0">
                  <a:schemeClr val="accent5">
                    <a:alpha val="11000"/>
                  </a:schemeClr>
                </a:gs>
                <a:gs pos="75000">
                  <a:schemeClr val="accent5">
                    <a:alpha val="0"/>
                  </a:schemeClr>
                </a:gs>
                <a:gs pos="36000">
                  <a:schemeClr val="accent5">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7" name="Freeform 5"/>
            <p:cNvSpPr/>
            <p:nvPr/>
          </p:nvSpPr>
          <p:spPr bwMode="gray">
            <a:xfrm>
              <a:off x="455612" y="2801319"/>
              <a:ext cx="11277600" cy="3602637"/>
            </a:xfrm>
            <a:custGeom>
              <a:avLst/>
              <a:gdLst/>
              <a:ahLst/>
              <a:cxnLst/>
              <a:rect l="l" t="t" r="r" b="b"/>
              <a:pathLst>
                <a:path w="10000" h="7946">
                  <a:moveTo>
                    <a:pt x="0" y="0"/>
                  </a:moveTo>
                  <a:lnTo>
                    <a:pt x="0" y="7945"/>
                  </a:lnTo>
                  <a:lnTo>
                    <a:pt x="10000" y="7946"/>
                  </a:lnTo>
                  <a:lnTo>
                    <a:pt x="10000" y="4"/>
                  </a:lnTo>
                  <a:lnTo>
                    <a:pt x="10000" y="4"/>
                  </a:lnTo>
                  <a:lnTo>
                    <a:pt x="9773" y="91"/>
                  </a:lnTo>
                  <a:lnTo>
                    <a:pt x="9547" y="175"/>
                  </a:lnTo>
                  <a:lnTo>
                    <a:pt x="9320" y="256"/>
                  </a:lnTo>
                  <a:lnTo>
                    <a:pt x="9092" y="326"/>
                  </a:lnTo>
                  <a:lnTo>
                    <a:pt x="8865" y="396"/>
                  </a:lnTo>
                  <a:lnTo>
                    <a:pt x="8637" y="462"/>
                  </a:lnTo>
                  <a:lnTo>
                    <a:pt x="8412" y="518"/>
                  </a:lnTo>
                  <a:lnTo>
                    <a:pt x="8184" y="571"/>
                  </a:lnTo>
                  <a:lnTo>
                    <a:pt x="7957" y="620"/>
                  </a:lnTo>
                  <a:lnTo>
                    <a:pt x="7734" y="662"/>
                  </a:lnTo>
                  <a:lnTo>
                    <a:pt x="7508" y="704"/>
                  </a:lnTo>
                  <a:lnTo>
                    <a:pt x="7285" y="739"/>
                  </a:lnTo>
                  <a:lnTo>
                    <a:pt x="7062" y="767"/>
                  </a:lnTo>
                  <a:lnTo>
                    <a:pt x="6840" y="795"/>
                  </a:lnTo>
                  <a:lnTo>
                    <a:pt x="6620" y="819"/>
                  </a:lnTo>
                  <a:lnTo>
                    <a:pt x="6402" y="837"/>
                  </a:lnTo>
                  <a:lnTo>
                    <a:pt x="6184" y="851"/>
                  </a:lnTo>
                  <a:lnTo>
                    <a:pt x="5968" y="865"/>
                  </a:lnTo>
                  <a:lnTo>
                    <a:pt x="5755" y="872"/>
                  </a:lnTo>
                  <a:lnTo>
                    <a:pt x="5542" y="879"/>
                  </a:lnTo>
                  <a:lnTo>
                    <a:pt x="5332" y="882"/>
                  </a:lnTo>
                  <a:lnTo>
                    <a:pt x="5124" y="879"/>
                  </a:lnTo>
                  <a:lnTo>
                    <a:pt x="4918" y="879"/>
                  </a:lnTo>
                  <a:lnTo>
                    <a:pt x="4714" y="872"/>
                  </a:lnTo>
                  <a:lnTo>
                    <a:pt x="4514" y="861"/>
                  </a:lnTo>
                  <a:lnTo>
                    <a:pt x="4316" y="851"/>
                  </a:lnTo>
                  <a:lnTo>
                    <a:pt x="4122" y="840"/>
                  </a:lnTo>
                  <a:lnTo>
                    <a:pt x="3929" y="823"/>
                  </a:lnTo>
                  <a:lnTo>
                    <a:pt x="3739" y="805"/>
                  </a:lnTo>
                  <a:lnTo>
                    <a:pt x="3553" y="788"/>
                  </a:lnTo>
                  <a:lnTo>
                    <a:pt x="3190" y="742"/>
                  </a:lnTo>
                  <a:lnTo>
                    <a:pt x="2842" y="693"/>
                  </a:lnTo>
                  <a:lnTo>
                    <a:pt x="2508" y="641"/>
                  </a:lnTo>
                  <a:lnTo>
                    <a:pt x="2192" y="585"/>
                  </a:lnTo>
                  <a:lnTo>
                    <a:pt x="1890" y="525"/>
                  </a:lnTo>
                  <a:lnTo>
                    <a:pt x="1610" y="462"/>
                  </a:lnTo>
                  <a:lnTo>
                    <a:pt x="1347" y="399"/>
                  </a:lnTo>
                  <a:lnTo>
                    <a:pt x="1105" y="336"/>
                  </a:lnTo>
                  <a:lnTo>
                    <a:pt x="883" y="277"/>
                  </a:lnTo>
                  <a:lnTo>
                    <a:pt x="686" y="221"/>
                  </a:lnTo>
                  <a:lnTo>
                    <a:pt x="508" y="168"/>
                  </a:lnTo>
                  <a:lnTo>
                    <a:pt x="358" y="123"/>
                  </a:lnTo>
                  <a:lnTo>
                    <a:pt x="232" y="81"/>
                  </a:lnTo>
                  <a:lnTo>
                    <a:pt x="59" y="21"/>
                  </a:lnTo>
                  <a:lnTo>
                    <a:pt x="0" y="0"/>
                  </a:lnTo>
                  <a:lnTo>
                    <a:pt x="0" y="0"/>
                  </a:lnTo>
                  <a:close/>
                </a:path>
              </a:pathLst>
            </a:custGeom>
            <a:solidFill>
              <a:schemeClr val="bg1"/>
            </a:solidFill>
            <a:ln>
              <a:noFill/>
            </a:ln>
          </p:spPr>
        </p:sp>
        <p:sp>
          <p:nvSpPr>
            <p:cNvPr id="9" name="Freeform 5"/>
            <p:cNvSpPr/>
            <p:nvPr/>
          </p:nvSpPr>
          <p:spPr bwMode="gray">
            <a:xfrm rot="21010068">
              <a:off x="8490951" y="2714874"/>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12"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2" name="Title 1"/>
          <p:cNvSpPr>
            <a:spLocks noGrp="1"/>
          </p:cNvSpPr>
          <p:nvPr>
            <p:ph type="title"/>
          </p:nvPr>
        </p:nvSpPr>
        <p:spPr>
          <a:xfrm>
            <a:off x="1154954" y="1060704"/>
            <a:ext cx="8833104" cy="1371600"/>
          </a:xfrm>
          <a:prstGeom prst="rect">
            <a:avLst/>
          </a:prstGeom>
        </p:spPr>
        <p:txBody>
          <a:bodyPr anchor="ctr" anchorCtr="0"/>
          <a:lstStyle>
            <a:lvl1pPr>
              <a:defRPr sz="4000"/>
            </a:lvl1pPr>
          </a:lstStyle>
          <a:p>
            <a:r>
              <a:rPr lang="ar-SA"/>
              <a:t>انقر لتحرير نمط عنوان الشكل الرئيسي</a:t>
            </a:r>
            <a:endParaRPr lang="en-US" dirty="0"/>
          </a:p>
        </p:txBody>
      </p:sp>
      <p:sp>
        <p:nvSpPr>
          <p:cNvPr id="8" name="Text Placeholder 3"/>
          <p:cNvSpPr>
            <a:spLocks noGrp="1"/>
          </p:cNvSpPr>
          <p:nvPr>
            <p:ph type="body" sz="half" idx="2"/>
          </p:nvPr>
        </p:nvSpPr>
        <p:spPr>
          <a:xfrm>
            <a:off x="1152144" y="3547872"/>
            <a:ext cx="8825659" cy="2478024"/>
          </a:xfrm>
        </p:spPr>
        <p:txBody>
          <a:bodyPr anchor="ctr">
            <a:norm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ar-SA"/>
              <a:t>انقر لتحرير أنماط نص الشكل الرئيسي</a:t>
            </a:r>
          </a:p>
        </p:txBody>
      </p:sp>
      <p:sp>
        <p:nvSpPr>
          <p:cNvPr id="4" name="Date Placeholder 3"/>
          <p:cNvSpPr>
            <a:spLocks noGrp="1"/>
          </p:cNvSpPr>
          <p:nvPr>
            <p:ph type="dt" sz="half" idx="10"/>
          </p:nvPr>
        </p:nvSpPr>
        <p:spPr/>
        <p:txBody>
          <a:bodyPr/>
          <a:lstStyle/>
          <a:p>
            <a:fld id="{B4452A34-1B73-DC46-B7BD-8541B8060D38}" type="datetimeFigureOut">
              <a:rPr lang="en-US" smtClean="0"/>
              <a:t>11/30/2023</a:t>
            </a:fld>
            <a:endParaRPr lang="en-US"/>
          </a:p>
        </p:txBody>
      </p:sp>
      <p:sp>
        <p:nvSpPr>
          <p:cNvPr id="5" name="Footer Placeholder 4"/>
          <p:cNvSpPr>
            <a:spLocks noGrp="1"/>
          </p:cNvSpPr>
          <p:nvPr>
            <p:ph type="ftr" sz="quarter" idx="11"/>
          </p:nvPr>
        </p:nvSpPr>
        <p:spPr/>
        <p:txBody>
          <a:bodyPr/>
          <a:lstStyle/>
          <a:p>
            <a:endParaRPr lang="en-US"/>
          </a:p>
        </p:txBody>
      </p:sp>
      <p:sp>
        <p:nvSpPr>
          <p:cNvPr id="11" name="Rectangle 10"/>
          <p:cNvSpPr/>
          <p:nvPr/>
        </p:nvSpPr>
        <p:spPr>
          <a:xfrm>
            <a:off x="10437812"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6" name="Slide Number Placeholder 5"/>
          <p:cNvSpPr>
            <a:spLocks noGrp="1"/>
          </p:cNvSpPr>
          <p:nvPr>
            <p:ph type="sldNum" sz="quarter" idx="12"/>
          </p:nvPr>
        </p:nvSpPr>
        <p:spPr/>
        <p:txBody>
          <a:bodyPr/>
          <a:lstStyle/>
          <a:p>
            <a:fld id="{8D522E7F-14B4-AC40-82A1-6B7B1ECB7C9E}" type="slidenum">
              <a:rPr lang="en-US" smtClean="0"/>
              <a:t>‹#›</a:t>
            </a:fld>
            <a:endParaRPr lang="en-US"/>
          </a:p>
        </p:txBody>
      </p:sp>
    </p:spTree>
    <p:extLst>
      <p:ext uri="{BB962C8B-B14F-4D97-AF65-F5344CB8AC3E}">
        <p14:creationId xmlns:p14="http://schemas.microsoft.com/office/powerpoint/2010/main" val="392345858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اقتباس مع تسمية توضيحية">
    <p:spTree>
      <p:nvGrpSpPr>
        <p:cNvPr id="1" name=""/>
        <p:cNvGrpSpPr/>
        <p:nvPr/>
      </p:nvGrpSpPr>
      <p:grpSpPr>
        <a:xfrm>
          <a:off x="0" y="0"/>
          <a:ext cx="0" cy="0"/>
          <a:chOff x="0" y="0"/>
          <a:chExt cx="0" cy="0"/>
        </a:xfrm>
      </p:grpSpPr>
      <p:grpSp>
        <p:nvGrpSpPr>
          <p:cNvPr id="7" name="Group 6"/>
          <p:cNvGrpSpPr/>
          <p:nvPr/>
        </p:nvGrpSpPr>
        <p:grpSpPr>
          <a:xfrm>
            <a:off x="-1588" y="0"/>
            <a:ext cx="12193588" cy="6861555"/>
            <a:chOff x="-1588" y="0"/>
            <a:chExt cx="12193588" cy="6861555"/>
          </a:xfrm>
        </p:grpSpPr>
        <p:sp>
          <p:nvSpPr>
            <p:cNvPr id="16" name="Rectangle 15"/>
            <p:cNvSpPr/>
            <p:nvPr/>
          </p:nvSpPr>
          <p:spPr>
            <a:xfrm>
              <a:off x="0" y="0"/>
              <a:ext cx="12192000" cy="6858000"/>
            </a:xfrm>
            <a:prstGeom prst="rect">
              <a:avLst/>
            </a:prstGeom>
            <a:blipFill>
              <a:blip r:embed="rId2">
                <a:duotone>
                  <a:schemeClr val="dk2">
                    <a:shade val="69000"/>
                    <a:hueMod val="108000"/>
                    <a:satMod val="164000"/>
                    <a:lumMod val="74000"/>
                  </a:schemeClr>
                  <a:schemeClr val="dk2">
                    <a:tint val="96000"/>
                    <a:hueMod val="88000"/>
                    <a:satMod val="140000"/>
                    <a:lumMod val="132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8" name="Oval 17"/>
            <p:cNvSpPr/>
            <p:nvPr/>
          </p:nvSpPr>
          <p:spPr>
            <a:xfrm>
              <a:off x="8761412" y="1828800"/>
              <a:ext cx="2819400" cy="2819400"/>
            </a:xfrm>
            <a:prstGeom prst="ellipse">
              <a:avLst/>
            </a:prstGeom>
            <a:gradFill flip="none" rotWithShape="1">
              <a:gsLst>
                <a:gs pos="0">
                  <a:schemeClr val="accent5">
                    <a:alpha val="7000"/>
                  </a:schemeClr>
                </a:gs>
                <a:gs pos="69000">
                  <a:schemeClr val="accent5">
                    <a:alpha val="0"/>
                  </a:schemeClr>
                </a:gs>
                <a:gs pos="36000">
                  <a:schemeClr val="accent5">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9" name="Oval 18"/>
            <p:cNvSpPr/>
            <p:nvPr/>
          </p:nvSpPr>
          <p:spPr>
            <a:xfrm>
              <a:off x="8761412" y="5870955"/>
              <a:ext cx="990600" cy="990600"/>
            </a:xfrm>
            <a:prstGeom prst="ellipse">
              <a:avLst/>
            </a:prstGeom>
            <a:gradFill flip="none" rotWithShape="1">
              <a:gsLst>
                <a:gs pos="0">
                  <a:schemeClr val="accent5">
                    <a:alpha val="14000"/>
                  </a:schemeClr>
                </a:gs>
                <a:gs pos="66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0" name="Oval 19"/>
            <p:cNvSpPr/>
            <p:nvPr/>
          </p:nvSpPr>
          <p:spPr>
            <a:xfrm>
              <a:off x="-1588" y="2667000"/>
              <a:ext cx="4191000" cy="4191000"/>
            </a:xfrm>
            <a:prstGeom prst="ellipse">
              <a:avLst/>
            </a:prstGeom>
            <a:gradFill flip="none" rotWithShape="1">
              <a:gsLst>
                <a:gs pos="0">
                  <a:schemeClr val="accent5">
                    <a:alpha val="11000"/>
                  </a:schemeClr>
                </a:gs>
                <a:gs pos="75000">
                  <a:schemeClr val="accent5">
                    <a:alpha val="0"/>
                  </a:schemeClr>
                </a:gs>
                <a:gs pos="36000">
                  <a:schemeClr val="accent5">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3" name="Freeform 5"/>
            <p:cNvSpPr/>
            <p:nvPr/>
          </p:nvSpPr>
          <p:spPr bwMode="gray">
            <a:xfrm rot="21010068">
              <a:off x="8490951" y="4185117"/>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14" name="Freeform 5"/>
            <p:cNvSpPr/>
            <p:nvPr/>
          </p:nvSpPr>
          <p:spPr bwMode="gray">
            <a:xfrm>
              <a:off x="455612" y="4241801"/>
              <a:ext cx="11277600" cy="2337161"/>
            </a:xfrm>
            <a:custGeom>
              <a:avLst/>
              <a:gdLst/>
              <a:ahLst/>
              <a:cxnLst/>
              <a:rect l="l" t="t" r="r" b="b"/>
              <a:pathLst>
                <a:path w="10000" h="8000">
                  <a:moveTo>
                    <a:pt x="0" y="0"/>
                  </a:moveTo>
                  <a:lnTo>
                    <a:pt x="0" y="7970"/>
                  </a:lnTo>
                  <a:lnTo>
                    <a:pt x="10000" y="8000"/>
                  </a:lnTo>
                  <a:lnTo>
                    <a:pt x="10000" y="7"/>
                  </a:lnTo>
                  <a:lnTo>
                    <a:pt x="10000" y="7"/>
                  </a:lnTo>
                  <a:lnTo>
                    <a:pt x="9773" y="156"/>
                  </a:lnTo>
                  <a:lnTo>
                    <a:pt x="9547" y="298"/>
                  </a:lnTo>
                  <a:lnTo>
                    <a:pt x="9320" y="437"/>
                  </a:lnTo>
                  <a:lnTo>
                    <a:pt x="9092" y="556"/>
                  </a:lnTo>
                  <a:lnTo>
                    <a:pt x="8865" y="676"/>
                  </a:lnTo>
                  <a:lnTo>
                    <a:pt x="8637" y="788"/>
                  </a:lnTo>
                  <a:lnTo>
                    <a:pt x="8412" y="884"/>
                  </a:lnTo>
                  <a:lnTo>
                    <a:pt x="8184" y="975"/>
                  </a:lnTo>
                  <a:lnTo>
                    <a:pt x="7957" y="1058"/>
                  </a:lnTo>
                  <a:lnTo>
                    <a:pt x="7734" y="1130"/>
                  </a:lnTo>
                  <a:lnTo>
                    <a:pt x="7508" y="1202"/>
                  </a:lnTo>
                  <a:lnTo>
                    <a:pt x="7285" y="1262"/>
                  </a:lnTo>
                  <a:lnTo>
                    <a:pt x="7062" y="1309"/>
                  </a:lnTo>
                  <a:lnTo>
                    <a:pt x="6840" y="1358"/>
                  </a:lnTo>
                  <a:lnTo>
                    <a:pt x="6620" y="1399"/>
                  </a:lnTo>
                  <a:lnTo>
                    <a:pt x="6402" y="1428"/>
                  </a:lnTo>
                  <a:lnTo>
                    <a:pt x="6184" y="1453"/>
                  </a:lnTo>
                  <a:lnTo>
                    <a:pt x="5968" y="1477"/>
                  </a:lnTo>
                  <a:lnTo>
                    <a:pt x="5755" y="1488"/>
                  </a:lnTo>
                  <a:lnTo>
                    <a:pt x="5542" y="1500"/>
                  </a:lnTo>
                  <a:lnTo>
                    <a:pt x="5332" y="1506"/>
                  </a:lnTo>
                  <a:lnTo>
                    <a:pt x="5124" y="1500"/>
                  </a:lnTo>
                  <a:lnTo>
                    <a:pt x="4918" y="1500"/>
                  </a:lnTo>
                  <a:lnTo>
                    <a:pt x="4714" y="1488"/>
                  </a:lnTo>
                  <a:lnTo>
                    <a:pt x="4514" y="1470"/>
                  </a:lnTo>
                  <a:lnTo>
                    <a:pt x="4316" y="1453"/>
                  </a:lnTo>
                  <a:lnTo>
                    <a:pt x="4122" y="1434"/>
                  </a:lnTo>
                  <a:lnTo>
                    <a:pt x="3929" y="1405"/>
                  </a:lnTo>
                  <a:lnTo>
                    <a:pt x="3739" y="1374"/>
                  </a:lnTo>
                  <a:lnTo>
                    <a:pt x="3553" y="1346"/>
                  </a:lnTo>
                  <a:lnTo>
                    <a:pt x="3190" y="1267"/>
                  </a:lnTo>
                  <a:lnTo>
                    <a:pt x="2842" y="1183"/>
                  </a:lnTo>
                  <a:lnTo>
                    <a:pt x="2508" y="1095"/>
                  </a:lnTo>
                  <a:lnTo>
                    <a:pt x="2192" y="998"/>
                  </a:lnTo>
                  <a:lnTo>
                    <a:pt x="1890" y="897"/>
                  </a:lnTo>
                  <a:lnTo>
                    <a:pt x="1610" y="788"/>
                  </a:lnTo>
                  <a:lnTo>
                    <a:pt x="1347" y="681"/>
                  </a:lnTo>
                  <a:lnTo>
                    <a:pt x="1105" y="574"/>
                  </a:lnTo>
                  <a:lnTo>
                    <a:pt x="883" y="473"/>
                  </a:lnTo>
                  <a:lnTo>
                    <a:pt x="686" y="377"/>
                  </a:lnTo>
                  <a:lnTo>
                    <a:pt x="508" y="286"/>
                  </a:lnTo>
                  <a:lnTo>
                    <a:pt x="358" y="210"/>
                  </a:lnTo>
                  <a:lnTo>
                    <a:pt x="232" y="138"/>
                  </a:lnTo>
                  <a:lnTo>
                    <a:pt x="59" y="35"/>
                  </a:lnTo>
                  <a:lnTo>
                    <a:pt x="0" y="0"/>
                  </a:lnTo>
                  <a:lnTo>
                    <a:pt x="0" y="0"/>
                  </a:lnTo>
                  <a:close/>
                </a:path>
              </a:pathLst>
            </a:custGeom>
            <a:solidFill>
              <a:schemeClr val="bg1"/>
            </a:solidFill>
            <a:ln>
              <a:noFill/>
            </a:ln>
          </p:spPr>
        </p:sp>
        <p:sp>
          <p:nvSpPr>
            <p:cNvPr id="17"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12" name="TextBox 11"/>
          <p:cNvSpPr txBox="1"/>
          <p:nvPr/>
        </p:nvSpPr>
        <p:spPr bwMode="gray">
          <a:xfrm>
            <a:off x="898295" y="596767"/>
            <a:ext cx="801912" cy="1569660"/>
          </a:xfrm>
          <a:prstGeom prst="rect">
            <a:avLst/>
          </a:prstGeom>
          <a:noFill/>
        </p:spPr>
        <p:txBody>
          <a:bodyPr wrap="square" rtlCol="0">
            <a:spAutoFit/>
          </a:bodyPr>
          <a:lstStyle>
            <a:defPPr>
              <a:defRPr lang="en-US"/>
            </a:defPPr>
            <a:lvl1pPr algn="r">
              <a:defRPr sz="12200" b="0" i="0">
                <a:solidFill>
                  <a:schemeClr val="bg2">
                    <a:lumMod val="40000"/>
                    <a:lumOff val="60000"/>
                  </a:schemeClr>
                </a:solidFill>
                <a:latin typeface="Arial"/>
                <a:cs typeface="Arial"/>
              </a:defRPr>
            </a:lvl1pPr>
          </a:lstStyle>
          <a:p>
            <a:pPr lvl="0"/>
            <a:r>
              <a:rPr lang="en-US" sz="9600" dirty="0">
                <a:solidFill>
                  <a:schemeClr val="tx2">
                    <a:lumMod val="40000"/>
                    <a:lumOff val="60000"/>
                  </a:schemeClr>
                </a:solidFill>
              </a:rPr>
              <a:t>“</a:t>
            </a:r>
          </a:p>
        </p:txBody>
      </p:sp>
      <p:sp>
        <p:nvSpPr>
          <p:cNvPr id="15" name="TextBox 14"/>
          <p:cNvSpPr txBox="1"/>
          <p:nvPr/>
        </p:nvSpPr>
        <p:spPr bwMode="gray">
          <a:xfrm>
            <a:off x="9715063" y="2629300"/>
            <a:ext cx="801912" cy="1569660"/>
          </a:xfrm>
          <a:prstGeom prst="rect">
            <a:avLst/>
          </a:prstGeom>
          <a:noFill/>
        </p:spPr>
        <p:txBody>
          <a:bodyPr wrap="square" rtlCol="0">
            <a:spAutoFit/>
          </a:bodyPr>
          <a:lstStyle>
            <a:defPPr>
              <a:defRPr lang="en-US"/>
            </a:defPPr>
            <a:lvl1pPr algn="r">
              <a:defRPr sz="12200" b="0" i="0">
                <a:solidFill>
                  <a:schemeClr val="bg2">
                    <a:lumMod val="40000"/>
                    <a:lumOff val="60000"/>
                  </a:schemeClr>
                </a:solidFill>
                <a:latin typeface="Arial"/>
                <a:cs typeface="Arial"/>
              </a:defRPr>
            </a:lvl1pPr>
          </a:lstStyle>
          <a:p>
            <a:pPr lvl="0"/>
            <a:r>
              <a:rPr lang="en-US" sz="9600" dirty="0">
                <a:solidFill>
                  <a:schemeClr val="tx2">
                    <a:lumMod val="40000"/>
                    <a:lumOff val="60000"/>
                  </a:schemeClr>
                </a:solidFill>
              </a:rPr>
              <a:t>”</a:t>
            </a:r>
          </a:p>
        </p:txBody>
      </p:sp>
      <p:sp>
        <p:nvSpPr>
          <p:cNvPr id="2" name="Title 1"/>
          <p:cNvSpPr>
            <a:spLocks noGrp="1"/>
          </p:cNvSpPr>
          <p:nvPr>
            <p:ph type="title"/>
          </p:nvPr>
        </p:nvSpPr>
        <p:spPr>
          <a:xfrm>
            <a:off x="1574801" y="980517"/>
            <a:ext cx="8460983" cy="2698249"/>
          </a:xfrm>
          <a:prstGeom prst="rect">
            <a:avLst/>
          </a:prstGeom>
        </p:spPr>
        <p:txBody>
          <a:bodyPr anchor="ctr" anchorCtr="0"/>
          <a:lstStyle>
            <a:lvl1pPr>
              <a:defRPr sz="4000"/>
            </a:lvl1pPr>
          </a:lstStyle>
          <a:p>
            <a:r>
              <a:rPr lang="ar-SA"/>
              <a:t>انقر لتحرير نمط عنوان الشكل الرئيسي</a:t>
            </a:r>
            <a:endParaRPr lang="en-US" dirty="0"/>
          </a:p>
        </p:txBody>
      </p:sp>
      <p:sp>
        <p:nvSpPr>
          <p:cNvPr id="11" name="Text Placeholder 3"/>
          <p:cNvSpPr>
            <a:spLocks noGrp="1"/>
          </p:cNvSpPr>
          <p:nvPr>
            <p:ph type="body" sz="half" idx="14"/>
          </p:nvPr>
        </p:nvSpPr>
        <p:spPr bwMode="gray">
          <a:xfrm>
            <a:off x="1945945" y="3679987"/>
            <a:ext cx="7725772" cy="342174"/>
          </a:xfrm>
        </p:spPr>
        <p:txBody>
          <a:bodyPr vert="horz" lIns="91440" tIns="45720" rIns="91440" bIns="45720" rtlCol="0" anchor="t">
            <a:normAutofit/>
          </a:bodyPr>
          <a:lstStyle>
            <a:lvl1pPr>
              <a:buNone/>
              <a:defRPr lang="en-US" sz="1400" cap="small" dirty="0">
                <a:solidFill>
                  <a:schemeClr val="tx2">
                    <a:lumMod val="40000"/>
                    <a:lumOff val="60000"/>
                  </a:schemeClr>
                </a:solidFill>
                <a:latin typeface="+mn-lt"/>
              </a:defRPr>
            </a:lvl1pPr>
          </a:lstStyle>
          <a:p>
            <a:pPr marL="0" lvl="0" indent="0">
              <a:buNone/>
            </a:pPr>
            <a:r>
              <a:rPr lang="ar-SA"/>
              <a:t>انقر لتحرير أنماط نص الشكل الرئيسي</a:t>
            </a:r>
          </a:p>
        </p:txBody>
      </p:sp>
      <p:sp>
        <p:nvSpPr>
          <p:cNvPr id="10" name="Text Placeholder 3"/>
          <p:cNvSpPr>
            <a:spLocks noGrp="1"/>
          </p:cNvSpPr>
          <p:nvPr>
            <p:ph type="body" sz="half" idx="2"/>
          </p:nvPr>
        </p:nvSpPr>
        <p:spPr>
          <a:xfrm>
            <a:off x="1154954" y="5029198"/>
            <a:ext cx="8825659" cy="997858"/>
          </a:xfrm>
        </p:spPr>
        <p:txBody>
          <a:bodyPr anchor="ctr">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ar-SA"/>
              <a:t>انقر لتحرير أنماط نص الشكل الرئيسي</a:t>
            </a:r>
          </a:p>
        </p:txBody>
      </p:sp>
      <p:sp>
        <p:nvSpPr>
          <p:cNvPr id="4" name="Date Placeholder 3"/>
          <p:cNvSpPr>
            <a:spLocks noGrp="1"/>
          </p:cNvSpPr>
          <p:nvPr>
            <p:ph type="dt" sz="half" idx="10"/>
          </p:nvPr>
        </p:nvSpPr>
        <p:spPr/>
        <p:txBody>
          <a:bodyPr/>
          <a:lstStyle/>
          <a:p>
            <a:fld id="{B4452A34-1B73-DC46-B7BD-8541B8060D38}" type="datetimeFigureOut">
              <a:rPr lang="en-US" smtClean="0"/>
              <a:t>11/30/2023</a:t>
            </a:fld>
            <a:endParaRPr lang="en-US"/>
          </a:p>
        </p:txBody>
      </p:sp>
      <p:sp>
        <p:nvSpPr>
          <p:cNvPr id="5" name="Footer Placeholder 4"/>
          <p:cNvSpPr>
            <a:spLocks noGrp="1"/>
          </p:cNvSpPr>
          <p:nvPr>
            <p:ph type="ftr" sz="quarter" idx="11"/>
          </p:nvPr>
        </p:nvSpPr>
        <p:spPr/>
        <p:txBody>
          <a:bodyPr/>
          <a:lstStyle/>
          <a:p>
            <a:endParaRPr lang="en-US"/>
          </a:p>
        </p:txBody>
      </p:sp>
      <p:sp>
        <p:nvSpPr>
          <p:cNvPr id="23" name="Rectangle 22"/>
          <p:cNvSpPr/>
          <p:nvPr/>
        </p:nvSpPr>
        <p:spPr>
          <a:xfrm>
            <a:off x="10437812"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6" name="Slide Number Placeholder 5"/>
          <p:cNvSpPr>
            <a:spLocks noGrp="1"/>
          </p:cNvSpPr>
          <p:nvPr>
            <p:ph type="sldNum" sz="quarter" idx="12"/>
          </p:nvPr>
        </p:nvSpPr>
        <p:spPr/>
        <p:txBody>
          <a:bodyPr/>
          <a:lstStyle/>
          <a:p>
            <a:fld id="{8D522E7F-14B4-AC40-82A1-6B7B1ECB7C9E}" type="slidenum">
              <a:rPr lang="en-US" smtClean="0"/>
              <a:t>‹#›</a:t>
            </a:fld>
            <a:endParaRPr lang="en-US"/>
          </a:p>
        </p:txBody>
      </p:sp>
    </p:spTree>
    <p:extLst>
      <p:ext uri="{BB962C8B-B14F-4D97-AF65-F5344CB8AC3E}">
        <p14:creationId xmlns:p14="http://schemas.microsoft.com/office/powerpoint/2010/main" val="172235716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بطاقة اسم">
    <p:spTree>
      <p:nvGrpSpPr>
        <p:cNvPr id="1" name=""/>
        <p:cNvGrpSpPr/>
        <p:nvPr/>
      </p:nvGrpSpPr>
      <p:grpSpPr>
        <a:xfrm>
          <a:off x="0" y="0"/>
          <a:ext cx="0" cy="0"/>
          <a:chOff x="0" y="0"/>
          <a:chExt cx="0" cy="0"/>
        </a:xfrm>
      </p:grpSpPr>
      <p:grpSp>
        <p:nvGrpSpPr>
          <p:cNvPr id="16" name="Group 15"/>
          <p:cNvGrpSpPr/>
          <p:nvPr/>
        </p:nvGrpSpPr>
        <p:grpSpPr>
          <a:xfrm>
            <a:off x="-1588" y="0"/>
            <a:ext cx="12193588" cy="6861555"/>
            <a:chOff x="-1588" y="0"/>
            <a:chExt cx="12193588" cy="6861555"/>
          </a:xfrm>
        </p:grpSpPr>
        <p:sp>
          <p:nvSpPr>
            <p:cNvPr id="11" name="Rectangle 10"/>
            <p:cNvSpPr/>
            <p:nvPr/>
          </p:nvSpPr>
          <p:spPr>
            <a:xfrm>
              <a:off x="0" y="0"/>
              <a:ext cx="12192000" cy="6858000"/>
            </a:xfrm>
            <a:prstGeom prst="rect">
              <a:avLst/>
            </a:prstGeom>
            <a:blipFill>
              <a:blip r:embed="rId2">
                <a:duotone>
                  <a:schemeClr val="dk2">
                    <a:shade val="69000"/>
                    <a:hueMod val="108000"/>
                    <a:satMod val="164000"/>
                    <a:lumMod val="74000"/>
                  </a:schemeClr>
                  <a:schemeClr val="dk2">
                    <a:tint val="96000"/>
                    <a:hueMod val="88000"/>
                    <a:satMod val="140000"/>
                    <a:lumMod val="132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3" name="Oval 12"/>
            <p:cNvSpPr/>
            <p:nvPr/>
          </p:nvSpPr>
          <p:spPr>
            <a:xfrm>
              <a:off x="8761412" y="1828800"/>
              <a:ext cx="2819400" cy="2819400"/>
            </a:xfrm>
            <a:prstGeom prst="ellipse">
              <a:avLst/>
            </a:prstGeom>
            <a:gradFill flip="none" rotWithShape="1">
              <a:gsLst>
                <a:gs pos="0">
                  <a:schemeClr val="accent5">
                    <a:alpha val="7000"/>
                  </a:schemeClr>
                </a:gs>
                <a:gs pos="69000">
                  <a:schemeClr val="accent5">
                    <a:alpha val="0"/>
                  </a:schemeClr>
                </a:gs>
                <a:gs pos="36000">
                  <a:schemeClr val="accent5">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4" name="Oval 13"/>
            <p:cNvSpPr/>
            <p:nvPr/>
          </p:nvSpPr>
          <p:spPr>
            <a:xfrm>
              <a:off x="8761412" y="5870955"/>
              <a:ext cx="990600" cy="990600"/>
            </a:xfrm>
            <a:prstGeom prst="ellipse">
              <a:avLst/>
            </a:prstGeom>
            <a:gradFill flip="none" rotWithShape="1">
              <a:gsLst>
                <a:gs pos="0">
                  <a:schemeClr val="accent5">
                    <a:alpha val="14000"/>
                  </a:schemeClr>
                </a:gs>
                <a:gs pos="66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5" name="Oval 14"/>
            <p:cNvSpPr/>
            <p:nvPr/>
          </p:nvSpPr>
          <p:spPr>
            <a:xfrm>
              <a:off x="-1588" y="2667000"/>
              <a:ext cx="4191000" cy="4191000"/>
            </a:xfrm>
            <a:prstGeom prst="ellipse">
              <a:avLst/>
            </a:prstGeom>
            <a:gradFill flip="none" rotWithShape="1">
              <a:gsLst>
                <a:gs pos="0">
                  <a:schemeClr val="accent5">
                    <a:alpha val="11000"/>
                  </a:schemeClr>
                </a:gs>
                <a:gs pos="75000">
                  <a:schemeClr val="accent5">
                    <a:alpha val="0"/>
                  </a:schemeClr>
                </a:gs>
                <a:gs pos="36000">
                  <a:schemeClr val="accent5">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7" name="Freeform 5"/>
            <p:cNvSpPr/>
            <p:nvPr/>
          </p:nvSpPr>
          <p:spPr bwMode="gray">
            <a:xfrm rot="21010068">
              <a:off x="8490951" y="4193583"/>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8" name="Freeform 5"/>
            <p:cNvSpPr/>
            <p:nvPr/>
          </p:nvSpPr>
          <p:spPr bwMode="gray">
            <a:xfrm>
              <a:off x="455612" y="4241801"/>
              <a:ext cx="11277600" cy="2337161"/>
            </a:xfrm>
            <a:custGeom>
              <a:avLst/>
              <a:gdLst/>
              <a:ahLst/>
              <a:cxnLst/>
              <a:rect l="l" t="t" r="r" b="b"/>
              <a:pathLst>
                <a:path w="10000" h="8000">
                  <a:moveTo>
                    <a:pt x="0" y="0"/>
                  </a:moveTo>
                  <a:lnTo>
                    <a:pt x="0" y="7970"/>
                  </a:lnTo>
                  <a:lnTo>
                    <a:pt x="10000" y="8000"/>
                  </a:lnTo>
                  <a:lnTo>
                    <a:pt x="10000" y="7"/>
                  </a:lnTo>
                  <a:lnTo>
                    <a:pt x="10000" y="7"/>
                  </a:lnTo>
                  <a:lnTo>
                    <a:pt x="9773" y="156"/>
                  </a:lnTo>
                  <a:lnTo>
                    <a:pt x="9547" y="298"/>
                  </a:lnTo>
                  <a:lnTo>
                    <a:pt x="9320" y="437"/>
                  </a:lnTo>
                  <a:lnTo>
                    <a:pt x="9092" y="556"/>
                  </a:lnTo>
                  <a:lnTo>
                    <a:pt x="8865" y="676"/>
                  </a:lnTo>
                  <a:lnTo>
                    <a:pt x="8637" y="788"/>
                  </a:lnTo>
                  <a:lnTo>
                    <a:pt x="8412" y="884"/>
                  </a:lnTo>
                  <a:lnTo>
                    <a:pt x="8184" y="975"/>
                  </a:lnTo>
                  <a:lnTo>
                    <a:pt x="7957" y="1058"/>
                  </a:lnTo>
                  <a:lnTo>
                    <a:pt x="7734" y="1130"/>
                  </a:lnTo>
                  <a:lnTo>
                    <a:pt x="7508" y="1202"/>
                  </a:lnTo>
                  <a:lnTo>
                    <a:pt x="7285" y="1262"/>
                  </a:lnTo>
                  <a:lnTo>
                    <a:pt x="7062" y="1309"/>
                  </a:lnTo>
                  <a:lnTo>
                    <a:pt x="6840" y="1358"/>
                  </a:lnTo>
                  <a:lnTo>
                    <a:pt x="6620" y="1399"/>
                  </a:lnTo>
                  <a:lnTo>
                    <a:pt x="6402" y="1428"/>
                  </a:lnTo>
                  <a:lnTo>
                    <a:pt x="6184" y="1453"/>
                  </a:lnTo>
                  <a:lnTo>
                    <a:pt x="5968" y="1477"/>
                  </a:lnTo>
                  <a:lnTo>
                    <a:pt x="5755" y="1488"/>
                  </a:lnTo>
                  <a:lnTo>
                    <a:pt x="5542" y="1500"/>
                  </a:lnTo>
                  <a:lnTo>
                    <a:pt x="5332" y="1506"/>
                  </a:lnTo>
                  <a:lnTo>
                    <a:pt x="5124" y="1500"/>
                  </a:lnTo>
                  <a:lnTo>
                    <a:pt x="4918" y="1500"/>
                  </a:lnTo>
                  <a:lnTo>
                    <a:pt x="4714" y="1488"/>
                  </a:lnTo>
                  <a:lnTo>
                    <a:pt x="4514" y="1470"/>
                  </a:lnTo>
                  <a:lnTo>
                    <a:pt x="4316" y="1453"/>
                  </a:lnTo>
                  <a:lnTo>
                    <a:pt x="4122" y="1434"/>
                  </a:lnTo>
                  <a:lnTo>
                    <a:pt x="3929" y="1405"/>
                  </a:lnTo>
                  <a:lnTo>
                    <a:pt x="3739" y="1374"/>
                  </a:lnTo>
                  <a:lnTo>
                    <a:pt x="3553" y="1346"/>
                  </a:lnTo>
                  <a:lnTo>
                    <a:pt x="3190" y="1267"/>
                  </a:lnTo>
                  <a:lnTo>
                    <a:pt x="2842" y="1183"/>
                  </a:lnTo>
                  <a:lnTo>
                    <a:pt x="2508" y="1095"/>
                  </a:lnTo>
                  <a:lnTo>
                    <a:pt x="2192" y="998"/>
                  </a:lnTo>
                  <a:lnTo>
                    <a:pt x="1890" y="897"/>
                  </a:lnTo>
                  <a:lnTo>
                    <a:pt x="1610" y="788"/>
                  </a:lnTo>
                  <a:lnTo>
                    <a:pt x="1347" y="681"/>
                  </a:lnTo>
                  <a:lnTo>
                    <a:pt x="1105" y="574"/>
                  </a:lnTo>
                  <a:lnTo>
                    <a:pt x="883" y="473"/>
                  </a:lnTo>
                  <a:lnTo>
                    <a:pt x="686" y="377"/>
                  </a:lnTo>
                  <a:lnTo>
                    <a:pt x="508" y="286"/>
                  </a:lnTo>
                  <a:lnTo>
                    <a:pt x="358" y="210"/>
                  </a:lnTo>
                  <a:lnTo>
                    <a:pt x="232" y="138"/>
                  </a:lnTo>
                  <a:lnTo>
                    <a:pt x="59" y="35"/>
                  </a:lnTo>
                  <a:lnTo>
                    <a:pt x="0" y="0"/>
                  </a:lnTo>
                  <a:lnTo>
                    <a:pt x="0" y="0"/>
                  </a:lnTo>
                  <a:close/>
                </a:path>
              </a:pathLst>
            </a:custGeom>
            <a:solidFill>
              <a:schemeClr val="bg1"/>
            </a:solidFill>
            <a:ln>
              <a:noFill/>
            </a:ln>
          </p:spPr>
        </p:sp>
        <p:sp>
          <p:nvSpPr>
            <p:cNvPr id="12"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2" name="Title 1"/>
          <p:cNvSpPr>
            <a:spLocks noGrp="1"/>
          </p:cNvSpPr>
          <p:nvPr>
            <p:ph type="title"/>
          </p:nvPr>
        </p:nvSpPr>
        <p:spPr>
          <a:xfrm>
            <a:off x="1154954" y="2373525"/>
            <a:ext cx="8865623" cy="1819656"/>
          </a:xfrm>
          <a:prstGeom prst="rect">
            <a:avLst/>
          </a:prstGeom>
        </p:spPr>
        <p:txBody>
          <a:bodyPr anchor="b"/>
          <a:lstStyle>
            <a:lvl1pPr algn="l">
              <a:defRPr sz="4000" b="0" cap="none"/>
            </a:lvl1pPr>
          </a:lstStyle>
          <a:p>
            <a:r>
              <a:rPr lang="ar-SA"/>
              <a:t>انقر لتحرير نمط عنوان الشكل الرئيسي</a:t>
            </a:r>
            <a:endParaRPr lang="en-US" dirty="0"/>
          </a:p>
        </p:txBody>
      </p:sp>
      <p:sp>
        <p:nvSpPr>
          <p:cNvPr id="3" name="Text Placeholder 2"/>
          <p:cNvSpPr>
            <a:spLocks noGrp="1"/>
          </p:cNvSpPr>
          <p:nvPr>
            <p:ph type="body" idx="1"/>
          </p:nvPr>
        </p:nvSpPr>
        <p:spPr>
          <a:xfrm>
            <a:off x="1154954" y="5029200"/>
            <a:ext cx="8825659" cy="860400"/>
          </a:xfrm>
        </p:spPr>
        <p:txBody>
          <a:bodyPr anchor="t"/>
          <a:lstStyle>
            <a:lvl1pPr marL="0" indent="0" algn="l">
              <a:buNone/>
              <a:defRPr sz="2000" cap="none">
                <a:solidFill>
                  <a:schemeClr val="accent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ar-SA"/>
              <a:t>انقر لتحرير أنماط نص الشكل الرئيسي</a:t>
            </a:r>
          </a:p>
        </p:txBody>
      </p:sp>
      <p:sp>
        <p:nvSpPr>
          <p:cNvPr id="4" name="Date Placeholder 3"/>
          <p:cNvSpPr>
            <a:spLocks noGrp="1"/>
          </p:cNvSpPr>
          <p:nvPr>
            <p:ph type="dt" sz="half" idx="10"/>
          </p:nvPr>
        </p:nvSpPr>
        <p:spPr/>
        <p:txBody>
          <a:bodyPr/>
          <a:lstStyle/>
          <a:p>
            <a:fld id="{B4452A34-1B73-DC46-B7BD-8541B8060D38}" type="datetimeFigureOut">
              <a:rPr lang="en-US" smtClean="0"/>
              <a:t>11/30/2023</a:t>
            </a:fld>
            <a:endParaRPr lang="en-US"/>
          </a:p>
        </p:txBody>
      </p:sp>
      <p:sp>
        <p:nvSpPr>
          <p:cNvPr id="5" name="Footer Placeholder 4"/>
          <p:cNvSpPr>
            <a:spLocks noGrp="1"/>
          </p:cNvSpPr>
          <p:nvPr>
            <p:ph type="ftr" sz="quarter" idx="11"/>
          </p:nvPr>
        </p:nvSpPr>
        <p:spPr/>
        <p:txBody>
          <a:bodyPr/>
          <a:lstStyle/>
          <a:p>
            <a:endParaRPr lang="en-US"/>
          </a:p>
        </p:txBody>
      </p:sp>
      <p:sp>
        <p:nvSpPr>
          <p:cNvPr id="10" name="Rectangle 9"/>
          <p:cNvSpPr/>
          <p:nvPr/>
        </p:nvSpPr>
        <p:spPr>
          <a:xfrm>
            <a:off x="10437812"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6" name="Slide Number Placeholder 5"/>
          <p:cNvSpPr>
            <a:spLocks noGrp="1"/>
          </p:cNvSpPr>
          <p:nvPr>
            <p:ph type="sldNum" sz="quarter" idx="12"/>
          </p:nvPr>
        </p:nvSpPr>
        <p:spPr/>
        <p:txBody>
          <a:bodyPr/>
          <a:lstStyle/>
          <a:p>
            <a:fld id="{8D522E7F-14B4-AC40-82A1-6B7B1ECB7C9E}" type="slidenum">
              <a:rPr lang="en-US" smtClean="0"/>
              <a:t>‹#›</a:t>
            </a:fld>
            <a:endParaRPr lang="en-US"/>
          </a:p>
        </p:txBody>
      </p:sp>
    </p:spTree>
    <p:extLst>
      <p:ext uri="{BB962C8B-B14F-4D97-AF65-F5344CB8AC3E}">
        <p14:creationId xmlns:p14="http://schemas.microsoft.com/office/powerpoint/2010/main" val="49896800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3 أعمدة">
    <p:spTree>
      <p:nvGrpSpPr>
        <p:cNvPr id="1" name=""/>
        <p:cNvGrpSpPr/>
        <p:nvPr/>
      </p:nvGrpSpPr>
      <p:grpSpPr>
        <a:xfrm>
          <a:off x="0" y="0"/>
          <a:ext cx="0" cy="0"/>
          <a:chOff x="0" y="0"/>
          <a:chExt cx="0" cy="0"/>
        </a:xfrm>
      </p:grpSpPr>
      <p:sp>
        <p:nvSpPr>
          <p:cNvPr id="2" name="Title 1"/>
          <p:cNvSpPr>
            <a:spLocks noGrp="1"/>
          </p:cNvSpPr>
          <p:nvPr>
            <p:ph type="title"/>
          </p:nvPr>
        </p:nvSpPr>
        <p:spPr>
          <a:xfrm>
            <a:off x="1154954" y="973668"/>
            <a:ext cx="8825659" cy="706964"/>
          </a:xfrm>
          <a:prstGeom prst="rect">
            <a:avLst/>
          </a:prstGeom>
        </p:spPr>
        <p:txBody>
          <a:bodyPr/>
          <a:lstStyle>
            <a:lvl1pPr>
              <a:defRPr sz="3600"/>
            </a:lvl1pPr>
          </a:lstStyle>
          <a:p>
            <a:r>
              <a:rPr lang="ar-SA"/>
              <a:t>انقر لتحرير نمط عنوان الشكل الرئيسي</a:t>
            </a:r>
            <a:endParaRPr lang="en-US" dirty="0"/>
          </a:p>
        </p:txBody>
      </p:sp>
      <p:sp>
        <p:nvSpPr>
          <p:cNvPr id="3" name="Text Placeholder 2"/>
          <p:cNvSpPr>
            <a:spLocks noGrp="1"/>
          </p:cNvSpPr>
          <p:nvPr>
            <p:ph type="body" idx="1"/>
          </p:nvPr>
        </p:nvSpPr>
        <p:spPr>
          <a:xfrm>
            <a:off x="1154954" y="2603500"/>
            <a:ext cx="3129168" cy="576261"/>
          </a:xfrm>
        </p:spPr>
        <p:txBody>
          <a:bodyPr anchor="b">
            <a:noAutofit/>
          </a:bodyPr>
          <a:lstStyle>
            <a:lvl1pPr marL="0" indent="0">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ar-SA"/>
              <a:t>انقر لتحرير أنماط نص الشكل الرئيسي</a:t>
            </a:r>
          </a:p>
        </p:txBody>
      </p:sp>
      <p:sp>
        <p:nvSpPr>
          <p:cNvPr id="16" name="Text Placeholder 3"/>
          <p:cNvSpPr>
            <a:spLocks noGrp="1"/>
          </p:cNvSpPr>
          <p:nvPr>
            <p:ph type="body" sz="half" idx="15"/>
          </p:nvPr>
        </p:nvSpPr>
        <p:spPr>
          <a:xfrm>
            <a:off x="1154954" y="3179764"/>
            <a:ext cx="3129168" cy="2847290"/>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ar-SA"/>
              <a:t>انقر لتحرير أنماط نص الشكل الرئيسي</a:t>
            </a:r>
          </a:p>
        </p:txBody>
      </p:sp>
      <p:sp>
        <p:nvSpPr>
          <p:cNvPr id="5" name="Text Placeholder 4"/>
          <p:cNvSpPr>
            <a:spLocks noGrp="1"/>
          </p:cNvSpPr>
          <p:nvPr>
            <p:ph type="body" sz="quarter" idx="3"/>
          </p:nvPr>
        </p:nvSpPr>
        <p:spPr>
          <a:xfrm>
            <a:off x="4512721" y="2603500"/>
            <a:ext cx="3145380" cy="576261"/>
          </a:xfrm>
        </p:spPr>
        <p:txBody>
          <a:bodyPr anchor="b">
            <a:noAutofit/>
          </a:bodyPr>
          <a:lstStyle>
            <a:lvl1pPr marL="0" indent="0">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ar-SA"/>
              <a:t>انقر لتحرير أنماط نص الشكل الرئيسي</a:t>
            </a:r>
          </a:p>
        </p:txBody>
      </p:sp>
      <p:sp>
        <p:nvSpPr>
          <p:cNvPr id="19" name="Text Placeholder 3"/>
          <p:cNvSpPr>
            <a:spLocks noGrp="1"/>
          </p:cNvSpPr>
          <p:nvPr>
            <p:ph type="body" sz="half" idx="16"/>
          </p:nvPr>
        </p:nvSpPr>
        <p:spPr>
          <a:xfrm>
            <a:off x="4512721" y="3179764"/>
            <a:ext cx="3145380" cy="2847290"/>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ar-SA"/>
              <a:t>انقر لتحرير أنماط نص الشكل الرئيسي</a:t>
            </a:r>
          </a:p>
        </p:txBody>
      </p:sp>
      <p:sp>
        <p:nvSpPr>
          <p:cNvPr id="14" name="Text Placeholder 4"/>
          <p:cNvSpPr>
            <a:spLocks noGrp="1"/>
          </p:cNvSpPr>
          <p:nvPr>
            <p:ph type="body" sz="quarter" idx="13"/>
          </p:nvPr>
        </p:nvSpPr>
        <p:spPr>
          <a:xfrm>
            <a:off x="7886700" y="2595032"/>
            <a:ext cx="3161029" cy="584732"/>
          </a:xfrm>
        </p:spPr>
        <p:txBody>
          <a:bodyPr anchor="b">
            <a:noAutofit/>
          </a:bodyPr>
          <a:lstStyle>
            <a:lvl1pPr marL="0" indent="0">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ar-SA"/>
              <a:t>انقر لتحرير أنماط نص الشكل الرئيسي</a:t>
            </a:r>
          </a:p>
        </p:txBody>
      </p:sp>
      <p:sp>
        <p:nvSpPr>
          <p:cNvPr id="20" name="Text Placeholder 3"/>
          <p:cNvSpPr>
            <a:spLocks noGrp="1"/>
          </p:cNvSpPr>
          <p:nvPr>
            <p:ph type="body" sz="half" idx="17"/>
          </p:nvPr>
        </p:nvSpPr>
        <p:spPr>
          <a:xfrm>
            <a:off x="7886700" y="3179764"/>
            <a:ext cx="3161029" cy="2847290"/>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ar-SA"/>
              <a:t>انقر لتحرير أنماط نص الشكل الرئيسي</a:t>
            </a:r>
          </a:p>
        </p:txBody>
      </p:sp>
      <p:cxnSp>
        <p:nvCxnSpPr>
          <p:cNvPr id="17" name="Straight Connector 16"/>
          <p:cNvCxnSpPr/>
          <p:nvPr/>
        </p:nvCxnSpPr>
        <p:spPr>
          <a:xfrm>
            <a:off x="4384991" y="2603500"/>
            <a:ext cx="32564" cy="3423554"/>
          </a:xfrm>
          <a:prstGeom prst="line">
            <a:avLst/>
          </a:prstGeom>
          <a:ln w="12700" cmpd="sng">
            <a:solidFill>
              <a:schemeClr val="tx1">
                <a:lumMod val="75000"/>
                <a:alpha val="40000"/>
              </a:schemeClr>
            </a:solidFill>
          </a:ln>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p:nvCxnSpPr>
        <p:spPr>
          <a:xfrm>
            <a:off x="7775824" y="2603500"/>
            <a:ext cx="0" cy="3423554"/>
          </a:xfrm>
          <a:prstGeom prst="line">
            <a:avLst/>
          </a:prstGeom>
          <a:ln w="12700" cmpd="sng">
            <a:solidFill>
              <a:schemeClr val="tx1">
                <a:lumMod val="75000"/>
                <a:alpha val="40000"/>
              </a:schemeClr>
            </a:solidFill>
          </a:ln>
        </p:spPr>
        <p:style>
          <a:lnRef idx="2">
            <a:schemeClr val="accent1"/>
          </a:lnRef>
          <a:fillRef idx="0">
            <a:schemeClr val="accent1"/>
          </a:fillRef>
          <a:effectRef idx="1">
            <a:schemeClr val="accent1"/>
          </a:effectRef>
          <a:fontRef idx="minor">
            <a:schemeClr val="tx1"/>
          </a:fontRef>
        </p:style>
      </p:cxnSp>
      <p:sp>
        <p:nvSpPr>
          <p:cNvPr id="7" name="Date Placeholder 6"/>
          <p:cNvSpPr>
            <a:spLocks noGrp="1"/>
          </p:cNvSpPr>
          <p:nvPr>
            <p:ph type="dt" sz="half" idx="10"/>
          </p:nvPr>
        </p:nvSpPr>
        <p:spPr/>
        <p:txBody>
          <a:bodyPr/>
          <a:lstStyle/>
          <a:p>
            <a:fld id="{B4452A34-1B73-DC46-B7BD-8541B8060D38}" type="datetimeFigureOut">
              <a:rPr lang="en-US" smtClean="0"/>
              <a:t>11/30/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D522E7F-14B4-AC40-82A1-6B7B1ECB7C9E}" type="slidenum">
              <a:rPr lang="en-US" smtClean="0"/>
              <a:t>‹#›</a:t>
            </a:fld>
            <a:endParaRPr lang="en-US"/>
          </a:p>
        </p:txBody>
      </p:sp>
    </p:spTree>
    <p:extLst>
      <p:ext uri="{BB962C8B-B14F-4D97-AF65-F5344CB8AC3E}">
        <p14:creationId xmlns:p14="http://schemas.microsoft.com/office/powerpoint/2010/main" val="101473336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عنوان المقطع">
    <p:spTree>
      <p:nvGrpSpPr>
        <p:cNvPr id="1" name=""/>
        <p:cNvGrpSpPr/>
        <p:nvPr/>
      </p:nvGrpSpPr>
      <p:grpSpPr>
        <a:xfrm>
          <a:off x="0" y="0"/>
          <a:ext cx="0" cy="0"/>
          <a:chOff x="0" y="0"/>
          <a:chExt cx="0" cy="0"/>
        </a:xfrm>
      </p:grpSpPr>
      <p:sp>
        <p:nvSpPr>
          <p:cNvPr id="2" name="عنوان 1">
            <a:extLst>
              <a:ext uri="{FF2B5EF4-FFF2-40B4-BE49-F238E27FC236}">
                <a16:creationId xmlns:a16="http://schemas.microsoft.com/office/drawing/2014/main" id="{E281C7B8-E8B8-C2A7-BEDC-160565DBD9A7}"/>
              </a:ext>
            </a:extLst>
          </p:cNvPr>
          <p:cNvSpPr>
            <a:spLocks noGrp="1"/>
          </p:cNvSpPr>
          <p:nvPr>
            <p:ph type="title"/>
          </p:nvPr>
        </p:nvSpPr>
        <p:spPr>
          <a:xfrm>
            <a:off x="831850" y="1709738"/>
            <a:ext cx="10515600" cy="2852737"/>
          </a:xfrm>
        </p:spPr>
        <p:txBody>
          <a:bodyPr anchor="b"/>
          <a:lstStyle>
            <a:lvl1pPr>
              <a:defRPr sz="6000"/>
            </a:lvl1pPr>
          </a:lstStyle>
          <a:p>
            <a:r>
              <a:rPr lang="ar-SA"/>
              <a:t>انقر لتحرير نمط عنوان الشكل الرئيسي</a:t>
            </a:r>
          </a:p>
        </p:txBody>
      </p:sp>
      <p:sp>
        <p:nvSpPr>
          <p:cNvPr id="3" name="عنصر نائب للنص 2">
            <a:extLst>
              <a:ext uri="{FF2B5EF4-FFF2-40B4-BE49-F238E27FC236}">
                <a16:creationId xmlns:a16="http://schemas.microsoft.com/office/drawing/2014/main" id="{C838C87A-FCCF-0FC3-C320-869C196D561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ar-SA"/>
              <a:t>انقر لتحرير أنماط نص الشكل الرئيسي</a:t>
            </a:r>
          </a:p>
        </p:txBody>
      </p:sp>
      <p:sp>
        <p:nvSpPr>
          <p:cNvPr id="4" name="عنصر نائب للتاريخ 3">
            <a:extLst>
              <a:ext uri="{FF2B5EF4-FFF2-40B4-BE49-F238E27FC236}">
                <a16:creationId xmlns:a16="http://schemas.microsoft.com/office/drawing/2014/main" id="{F34C8274-BFEA-86B1-26AD-9CB07E47F651}"/>
              </a:ext>
            </a:extLst>
          </p:cNvPr>
          <p:cNvSpPr>
            <a:spLocks noGrp="1"/>
          </p:cNvSpPr>
          <p:nvPr>
            <p:ph type="dt" sz="half" idx="10"/>
          </p:nvPr>
        </p:nvSpPr>
        <p:spPr/>
        <p:txBody>
          <a:bodyPr/>
          <a:lstStyle/>
          <a:p>
            <a:fld id="{584C6E9D-85A4-4FD5-893B-CAFA4CA60927}" type="datetimeFigureOut">
              <a:rPr lang="ar-SA" smtClean="0"/>
              <a:t>18/05/45</a:t>
            </a:fld>
            <a:endParaRPr lang="ar-SA"/>
          </a:p>
        </p:txBody>
      </p:sp>
      <p:sp>
        <p:nvSpPr>
          <p:cNvPr id="5" name="عنصر نائب للتذييل 4">
            <a:extLst>
              <a:ext uri="{FF2B5EF4-FFF2-40B4-BE49-F238E27FC236}">
                <a16:creationId xmlns:a16="http://schemas.microsoft.com/office/drawing/2014/main" id="{D7E5AD42-7CDB-FF17-AD7B-AA26843D4D2F}"/>
              </a:ext>
            </a:extLst>
          </p:cNvPr>
          <p:cNvSpPr>
            <a:spLocks noGrp="1"/>
          </p:cNvSpPr>
          <p:nvPr>
            <p:ph type="ftr" sz="quarter" idx="11"/>
          </p:nvPr>
        </p:nvSpPr>
        <p:spPr/>
        <p:txBody>
          <a:bodyPr/>
          <a:lstStyle/>
          <a:p>
            <a:endParaRPr lang="ar-SA"/>
          </a:p>
        </p:txBody>
      </p:sp>
      <p:sp>
        <p:nvSpPr>
          <p:cNvPr id="6" name="عنصر نائب لرقم الشريحة 5">
            <a:extLst>
              <a:ext uri="{FF2B5EF4-FFF2-40B4-BE49-F238E27FC236}">
                <a16:creationId xmlns:a16="http://schemas.microsoft.com/office/drawing/2014/main" id="{8395B605-5BCE-B360-FDF1-D108219356D0}"/>
              </a:ext>
            </a:extLst>
          </p:cNvPr>
          <p:cNvSpPr>
            <a:spLocks noGrp="1"/>
          </p:cNvSpPr>
          <p:nvPr>
            <p:ph type="sldNum" sz="quarter" idx="12"/>
          </p:nvPr>
        </p:nvSpPr>
        <p:spPr/>
        <p:txBody>
          <a:bodyPr/>
          <a:lstStyle/>
          <a:p>
            <a:fld id="{C555A33E-CEF6-4887-AF0D-FBE8CDD3E1FC}" type="slidenum">
              <a:rPr lang="ar-SA" smtClean="0"/>
              <a:t>‹#›</a:t>
            </a:fld>
            <a:endParaRPr lang="ar-SA"/>
          </a:p>
        </p:txBody>
      </p:sp>
    </p:spTree>
    <p:extLst>
      <p:ext uri="{BB962C8B-B14F-4D97-AF65-F5344CB8AC3E}">
        <p14:creationId xmlns:p14="http://schemas.microsoft.com/office/powerpoint/2010/main" val="226041727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3 أعمدة صور">
    <p:spTree>
      <p:nvGrpSpPr>
        <p:cNvPr id="1" name=""/>
        <p:cNvGrpSpPr/>
        <p:nvPr/>
      </p:nvGrpSpPr>
      <p:grpSpPr>
        <a:xfrm>
          <a:off x="0" y="0"/>
          <a:ext cx="0" cy="0"/>
          <a:chOff x="0" y="0"/>
          <a:chExt cx="0" cy="0"/>
        </a:xfrm>
      </p:grpSpPr>
      <p:sp>
        <p:nvSpPr>
          <p:cNvPr id="2" name="Title 1"/>
          <p:cNvSpPr>
            <a:spLocks noGrp="1"/>
          </p:cNvSpPr>
          <p:nvPr>
            <p:ph type="title"/>
          </p:nvPr>
        </p:nvSpPr>
        <p:spPr>
          <a:xfrm>
            <a:off x="1154954" y="973668"/>
            <a:ext cx="8825659" cy="706964"/>
          </a:xfrm>
          <a:prstGeom prst="rect">
            <a:avLst/>
          </a:prstGeom>
        </p:spPr>
        <p:txBody>
          <a:bodyPr anchor="ctr" anchorCtr="0"/>
          <a:lstStyle>
            <a:lvl1pPr>
              <a:defRPr sz="3600"/>
            </a:lvl1pPr>
          </a:lstStyle>
          <a:p>
            <a:r>
              <a:rPr lang="ar-SA"/>
              <a:t>انقر لتحرير نمط عنوان الشكل الرئيسي</a:t>
            </a:r>
            <a:endParaRPr lang="en-US" dirty="0"/>
          </a:p>
        </p:txBody>
      </p:sp>
      <p:sp>
        <p:nvSpPr>
          <p:cNvPr id="3" name="Text Placeholder 2"/>
          <p:cNvSpPr>
            <a:spLocks noGrp="1"/>
          </p:cNvSpPr>
          <p:nvPr>
            <p:ph type="body" idx="1"/>
          </p:nvPr>
        </p:nvSpPr>
        <p:spPr>
          <a:xfrm>
            <a:off x="1154954" y="4532845"/>
            <a:ext cx="3050438" cy="576260"/>
          </a:xfrm>
        </p:spPr>
        <p:txBody>
          <a:bodyPr anchor="b">
            <a:noAutofit/>
          </a:bodyPr>
          <a:lstStyle>
            <a:lvl1pPr marL="0" indent="0">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ar-SA"/>
              <a:t>انقر لتحرير أنماط نص الشكل الرئيسي</a:t>
            </a:r>
          </a:p>
        </p:txBody>
      </p:sp>
      <p:sp>
        <p:nvSpPr>
          <p:cNvPr id="29" name="Picture Placeholder 2"/>
          <p:cNvSpPr>
            <a:spLocks noGrp="1" noChangeAspect="1"/>
          </p:cNvSpPr>
          <p:nvPr>
            <p:ph type="pic" idx="15"/>
          </p:nvPr>
        </p:nvSpPr>
        <p:spPr>
          <a:xfrm>
            <a:off x="1334552" y="2610916"/>
            <a:ext cx="2691242" cy="1584094"/>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ar-SA"/>
              <a:t>انقر فوق الأيقونة لإضافة صورة</a:t>
            </a:r>
            <a:endParaRPr lang="en-US" dirty="0"/>
          </a:p>
        </p:txBody>
      </p:sp>
      <p:sp>
        <p:nvSpPr>
          <p:cNvPr id="22" name="Text Placeholder 3"/>
          <p:cNvSpPr>
            <a:spLocks noGrp="1"/>
          </p:cNvSpPr>
          <p:nvPr>
            <p:ph type="body" sz="half" idx="18"/>
          </p:nvPr>
        </p:nvSpPr>
        <p:spPr>
          <a:xfrm>
            <a:off x="1154954" y="5109107"/>
            <a:ext cx="3050438" cy="917949"/>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ar-SA"/>
              <a:t>انقر لتحرير أنماط نص الشكل الرئيسي</a:t>
            </a:r>
          </a:p>
        </p:txBody>
      </p:sp>
      <p:sp>
        <p:nvSpPr>
          <p:cNvPr id="5" name="Text Placeholder 4"/>
          <p:cNvSpPr>
            <a:spLocks noGrp="1"/>
          </p:cNvSpPr>
          <p:nvPr>
            <p:ph type="body" sz="quarter" idx="3"/>
          </p:nvPr>
        </p:nvSpPr>
        <p:spPr>
          <a:xfrm>
            <a:off x="4568865" y="4532842"/>
            <a:ext cx="3050438" cy="576262"/>
          </a:xfrm>
        </p:spPr>
        <p:txBody>
          <a:bodyPr anchor="b">
            <a:noAutofit/>
          </a:bodyPr>
          <a:lstStyle>
            <a:lvl1pPr marL="0" indent="0">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ar-SA"/>
              <a:t>انقر لتحرير أنماط نص الشكل الرئيسي</a:t>
            </a:r>
          </a:p>
        </p:txBody>
      </p:sp>
      <p:sp>
        <p:nvSpPr>
          <p:cNvPr id="30" name="Picture Placeholder 2"/>
          <p:cNvSpPr>
            <a:spLocks noGrp="1" noChangeAspect="1"/>
          </p:cNvSpPr>
          <p:nvPr>
            <p:ph type="pic" idx="21"/>
          </p:nvPr>
        </p:nvSpPr>
        <p:spPr>
          <a:xfrm>
            <a:off x="4748463" y="2603500"/>
            <a:ext cx="2691242" cy="159151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ar-SA"/>
              <a:t>انقر فوق الأيقونة لإضافة صورة</a:t>
            </a:r>
            <a:endParaRPr lang="en-US" dirty="0"/>
          </a:p>
        </p:txBody>
      </p:sp>
      <p:sp>
        <p:nvSpPr>
          <p:cNvPr id="23" name="Text Placeholder 3"/>
          <p:cNvSpPr>
            <a:spLocks noGrp="1"/>
          </p:cNvSpPr>
          <p:nvPr>
            <p:ph type="body" sz="half" idx="19"/>
          </p:nvPr>
        </p:nvSpPr>
        <p:spPr>
          <a:xfrm>
            <a:off x="4568865" y="5109108"/>
            <a:ext cx="3050438" cy="912578"/>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ar-SA"/>
              <a:t>انقر لتحرير أنماط نص الشكل الرئيسي</a:t>
            </a:r>
          </a:p>
        </p:txBody>
      </p:sp>
      <p:sp>
        <p:nvSpPr>
          <p:cNvPr id="14" name="Text Placeholder 4"/>
          <p:cNvSpPr>
            <a:spLocks noGrp="1"/>
          </p:cNvSpPr>
          <p:nvPr>
            <p:ph type="body" sz="quarter" idx="13"/>
          </p:nvPr>
        </p:nvSpPr>
        <p:spPr>
          <a:xfrm>
            <a:off x="7983433" y="4532842"/>
            <a:ext cx="3050438" cy="576262"/>
          </a:xfrm>
        </p:spPr>
        <p:txBody>
          <a:bodyPr anchor="b">
            <a:noAutofit/>
          </a:bodyPr>
          <a:lstStyle>
            <a:lvl1pPr marL="0" indent="0">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ar-SA"/>
              <a:t>انقر لتحرير أنماط نص الشكل الرئيسي</a:t>
            </a:r>
          </a:p>
        </p:txBody>
      </p:sp>
      <p:sp>
        <p:nvSpPr>
          <p:cNvPr id="31" name="Picture Placeholder 2"/>
          <p:cNvSpPr>
            <a:spLocks noGrp="1" noChangeAspect="1"/>
          </p:cNvSpPr>
          <p:nvPr>
            <p:ph type="pic" idx="22"/>
          </p:nvPr>
        </p:nvSpPr>
        <p:spPr>
          <a:xfrm>
            <a:off x="8163031" y="2603500"/>
            <a:ext cx="2691242" cy="159151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ar-SA"/>
              <a:t>انقر فوق الأيقونة لإضافة صورة</a:t>
            </a:r>
            <a:endParaRPr lang="en-US" dirty="0"/>
          </a:p>
        </p:txBody>
      </p:sp>
      <p:sp>
        <p:nvSpPr>
          <p:cNvPr id="24" name="Text Placeholder 3"/>
          <p:cNvSpPr>
            <a:spLocks noGrp="1"/>
          </p:cNvSpPr>
          <p:nvPr>
            <p:ph type="body" sz="half" idx="20"/>
          </p:nvPr>
        </p:nvSpPr>
        <p:spPr>
          <a:xfrm>
            <a:off x="7983433" y="5109107"/>
            <a:ext cx="3050438" cy="917947"/>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ar-SA"/>
              <a:t>انقر لتحرير أنماط نص الشكل الرئيسي</a:t>
            </a:r>
          </a:p>
        </p:txBody>
      </p:sp>
      <p:cxnSp>
        <p:nvCxnSpPr>
          <p:cNvPr id="17" name="Straight Connector 16"/>
          <p:cNvCxnSpPr/>
          <p:nvPr/>
        </p:nvCxnSpPr>
        <p:spPr>
          <a:xfrm>
            <a:off x="4384245" y="2603500"/>
            <a:ext cx="1" cy="3461811"/>
          </a:xfrm>
          <a:prstGeom prst="line">
            <a:avLst/>
          </a:prstGeom>
          <a:ln w="12700" cmpd="sng">
            <a:solidFill>
              <a:schemeClr val="tx1">
                <a:lumMod val="75000"/>
                <a:alpha val="40000"/>
              </a:schemeClr>
            </a:solidFill>
          </a:ln>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p:nvCxnSpPr>
        <p:spPr>
          <a:xfrm>
            <a:off x="7807352" y="2603500"/>
            <a:ext cx="0" cy="3461811"/>
          </a:xfrm>
          <a:prstGeom prst="line">
            <a:avLst/>
          </a:prstGeom>
          <a:ln w="12700" cmpd="sng">
            <a:solidFill>
              <a:schemeClr val="tx1">
                <a:lumMod val="75000"/>
                <a:alpha val="40000"/>
              </a:schemeClr>
            </a:solidFill>
          </a:ln>
        </p:spPr>
        <p:style>
          <a:lnRef idx="2">
            <a:schemeClr val="accent1"/>
          </a:lnRef>
          <a:fillRef idx="0">
            <a:schemeClr val="accent1"/>
          </a:fillRef>
          <a:effectRef idx="1">
            <a:schemeClr val="accent1"/>
          </a:effectRef>
          <a:fontRef idx="minor">
            <a:schemeClr val="tx1"/>
          </a:fontRef>
        </p:style>
      </p:cxnSp>
      <p:sp>
        <p:nvSpPr>
          <p:cNvPr id="7" name="Date Placeholder 6"/>
          <p:cNvSpPr>
            <a:spLocks noGrp="1"/>
          </p:cNvSpPr>
          <p:nvPr>
            <p:ph type="dt" sz="half" idx="10"/>
          </p:nvPr>
        </p:nvSpPr>
        <p:spPr/>
        <p:txBody>
          <a:bodyPr/>
          <a:lstStyle/>
          <a:p>
            <a:fld id="{B4452A34-1B73-DC46-B7BD-8541B8060D38}" type="datetimeFigureOut">
              <a:rPr lang="en-US" smtClean="0"/>
              <a:t>11/30/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D522E7F-14B4-AC40-82A1-6B7B1ECB7C9E}" type="slidenum">
              <a:rPr lang="en-US" smtClean="0"/>
              <a:t>‹#›</a:t>
            </a:fld>
            <a:endParaRPr lang="en-US"/>
          </a:p>
        </p:txBody>
      </p:sp>
    </p:spTree>
    <p:extLst>
      <p:ext uri="{BB962C8B-B14F-4D97-AF65-F5344CB8AC3E}">
        <p14:creationId xmlns:p14="http://schemas.microsoft.com/office/powerpoint/2010/main" val="323493505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vertTx" preserve="1">
  <p:cSld name="عنوان ونص عمودي">
    <p:spTree>
      <p:nvGrpSpPr>
        <p:cNvPr id="1" name=""/>
        <p:cNvGrpSpPr/>
        <p:nvPr/>
      </p:nvGrpSpPr>
      <p:grpSpPr>
        <a:xfrm>
          <a:off x="0" y="0"/>
          <a:ext cx="0" cy="0"/>
          <a:chOff x="0" y="0"/>
          <a:chExt cx="0" cy="0"/>
        </a:xfrm>
      </p:grpSpPr>
      <p:sp>
        <p:nvSpPr>
          <p:cNvPr id="2" name="Title 1"/>
          <p:cNvSpPr>
            <a:spLocks noGrp="1"/>
          </p:cNvSpPr>
          <p:nvPr>
            <p:ph type="title"/>
          </p:nvPr>
        </p:nvSpPr>
        <p:spPr>
          <a:xfrm>
            <a:off x="1154954" y="973668"/>
            <a:ext cx="8825659" cy="706964"/>
          </a:xfrm>
          <a:prstGeom prst="rect">
            <a:avLst/>
          </a:prstGeom>
        </p:spPr>
        <p:txBody>
          <a:bodyPr/>
          <a:lstStyle/>
          <a:p>
            <a:r>
              <a:rPr lang="ar-SA"/>
              <a:t>انقر لتحرير نمط عنوان الشكل الرئيسي</a:t>
            </a:r>
            <a:endParaRPr lang="en-US" dirty="0"/>
          </a:p>
        </p:txBody>
      </p:sp>
      <p:sp>
        <p:nvSpPr>
          <p:cNvPr id="3" name="Vertical Text Placeholder 2"/>
          <p:cNvSpPr>
            <a:spLocks noGrp="1"/>
          </p:cNvSpPr>
          <p:nvPr>
            <p:ph type="body" orient="vert" idx="1"/>
          </p:nvPr>
        </p:nvSpPr>
        <p:spPr>
          <a:xfrm>
            <a:off x="1154954" y="2595033"/>
            <a:ext cx="8825659" cy="3424768"/>
          </a:xfrm>
        </p:spPr>
        <p:txBody>
          <a:bodyPr vert="eaVert" anchor="t" anchorCtr="0"/>
          <a:lstStyle/>
          <a:p>
            <a:pPr lvl="0"/>
            <a:r>
              <a:rPr lang="ar-SA"/>
              <a:t>انقر لتحرير أنماط نص الشكل الرئيسي</a:t>
            </a:r>
          </a:p>
          <a:p>
            <a:pPr lvl="1"/>
            <a:r>
              <a:rPr lang="ar-SA"/>
              <a:t>المستوى الثاني</a:t>
            </a:r>
          </a:p>
          <a:p>
            <a:pPr lvl="2"/>
            <a:r>
              <a:rPr lang="ar-SA"/>
              <a:t>المستوى الثالث</a:t>
            </a:r>
          </a:p>
          <a:p>
            <a:pPr lvl="3"/>
            <a:r>
              <a:rPr lang="ar-SA"/>
              <a:t>المستوى الرابع</a:t>
            </a:r>
          </a:p>
          <a:p>
            <a:pPr lvl="4"/>
            <a:r>
              <a:rPr lang="ar-SA"/>
              <a:t>المستوى الخامس</a:t>
            </a:r>
            <a:endParaRPr lang="en-US" dirty="0"/>
          </a:p>
        </p:txBody>
      </p:sp>
      <p:sp>
        <p:nvSpPr>
          <p:cNvPr id="4" name="Date Placeholder 3"/>
          <p:cNvSpPr>
            <a:spLocks noGrp="1"/>
          </p:cNvSpPr>
          <p:nvPr>
            <p:ph type="dt" sz="half" idx="10"/>
          </p:nvPr>
        </p:nvSpPr>
        <p:spPr/>
        <p:txBody>
          <a:bodyPr/>
          <a:lstStyle/>
          <a:p>
            <a:fld id="{B4452A34-1B73-DC46-B7BD-8541B8060D38}" type="datetimeFigureOut">
              <a:rPr lang="en-US" smtClean="0"/>
              <a:t>11/3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D522E7F-14B4-AC40-82A1-6B7B1ECB7C9E}" type="slidenum">
              <a:rPr lang="en-US" smtClean="0"/>
              <a:t>‹#›</a:t>
            </a:fld>
            <a:endParaRPr lang="en-US"/>
          </a:p>
        </p:txBody>
      </p:sp>
    </p:spTree>
    <p:extLst>
      <p:ext uri="{BB962C8B-B14F-4D97-AF65-F5344CB8AC3E}">
        <p14:creationId xmlns:p14="http://schemas.microsoft.com/office/powerpoint/2010/main" val="69365419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vertTitleAndTx" preserve="1">
  <p:cSld name="عنوان ونص عموديان">
    <p:spTree>
      <p:nvGrpSpPr>
        <p:cNvPr id="1" name=""/>
        <p:cNvGrpSpPr/>
        <p:nvPr/>
      </p:nvGrpSpPr>
      <p:grpSpPr>
        <a:xfrm>
          <a:off x="0" y="0"/>
          <a:ext cx="0" cy="0"/>
          <a:chOff x="0" y="0"/>
          <a:chExt cx="0" cy="0"/>
        </a:xfrm>
      </p:grpSpPr>
      <p:grpSp>
        <p:nvGrpSpPr>
          <p:cNvPr id="8" name="Group 7"/>
          <p:cNvGrpSpPr/>
          <p:nvPr/>
        </p:nvGrpSpPr>
        <p:grpSpPr>
          <a:xfrm>
            <a:off x="-1588" y="0"/>
            <a:ext cx="12193588" cy="6861555"/>
            <a:chOff x="-1588" y="0"/>
            <a:chExt cx="12193588" cy="6861555"/>
          </a:xfrm>
        </p:grpSpPr>
        <p:sp>
          <p:nvSpPr>
            <p:cNvPr id="15" name="Rectangle 14"/>
            <p:cNvSpPr/>
            <p:nvPr/>
          </p:nvSpPr>
          <p:spPr>
            <a:xfrm>
              <a:off x="0" y="0"/>
              <a:ext cx="12192000" cy="6858000"/>
            </a:xfrm>
            <a:prstGeom prst="rect">
              <a:avLst/>
            </a:prstGeom>
            <a:blipFill>
              <a:blip r:embed="rId2">
                <a:duotone>
                  <a:schemeClr val="dk2">
                    <a:shade val="69000"/>
                    <a:hueMod val="108000"/>
                    <a:satMod val="164000"/>
                    <a:lumMod val="74000"/>
                  </a:schemeClr>
                  <a:schemeClr val="dk2">
                    <a:tint val="96000"/>
                    <a:hueMod val="88000"/>
                    <a:satMod val="140000"/>
                    <a:lumMod val="132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7" name="Oval 16"/>
            <p:cNvSpPr/>
            <p:nvPr/>
          </p:nvSpPr>
          <p:spPr>
            <a:xfrm>
              <a:off x="8761412" y="1828800"/>
              <a:ext cx="2819400" cy="2819400"/>
            </a:xfrm>
            <a:prstGeom prst="ellipse">
              <a:avLst/>
            </a:prstGeom>
            <a:gradFill flip="none" rotWithShape="1">
              <a:gsLst>
                <a:gs pos="0">
                  <a:schemeClr val="accent5">
                    <a:alpha val="7000"/>
                  </a:schemeClr>
                </a:gs>
                <a:gs pos="69000">
                  <a:schemeClr val="accent5">
                    <a:alpha val="0"/>
                  </a:schemeClr>
                </a:gs>
                <a:gs pos="36000">
                  <a:schemeClr val="accent5">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8" name="Oval 17"/>
            <p:cNvSpPr/>
            <p:nvPr/>
          </p:nvSpPr>
          <p:spPr>
            <a:xfrm>
              <a:off x="8761412" y="5870955"/>
              <a:ext cx="990600" cy="990600"/>
            </a:xfrm>
            <a:prstGeom prst="ellipse">
              <a:avLst/>
            </a:prstGeom>
            <a:gradFill flip="none" rotWithShape="1">
              <a:gsLst>
                <a:gs pos="0">
                  <a:schemeClr val="accent5">
                    <a:alpha val="14000"/>
                  </a:schemeClr>
                </a:gs>
                <a:gs pos="66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9" name="Oval 18"/>
            <p:cNvSpPr/>
            <p:nvPr/>
          </p:nvSpPr>
          <p:spPr>
            <a:xfrm>
              <a:off x="-1588" y="2667000"/>
              <a:ext cx="4191000" cy="4191000"/>
            </a:xfrm>
            <a:prstGeom prst="ellipse">
              <a:avLst/>
            </a:prstGeom>
            <a:gradFill flip="none" rotWithShape="1">
              <a:gsLst>
                <a:gs pos="0">
                  <a:schemeClr val="accent5">
                    <a:alpha val="11000"/>
                  </a:schemeClr>
                </a:gs>
                <a:gs pos="75000">
                  <a:schemeClr val="accent5">
                    <a:alpha val="0"/>
                  </a:schemeClr>
                </a:gs>
                <a:gs pos="36000">
                  <a:schemeClr val="accent5">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2" name="Freeform 5"/>
            <p:cNvSpPr/>
            <p:nvPr/>
          </p:nvSpPr>
          <p:spPr bwMode="gray">
            <a:xfrm rot="5101749">
              <a:off x="6294738" y="4577737"/>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13" name="Rectangle 12"/>
            <p:cNvSpPr/>
            <p:nvPr/>
          </p:nvSpPr>
          <p:spPr>
            <a:xfrm>
              <a:off x="414867" y="402165"/>
              <a:ext cx="6510866" cy="605367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sp>
        <p:sp>
          <p:nvSpPr>
            <p:cNvPr id="14" name="Freeform 5"/>
            <p:cNvSpPr/>
            <p:nvPr/>
          </p:nvSpPr>
          <p:spPr bwMode="gray">
            <a:xfrm rot="5400000">
              <a:off x="4449232" y="2801721"/>
              <a:ext cx="6053670" cy="1254558"/>
            </a:xfrm>
            <a:custGeom>
              <a:avLst/>
              <a:gdLst/>
              <a:ahLst/>
              <a:cxnLst/>
              <a:rect l="l" t="t" r="r" b="b"/>
              <a:pathLst>
                <a:path w="10000" h="8000">
                  <a:moveTo>
                    <a:pt x="0" y="0"/>
                  </a:moveTo>
                  <a:lnTo>
                    <a:pt x="0" y="7970"/>
                  </a:lnTo>
                  <a:lnTo>
                    <a:pt x="10000" y="8000"/>
                  </a:lnTo>
                  <a:lnTo>
                    <a:pt x="10000" y="7"/>
                  </a:lnTo>
                  <a:lnTo>
                    <a:pt x="10000" y="7"/>
                  </a:lnTo>
                  <a:lnTo>
                    <a:pt x="9773" y="156"/>
                  </a:lnTo>
                  <a:lnTo>
                    <a:pt x="9547" y="298"/>
                  </a:lnTo>
                  <a:lnTo>
                    <a:pt x="9320" y="437"/>
                  </a:lnTo>
                  <a:lnTo>
                    <a:pt x="9092" y="556"/>
                  </a:lnTo>
                  <a:lnTo>
                    <a:pt x="8865" y="676"/>
                  </a:lnTo>
                  <a:lnTo>
                    <a:pt x="8637" y="788"/>
                  </a:lnTo>
                  <a:lnTo>
                    <a:pt x="8412" y="884"/>
                  </a:lnTo>
                  <a:lnTo>
                    <a:pt x="8184" y="975"/>
                  </a:lnTo>
                  <a:lnTo>
                    <a:pt x="7957" y="1058"/>
                  </a:lnTo>
                  <a:lnTo>
                    <a:pt x="7734" y="1130"/>
                  </a:lnTo>
                  <a:lnTo>
                    <a:pt x="7508" y="1202"/>
                  </a:lnTo>
                  <a:lnTo>
                    <a:pt x="7285" y="1262"/>
                  </a:lnTo>
                  <a:lnTo>
                    <a:pt x="7062" y="1309"/>
                  </a:lnTo>
                  <a:lnTo>
                    <a:pt x="6840" y="1358"/>
                  </a:lnTo>
                  <a:lnTo>
                    <a:pt x="6620" y="1399"/>
                  </a:lnTo>
                  <a:lnTo>
                    <a:pt x="6402" y="1428"/>
                  </a:lnTo>
                  <a:lnTo>
                    <a:pt x="6184" y="1453"/>
                  </a:lnTo>
                  <a:lnTo>
                    <a:pt x="5968" y="1477"/>
                  </a:lnTo>
                  <a:lnTo>
                    <a:pt x="5755" y="1488"/>
                  </a:lnTo>
                  <a:lnTo>
                    <a:pt x="5542" y="1500"/>
                  </a:lnTo>
                  <a:lnTo>
                    <a:pt x="5332" y="1506"/>
                  </a:lnTo>
                  <a:lnTo>
                    <a:pt x="5124" y="1500"/>
                  </a:lnTo>
                  <a:lnTo>
                    <a:pt x="4918" y="1500"/>
                  </a:lnTo>
                  <a:lnTo>
                    <a:pt x="4714" y="1488"/>
                  </a:lnTo>
                  <a:lnTo>
                    <a:pt x="4514" y="1470"/>
                  </a:lnTo>
                  <a:lnTo>
                    <a:pt x="4316" y="1453"/>
                  </a:lnTo>
                  <a:lnTo>
                    <a:pt x="4122" y="1434"/>
                  </a:lnTo>
                  <a:lnTo>
                    <a:pt x="3929" y="1405"/>
                  </a:lnTo>
                  <a:lnTo>
                    <a:pt x="3739" y="1374"/>
                  </a:lnTo>
                  <a:lnTo>
                    <a:pt x="3553" y="1346"/>
                  </a:lnTo>
                  <a:lnTo>
                    <a:pt x="3190" y="1267"/>
                  </a:lnTo>
                  <a:lnTo>
                    <a:pt x="2842" y="1183"/>
                  </a:lnTo>
                  <a:lnTo>
                    <a:pt x="2508" y="1095"/>
                  </a:lnTo>
                  <a:lnTo>
                    <a:pt x="2192" y="998"/>
                  </a:lnTo>
                  <a:lnTo>
                    <a:pt x="1890" y="897"/>
                  </a:lnTo>
                  <a:lnTo>
                    <a:pt x="1610" y="788"/>
                  </a:lnTo>
                  <a:lnTo>
                    <a:pt x="1347" y="681"/>
                  </a:lnTo>
                  <a:lnTo>
                    <a:pt x="1105" y="574"/>
                  </a:lnTo>
                  <a:lnTo>
                    <a:pt x="883" y="473"/>
                  </a:lnTo>
                  <a:lnTo>
                    <a:pt x="686" y="377"/>
                  </a:lnTo>
                  <a:lnTo>
                    <a:pt x="508" y="286"/>
                  </a:lnTo>
                  <a:lnTo>
                    <a:pt x="358" y="210"/>
                  </a:lnTo>
                  <a:lnTo>
                    <a:pt x="232" y="138"/>
                  </a:lnTo>
                  <a:lnTo>
                    <a:pt x="59" y="35"/>
                  </a:lnTo>
                  <a:lnTo>
                    <a:pt x="0" y="0"/>
                  </a:lnTo>
                  <a:lnTo>
                    <a:pt x="0" y="0"/>
                  </a:lnTo>
                  <a:close/>
                </a:path>
              </a:pathLst>
            </a:custGeom>
            <a:solidFill>
              <a:schemeClr val="bg1"/>
            </a:solidFill>
            <a:ln>
              <a:noFill/>
            </a:ln>
          </p:spPr>
        </p:sp>
        <p:sp>
          <p:nvSpPr>
            <p:cNvPr id="16"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2" name="Vertical Title 1"/>
          <p:cNvSpPr>
            <a:spLocks noGrp="1"/>
          </p:cNvSpPr>
          <p:nvPr>
            <p:ph type="title" orient="vert"/>
          </p:nvPr>
        </p:nvSpPr>
        <p:spPr>
          <a:xfrm>
            <a:off x="8576756" y="1278466"/>
            <a:ext cx="1441567" cy="4748591"/>
          </a:xfrm>
          <a:prstGeom prst="rect">
            <a:avLst/>
          </a:prstGeom>
        </p:spPr>
        <p:txBody>
          <a:bodyPr vert="eaVert" anchor="b" anchorCtr="0"/>
          <a:lstStyle/>
          <a:p>
            <a:r>
              <a:rPr lang="ar-SA"/>
              <a:t>انقر لتحرير نمط عنوان الشكل الرئيسي</a:t>
            </a:r>
            <a:endParaRPr lang="en-US" dirty="0"/>
          </a:p>
        </p:txBody>
      </p:sp>
      <p:sp>
        <p:nvSpPr>
          <p:cNvPr id="3" name="Vertical Text Placeholder 2"/>
          <p:cNvSpPr>
            <a:spLocks noGrp="1"/>
          </p:cNvSpPr>
          <p:nvPr>
            <p:ph type="body" orient="vert" idx="1"/>
          </p:nvPr>
        </p:nvSpPr>
        <p:spPr>
          <a:xfrm>
            <a:off x="1154954" y="1278465"/>
            <a:ext cx="6256025" cy="4748591"/>
          </a:xfrm>
        </p:spPr>
        <p:txBody>
          <a:bodyPr vert="eaVert"/>
          <a:lstStyle/>
          <a:p>
            <a:pPr lvl="0"/>
            <a:r>
              <a:rPr lang="ar-SA"/>
              <a:t>انقر لتحرير أنماط نص الشكل الرئيسي</a:t>
            </a:r>
          </a:p>
          <a:p>
            <a:pPr lvl="1"/>
            <a:r>
              <a:rPr lang="ar-SA"/>
              <a:t>المستوى الثاني</a:t>
            </a:r>
          </a:p>
          <a:p>
            <a:pPr lvl="2"/>
            <a:r>
              <a:rPr lang="ar-SA"/>
              <a:t>المستوى الثالث</a:t>
            </a:r>
          </a:p>
          <a:p>
            <a:pPr lvl="3"/>
            <a:r>
              <a:rPr lang="ar-SA"/>
              <a:t>المستوى الرابع</a:t>
            </a:r>
          </a:p>
          <a:p>
            <a:pPr lvl="4"/>
            <a:r>
              <a:rPr lang="ar-SA"/>
              <a:t>المستوى الخامس</a:t>
            </a:r>
            <a:endParaRPr lang="en-US" dirty="0"/>
          </a:p>
        </p:txBody>
      </p:sp>
      <p:sp>
        <p:nvSpPr>
          <p:cNvPr id="4" name="Date Placeholder 3"/>
          <p:cNvSpPr>
            <a:spLocks noGrp="1"/>
          </p:cNvSpPr>
          <p:nvPr>
            <p:ph type="dt" sz="half" idx="10"/>
          </p:nvPr>
        </p:nvSpPr>
        <p:spPr/>
        <p:txBody>
          <a:bodyPr/>
          <a:lstStyle/>
          <a:p>
            <a:fld id="{B4452A34-1B73-DC46-B7BD-8541B8060D38}" type="datetimeFigureOut">
              <a:rPr lang="en-US" smtClean="0"/>
              <a:t>11/30/2023</a:t>
            </a:fld>
            <a:endParaRPr lang="en-US"/>
          </a:p>
        </p:txBody>
      </p:sp>
      <p:sp>
        <p:nvSpPr>
          <p:cNvPr id="5" name="Footer Placeholder 4"/>
          <p:cNvSpPr>
            <a:spLocks noGrp="1"/>
          </p:cNvSpPr>
          <p:nvPr>
            <p:ph type="ftr" sz="quarter" idx="11"/>
          </p:nvPr>
        </p:nvSpPr>
        <p:spPr/>
        <p:txBody>
          <a:bodyPr/>
          <a:lstStyle/>
          <a:p>
            <a:endParaRPr lang="en-US"/>
          </a:p>
        </p:txBody>
      </p:sp>
      <p:sp>
        <p:nvSpPr>
          <p:cNvPr id="20" name="Rectangle 19"/>
          <p:cNvSpPr/>
          <p:nvPr/>
        </p:nvSpPr>
        <p:spPr>
          <a:xfrm>
            <a:off x="10437812"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6" name="Slide Number Placeholder 5"/>
          <p:cNvSpPr>
            <a:spLocks noGrp="1"/>
          </p:cNvSpPr>
          <p:nvPr>
            <p:ph type="sldNum" sz="quarter" idx="12"/>
          </p:nvPr>
        </p:nvSpPr>
        <p:spPr/>
        <p:txBody>
          <a:bodyPr/>
          <a:lstStyle/>
          <a:p>
            <a:fld id="{8D522E7F-14B4-AC40-82A1-6B7B1ECB7C9E}" type="slidenum">
              <a:rPr lang="en-US" smtClean="0"/>
              <a:t>‹#›</a:t>
            </a:fld>
            <a:endParaRPr lang="en-US"/>
          </a:p>
        </p:txBody>
      </p:sp>
    </p:spTree>
    <p:extLst>
      <p:ext uri="{BB962C8B-B14F-4D97-AF65-F5344CB8AC3E}">
        <p14:creationId xmlns:p14="http://schemas.microsoft.com/office/powerpoint/2010/main" val="20636458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محتويان">
    <p:spTree>
      <p:nvGrpSpPr>
        <p:cNvPr id="1" name=""/>
        <p:cNvGrpSpPr/>
        <p:nvPr/>
      </p:nvGrpSpPr>
      <p:grpSpPr>
        <a:xfrm>
          <a:off x="0" y="0"/>
          <a:ext cx="0" cy="0"/>
          <a:chOff x="0" y="0"/>
          <a:chExt cx="0" cy="0"/>
        </a:xfrm>
      </p:grpSpPr>
      <p:sp>
        <p:nvSpPr>
          <p:cNvPr id="2" name="عنوان 1">
            <a:extLst>
              <a:ext uri="{FF2B5EF4-FFF2-40B4-BE49-F238E27FC236}">
                <a16:creationId xmlns:a16="http://schemas.microsoft.com/office/drawing/2014/main" id="{133A8FCA-C3C7-9FC7-47EF-87B41D530DB7}"/>
              </a:ext>
            </a:extLst>
          </p:cNvPr>
          <p:cNvSpPr>
            <a:spLocks noGrp="1"/>
          </p:cNvSpPr>
          <p:nvPr>
            <p:ph type="title"/>
          </p:nvPr>
        </p:nvSpPr>
        <p:spPr/>
        <p:txBody>
          <a:bodyPr/>
          <a:lstStyle/>
          <a:p>
            <a:r>
              <a:rPr lang="ar-SA"/>
              <a:t>انقر لتحرير نمط عنوان الشكل الرئيسي</a:t>
            </a:r>
          </a:p>
        </p:txBody>
      </p:sp>
      <p:sp>
        <p:nvSpPr>
          <p:cNvPr id="3" name="عنصر نائب للمحتوى 2">
            <a:extLst>
              <a:ext uri="{FF2B5EF4-FFF2-40B4-BE49-F238E27FC236}">
                <a16:creationId xmlns:a16="http://schemas.microsoft.com/office/drawing/2014/main" id="{B0D02CAB-84D6-D147-90BC-5539D2534EB2}"/>
              </a:ext>
            </a:extLst>
          </p:cNvPr>
          <p:cNvSpPr>
            <a:spLocks noGrp="1"/>
          </p:cNvSpPr>
          <p:nvPr>
            <p:ph sz="half" idx="1"/>
          </p:nvPr>
        </p:nvSpPr>
        <p:spPr>
          <a:xfrm>
            <a:off x="838200" y="1825625"/>
            <a:ext cx="5181600" cy="4351338"/>
          </a:xfrm>
        </p:spPr>
        <p:txBody>
          <a:bodyPr/>
          <a:lstStyle/>
          <a:p>
            <a:pPr lvl="0"/>
            <a:r>
              <a:rPr lang="ar-SA"/>
              <a:t>انقر لتحرير أنماط نص الشكل الرئيسي</a:t>
            </a:r>
          </a:p>
          <a:p>
            <a:pPr lvl="1"/>
            <a:r>
              <a:rPr lang="ar-SA"/>
              <a:t>المستوى الثاني</a:t>
            </a:r>
          </a:p>
          <a:p>
            <a:pPr lvl="2"/>
            <a:r>
              <a:rPr lang="ar-SA"/>
              <a:t>المستوى الثالث</a:t>
            </a:r>
          </a:p>
          <a:p>
            <a:pPr lvl="3"/>
            <a:r>
              <a:rPr lang="ar-SA"/>
              <a:t>المستوى الرابع</a:t>
            </a:r>
          </a:p>
          <a:p>
            <a:pPr lvl="4"/>
            <a:r>
              <a:rPr lang="ar-SA"/>
              <a:t>المستوى الخامس</a:t>
            </a:r>
          </a:p>
        </p:txBody>
      </p:sp>
      <p:sp>
        <p:nvSpPr>
          <p:cNvPr id="4" name="عنصر نائب للمحتوى 3">
            <a:extLst>
              <a:ext uri="{FF2B5EF4-FFF2-40B4-BE49-F238E27FC236}">
                <a16:creationId xmlns:a16="http://schemas.microsoft.com/office/drawing/2014/main" id="{2C16161D-06EC-61DF-695A-15446F8DA9A4}"/>
              </a:ext>
            </a:extLst>
          </p:cNvPr>
          <p:cNvSpPr>
            <a:spLocks noGrp="1"/>
          </p:cNvSpPr>
          <p:nvPr>
            <p:ph sz="half" idx="2"/>
          </p:nvPr>
        </p:nvSpPr>
        <p:spPr>
          <a:xfrm>
            <a:off x="6172200" y="1825625"/>
            <a:ext cx="5181600" cy="4351338"/>
          </a:xfrm>
        </p:spPr>
        <p:txBody>
          <a:bodyPr/>
          <a:lstStyle/>
          <a:p>
            <a:pPr lvl="0"/>
            <a:r>
              <a:rPr lang="ar-SA"/>
              <a:t>انقر لتحرير أنماط نص الشكل الرئيسي</a:t>
            </a:r>
          </a:p>
          <a:p>
            <a:pPr lvl="1"/>
            <a:r>
              <a:rPr lang="ar-SA"/>
              <a:t>المستوى الثاني</a:t>
            </a:r>
          </a:p>
          <a:p>
            <a:pPr lvl="2"/>
            <a:r>
              <a:rPr lang="ar-SA"/>
              <a:t>المستوى الثالث</a:t>
            </a:r>
          </a:p>
          <a:p>
            <a:pPr lvl="3"/>
            <a:r>
              <a:rPr lang="ar-SA"/>
              <a:t>المستوى الرابع</a:t>
            </a:r>
          </a:p>
          <a:p>
            <a:pPr lvl="4"/>
            <a:r>
              <a:rPr lang="ar-SA"/>
              <a:t>المستوى الخامس</a:t>
            </a:r>
          </a:p>
        </p:txBody>
      </p:sp>
      <p:sp>
        <p:nvSpPr>
          <p:cNvPr id="5" name="عنصر نائب للتاريخ 4">
            <a:extLst>
              <a:ext uri="{FF2B5EF4-FFF2-40B4-BE49-F238E27FC236}">
                <a16:creationId xmlns:a16="http://schemas.microsoft.com/office/drawing/2014/main" id="{4733F133-A042-7081-B70E-22F9264E0AEC}"/>
              </a:ext>
            </a:extLst>
          </p:cNvPr>
          <p:cNvSpPr>
            <a:spLocks noGrp="1"/>
          </p:cNvSpPr>
          <p:nvPr>
            <p:ph type="dt" sz="half" idx="10"/>
          </p:nvPr>
        </p:nvSpPr>
        <p:spPr/>
        <p:txBody>
          <a:bodyPr/>
          <a:lstStyle/>
          <a:p>
            <a:fld id="{584C6E9D-85A4-4FD5-893B-CAFA4CA60927}" type="datetimeFigureOut">
              <a:rPr lang="ar-SA" smtClean="0"/>
              <a:t>18/05/45</a:t>
            </a:fld>
            <a:endParaRPr lang="ar-SA"/>
          </a:p>
        </p:txBody>
      </p:sp>
      <p:sp>
        <p:nvSpPr>
          <p:cNvPr id="6" name="عنصر نائب للتذييل 5">
            <a:extLst>
              <a:ext uri="{FF2B5EF4-FFF2-40B4-BE49-F238E27FC236}">
                <a16:creationId xmlns:a16="http://schemas.microsoft.com/office/drawing/2014/main" id="{F535D1F9-4247-659C-61D5-A0F512C16A14}"/>
              </a:ext>
            </a:extLst>
          </p:cNvPr>
          <p:cNvSpPr>
            <a:spLocks noGrp="1"/>
          </p:cNvSpPr>
          <p:nvPr>
            <p:ph type="ftr" sz="quarter" idx="11"/>
          </p:nvPr>
        </p:nvSpPr>
        <p:spPr/>
        <p:txBody>
          <a:bodyPr/>
          <a:lstStyle/>
          <a:p>
            <a:endParaRPr lang="ar-SA"/>
          </a:p>
        </p:txBody>
      </p:sp>
      <p:sp>
        <p:nvSpPr>
          <p:cNvPr id="7" name="عنصر نائب لرقم الشريحة 6">
            <a:extLst>
              <a:ext uri="{FF2B5EF4-FFF2-40B4-BE49-F238E27FC236}">
                <a16:creationId xmlns:a16="http://schemas.microsoft.com/office/drawing/2014/main" id="{695FBE95-B4A2-293B-7F06-A8C398502BF2}"/>
              </a:ext>
            </a:extLst>
          </p:cNvPr>
          <p:cNvSpPr>
            <a:spLocks noGrp="1"/>
          </p:cNvSpPr>
          <p:nvPr>
            <p:ph type="sldNum" sz="quarter" idx="12"/>
          </p:nvPr>
        </p:nvSpPr>
        <p:spPr/>
        <p:txBody>
          <a:bodyPr/>
          <a:lstStyle/>
          <a:p>
            <a:fld id="{C555A33E-CEF6-4887-AF0D-FBE8CDD3E1FC}" type="slidenum">
              <a:rPr lang="ar-SA" smtClean="0"/>
              <a:t>‹#›</a:t>
            </a:fld>
            <a:endParaRPr lang="ar-SA"/>
          </a:p>
        </p:txBody>
      </p:sp>
    </p:spTree>
    <p:extLst>
      <p:ext uri="{BB962C8B-B14F-4D97-AF65-F5344CB8AC3E}">
        <p14:creationId xmlns:p14="http://schemas.microsoft.com/office/powerpoint/2010/main" val="283658570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مقارنة">
    <p:spTree>
      <p:nvGrpSpPr>
        <p:cNvPr id="1" name=""/>
        <p:cNvGrpSpPr/>
        <p:nvPr/>
      </p:nvGrpSpPr>
      <p:grpSpPr>
        <a:xfrm>
          <a:off x="0" y="0"/>
          <a:ext cx="0" cy="0"/>
          <a:chOff x="0" y="0"/>
          <a:chExt cx="0" cy="0"/>
        </a:xfrm>
      </p:grpSpPr>
      <p:sp>
        <p:nvSpPr>
          <p:cNvPr id="2" name="عنوان 1">
            <a:extLst>
              <a:ext uri="{FF2B5EF4-FFF2-40B4-BE49-F238E27FC236}">
                <a16:creationId xmlns:a16="http://schemas.microsoft.com/office/drawing/2014/main" id="{48A57820-7EFC-5772-4862-B642CD8B2345}"/>
              </a:ext>
            </a:extLst>
          </p:cNvPr>
          <p:cNvSpPr>
            <a:spLocks noGrp="1"/>
          </p:cNvSpPr>
          <p:nvPr>
            <p:ph type="title"/>
          </p:nvPr>
        </p:nvSpPr>
        <p:spPr>
          <a:xfrm>
            <a:off x="839788" y="365125"/>
            <a:ext cx="10515600" cy="1325563"/>
          </a:xfrm>
        </p:spPr>
        <p:txBody>
          <a:bodyPr/>
          <a:lstStyle/>
          <a:p>
            <a:r>
              <a:rPr lang="ar-SA"/>
              <a:t>انقر لتحرير نمط عنوان الشكل الرئيسي</a:t>
            </a:r>
          </a:p>
        </p:txBody>
      </p:sp>
      <p:sp>
        <p:nvSpPr>
          <p:cNvPr id="3" name="عنصر نائب للنص 2">
            <a:extLst>
              <a:ext uri="{FF2B5EF4-FFF2-40B4-BE49-F238E27FC236}">
                <a16:creationId xmlns:a16="http://schemas.microsoft.com/office/drawing/2014/main" id="{C1158693-F772-2CC6-CD57-A6AA4F21031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ar-SA"/>
              <a:t>انقر لتحرير أنماط نص الشكل الرئيسي</a:t>
            </a:r>
          </a:p>
        </p:txBody>
      </p:sp>
      <p:sp>
        <p:nvSpPr>
          <p:cNvPr id="4" name="عنصر نائب للمحتوى 3">
            <a:extLst>
              <a:ext uri="{FF2B5EF4-FFF2-40B4-BE49-F238E27FC236}">
                <a16:creationId xmlns:a16="http://schemas.microsoft.com/office/drawing/2014/main" id="{B95C3B04-460F-C77C-8310-D3013C92F862}"/>
              </a:ext>
            </a:extLst>
          </p:cNvPr>
          <p:cNvSpPr>
            <a:spLocks noGrp="1"/>
          </p:cNvSpPr>
          <p:nvPr>
            <p:ph sz="half" idx="2"/>
          </p:nvPr>
        </p:nvSpPr>
        <p:spPr>
          <a:xfrm>
            <a:off x="839788" y="2505075"/>
            <a:ext cx="5157787" cy="3684588"/>
          </a:xfrm>
        </p:spPr>
        <p:txBody>
          <a:bodyPr/>
          <a:lstStyle/>
          <a:p>
            <a:pPr lvl="0"/>
            <a:r>
              <a:rPr lang="ar-SA"/>
              <a:t>انقر لتحرير أنماط نص الشكل الرئيسي</a:t>
            </a:r>
          </a:p>
          <a:p>
            <a:pPr lvl="1"/>
            <a:r>
              <a:rPr lang="ar-SA"/>
              <a:t>المستوى الثاني</a:t>
            </a:r>
          </a:p>
          <a:p>
            <a:pPr lvl="2"/>
            <a:r>
              <a:rPr lang="ar-SA"/>
              <a:t>المستوى الثالث</a:t>
            </a:r>
          </a:p>
          <a:p>
            <a:pPr lvl="3"/>
            <a:r>
              <a:rPr lang="ar-SA"/>
              <a:t>المستوى الرابع</a:t>
            </a:r>
          </a:p>
          <a:p>
            <a:pPr lvl="4"/>
            <a:r>
              <a:rPr lang="ar-SA"/>
              <a:t>المستوى الخامس</a:t>
            </a:r>
          </a:p>
        </p:txBody>
      </p:sp>
      <p:sp>
        <p:nvSpPr>
          <p:cNvPr id="5" name="عنصر نائب للنص 4">
            <a:extLst>
              <a:ext uri="{FF2B5EF4-FFF2-40B4-BE49-F238E27FC236}">
                <a16:creationId xmlns:a16="http://schemas.microsoft.com/office/drawing/2014/main" id="{BA29862C-7672-22FC-1264-23749479045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ar-SA"/>
              <a:t>انقر لتحرير أنماط نص الشكل الرئيسي</a:t>
            </a:r>
          </a:p>
        </p:txBody>
      </p:sp>
      <p:sp>
        <p:nvSpPr>
          <p:cNvPr id="6" name="عنصر نائب للمحتوى 5">
            <a:extLst>
              <a:ext uri="{FF2B5EF4-FFF2-40B4-BE49-F238E27FC236}">
                <a16:creationId xmlns:a16="http://schemas.microsoft.com/office/drawing/2014/main" id="{261C9D94-6B73-E1D9-9012-21A30C20B2F4}"/>
              </a:ext>
            </a:extLst>
          </p:cNvPr>
          <p:cNvSpPr>
            <a:spLocks noGrp="1"/>
          </p:cNvSpPr>
          <p:nvPr>
            <p:ph sz="quarter" idx="4"/>
          </p:nvPr>
        </p:nvSpPr>
        <p:spPr>
          <a:xfrm>
            <a:off x="6172200" y="2505075"/>
            <a:ext cx="5183188" cy="3684588"/>
          </a:xfrm>
        </p:spPr>
        <p:txBody>
          <a:bodyPr/>
          <a:lstStyle/>
          <a:p>
            <a:pPr lvl="0"/>
            <a:r>
              <a:rPr lang="ar-SA"/>
              <a:t>انقر لتحرير أنماط نص الشكل الرئيسي</a:t>
            </a:r>
          </a:p>
          <a:p>
            <a:pPr lvl="1"/>
            <a:r>
              <a:rPr lang="ar-SA"/>
              <a:t>المستوى الثاني</a:t>
            </a:r>
          </a:p>
          <a:p>
            <a:pPr lvl="2"/>
            <a:r>
              <a:rPr lang="ar-SA"/>
              <a:t>المستوى الثالث</a:t>
            </a:r>
          </a:p>
          <a:p>
            <a:pPr lvl="3"/>
            <a:r>
              <a:rPr lang="ar-SA"/>
              <a:t>المستوى الرابع</a:t>
            </a:r>
          </a:p>
          <a:p>
            <a:pPr lvl="4"/>
            <a:r>
              <a:rPr lang="ar-SA"/>
              <a:t>المستوى الخامس</a:t>
            </a:r>
          </a:p>
        </p:txBody>
      </p:sp>
      <p:sp>
        <p:nvSpPr>
          <p:cNvPr id="7" name="عنصر نائب للتاريخ 6">
            <a:extLst>
              <a:ext uri="{FF2B5EF4-FFF2-40B4-BE49-F238E27FC236}">
                <a16:creationId xmlns:a16="http://schemas.microsoft.com/office/drawing/2014/main" id="{3FB5E17E-E57D-792C-5027-BED9037499FC}"/>
              </a:ext>
            </a:extLst>
          </p:cNvPr>
          <p:cNvSpPr>
            <a:spLocks noGrp="1"/>
          </p:cNvSpPr>
          <p:nvPr>
            <p:ph type="dt" sz="half" idx="10"/>
          </p:nvPr>
        </p:nvSpPr>
        <p:spPr/>
        <p:txBody>
          <a:bodyPr/>
          <a:lstStyle/>
          <a:p>
            <a:fld id="{584C6E9D-85A4-4FD5-893B-CAFA4CA60927}" type="datetimeFigureOut">
              <a:rPr lang="ar-SA" smtClean="0"/>
              <a:t>18/05/45</a:t>
            </a:fld>
            <a:endParaRPr lang="ar-SA"/>
          </a:p>
        </p:txBody>
      </p:sp>
      <p:sp>
        <p:nvSpPr>
          <p:cNvPr id="8" name="عنصر نائب للتذييل 7">
            <a:extLst>
              <a:ext uri="{FF2B5EF4-FFF2-40B4-BE49-F238E27FC236}">
                <a16:creationId xmlns:a16="http://schemas.microsoft.com/office/drawing/2014/main" id="{841B4C01-7423-CA38-2453-DA86F314E465}"/>
              </a:ext>
            </a:extLst>
          </p:cNvPr>
          <p:cNvSpPr>
            <a:spLocks noGrp="1"/>
          </p:cNvSpPr>
          <p:nvPr>
            <p:ph type="ftr" sz="quarter" idx="11"/>
          </p:nvPr>
        </p:nvSpPr>
        <p:spPr/>
        <p:txBody>
          <a:bodyPr/>
          <a:lstStyle/>
          <a:p>
            <a:endParaRPr lang="ar-SA"/>
          </a:p>
        </p:txBody>
      </p:sp>
      <p:sp>
        <p:nvSpPr>
          <p:cNvPr id="9" name="عنصر نائب لرقم الشريحة 8">
            <a:extLst>
              <a:ext uri="{FF2B5EF4-FFF2-40B4-BE49-F238E27FC236}">
                <a16:creationId xmlns:a16="http://schemas.microsoft.com/office/drawing/2014/main" id="{6E534EB7-9F60-4149-9593-49B8FA3DDB8B}"/>
              </a:ext>
            </a:extLst>
          </p:cNvPr>
          <p:cNvSpPr>
            <a:spLocks noGrp="1"/>
          </p:cNvSpPr>
          <p:nvPr>
            <p:ph type="sldNum" sz="quarter" idx="12"/>
          </p:nvPr>
        </p:nvSpPr>
        <p:spPr/>
        <p:txBody>
          <a:bodyPr/>
          <a:lstStyle/>
          <a:p>
            <a:fld id="{C555A33E-CEF6-4887-AF0D-FBE8CDD3E1FC}" type="slidenum">
              <a:rPr lang="ar-SA" smtClean="0"/>
              <a:t>‹#›</a:t>
            </a:fld>
            <a:endParaRPr lang="ar-SA"/>
          </a:p>
        </p:txBody>
      </p:sp>
    </p:spTree>
    <p:extLst>
      <p:ext uri="{BB962C8B-B14F-4D97-AF65-F5344CB8AC3E}">
        <p14:creationId xmlns:p14="http://schemas.microsoft.com/office/powerpoint/2010/main" val="234489105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عنوان فقط">
    <p:spTree>
      <p:nvGrpSpPr>
        <p:cNvPr id="1" name=""/>
        <p:cNvGrpSpPr/>
        <p:nvPr/>
      </p:nvGrpSpPr>
      <p:grpSpPr>
        <a:xfrm>
          <a:off x="0" y="0"/>
          <a:ext cx="0" cy="0"/>
          <a:chOff x="0" y="0"/>
          <a:chExt cx="0" cy="0"/>
        </a:xfrm>
      </p:grpSpPr>
      <p:sp>
        <p:nvSpPr>
          <p:cNvPr id="2" name="عنوان 1">
            <a:extLst>
              <a:ext uri="{FF2B5EF4-FFF2-40B4-BE49-F238E27FC236}">
                <a16:creationId xmlns:a16="http://schemas.microsoft.com/office/drawing/2014/main" id="{44B94D6E-E7C4-B7AD-1587-6961799E13E0}"/>
              </a:ext>
            </a:extLst>
          </p:cNvPr>
          <p:cNvSpPr>
            <a:spLocks noGrp="1"/>
          </p:cNvSpPr>
          <p:nvPr>
            <p:ph type="title"/>
          </p:nvPr>
        </p:nvSpPr>
        <p:spPr/>
        <p:txBody>
          <a:bodyPr/>
          <a:lstStyle/>
          <a:p>
            <a:r>
              <a:rPr lang="ar-SA"/>
              <a:t>انقر لتحرير نمط عنوان الشكل الرئيسي</a:t>
            </a:r>
          </a:p>
        </p:txBody>
      </p:sp>
      <p:sp>
        <p:nvSpPr>
          <p:cNvPr id="3" name="عنصر نائب للتاريخ 2">
            <a:extLst>
              <a:ext uri="{FF2B5EF4-FFF2-40B4-BE49-F238E27FC236}">
                <a16:creationId xmlns:a16="http://schemas.microsoft.com/office/drawing/2014/main" id="{A61AFE95-FC7D-B387-8B5F-0748ECE0B9D4}"/>
              </a:ext>
            </a:extLst>
          </p:cNvPr>
          <p:cNvSpPr>
            <a:spLocks noGrp="1"/>
          </p:cNvSpPr>
          <p:nvPr>
            <p:ph type="dt" sz="half" idx="10"/>
          </p:nvPr>
        </p:nvSpPr>
        <p:spPr/>
        <p:txBody>
          <a:bodyPr/>
          <a:lstStyle/>
          <a:p>
            <a:fld id="{584C6E9D-85A4-4FD5-893B-CAFA4CA60927}" type="datetimeFigureOut">
              <a:rPr lang="ar-SA" smtClean="0"/>
              <a:t>18/05/45</a:t>
            </a:fld>
            <a:endParaRPr lang="ar-SA"/>
          </a:p>
        </p:txBody>
      </p:sp>
      <p:sp>
        <p:nvSpPr>
          <p:cNvPr id="4" name="عنصر نائب للتذييل 3">
            <a:extLst>
              <a:ext uri="{FF2B5EF4-FFF2-40B4-BE49-F238E27FC236}">
                <a16:creationId xmlns:a16="http://schemas.microsoft.com/office/drawing/2014/main" id="{DCE85523-DF75-B563-CE8F-68D9967CDB39}"/>
              </a:ext>
            </a:extLst>
          </p:cNvPr>
          <p:cNvSpPr>
            <a:spLocks noGrp="1"/>
          </p:cNvSpPr>
          <p:nvPr>
            <p:ph type="ftr" sz="quarter" idx="11"/>
          </p:nvPr>
        </p:nvSpPr>
        <p:spPr/>
        <p:txBody>
          <a:bodyPr/>
          <a:lstStyle/>
          <a:p>
            <a:endParaRPr lang="ar-SA"/>
          </a:p>
        </p:txBody>
      </p:sp>
      <p:sp>
        <p:nvSpPr>
          <p:cNvPr id="5" name="عنصر نائب لرقم الشريحة 4">
            <a:extLst>
              <a:ext uri="{FF2B5EF4-FFF2-40B4-BE49-F238E27FC236}">
                <a16:creationId xmlns:a16="http://schemas.microsoft.com/office/drawing/2014/main" id="{A7416966-FE11-5467-33D4-D1701EE212EF}"/>
              </a:ext>
            </a:extLst>
          </p:cNvPr>
          <p:cNvSpPr>
            <a:spLocks noGrp="1"/>
          </p:cNvSpPr>
          <p:nvPr>
            <p:ph type="sldNum" sz="quarter" idx="12"/>
          </p:nvPr>
        </p:nvSpPr>
        <p:spPr/>
        <p:txBody>
          <a:bodyPr/>
          <a:lstStyle/>
          <a:p>
            <a:fld id="{C555A33E-CEF6-4887-AF0D-FBE8CDD3E1FC}" type="slidenum">
              <a:rPr lang="ar-SA" smtClean="0"/>
              <a:t>‹#›</a:t>
            </a:fld>
            <a:endParaRPr lang="ar-SA"/>
          </a:p>
        </p:txBody>
      </p:sp>
    </p:spTree>
    <p:extLst>
      <p:ext uri="{BB962C8B-B14F-4D97-AF65-F5344CB8AC3E}">
        <p14:creationId xmlns:p14="http://schemas.microsoft.com/office/powerpoint/2010/main" val="333322513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فارغ">
    <p:spTree>
      <p:nvGrpSpPr>
        <p:cNvPr id="1" name=""/>
        <p:cNvGrpSpPr/>
        <p:nvPr/>
      </p:nvGrpSpPr>
      <p:grpSpPr>
        <a:xfrm>
          <a:off x="0" y="0"/>
          <a:ext cx="0" cy="0"/>
          <a:chOff x="0" y="0"/>
          <a:chExt cx="0" cy="0"/>
        </a:xfrm>
      </p:grpSpPr>
      <p:sp>
        <p:nvSpPr>
          <p:cNvPr id="2" name="عنصر نائب للتاريخ 1">
            <a:extLst>
              <a:ext uri="{FF2B5EF4-FFF2-40B4-BE49-F238E27FC236}">
                <a16:creationId xmlns:a16="http://schemas.microsoft.com/office/drawing/2014/main" id="{34B26D14-FCEB-CCA3-AF63-B16B995E4CAB}"/>
              </a:ext>
            </a:extLst>
          </p:cNvPr>
          <p:cNvSpPr>
            <a:spLocks noGrp="1"/>
          </p:cNvSpPr>
          <p:nvPr>
            <p:ph type="dt" sz="half" idx="10"/>
          </p:nvPr>
        </p:nvSpPr>
        <p:spPr/>
        <p:txBody>
          <a:bodyPr/>
          <a:lstStyle/>
          <a:p>
            <a:fld id="{584C6E9D-85A4-4FD5-893B-CAFA4CA60927}" type="datetimeFigureOut">
              <a:rPr lang="ar-SA" smtClean="0"/>
              <a:t>18/05/45</a:t>
            </a:fld>
            <a:endParaRPr lang="ar-SA"/>
          </a:p>
        </p:txBody>
      </p:sp>
      <p:sp>
        <p:nvSpPr>
          <p:cNvPr id="3" name="عنصر نائب للتذييل 2">
            <a:extLst>
              <a:ext uri="{FF2B5EF4-FFF2-40B4-BE49-F238E27FC236}">
                <a16:creationId xmlns:a16="http://schemas.microsoft.com/office/drawing/2014/main" id="{303C61F6-FCBC-1A6D-ECB3-AAF287816648}"/>
              </a:ext>
            </a:extLst>
          </p:cNvPr>
          <p:cNvSpPr>
            <a:spLocks noGrp="1"/>
          </p:cNvSpPr>
          <p:nvPr>
            <p:ph type="ftr" sz="quarter" idx="11"/>
          </p:nvPr>
        </p:nvSpPr>
        <p:spPr/>
        <p:txBody>
          <a:bodyPr/>
          <a:lstStyle/>
          <a:p>
            <a:endParaRPr lang="ar-SA"/>
          </a:p>
        </p:txBody>
      </p:sp>
      <p:sp>
        <p:nvSpPr>
          <p:cNvPr id="4" name="عنصر نائب لرقم الشريحة 3">
            <a:extLst>
              <a:ext uri="{FF2B5EF4-FFF2-40B4-BE49-F238E27FC236}">
                <a16:creationId xmlns:a16="http://schemas.microsoft.com/office/drawing/2014/main" id="{6AA43520-8408-9F5A-D390-619B6BDF52AB}"/>
              </a:ext>
            </a:extLst>
          </p:cNvPr>
          <p:cNvSpPr>
            <a:spLocks noGrp="1"/>
          </p:cNvSpPr>
          <p:nvPr>
            <p:ph type="sldNum" sz="quarter" idx="12"/>
          </p:nvPr>
        </p:nvSpPr>
        <p:spPr/>
        <p:txBody>
          <a:bodyPr/>
          <a:lstStyle/>
          <a:p>
            <a:fld id="{C555A33E-CEF6-4887-AF0D-FBE8CDD3E1FC}" type="slidenum">
              <a:rPr lang="ar-SA" smtClean="0"/>
              <a:t>‹#›</a:t>
            </a:fld>
            <a:endParaRPr lang="ar-SA"/>
          </a:p>
        </p:txBody>
      </p:sp>
    </p:spTree>
    <p:extLst>
      <p:ext uri="{BB962C8B-B14F-4D97-AF65-F5344CB8AC3E}">
        <p14:creationId xmlns:p14="http://schemas.microsoft.com/office/powerpoint/2010/main" val="28665867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محتوى مع تسمية توضيحية">
    <p:spTree>
      <p:nvGrpSpPr>
        <p:cNvPr id="1" name=""/>
        <p:cNvGrpSpPr/>
        <p:nvPr/>
      </p:nvGrpSpPr>
      <p:grpSpPr>
        <a:xfrm>
          <a:off x="0" y="0"/>
          <a:ext cx="0" cy="0"/>
          <a:chOff x="0" y="0"/>
          <a:chExt cx="0" cy="0"/>
        </a:xfrm>
      </p:grpSpPr>
      <p:sp>
        <p:nvSpPr>
          <p:cNvPr id="2" name="عنوان 1">
            <a:extLst>
              <a:ext uri="{FF2B5EF4-FFF2-40B4-BE49-F238E27FC236}">
                <a16:creationId xmlns:a16="http://schemas.microsoft.com/office/drawing/2014/main" id="{69646BD7-DB39-39A4-A2B0-AACC91DFC9FE}"/>
              </a:ext>
            </a:extLst>
          </p:cNvPr>
          <p:cNvSpPr>
            <a:spLocks noGrp="1"/>
          </p:cNvSpPr>
          <p:nvPr>
            <p:ph type="title"/>
          </p:nvPr>
        </p:nvSpPr>
        <p:spPr>
          <a:xfrm>
            <a:off x="839788" y="457200"/>
            <a:ext cx="3932237" cy="1600200"/>
          </a:xfrm>
        </p:spPr>
        <p:txBody>
          <a:bodyPr anchor="b"/>
          <a:lstStyle>
            <a:lvl1pPr>
              <a:defRPr sz="3200"/>
            </a:lvl1pPr>
          </a:lstStyle>
          <a:p>
            <a:r>
              <a:rPr lang="ar-SA"/>
              <a:t>انقر لتحرير نمط عنوان الشكل الرئيسي</a:t>
            </a:r>
          </a:p>
        </p:txBody>
      </p:sp>
      <p:sp>
        <p:nvSpPr>
          <p:cNvPr id="3" name="عنصر نائب للمحتوى 2">
            <a:extLst>
              <a:ext uri="{FF2B5EF4-FFF2-40B4-BE49-F238E27FC236}">
                <a16:creationId xmlns:a16="http://schemas.microsoft.com/office/drawing/2014/main" id="{BC860A9F-53DB-776D-70F1-5821F334B81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ar-SA"/>
              <a:t>انقر لتحرير أنماط نص الشكل الرئيسي</a:t>
            </a:r>
          </a:p>
          <a:p>
            <a:pPr lvl="1"/>
            <a:r>
              <a:rPr lang="ar-SA"/>
              <a:t>المستوى الثاني</a:t>
            </a:r>
          </a:p>
          <a:p>
            <a:pPr lvl="2"/>
            <a:r>
              <a:rPr lang="ar-SA"/>
              <a:t>المستوى الثالث</a:t>
            </a:r>
          </a:p>
          <a:p>
            <a:pPr lvl="3"/>
            <a:r>
              <a:rPr lang="ar-SA"/>
              <a:t>المستوى الرابع</a:t>
            </a:r>
          </a:p>
          <a:p>
            <a:pPr lvl="4"/>
            <a:r>
              <a:rPr lang="ar-SA"/>
              <a:t>المستوى الخامس</a:t>
            </a:r>
          </a:p>
        </p:txBody>
      </p:sp>
      <p:sp>
        <p:nvSpPr>
          <p:cNvPr id="4" name="عنصر نائب للنص 3">
            <a:extLst>
              <a:ext uri="{FF2B5EF4-FFF2-40B4-BE49-F238E27FC236}">
                <a16:creationId xmlns:a16="http://schemas.microsoft.com/office/drawing/2014/main" id="{76D08746-5612-6820-7EE3-2554EBC490E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ar-SA"/>
              <a:t>انقر لتحرير أنماط نص الشكل الرئيسي</a:t>
            </a:r>
          </a:p>
        </p:txBody>
      </p:sp>
      <p:sp>
        <p:nvSpPr>
          <p:cNvPr id="5" name="عنصر نائب للتاريخ 4">
            <a:extLst>
              <a:ext uri="{FF2B5EF4-FFF2-40B4-BE49-F238E27FC236}">
                <a16:creationId xmlns:a16="http://schemas.microsoft.com/office/drawing/2014/main" id="{1ACFFEE2-1EF5-6D50-F15F-DC8C9F5C1324}"/>
              </a:ext>
            </a:extLst>
          </p:cNvPr>
          <p:cNvSpPr>
            <a:spLocks noGrp="1"/>
          </p:cNvSpPr>
          <p:nvPr>
            <p:ph type="dt" sz="half" idx="10"/>
          </p:nvPr>
        </p:nvSpPr>
        <p:spPr/>
        <p:txBody>
          <a:bodyPr/>
          <a:lstStyle/>
          <a:p>
            <a:fld id="{584C6E9D-85A4-4FD5-893B-CAFA4CA60927}" type="datetimeFigureOut">
              <a:rPr lang="ar-SA" smtClean="0"/>
              <a:t>18/05/45</a:t>
            </a:fld>
            <a:endParaRPr lang="ar-SA"/>
          </a:p>
        </p:txBody>
      </p:sp>
      <p:sp>
        <p:nvSpPr>
          <p:cNvPr id="6" name="عنصر نائب للتذييل 5">
            <a:extLst>
              <a:ext uri="{FF2B5EF4-FFF2-40B4-BE49-F238E27FC236}">
                <a16:creationId xmlns:a16="http://schemas.microsoft.com/office/drawing/2014/main" id="{E88128C4-8115-5071-9B6D-0932EAF36F60}"/>
              </a:ext>
            </a:extLst>
          </p:cNvPr>
          <p:cNvSpPr>
            <a:spLocks noGrp="1"/>
          </p:cNvSpPr>
          <p:nvPr>
            <p:ph type="ftr" sz="quarter" idx="11"/>
          </p:nvPr>
        </p:nvSpPr>
        <p:spPr/>
        <p:txBody>
          <a:bodyPr/>
          <a:lstStyle/>
          <a:p>
            <a:endParaRPr lang="ar-SA"/>
          </a:p>
        </p:txBody>
      </p:sp>
      <p:sp>
        <p:nvSpPr>
          <p:cNvPr id="7" name="عنصر نائب لرقم الشريحة 6">
            <a:extLst>
              <a:ext uri="{FF2B5EF4-FFF2-40B4-BE49-F238E27FC236}">
                <a16:creationId xmlns:a16="http://schemas.microsoft.com/office/drawing/2014/main" id="{50805E04-75D8-CD97-8F00-80D476CF1475}"/>
              </a:ext>
            </a:extLst>
          </p:cNvPr>
          <p:cNvSpPr>
            <a:spLocks noGrp="1"/>
          </p:cNvSpPr>
          <p:nvPr>
            <p:ph type="sldNum" sz="quarter" idx="12"/>
          </p:nvPr>
        </p:nvSpPr>
        <p:spPr/>
        <p:txBody>
          <a:bodyPr/>
          <a:lstStyle/>
          <a:p>
            <a:fld id="{C555A33E-CEF6-4887-AF0D-FBE8CDD3E1FC}" type="slidenum">
              <a:rPr lang="ar-SA" smtClean="0"/>
              <a:t>‹#›</a:t>
            </a:fld>
            <a:endParaRPr lang="ar-SA"/>
          </a:p>
        </p:txBody>
      </p:sp>
    </p:spTree>
    <p:extLst>
      <p:ext uri="{BB962C8B-B14F-4D97-AF65-F5344CB8AC3E}">
        <p14:creationId xmlns:p14="http://schemas.microsoft.com/office/powerpoint/2010/main" val="16558878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صورة مع تسمية توضيحية">
    <p:spTree>
      <p:nvGrpSpPr>
        <p:cNvPr id="1" name=""/>
        <p:cNvGrpSpPr/>
        <p:nvPr/>
      </p:nvGrpSpPr>
      <p:grpSpPr>
        <a:xfrm>
          <a:off x="0" y="0"/>
          <a:ext cx="0" cy="0"/>
          <a:chOff x="0" y="0"/>
          <a:chExt cx="0" cy="0"/>
        </a:xfrm>
      </p:grpSpPr>
      <p:sp>
        <p:nvSpPr>
          <p:cNvPr id="2" name="عنوان 1">
            <a:extLst>
              <a:ext uri="{FF2B5EF4-FFF2-40B4-BE49-F238E27FC236}">
                <a16:creationId xmlns:a16="http://schemas.microsoft.com/office/drawing/2014/main" id="{09CA0997-4D2A-5A6D-DB50-C6AAE3C19D7A}"/>
              </a:ext>
            </a:extLst>
          </p:cNvPr>
          <p:cNvSpPr>
            <a:spLocks noGrp="1"/>
          </p:cNvSpPr>
          <p:nvPr>
            <p:ph type="title"/>
          </p:nvPr>
        </p:nvSpPr>
        <p:spPr>
          <a:xfrm>
            <a:off x="839788" y="457200"/>
            <a:ext cx="3932237" cy="1600200"/>
          </a:xfrm>
        </p:spPr>
        <p:txBody>
          <a:bodyPr anchor="b"/>
          <a:lstStyle>
            <a:lvl1pPr>
              <a:defRPr sz="3200"/>
            </a:lvl1pPr>
          </a:lstStyle>
          <a:p>
            <a:r>
              <a:rPr lang="ar-SA"/>
              <a:t>انقر لتحرير نمط عنوان الشكل الرئيسي</a:t>
            </a:r>
          </a:p>
        </p:txBody>
      </p:sp>
      <p:sp>
        <p:nvSpPr>
          <p:cNvPr id="3" name="عنصر نائب للصورة 2">
            <a:extLst>
              <a:ext uri="{FF2B5EF4-FFF2-40B4-BE49-F238E27FC236}">
                <a16:creationId xmlns:a16="http://schemas.microsoft.com/office/drawing/2014/main" id="{B7057234-2782-FC63-7654-CE41183D7C2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ar-SA"/>
          </a:p>
        </p:txBody>
      </p:sp>
      <p:sp>
        <p:nvSpPr>
          <p:cNvPr id="4" name="عنصر نائب للنص 3">
            <a:extLst>
              <a:ext uri="{FF2B5EF4-FFF2-40B4-BE49-F238E27FC236}">
                <a16:creationId xmlns:a16="http://schemas.microsoft.com/office/drawing/2014/main" id="{74537A28-4BBC-7C6F-4B7B-A86C3CE7152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ar-SA"/>
              <a:t>انقر لتحرير أنماط نص الشكل الرئيسي</a:t>
            </a:r>
          </a:p>
        </p:txBody>
      </p:sp>
      <p:sp>
        <p:nvSpPr>
          <p:cNvPr id="5" name="عنصر نائب للتاريخ 4">
            <a:extLst>
              <a:ext uri="{FF2B5EF4-FFF2-40B4-BE49-F238E27FC236}">
                <a16:creationId xmlns:a16="http://schemas.microsoft.com/office/drawing/2014/main" id="{0714F13B-E2B6-D413-C8C8-ED5809003EAB}"/>
              </a:ext>
            </a:extLst>
          </p:cNvPr>
          <p:cNvSpPr>
            <a:spLocks noGrp="1"/>
          </p:cNvSpPr>
          <p:nvPr>
            <p:ph type="dt" sz="half" idx="10"/>
          </p:nvPr>
        </p:nvSpPr>
        <p:spPr/>
        <p:txBody>
          <a:bodyPr/>
          <a:lstStyle/>
          <a:p>
            <a:fld id="{584C6E9D-85A4-4FD5-893B-CAFA4CA60927}" type="datetimeFigureOut">
              <a:rPr lang="ar-SA" smtClean="0"/>
              <a:t>18/05/45</a:t>
            </a:fld>
            <a:endParaRPr lang="ar-SA"/>
          </a:p>
        </p:txBody>
      </p:sp>
      <p:sp>
        <p:nvSpPr>
          <p:cNvPr id="6" name="عنصر نائب للتذييل 5">
            <a:extLst>
              <a:ext uri="{FF2B5EF4-FFF2-40B4-BE49-F238E27FC236}">
                <a16:creationId xmlns:a16="http://schemas.microsoft.com/office/drawing/2014/main" id="{40700EAC-3BB8-3468-E4BE-503AF2147AD7}"/>
              </a:ext>
            </a:extLst>
          </p:cNvPr>
          <p:cNvSpPr>
            <a:spLocks noGrp="1"/>
          </p:cNvSpPr>
          <p:nvPr>
            <p:ph type="ftr" sz="quarter" idx="11"/>
          </p:nvPr>
        </p:nvSpPr>
        <p:spPr/>
        <p:txBody>
          <a:bodyPr/>
          <a:lstStyle/>
          <a:p>
            <a:endParaRPr lang="ar-SA"/>
          </a:p>
        </p:txBody>
      </p:sp>
      <p:sp>
        <p:nvSpPr>
          <p:cNvPr id="7" name="عنصر نائب لرقم الشريحة 6">
            <a:extLst>
              <a:ext uri="{FF2B5EF4-FFF2-40B4-BE49-F238E27FC236}">
                <a16:creationId xmlns:a16="http://schemas.microsoft.com/office/drawing/2014/main" id="{C4B8D413-2237-4F6F-7EFF-7D132397F70A}"/>
              </a:ext>
            </a:extLst>
          </p:cNvPr>
          <p:cNvSpPr>
            <a:spLocks noGrp="1"/>
          </p:cNvSpPr>
          <p:nvPr>
            <p:ph type="sldNum" sz="quarter" idx="12"/>
          </p:nvPr>
        </p:nvSpPr>
        <p:spPr/>
        <p:txBody>
          <a:bodyPr/>
          <a:lstStyle/>
          <a:p>
            <a:fld id="{C555A33E-CEF6-4887-AF0D-FBE8CDD3E1FC}" type="slidenum">
              <a:rPr lang="ar-SA" smtClean="0"/>
              <a:t>‹#›</a:t>
            </a:fld>
            <a:endParaRPr lang="ar-SA"/>
          </a:p>
        </p:txBody>
      </p:sp>
    </p:spTree>
    <p:extLst>
      <p:ext uri="{BB962C8B-B14F-4D97-AF65-F5344CB8AC3E}">
        <p14:creationId xmlns:p14="http://schemas.microsoft.com/office/powerpoint/2010/main" val="107826749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theme" Target="../theme/theme3.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10" Type="http://schemas.openxmlformats.org/officeDocument/2006/relationships/slideLayout" Target="../slideLayouts/slideLayout25.xml"/><Relationship Id="rId19" Type="http://schemas.openxmlformats.org/officeDocument/2006/relationships/image" Target="../media/image4.jpeg"/><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6">
            <a:lum/>
          </a:blip>
          <a:srcRect/>
          <a:stretch>
            <a:fillRect/>
          </a:stretch>
        </a:blipFill>
        <a:effectLst/>
      </p:bgPr>
    </p:bg>
    <p:spTree>
      <p:nvGrpSpPr>
        <p:cNvPr id="1" name=""/>
        <p:cNvGrpSpPr/>
        <p:nvPr/>
      </p:nvGrpSpPr>
      <p:grpSpPr>
        <a:xfrm>
          <a:off x="0" y="0"/>
          <a:ext cx="0" cy="0"/>
          <a:chOff x="0" y="0"/>
          <a:chExt cx="0" cy="0"/>
        </a:xfrm>
      </p:grpSpPr>
      <p:sp>
        <p:nvSpPr>
          <p:cNvPr id="2" name="عنصر نائب للعنوان 1">
            <a:extLst>
              <a:ext uri="{FF2B5EF4-FFF2-40B4-BE49-F238E27FC236}">
                <a16:creationId xmlns:a16="http://schemas.microsoft.com/office/drawing/2014/main" id="{E0132DA4-9E05-7E44-0456-7A78B03ADC00}"/>
              </a:ext>
            </a:extLst>
          </p:cNvPr>
          <p:cNvSpPr>
            <a:spLocks noGrp="1"/>
          </p:cNvSpPr>
          <p:nvPr>
            <p:ph type="title"/>
          </p:nvPr>
        </p:nvSpPr>
        <p:spPr>
          <a:xfrm>
            <a:off x="838200" y="365125"/>
            <a:ext cx="10515600" cy="1325563"/>
          </a:xfrm>
          <a:prstGeom prst="rect">
            <a:avLst/>
          </a:prstGeom>
        </p:spPr>
        <p:txBody>
          <a:bodyPr vert="horz" lIns="91440" tIns="45720" rIns="91440" bIns="45720" rtlCol="1" anchor="ctr">
            <a:normAutofit/>
          </a:bodyPr>
          <a:lstStyle/>
          <a:p>
            <a:r>
              <a:rPr lang="ar-SA"/>
              <a:t>انقر لتحرير نمط عنوان الشكل الرئيسي</a:t>
            </a:r>
          </a:p>
        </p:txBody>
      </p:sp>
      <p:sp>
        <p:nvSpPr>
          <p:cNvPr id="3" name="عنصر نائب للنص 2">
            <a:extLst>
              <a:ext uri="{FF2B5EF4-FFF2-40B4-BE49-F238E27FC236}">
                <a16:creationId xmlns:a16="http://schemas.microsoft.com/office/drawing/2014/main" id="{44BE5F09-0D6D-91A9-4AE9-E4055187E2C6}"/>
              </a:ext>
            </a:extLst>
          </p:cNvPr>
          <p:cNvSpPr>
            <a:spLocks noGrp="1"/>
          </p:cNvSpPr>
          <p:nvPr>
            <p:ph type="body" idx="1"/>
          </p:nvPr>
        </p:nvSpPr>
        <p:spPr>
          <a:xfrm>
            <a:off x="838200" y="1825625"/>
            <a:ext cx="10515600" cy="4351338"/>
          </a:xfrm>
          <a:prstGeom prst="rect">
            <a:avLst/>
          </a:prstGeom>
        </p:spPr>
        <p:txBody>
          <a:bodyPr vert="horz" lIns="91440" tIns="45720" rIns="91440" bIns="45720" rtlCol="1">
            <a:normAutofit/>
          </a:bodyPr>
          <a:lstStyle/>
          <a:p>
            <a:pPr lvl="0"/>
            <a:r>
              <a:rPr lang="ar-SA"/>
              <a:t>انقر لتحرير أنماط نص الشكل الرئيسي</a:t>
            </a:r>
          </a:p>
          <a:p>
            <a:pPr lvl="1"/>
            <a:r>
              <a:rPr lang="ar-SA"/>
              <a:t>المستوى الثاني</a:t>
            </a:r>
          </a:p>
          <a:p>
            <a:pPr lvl="2"/>
            <a:r>
              <a:rPr lang="ar-SA"/>
              <a:t>المستوى الثالث</a:t>
            </a:r>
          </a:p>
          <a:p>
            <a:pPr lvl="3"/>
            <a:r>
              <a:rPr lang="ar-SA"/>
              <a:t>المستوى الرابع</a:t>
            </a:r>
          </a:p>
          <a:p>
            <a:pPr lvl="4"/>
            <a:r>
              <a:rPr lang="ar-SA"/>
              <a:t>المستوى الخامس</a:t>
            </a:r>
          </a:p>
        </p:txBody>
      </p:sp>
      <p:sp>
        <p:nvSpPr>
          <p:cNvPr id="4" name="عنصر نائب للتاريخ 3">
            <a:extLst>
              <a:ext uri="{FF2B5EF4-FFF2-40B4-BE49-F238E27FC236}">
                <a16:creationId xmlns:a16="http://schemas.microsoft.com/office/drawing/2014/main" id="{4D6AFDBE-6757-EA31-C233-C4C571610599}"/>
              </a:ext>
            </a:extLst>
          </p:cNvPr>
          <p:cNvSpPr>
            <a:spLocks noGrp="1"/>
          </p:cNvSpPr>
          <p:nvPr>
            <p:ph type="dt" sz="half" idx="2"/>
          </p:nvPr>
        </p:nvSpPr>
        <p:spPr>
          <a:xfrm>
            <a:off x="8610600" y="6356350"/>
            <a:ext cx="2743200" cy="365125"/>
          </a:xfrm>
          <a:prstGeom prst="rect">
            <a:avLst/>
          </a:prstGeom>
        </p:spPr>
        <p:txBody>
          <a:bodyPr vert="horz" lIns="91440" tIns="45720" rIns="91440" bIns="45720" rtlCol="1" anchor="ctr"/>
          <a:lstStyle>
            <a:lvl1pPr algn="r">
              <a:defRPr sz="1200">
                <a:solidFill>
                  <a:schemeClr val="tx1">
                    <a:tint val="75000"/>
                  </a:schemeClr>
                </a:solidFill>
              </a:defRPr>
            </a:lvl1pPr>
          </a:lstStyle>
          <a:p>
            <a:fld id="{584C6E9D-85A4-4FD5-893B-CAFA4CA60927}" type="datetimeFigureOut">
              <a:rPr lang="ar-SA" smtClean="0"/>
              <a:t>18/05/45</a:t>
            </a:fld>
            <a:endParaRPr lang="ar-SA"/>
          </a:p>
        </p:txBody>
      </p:sp>
      <p:sp>
        <p:nvSpPr>
          <p:cNvPr id="5" name="عنصر نائب للتذييل 4">
            <a:extLst>
              <a:ext uri="{FF2B5EF4-FFF2-40B4-BE49-F238E27FC236}">
                <a16:creationId xmlns:a16="http://schemas.microsoft.com/office/drawing/2014/main" id="{4CD309E5-F609-EC85-F301-F2D83B8F475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1" anchor="ctr"/>
          <a:lstStyle>
            <a:lvl1pPr algn="ctr">
              <a:defRPr sz="1200">
                <a:solidFill>
                  <a:schemeClr val="tx1">
                    <a:tint val="75000"/>
                  </a:schemeClr>
                </a:solidFill>
              </a:defRPr>
            </a:lvl1pPr>
          </a:lstStyle>
          <a:p>
            <a:endParaRPr lang="ar-SA"/>
          </a:p>
        </p:txBody>
      </p:sp>
      <p:sp>
        <p:nvSpPr>
          <p:cNvPr id="6" name="عنصر نائب لرقم الشريحة 5">
            <a:extLst>
              <a:ext uri="{FF2B5EF4-FFF2-40B4-BE49-F238E27FC236}">
                <a16:creationId xmlns:a16="http://schemas.microsoft.com/office/drawing/2014/main" id="{F5D9F15D-AE8B-19CC-E1E7-0BB8007D1310}"/>
              </a:ext>
            </a:extLst>
          </p:cNvPr>
          <p:cNvSpPr>
            <a:spLocks noGrp="1"/>
          </p:cNvSpPr>
          <p:nvPr>
            <p:ph type="sldNum" sz="quarter" idx="4"/>
          </p:nvPr>
        </p:nvSpPr>
        <p:spPr>
          <a:xfrm>
            <a:off x="838200" y="6356350"/>
            <a:ext cx="2743200" cy="365125"/>
          </a:xfrm>
          <a:prstGeom prst="rect">
            <a:avLst/>
          </a:prstGeom>
        </p:spPr>
        <p:txBody>
          <a:bodyPr vert="horz" lIns="91440" tIns="45720" rIns="91440" bIns="45720" rtlCol="1" anchor="ctr"/>
          <a:lstStyle>
            <a:lvl1pPr algn="l">
              <a:defRPr sz="1200">
                <a:solidFill>
                  <a:schemeClr val="tx1">
                    <a:tint val="75000"/>
                  </a:schemeClr>
                </a:solidFill>
              </a:defRPr>
            </a:lvl1pPr>
          </a:lstStyle>
          <a:p>
            <a:fld id="{C555A33E-CEF6-4887-AF0D-FBE8CDD3E1FC}" type="slidenum">
              <a:rPr lang="ar-SA" smtClean="0"/>
              <a:t>‹#›</a:t>
            </a:fld>
            <a:endParaRPr lang="ar-SA"/>
          </a:p>
        </p:txBody>
      </p:sp>
    </p:spTree>
    <p:extLst>
      <p:ext uri="{BB962C8B-B14F-4D97-AF65-F5344CB8AC3E}">
        <p14:creationId xmlns:p14="http://schemas.microsoft.com/office/powerpoint/2010/main" val="77576015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Lst>
  <p:txStyles>
    <p:titleStyle>
      <a:lvl1pPr algn="r" defTabSz="914400" rtl="1"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r" defTabSz="914400" rtl="1"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r" defTabSz="914400" rtl="1"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r" defTabSz="914400" rtl="1"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ar-SA"/>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03592083"/>
      </p:ext>
    </p:extLst>
  </p:cSld>
  <p:clrMap bg1="lt1" tx1="dk1" bg2="lt2" tx2="dk2" accent1="accent1" accent2="accent2" accent3="accent3" accent4="accent4" accent5="accent5" accent6="accent6" hlink="hlink" folHlink="folHlink"/>
  <p:sldLayoutIdLst>
    <p:sldLayoutId id="2147483664" r:id="rId1"/>
  </p:sldLayoutIdLst>
  <p:txStyles>
    <p:titleStyle>
      <a:lvl1pPr algn="ctr">
        <a:defRPr sz="4400" kern="1200">
          <a:solidFill>
            <a:schemeClr val="lt1"/>
          </a:solidFill>
        </a:defRPr>
      </a:lvl1pPr>
      <a:extLst/>
    </p:titleStyle>
    <p:bodyStyle>
      <a:lvl1pPr indent="-324900" algn="ctr">
        <a:defRPr sz="3200" kern="1200">
          <a:solidFill>
            <a:schemeClr val="tx1"/>
          </a:solidFill>
        </a:defRPr>
      </a:lvl1pPr>
      <a:extLst/>
    </p:bodyStyle>
    <p:otherStyle>
      <a:defPPr algn="ctr">
        <a:defRPr kern="1200">
          <a:solidFill>
            <a:schemeClr val="tx1"/>
          </a:solidFill>
        </a:defRPr>
      </a:defPPr>
      <a:extLst/>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2" name="Group 1"/>
          <p:cNvGrpSpPr/>
          <p:nvPr/>
        </p:nvGrpSpPr>
        <p:grpSpPr>
          <a:xfrm>
            <a:off x="-1588" y="0"/>
            <a:ext cx="12193588" cy="6861555"/>
            <a:chOff x="-1588" y="0"/>
            <a:chExt cx="12193588" cy="6861555"/>
          </a:xfrm>
        </p:grpSpPr>
        <p:sp>
          <p:nvSpPr>
            <p:cNvPr id="12" name="Rectangle 11"/>
            <p:cNvSpPr/>
            <p:nvPr/>
          </p:nvSpPr>
          <p:spPr>
            <a:xfrm>
              <a:off x="0" y="0"/>
              <a:ext cx="12192000" cy="6858000"/>
            </a:xfrm>
            <a:prstGeom prst="rect">
              <a:avLst/>
            </a:prstGeom>
            <a:blipFill>
              <a:blip r:embed="rId19">
                <a:duotone>
                  <a:schemeClr val="dk2">
                    <a:shade val="69000"/>
                    <a:hueMod val="108000"/>
                    <a:satMod val="164000"/>
                    <a:lumMod val="74000"/>
                  </a:schemeClr>
                  <a:schemeClr val="dk2">
                    <a:tint val="96000"/>
                    <a:hueMod val="88000"/>
                    <a:satMod val="140000"/>
                    <a:lumMod val="132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21" name="Oval 20"/>
            <p:cNvSpPr/>
            <p:nvPr/>
          </p:nvSpPr>
          <p:spPr>
            <a:xfrm>
              <a:off x="8761412" y="1828800"/>
              <a:ext cx="2819400" cy="2819400"/>
            </a:xfrm>
            <a:prstGeom prst="ellipse">
              <a:avLst/>
            </a:prstGeom>
            <a:gradFill flip="none" rotWithShape="1">
              <a:gsLst>
                <a:gs pos="0">
                  <a:schemeClr val="accent5">
                    <a:alpha val="7000"/>
                  </a:schemeClr>
                </a:gs>
                <a:gs pos="69000">
                  <a:schemeClr val="accent5">
                    <a:alpha val="0"/>
                  </a:schemeClr>
                </a:gs>
                <a:gs pos="36000">
                  <a:schemeClr val="accent5">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3" name="Oval 22"/>
            <p:cNvSpPr/>
            <p:nvPr/>
          </p:nvSpPr>
          <p:spPr>
            <a:xfrm>
              <a:off x="8761412" y="5870955"/>
              <a:ext cx="990600" cy="990600"/>
            </a:xfrm>
            <a:prstGeom prst="ellipse">
              <a:avLst/>
            </a:prstGeom>
            <a:gradFill flip="none" rotWithShape="1">
              <a:gsLst>
                <a:gs pos="0">
                  <a:schemeClr val="accent5">
                    <a:alpha val="14000"/>
                  </a:schemeClr>
                </a:gs>
                <a:gs pos="66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0" name="Oval 19"/>
            <p:cNvSpPr/>
            <p:nvPr/>
          </p:nvSpPr>
          <p:spPr>
            <a:xfrm>
              <a:off x="-1588" y="2667000"/>
              <a:ext cx="4191000" cy="4191000"/>
            </a:xfrm>
            <a:prstGeom prst="ellipse">
              <a:avLst/>
            </a:prstGeom>
            <a:gradFill flip="none" rotWithShape="1">
              <a:gsLst>
                <a:gs pos="0">
                  <a:schemeClr val="accent5">
                    <a:alpha val="11000"/>
                  </a:schemeClr>
                </a:gs>
                <a:gs pos="75000">
                  <a:schemeClr val="accent5">
                    <a:alpha val="0"/>
                  </a:schemeClr>
                </a:gs>
                <a:gs pos="36000">
                  <a:schemeClr val="accent5">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34" name="Freeform 5"/>
            <p:cNvSpPr/>
            <p:nvPr/>
          </p:nvSpPr>
          <p:spPr bwMode="gray">
            <a:xfrm rot="21010068">
              <a:off x="8490951" y="1797517"/>
              <a:ext cx="3299407" cy="440924"/>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27" name="Freeform 5"/>
            <p:cNvSpPr/>
            <p:nvPr/>
          </p:nvSpPr>
          <p:spPr bwMode="gray">
            <a:xfrm>
              <a:off x="459506" y="1866405"/>
              <a:ext cx="11277600" cy="4533900"/>
            </a:xfrm>
            <a:custGeom>
              <a:avLst/>
              <a:gdLst/>
              <a:ahLst/>
              <a:cxnLst/>
              <a:rect l="0" t="0" r="r" b="b"/>
              <a:pathLst>
                <a:path w="7104" h="2856">
                  <a:moveTo>
                    <a:pt x="0" y="0"/>
                  </a:moveTo>
                  <a:lnTo>
                    <a:pt x="0" y="2856"/>
                  </a:lnTo>
                  <a:lnTo>
                    <a:pt x="7104" y="2856"/>
                  </a:lnTo>
                  <a:lnTo>
                    <a:pt x="7104" y="1"/>
                  </a:lnTo>
                  <a:lnTo>
                    <a:pt x="7104" y="1"/>
                  </a:lnTo>
                  <a:lnTo>
                    <a:pt x="6943" y="26"/>
                  </a:lnTo>
                  <a:lnTo>
                    <a:pt x="6782" y="50"/>
                  </a:lnTo>
                  <a:lnTo>
                    <a:pt x="6621" y="73"/>
                  </a:lnTo>
                  <a:lnTo>
                    <a:pt x="6459" y="93"/>
                  </a:lnTo>
                  <a:lnTo>
                    <a:pt x="6298" y="113"/>
                  </a:lnTo>
                  <a:lnTo>
                    <a:pt x="6136" y="132"/>
                  </a:lnTo>
                  <a:lnTo>
                    <a:pt x="5976" y="148"/>
                  </a:lnTo>
                  <a:lnTo>
                    <a:pt x="5814" y="163"/>
                  </a:lnTo>
                  <a:lnTo>
                    <a:pt x="5653" y="177"/>
                  </a:lnTo>
                  <a:lnTo>
                    <a:pt x="5494" y="189"/>
                  </a:lnTo>
                  <a:lnTo>
                    <a:pt x="5334" y="201"/>
                  </a:lnTo>
                  <a:lnTo>
                    <a:pt x="5175" y="211"/>
                  </a:lnTo>
                  <a:lnTo>
                    <a:pt x="5017" y="219"/>
                  </a:lnTo>
                  <a:lnTo>
                    <a:pt x="4859" y="227"/>
                  </a:lnTo>
                  <a:lnTo>
                    <a:pt x="4703" y="234"/>
                  </a:lnTo>
                  <a:lnTo>
                    <a:pt x="4548" y="239"/>
                  </a:lnTo>
                  <a:lnTo>
                    <a:pt x="4393" y="243"/>
                  </a:lnTo>
                  <a:lnTo>
                    <a:pt x="4240" y="247"/>
                  </a:lnTo>
                  <a:lnTo>
                    <a:pt x="4088" y="249"/>
                  </a:lnTo>
                  <a:lnTo>
                    <a:pt x="3937" y="251"/>
                  </a:lnTo>
                  <a:lnTo>
                    <a:pt x="3788" y="252"/>
                  </a:lnTo>
                  <a:lnTo>
                    <a:pt x="3640" y="251"/>
                  </a:lnTo>
                  <a:lnTo>
                    <a:pt x="3494" y="251"/>
                  </a:lnTo>
                  <a:lnTo>
                    <a:pt x="3349" y="249"/>
                  </a:lnTo>
                  <a:lnTo>
                    <a:pt x="3207" y="246"/>
                  </a:lnTo>
                  <a:lnTo>
                    <a:pt x="3066" y="243"/>
                  </a:lnTo>
                  <a:lnTo>
                    <a:pt x="2928" y="240"/>
                  </a:lnTo>
                  <a:lnTo>
                    <a:pt x="2791" y="235"/>
                  </a:lnTo>
                  <a:lnTo>
                    <a:pt x="2656" y="230"/>
                  </a:lnTo>
                  <a:lnTo>
                    <a:pt x="2524" y="225"/>
                  </a:lnTo>
                  <a:lnTo>
                    <a:pt x="2266" y="212"/>
                  </a:lnTo>
                  <a:lnTo>
                    <a:pt x="2019" y="198"/>
                  </a:lnTo>
                  <a:lnTo>
                    <a:pt x="1782" y="183"/>
                  </a:lnTo>
                  <a:lnTo>
                    <a:pt x="1557" y="167"/>
                  </a:lnTo>
                  <a:lnTo>
                    <a:pt x="1343" y="150"/>
                  </a:lnTo>
                  <a:lnTo>
                    <a:pt x="1144" y="132"/>
                  </a:lnTo>
                  <a:lnTo>
                    <a:pt x="957" y="114"/>
                  </a:lnTo>
                  <a:lnTo>
                    <a:pt x="785" y="96"/>
                  </a:lnTo>
                  <a:lnTo>
                    <a:pt x="627" y="79"/>
                  </a:lnTo>
                  <a:lnTo>
                    <a:pt x="487" y="63"/>
                  </a:lnTo>
                  <a:lnTo>
                    <a:pt x="361" y="48"/>
                  </a:lnTo>
                  <a:lnTo>
                    <a:pt x="254" y="35"/>
                  </a:lnTo>
                  <a:lnTo>
                    <a:pt x="165" y="23"/>
                  </a:lnTo>
                  <a:lnTo>
                    <a:pt x="42" y="6"/>
                  </a:lnTo>
                  <a:lnTo>
                    <a:pt x="0" y="0"/>
                  </a:lnTo>
                  <a:lnTo>
                    <a:pt x="0" y="0"/>
                  </a:lnTo>
                  <a:close/>
                </a:path>
              </a:pathLst>
            </a:custGeom>
            <a:solidFill>
              <a:schemeClr val="bg1"/>
            </a:solidFill>
            <a:ln>
              <a:noFill/>
            </a:ln>
          </p:spPr>
        </p:sp>
        <p:sp>
          <p:nvSpPr>
            <p:cNvPr id="28"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30" name="Title Placeholder 1"/>
          <p:cNvSpPr>
            <a:spLocks noGrp="1"/>
          </p:cNvSpPr>
          <p:nvPr>
            <p:ph type="title"/>
          </p:nvPr>
        </p:nvSpPr>
        <p:spPr bwMode="gray">
          <a:xfrm>
            <a:off x="1154954" y="973668"/>
            <a:ext cx="8761413" cy="706964"/>
          </a:xfrm>
          <a:prstGeom prst="rect">
            <a:avLst/>
          </a:prstGeom>
        </p:spPr>
        <p:txBody>
          <a:bodyPr vert="horz" lIns="91440" tIns="45720" rIns="91440" bIns="45720" rtlCol="0" anchor="ctr">
            <a:noAutofit/>
          </a:bodyPr>
          <a:lstStyle/>
          <a:p>
            <a:r>
              <a:rPr lang="ar-SA"/>
              <a:t>انقر لتحرير نمط عنوان الشكل الرئيسي</a:t>
            </a:r>
            <a:endParaRPr lang="en-US" dirty="0"/>
          </a:p>
        </p:txBody>
      </p:sp>
      <p:sp>
        <p:nvSpPr>
          <p:cNvPr id="3" name="Text Placeholder 2"/>
          <p:cNvSpPr>
            <a:spLocks noGrp="1"/>
          </p:cNvSpPr>
          <p:nvPr>
            <p:ph type="body" idx="1"/>
          </p:nvPr>
        </p:nvSpPr>
        <p:spPr>
          <a:xfrm>
            <a:off x="1154954" y="2603500"/>
            <a:ext cx="8761413" cy="3416300"/>
          </a:xfrm>
          <a:prstGeom prst="rect">
            <a:avLst/>
          </a:prstGeom>
        </p:spPr>
        <p:txBody>
          <a:bodyPr vert="horz" lIns="91440" tIns="45720" rIns="91440" bIns="45720" rtlCol="0">
            <a:normAutofit/>
          </a:bodyPr>
          <a:lstStyle/>
          <a:p>
            <a:pPr lvl="0"/>
            <a:r>
              <a:rPr lang="ar-SA"/>
              <a:t>انقر لتحرير أنماط نص الشكل الرئيسي</a:t>
            </a:r>
          </a:p>
          <a:p>
            <a:pPr lvl="1"/>
            <a:r>
              <a:rPr lang="ar-SA"/>
              <a:t>المستوى الثاني</a:t>
            </a:r>
          </a:p>
          <a:p>
            <a:pPr lvl="2"/>
            <a:r>
              <a:rPr lang="ar-SA"/>
              <a:t>المستوى الثالث</a:t>
            </a:r>
          </a:p>
          <a:p>
            <a:pPr lvl="3"/>
            <a:r>
              <a:rPr lang="ar-SA"/>
              <a:t>المستوى الرابع</a:t>
            </a:r>
          </a:p>
          <a:p>
            <a:pPr lvl="4"/>
            <a:r>
              <a:rPr lang="ar-SA"/>
              <a:t>المستوى الخامس</a:t>
            </a:r>
            <a:endParaRPr lang="en-US" dirty="0"/>
          </a:p>
        </p:txBody>
      </p:sp>
      <p:sp>
        <p:nvSpPr>
          <p:cNvPr id="4" name="Date Placeholder 3"/>
          <p:cNvSpPr>
            <a:spLocks noGrp="1"/>
          </p:cNvSpPr>
          <p:nvPr>
            <p:ph type="dt" sz="half" idx="2"/>
          </p:nvPr>
        </p:nvSpPr>
        <p:spPr>
          <a:xfrm>
            <a:off x="10652760" y="6391656"/>
            <a:ext cx="990599" cy="304799"/>
          </a:xfrm>
          <a:prstGeom prst="rect">
            <a:avLst/>
          </a:prstGeom>
        </p:spPr>
        <p:txBody>
          <a:bodyPr vert="horz" lIns="91440" tIns="45720" rIns="91440" bIns="45720" rtlCol="0" anchor="ctr" anchorCtr="0"/>
          <a:lstStyle>
            <a:lvl1pPr algn="r">
              <a:defRPr sz="1000" b="1" i="0">
                <a:solidFill>
                  <a:schemeClr val="accent1"/>
                </a:solidFill>
              </a:defRPr>
            </a:lvl1pPr>
          </a:lstStyle>
          <a:p>
            <a:fld id="{B4452A34-1B73-DC46-B7BD-8541B8060D38}" type="datetimeFigureOut">
              <a:rPr lang="en-US" smtClean="0"/>
              <a:t>11/30/2023</a:t>
            </a:fld>
            <a:endParaRPr lang="en-US"/>
          </a:p>
        </p:txBody>
      </p:sp>
      <p:sp>
        <p:nvSpPr>
          <p:cNvPr id="5" name="Footer Placeholder 4"/>
          <p:cNvSpPr>
            <a:spLocks noGrp="1"/>
          </p:cNvSpPr>
          <p:nvPr>
            <p:ph type="ftr" sz="quarter" idx="3"/>
          </p:nvPr>
        </p:nvSpPr>
        <p:spPr>
          <a:xfrm>
            <a:off x="557784" y="6391656"/>
            <a:ext cx="3867912" cy="310896"/>
          </a:xfrm>
          <a:prstGeom prst="rect">
            <a:avLst/>
          </a:prstGeom>
        </p:spPr>
        <p:txBody>
          <a:bodyPr vert="horz" lIns="91440" tIns="45720" rIns="91440" bIns="45720" rtlCol="0" anchor="ctr" anchorCtr="0"/>
          <a:lstStyle>
            <a:lvl1pPr algn="l">
              <a:defRPr sz="1000" b="1" i="0">
                <a:solidFill>
                  <a:schemeClr val="accent1"/>
                </a:solidFill>
              </a:defRPr>
            </a:lvl1pPr>
          </a:lstStyle>
          <a:p>
            <a:endParaRPr lang="en-US"/>
          </a:p>
        </p:txBody>
      </p:sp>
      <p:sp>
        <p:nvSpPr>
          <p:cNvPr id="29" name="Rectangle 28"/>
          <p:cNvSpPr/>
          <p:nvPr/>
        </p:nvSpPr>
        <p:spPr>
          <a:xfrm>
            <a:off x="10437812"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6" name="Slide Number Placeholder 5"/>
          <p:cNvSpPr>
            <a:spLocks noGrp="1"/>
          </p:cNvSpPr>
          <p:nvPr>
            <p:ph type="sldNum" sz="quarter" idx="4"/>
          </p:nvPr>
        </p:nvSpPr>
        <p:spPr bwMode="gray">
          <a:xfrm>
            <a:off x="10352540" y="295729"/>
            <a:ext cx="838199" cy="767687"/>
          </a:xfrm>
          <a:prstGeom prst="rect">
            <a:avLst/>
          </a:prstGeom>
        </p:spPr>
        <p:txBody>
          <a:bodyPr vert="horz" lIns="91440" tIns="45720" rIns="91440" bIns="45720" rtlCol="0" anchor="b"/>
          <a:lstStyle>
            <a:lvl1pPr algn="ctr">
              <a:defRPr sz="2800" b="0" i="0">
                <a:solidFill>
                  <a:schemeClr val="bg1"/>
                </a:solidFill>
              </a:defRPr>
            </a:lvl1pPr>
          </a:lstStyle>
          <a:p>
            <a:fld id="{8D522E7F-14B4-AC40-82A1-6B7B1ECB7C9E}" type="slidenum">
              <a:rPr lang="en-US" smtClean="0"/>
              <a:t>‹#›</a:t>
            </a:fld>
            <a:endParaRPr lang="en-US"/>
          </a:p>
        </p:txBody>
      </p:sp>
    </p:spTree>
    <p:extLst>
      <p:ext uri="{BB962C8B-B14F-4D97-AF65-F5344CB8AC3E}">
        <p14:creationId xmlns:p14="http://schemas.microsoft.com/office/powerpoint/2010/main" val="4205702355"/>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 id="2147483676" r:id="rId11"/>
    <p:sldLayoutId id="2147483677" r:id="rId12"/>
    <p:sldLayoutId id="2147483678" r:id="rId13"/>
    <p:sldLayoutId id="2147483679" r:id="rId14"/>
    <p:sldLayoutId id="2147483680" r:id="rId15"/>
    <p:sldLayoutId id="2147483681" r:id="rId16"/>
    <p:sldLayoutId id="2147483682" r:id="rId17"/>
  </p:sldLayoutIdLst>
  <p:txStyles>
    <p:titleStyle>
      <a:lvl1pPr algn="l" defTabSz="457200" rtl="1" eaLnBrk="1" latinLnBrk="0" hangingPunct="1">
        <a:spcBef>
          <a:spcPct val="0"/>
        </a:spcBef>
        <a:buNone/>
        <a:defRPr sz="3600" b="0" i="0" kern="1200">
          <a:solidFill>
            <a:schemeClr val="bg2"/>
          </a:solidFill>
          <a:latin typeface="+mj-lt"/>
          <a:ea typeface="+mj-ea"/>
          <a:cs typeface="+mj-cs"/>
        </a:defRPr>
      </a:lvl1pPr>
      <a:lvl2pPr rtl="1" eaLnBrk="1" hangingPunct="1">
        <a:defRPr>
          <a:solidFill>
            <a:schemeClr val="tx2"/>
          </a:solidFill>
        </a:defRPr>
      </a:lvl2pPr>
      <a:lvl3pPr rtl="1" eaLnBrk="1" hangingPunct="1">
        <a:defRPr>
          <a:solidFill>
            <a:schemeClr val="tx2"/>
          </a:solidFill>
        </a:defRPr>
      </a:lvl3pPr>
      <a:lvl4pPr rtl="1" eaLnBrk="1" hangingPunct="1">
        <a:defRPr>
          <a:solidFill>
            <a:schemeClr val="tx2"/>
          </a:solidFill>
        </a:defRPr>
      </a:lvl4pPr>
      <a:lvl5pPr rtl="1" eaLnBrk="1" hangingPunct="1">
        <a:defRPr>
          <a:solidFill>
            <a:schemeClr val="tx2"/>
          </a:solidFill>
        </a:defRPr>
      </a:lvl5pPr>
      <a:lvl6pPr rtl="1" eaLnBrk="1" hangingPunct="1">
        <a:defRPr>
          <a:solidFill>
            <a:schemeClr val="tx2"/>
          </a:solidFill>
        </a:defRPr>
      </a:lvl6pPr>
      <a:lvl7pPr rtl="1" eaLnBrk="1" hangingPunct="1">
        <a:defRPr>
          <a:solidFill>
            <a:schemeClr val="tx2"/>
          </a:solidFill>
        </a:defRPr>
      </a:lvl7pPr>
      <a:lvl8pPr rtl="1" eaLnBrk="1" hangingPunct="1">
        <a:defRPr>
          <a:solidFill>
            <a:schemeClr val="tx2"/>
          </a:solidFill>
        </a:defRPr>
      </a:lvl8pPr>
      <a:lvl9pPr rtl="1" eaLnBrk="1" hangingPunct="1">
        <a:defRPr>
          <a:solidFill>
            <a:schemeClr val="tx2"/>
          </a:solidFill>
        </a:defRPr>
      </a:lvl9pPr>
    </p:titleStyle>
    <p:bodyStyle>
      <a:lvl1pPr marL="342900" indent="-342900" algn="r" defTabSz="457200" rtl="1" eaLnBrk="1" latinLnBrk="0" hangingPunct="1">
        <a:spcBef>
          <a:spcPts val="1000"/>
        </a:spcBef>
        <a:spcAft>
          <a:spcPts val="0"/>
        </a:spcAft>
        <a:buClr>
          <a:schemeClr val="accent1"/>
        </a:buClr>
        <a:buSzPct val="80000"/>
        <a:buFont typeface="Wingdings 3" charset="2"/>
        <a:buChar char=""/>
        <a:defRPr sz="1800" b="0" i="0" kern="1200">
          <a:solidFill>
            <a:schemeClr val="tx1">
              <a:lumMod val="75000"/>
              <a:lumOff val="25000"/>
            </a:schemeClr>
          </a:solidFill>
          <a:latin typeface="+mn-lt"/>
          <a:ea typeface="+mn-ea"/>
          <a:cs typeface="+mn-cs"/>
        </a:defRPr>
      </a:lvl1pPr>
      <a:lvl2pPr marL="742950" indent="-285750" algn="r" defTabSz="457200" rtl="1" eaLnBrk="1" latinLnBrk="0" hangingPunct="1">
        <a:spcBef>
          <a:spcPts val="1000"/>
        </a:spcBef>
        <a:spcAft>
          <a:spcPts val="0"/>
        </a:spcAft>
        <a:buClr>
          <a:schemeClr val="accent1"/>
        </a:buClr>
        <a:buSzPct val="80000"/>
        <a:buFont typeface="Wingdings 3" charset="2"/>
        <a:buChar char=""/>
        <a:defRPr sz="1600" b="0" i="0" kern="1200">
          <a:solidFill>
            <a:schemeClr val="tx1">
              <a:lumMod val="75000"/>
              <a:lumOff val="25000"/>
            </a:schemeClr>
          </a:solidFill>
          <a:latin typeface="+mn-lt"/>
          <a:ea typeface="+mn-ea"/>
          <a:cs typeface="+mn-cs"/>
        </a:defRPr>
      </a:lvl2pPr>
      <a:lvl3pPr marL="1143000" indent="-228600" algn="r" defTabSz="457200" rtl="1" eaLnBrk="1" latinLnBrk="0" hangingPunct="1">
        <a:spcBef>
          <a:spcPts val="1000"/>
        </a:spcBef>
        <a:spcAft>
          <a:spcPts val="0"/>
        </a:spcAft>
        <a:buClr>
          <a:schemeClr val="accent1"/>
        </a:buClr>
        <a:buSzPct val="80000"/>
        <a:buFont typeface="Wingdings 3" charset="2"/>
        <a:buChar char=""/>
        <a:defRPr sz="1400" b="0" i="0" kern="1200">
          <a:solidFill>
            <a:schemeClr val="tx1">
              <a:lumMod val="75000"/>
              <a:lumOff val="25000"/>
            </a:schemeClr>
          </a:solidFill>
          <a:latin typeface="+mn-lt"/>
          <a:ea typeface="+mn-ea"/>
          <a:cs typeface="+mn-cs"/>
        </a:defRPr>
      </a:lvl3pPr>
      <a:lvl4pPr marL="1600200" indent="-228600" algn="r" defTabSz="457200" rtl="1"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4pPr>
      <a:lvl5pPr marL="2057400" indent="-228600" algn="r" defTabSz="457200" rtl="1"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5pPr>
      <a:lvl6pPr marL="2514600" indent="-228600" algn="r" defTabSz="457200" rtl="1"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6pPr>
      <a:lvl7pPr marL="2971800" indent="-228600" algn="r" defTabSz="457200" rtl="1"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7pPr>
      <a:lvl8pPr marL="3429000" indent="-228600" algn="r" defTabSz="457200" rtl="1"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8pPr>
      <a:lvl9pPr marL="3886200" indent="-228600" algn="r" defTabSz="457200" rtl="1"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9pPr>
    </p:bodyStyle>
    <p:otherStyle>
      <a:defPPr>
        <a:defRPr lang="en-US"/>
      </a:defPPr>
      <a:lvl1pPr marL="0" algn="r" defTabSz="457200" rtl="1" eaLnBrk="1" latinLnBrk="0" hangingPunct="1">
        <a:defRPr sz="1800" kern="1200">
          <a:solidFill>
            <a:schemeClr val="tx1"/>
          </a:solidFill>
          <a:latin typeface="+mn-lt"/>
          <a:ea typeface="+mn-ea"/>
          <a:cs typeface="+mn-cs"/>
        </a:defRPr>
      </a:lvl1pPr>
      <a:lvl2pPr marL="457200" algn="r" defTabSz="457200" rtl="1" eaLnBrk="1" latinLnBrk="0" hangingPunct="1">
        <a:defRPr sz="1800" kern="1200">
          <a:solidFill>
            <a:schemeClr val="tx1"/>
          </a:solidFill>
          <a:latin typeface="+mn-lt"/>
          <a:ea typeface="+mn-ea"/>
          <a:cs typeface="+mn-cs"/>
        </a:defRPr>
      </a:lvl2pPr>
      <a:lvl3pPr marL="914400" algn="r" defTabSz="457200" rtl="1" eaLnBrk="1" latinLnBrk="0" hangingPunct="1">
        <a:defRPr sz="1800" kern="1200">
          <a:solidFill>
            <a:schemeClr val="tx1"/>
          </a:solidFill>
          <a:latin typeface="+mn-lt"/>
          <a:ea typeface="+mn-ea"/>
          <a:cs typeface="+mn-cs"/>
        </a:defRPr>
      </a:lvl3pPr>
      <a:lvl4pPr marL="1371600" algn="r" defTabSz="457200" rtl="1" eaLnBrk="1" latinLnBrk="0" hangingPunct="1">
        <a:defRPr sz="1800" kern="1200">
          <a:solidFill>
            <a:schemeClr val="tx1"/>
          </a:solidFill>
          <a:latin typeface="+mn-lt"/>
          <a:ea typeface="+mn-ea"/>
          <a:cs typeface="+mn-cs"/>
        </a:defRPr>
      </a:lvl4pPr>
      <a:lvl5pPr marL="1828800" algn="r" defTabSz="457200" rtl="1" eaLnBrk="1" latinLnBrk="0" hangingPunct="1">
        <a:defRPr sz="1800" kern="1200">
          <a:solidFill>
            <a:schemeClr val="tx1"/>
          </a:solidFill>
          <a:latin typeface="+mn-lt"/>
          <a:ea typeface="+mn-ea"/>
          <a:cs typeface="+mn-cs"/>
        </a:defRPr>
      </a:lvl5pPr>
      <a:lvl6pPr marL="2286000" algn="r" defTabSz="457200" rtl="1" eaLnBrk="1" latinLnBrk="0" hangingPunct="1">
        <a:defRPr sz="1800" kern="1200">
          <a:solidFill>
            <a:schemeClr val="tx1"/>
          </a:solidFill>
          <a:latin typeface="+mn-lt"/>
          <a:ea typeface="+mn-ea"/>
          <a:cs typeface="+mn-cs"/>
        </a:defRPr>
      </a:lvl6pPr>
      <a:lvl7pPr marL="2743200" algn="r" defTabSz="457200" rtl="1" eaLnBrk="1" latinLnBrk="0" hangingPunct="1">
        <a:defRPr sz="1800" kern="1200">
          <a:solidFill>
            <a:schemeClr val="tx1"/>
          </a:solidFill>
          <a:latin typeface="+mn-lt"/>
          <a:ea typeface="+mn-ea"/>
          <a:cs typeface="+mn-cs"/>
        </a:defRPr>
      </a:lvl7pPr>
      <a:lvl8pPr marL="3200400" algn="r" defTabSz="457200" rtl="1" eaLnBrk="1" latinLnBrk="0" hangingPunct="1">
        <a:defRPr sz="1800" kern="1200">
          <a:solidFill>
            <a:schemeClr val="tx1"/>
          </a:solidFill>
          <a:latin typeface="+mn-lt"/>
          <a:ea typeface="+mn-ea"/>
          <a:cs typeface="+mn-cs"/>
        </a:defRPr>
      </a:lvl8pPr>
      <a:lvl9pPr marL="3657600" algn="r" defTabSz="457200" rtl="1"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image" Target="../media/image8.png"/><Relationship Id="rId1" Type="http://schemas.openxmlformats.org/officeDocument/2006/relationships/slideLayout" Target="../slideLayouts/slideLayout12.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 Id="rId9" Type="http://schemas.openxmlformats.org/officeDocument/2006/relationships/image" Target="../media/image15.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image" Target="../media/image20.gif"/><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1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2.xml"/></Relationships>
</file>

<file path=ppt/slides/_rels/slide4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2.xml"/></Relationships>
</file>

<file path=ppt/slides/_rels/slide4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2.xml"/></Relationships>
</file>

<file path=ppt/slides/_rels/slide4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2.xml"/></Relationships>
</file>

<file path=ppt/slides/_rels/slide4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2.xml"/></Relationships>
</file>

<file path=ppt/slides/_rels/slide4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8.png"/><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12.xml"/></Relationships>
</file>

<file path=ppt/slides/_rels/slide5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7.xml"/></Relationships>
</file>

<file path=ppt/slides/_rels/slide59.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5.xml"/></Relationships>
</file>

<file path=ppt/slides/_rels/slide62.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15.xml"/></Relationships>
</file>

<file path=ppt/slides/_rels/slide63.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5.xml"/></Relationships>
</file>

<file path=ppt/slides/_rels/slide64.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5.xml"/></Relationships>
</file>

<file path=ppt/slides/_rels/slide6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15.xml"/></Relationships>
</file>

<file path=ppt/slides/_rels/slide66.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15.xml"/></Relationships>
</file>

<file path=ppt/slides/_rels/slide67.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15.xml"/></Relationships>
</file>

<file path=ppt/slides/_rels/slide68.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15.xml"/></Relationships>
</file>

<file path=ppt/slides/_rels/slide69.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0.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15.xml"/></Relationships>
</file>

<file path=ppt/slides/_rels/slide71.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15.xml"/></Relationships>
</file>

<file path=ppt/slides/_rels/slide72.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15.xml"/></Relationships>
</file>

<file path=ppt/slides/_rels/slide73.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15.xml"/></Relationships>
</file>

<file path=ppt/slides/_rels/slide74.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15.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5.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xml"/><Relationship Id="rId1" Type="http://schemas.openxmlformats.org/officeDocument/2006/relationships/slideLayout" Target="../slideLayouts/slideLayout22.xml"/></Relationships>
</file>

<file path=ppt/slides/_rels/slide8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17.xml"/><Relationship Id="rId1" Type="http://schemas.openxmlformats.org/officeDocument/2006/relationships/tags" Target="../tags/tag1.xml"/><Relationship Id="rId5" Type="http://schemas.openxmlformats.org/officeDocument/2006/relationships/image" Target="../media/image56.png"/><Relationship Id="rId4" Type="http://schemas.openxmlformats.org/officeDocument/2006/relationships/image" Target="../media/image57.emf"/></Relationships>
</file>

<file path=ppt/slides/_rels/slide87.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xml"/><Relationship Id="rId1" Type="http://schemas.openxmlformats.org/officeDocument/2006/relationships/slideLayout" Target="../slideLayouts/slideLayout22.xml"/><Relationship Id="rId4" Type="http://schemas.openxmlformats.org/officeDocument/2006/relationships/image" Target="../media/image56.png"/></Relationships>
</file>

<file path=ppt/slides/_rels/slide8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9.png"/><Relationship Id="rId1" Type="http://schemas.openxmlformats.org/officeDocument/2006/relationships/slideLayout" Target="../slideLayouts/slideLayout22.xml"/></Relationships>
</file>

<file path=ppt/slides/_rels/slide89.xml.rels><?xml version="1.0" encoding="UTF-8" standalone="yes"?>
<Relationships xmlns="http://schemas.openxmlformats.org/package/2006/relationships"><Relationship Id="rId3" Type="http://schemas.openxmlformats.org/officeDocument/2006/relationships/image" Target="../media/image61.png"/><Relationship Id="rId7" Type="http://schemas.openxmlformats.org/officeDocument/2006/relationships/image" Target="../media/image56.png"/><Relationship Id="rId2" Type="http://schemas.openxmlformats.org/officeDocument/2006/relationships/image" Target="../media/image60.png"/><Relationship Id="rId1" Type="http://schemas.openxmlformats.org/officeDocument/2006/relationships/slideLayout" Target="../slideLayouts/slideLayout22.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62.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90.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65.png"/><Relationship Id="rId1" Type="http://schemas.openxmlformats.org/officeDocument/2006/relationships/slideLayout" Target="../slideLayouts/slideLayout22.xml"/></Relationships>
</file>

<file path=ppt/slides/_rels/slide91.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66.png"/><Relationship Id="rId1" Type="http://schemas.openxmlformats.org/officeDocument/2006/relationships/slideLayout" Target="../slideLayouts/slideLayout22.xml"/></Relationships>
</file>

<file path=ppt/slides/_rels/slide92.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67.png"/><Relationship Id="rId1" Type="http://schemas.openxmlformats.org/officeDocument/2006/relationships/slideLayout" Target="../slideLayouts/slideLayout22.xml"/><Relationship Id="rId5" Type="http://schemas.openxmlformats.org/officeDocument/2006/relationships/image" Target="../media/image68.jpg"/><Relationship Id="rId4" Type="http://schemas.openxmlformats.org/officeDocument/2006/relationships/hyperlink" Target="https://etec.gov.sa/ar/services/corporate" TargetMode="External"/></Relationships>
</file>

<file path=ppt/slides/_rels/slide93.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18.xml"/></Relationships>
</file>

<file path=ppt/slides/_rels/slide94.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22.xml"/></Relationships>
</file>

<file path=ppt/slides/_rels/slide95.xml.rels><?xml version="1.0" encoding="UTF-8" standalone="yes"?>
<Relationships xmlns="http://schemas.openxmlformats.org/package/2006/relationships"><Relationship Id="rId3" Type="http://schemas.openxmlformats.org/officeDocument/2006/relationships/hyperlink" Target="https://drive.google.com/file/d/1wMc1iu_BriaAVLEuVM_AalJTb7eHdAp9/view" TargetMode="External"/><Relationship Id="rId2" Type="http://schemas.openxmlformats.org/officeDocument/2006/relationships/image" Target="../media/image70.png"/><Relationship Id="rId1" Type="http://schemas.openxmlformats.org/officeDocument/2006/relationships/slideLayout" Target="../slideLayouts/slideLayout22.xml"/><Relationship Id="rId5" Type="http://schemas.openxmlformats.org/officeDocument/2006/relationships/image" Target="../media/image56.png"/><Relationship Id="rId4" Type="http://schemas.openxmlformats.org/officeDocument/2006/relationships/image" Target="../media/image71.png"/></Relationships>
</file>

<file path=ppt/slides/_rels/slide96.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image" Target="../media/image72.png"/><Relationship Id="rId7" Type="http://schemas.openxmlformats.org/officeDocument/2006/relationships/image" Target="../media/image74.png"/><Relationship Id="rId2" Type="http://schemas.openxmlformats.org/officeDocument/2006/relationships/notesSlide" Target="../notesSlides/notesSlide3.xml"/><Relationship Id="rId1" Type="http://schemas.openxmlformats.org/officeDocument/2006/relationships/slideLayout" Target="../slideLayouts/slideLayout22.xml"/><Relationship Id="rId6" Type="http://schemas.openxmlformats.org/officeDocument/2006/relationships/hyperlink" Target="https://drive.google.com/file/d/10e112BgeXXfUEiF5SfB5m4aETD55qtWo/view?usp=sharing" TargetMode="External"/><Relationship Id="rId5" Type="http://schemas.openxmlformats.org/officeDocument/2006/relationships/image" Target="../media/image73.png"/><Relationship Id="rId4" Type="http://schemas.openxmlformats.org/officeDocument/2006/relationships/hyperlink" Target="https://drive.google.com/file/d/1eBkcvLK9n4O-_1JzUU4gYgL74dfBavrv/view?usp=sharing" TargetMode="External"/></Relationships>
</file>

<file path=ppt/slides/_rels/slide97.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صورة 3" descr="صورة تحتوي على نص, لقطة شاشة&#10;&#10;تم إنشاء الوصف تلقائياً">
            <a:extLst>
              <a:ext uri="{FF2B5EF4-FFF2-40B4-BE49-F238E27FC236}">
                <a16:creationId xmlns:a16="http://schemas.microsoft.com/office/drawing/2014/main" id="{9534EDF0-2F60-6B35-0097-4BD735A2300E}"/>
              </a:ext>
            </a:extLst>
          </p:cNvPr>
          <p:cNvPicPr>
            <a:picLocks noChangeAspect="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29412708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oogle Shape;1609;p33">
            <a:extLst>
              <a:ext uri="{FF2B5EF4-FFF2-40B4-BE49-F238E27FC236}">
                <a16:creationId xmlns:a16="http://schemas.microsoft.com/office/drawing/2014/main" id="{F2F2E936-46FD-C68D-15D0-D2FEF1E722E2}"/>
              </a:ext>
            </a:extLst>
          </p:cNvPr>
          <p:cNvGrpSpPr/>
          <p:nvPr/>
        </p:nvGrpSpPr>
        <p:grpSpPr>
          <a:xfrm>
            <a:off x="4367870" y="260650"/>
            <a:ext cx="5214676" cy="1877559"/>
            <a:chOff x="1342608" y="3191254"/>
            <a:chExt cx="2788392" cy="1268422"/>
          </a:xfrm>
        </p:grpSpPr>
        <p:sp>
          <p:nvSpPr>
            <p:cNvPr id="5" name="Google Shape;1610;p33">
              <a:extLst>
                <a:ext uri="{FF2B5EF4-FFF2-40B4-BE49-F238E27FC236}">
                  <a16:creationId xmlns:a16="http://schemas.microsoft.com/office/drawing/2014/main" id="{BD31B2CA-EB12-E1ED-E760-742B55DD3D16}"/>
                </a:ext>
              </a:extLst>
            </p:cNvPr>
            <p:cNvSpPr/>
            <p:nvPr/>
          </p:nvSpPr>
          <p:spPr>
            <a:xfrm>
              <a:off x="1440355" y="3261491"/>
              <a:ext cx="2263807" cy="1006735"/>
            </a:xfrm>
            <a:custGeom>
              <a:avLst/>
              <a:gdLst/>
              <a:ahLst/>
              <a:cxnLst/>
              <a:rect l="l" t="t" r="r" b="b"/>
              <a:pathLst>
                <a:path w="69307" h="49127" extrusionOk="0">
                  <a:moveTo>
                    <a:pt x="41938" y="1"/>
                  </a:moveTo>
                  <a:cubicBezTo>
                    <a:pt x="40983" y="1"/>
                    <a:pt x="40030" y="8"/>
                    <a:pt x="39077" y="22"/>
                  </a:cubicBezTo>
                  <a:cubicBezTo>
                    <a:pt x="38978" y="20"/>
                    <a:pt x="38879" y="19"/>
                    <a:pt x="38780" y="19"/>
                  </a:cubicBezTo>
                  <a:cubicBezTo>
                    <a:pt x="37803" y="19"/>
                    <a:pt x="36839" y="108"/>
                    <a:pt x="35870" y="108"/>
                  </a:cubicBezTo>
                  <a:cubicBezTo>
                    <a:pt x="35772" y="108"/>
                    <a:pt x="35674" y="107"/>
                    <a:pt x="35576" y="105"/>
                  </a:cubicBezTo>
                  <a:cubicBezTo>
                    <a:pt x="35520" y="105"/>
                    <a:pt x="35464" y="104"/>
                    <a:pt x="35408" y="104"/>
                  </a:cubicBezTo>
                  <a:cubicBezTo>
                    <a:pt x="34288" y="104"/>
                    <a:pt x="33184" y="203"/>
                    <a:pt x="32074" y="203"/>
                  </a:cubicBezTo>
                  <a:cubicBezTo>
                    <a:pt x="31967" y="203"/>
                    <a:pt x="31861" y="202"/>
                    <a:pt x="31754" y="200"/>
                  </a:cubicBezTo>
                  <a:cubicBezTo>
                    <a:pt x="30742" y="296"/>
                    <a:pt x="29730" y="272"/>
                    <a:pt x="28730" y="296"/>
                  </a:cubicBezTo>
                  <a:cubicBezTo>
                    <a:pt x="28136" y="296"/>
                    <a:pt x="27553" y="380"/>
                    <a:pt x="26970" y="380"/>
                  </a:cubicBezTo>
                  <a:cubicBezTo>
                    <a:pt x="26934" y="380"/>
                    <a:pt x="26897" y="380"/>
                    <a:pt x="26861" y="379"/>
                  </a:cubicBezTo>
                  <a:cubicBezTo>
                    <a:pt x="22896" y="617"/>
                    <a:pt x="18931" y="831"/>
                    <a:pt x="15026" y="1462"/>
                  </a:cubicBezTo>
                  <a:cubicBezTo>
                    <a:pt x="13990" y="1629"/>
                    <a:pt x="12954" y="1831"/>
                    <a:pt x="11919" y="1951"/>
                  </a:cubicBezTo>
                  <a:cubicBezTo>
                    <a:pt x="10561" y="2081"/>
                    <a:pt x="9192" y="2248"/>
                    <a:pt x="7906" y="2724"/>
                  </a:cubicBezTo>
                  <a:cubicBezTo>
                    <a:pt x="7180" y="2927"/>
                    <a:pt x="6561" y="3391"/>
                    <a:pt x="5906" y="3736"/>
                  </a:cubicBezTo>
                  <a:cubicBezTo>
                    <a:pt x="5001" y="4260"/>
                    <a:pt x="4287" y="5034"/>
                    <a:pt x="3572" y="5772"/>
                  </a:cubicBezTo>
                  <a:cubicBezTo>
                    <a:pt x="2120" y="7356"/>
                    <a:pt x="1501" y="9487"/>
                    <a:pt x="941" y="11511"/>
                  </a:cubicBezTo>
                  <a:cubicBezTo>
                    <a:pt x="477" y="13654"/>
                    <a:pt x="274" y="15845"/>
                    <a:pt x="96" y="18024"/>
                  </a:cubicBezTo>
                  <a:cubicBezTo>
                    <a:pt x="0" y="18822"/>
                    <a:pt x="131" y="19631"/>
                    <a:pt x="119" y="20429"/>
                  </a:cubicBezTo>
                  <a:cubicBezTo>
                    <a:pt x="179" y="21560"/>
                    <a:pt x="143" y="22679"/>
                    <a:pt x="155" y="23810"/>
                  </a:cubicBezTo>
                  <a:cubicBezTo>
                    <a:pt x="262" y="25465"/>
                    <a:pt x="215" y="27132"/>
                    <a:pt x="227" y="28787"/>
                  </a:cubicBezTo>
                  <a:cubicBezTo>
                    <a:pt x="203" y="29597"/>
                    <a:pt x="334" y="30383"/>
                    <a:pt x="310" y="31192"/>
                  </a:cubicBezTo>
                  <a:cubicBezTo>
                    <a:pt x="393" y="32466"/>
                    <a:pt x="465" y="33740"/>
                    <a:pt x="631" y="35014"/>
                  </a:cubicBezTo>
                  <a:cubicBezTo>
                    <a:pt x="786" y="36133"/>
                    <a:pt x="774" y="37288"/>
                    <a:pt x="1084" y="38384"/>
                  </a:cubicBezTo>
                  <a:cubicBezTo>
                    <a:pt x="1536" y="39991"/>
                    <a:pt x="1953" y="41622"/>
                    <a:pt x="2786" y="43075"/>
                  </a:cubicBezTo>
                  <a:cubicBezTo>
                    <a:pt x="3394" y="44194"/>
                    <a:pt x="4239" y="45170"/>
                    <a:pt x="5180" y="46015"/>
                  </a:cubicBezTo>
                  <a:cubicBezTo>
                    <a:pt x="5727" y="46492"/>
                    <a:pt x="6358" y="46885"/>
                    <a:pt x="6989" y="47230"/>
                  </a:cubicBezTo>
                  <a:cubicBezTo>
                    <a:pt x="8597" y="48051"/>
                    <a:pt x="10418" y="48290"/>
                    <a:pt x="12192" y="48504"/>
                  </a:cubicBezTo>
                  <a:cubicBezTo>
                    <a:pt x="12835" y="48599"/>
                    <a:pt x="13490" y="48516"/>
                    <a:pt x="14133" y="48623"/>
                  </a:cubicBezTo>
                  <a:cubicBezTo>
                    <a:pt x="16169" y="48897"/>
                    <a:pt x="18229" y="48825"/>
                    <a:pt x="20277" y="48861"/>
                  </a:cubicBezTo>
                  <a:cubicBezTo>
                    <a:pt x="21248" y="48921"/>
                    <a:pt x="22219" y="48931"/>
                    <a:pt x="23189" y="48931"/>
                  </a:cubicBezTo>
                  <a:cubicBezTo>
                    <a:pt x="23655" y="48931"/>
                    <a:pt x="24120" y="48929"/>
                    <a:pt x="24585" y="48929"/>
                  </a:cubicBezTo>
                  <a:cubicBezTo>
                    <a:pt x="25253" y="48929"/>
                    <a:pt x="25921" y="48934"/>
                    <a:pt x="26587" y="48956"/>
                  </a:cubicBezTo>
                  <a:cubicBezTo>
                    <a:pt x="27504" y="49063"/>
                    <a:pt x="28433" y="48980"/>
                    <a:pt x="29349" y="49087"/>
                  </a:cubicBezTo>
                  <a:cubicBezTo>
                    <a:pt x="30200" y="49115"/>
                    <a:pt x="31051" y="49127"/>
                    <a:pt x="31902" y="49127"/>
                  </a:cubicBezTo>
                  <a:cubicBezTo>
                    <a:pt x="32504" y="49127"/>
                    <a:pt x="33105" y="49121"/>
                    <a:pt x="33707" y="49111"/>
                  </a:cubicBezTo>
                  <a:cubicBezTo>
                    <a:pt x="36791" y="48980"/>
                    <a:pt x="39874" y="48802"/>
                    <a:pt x="42946" y="48659"/>
                  </a:cubicBezTo>
                  <a:cubicBezTo>
                    <a:pt x="44435" y="48540"/>
                    <a:pt x="45923" y="48421"/>
                    <a:pt x="47411" y="48313"/>
                  </a:cubicBezTo>
                  <a:cubicBezTo>
                    <a:pt x="49900" y="48123"/>
                    <a:pt x="52412" y="48075"/>
                    <a:pt x="54900" y="47766"/>
                  </a:cubicBezTo>
                  <a:cubicBezTo>
                    <a:pt x="56496" y="47551"/>
                    <a:pt x="58079" y="47266"/>
                    <a:pt x="59615" y="46777"/>
                  </a:cubicBezTo>
                  <a:cubicBezTo>
                    <a:pt x="61199" y="46230"/>
                    <a:pt x="62770" y="45551"/>
                    <a:pt x="64092" y="44491"/>
                  </a:cubicBezTo>
                  <a:cubicBezTo>
                    <a:pt x="65390" y="43444"/>
                    <a:pt x="66294" y="41991"/>
                    <a:pt x="66878" y="40443"/>
                  </a:cubicBezTo>
                  <a:cubicBezTo>
                    <a:pt x="67402" y="39062"/>
                    <a:pt x="67735" y="37622"/>
                    <a:pt x="67961" y="36169"/>
                  </a:cubicBezTo>
                  <a:cubicBezTo>
                    <a:pt x="68152" y="34978"/>
                    <a:pt x="68342" y="33776"/>
                    <a:pt x="68438" y="32561"/>
                  </a:cubicBezTo>
                  <a:cubicBezTo>
                    <a:pt x="68676" y="30180"/>
                    <a:pt x="68854" y="27799"/>
                    <a:pt x="68890" y="25406"/>
                  </a:cubicBezTo>
                  <a:cubicBezTo>
                    <a:pt x="68950" y="24072"/>
                    <a:pt x="69057" y="22739"/>
                    <a:pt x="69057" y="21405"/>
                  </a:cubicBezTo>
                  <a:cubicBezTo>
                    <a:pt x="69045" y="20667"/>
                    <a:pt x="69152" y="19929"/>
                    <a:pt x="69152" y="19179"/>
                  </a:cubicBezTo>
                  <a:cubicBezTo>
                    <a:pt x="69152" y="17845"/>
                    <a:pt x="69307" y="16512"/>
                    <a:pt x="69164" y="15190"/>
                  </a:cubicBezTo>
                  <a:cubicBezTo>
                    <a:pt x="69152" y="13964"/>
                    <a:pt x="68961" y="12749"/>
                    <a:pt x="68795" y="11547"/>
                  </a:cubicBezTo>
                  <a:cubicBezTo>
                    <a:pt x="68521" y="9725"/>
                    <a:pt x="68116" y="7904"/>
                    <a:pt x="67271" y="6261"/>
                  </a:cubicBezTo>
                  <a:cubicBezTo>
                    <a:pt x="66652" y="5034"/>
                    <a:pt x="65675" y="4022"/>
                    <a:pt x="64508" y="3320"/>
                  </a:cubicBezTo>
                  <a:cubicBezTo>
                    <a:pt x="63913" y="2974"/>
                    <a:pt x="63365" y="2522"/>
                    <a:pt x="62723" y="2260"/>
                  </a:cubicBezTo>
                  <a:cubicBezTo>
                    <a:pt x="60175" y="1284"/>
                    <a:pt x="57472" y="796"/>
                    <a:pt x="54781" y="510"/>
                  </a:cubicBezTo>
                  <a:cubicBezTo>
                    <a:pt x="53007" y="284"/>
                    <a:pt x="51221" y="284"/>
                    <a:pt x="49447" y="141"/>
                  </a:cubicBezTo>
                  <a:cubicBezTo>
                    <a:pt x="48411" y="69"/>
                    <a:pt x="47363" y="129"/>
                    <a:pt x="46340" y="46"/>
                  </a:cubicBezTo>
                  <a:cubicBezTo>
                    <a:pt x="44869" y="17"/>
                    <a:pt x="43402" y="1"/>
                    <a:pt x="41938" y="1"/>
                  </a:cubicBezTo>
                  <a:close/>
                </a:path>
              </a:pathLst>
            </a:custGeom>
            <a:solidFill>
              <a:srgbClr val="FCBD24"/>
            </a:solidFill>
            <a:ln>
              <a:noFill/>
            </a:ln>
          </p:spPr>
          <p:txBody>
            <a:bodyPr spcFirstLastPara="1" wrap="square" lIns="121900" tIns="121900" rIns="121900" bIns="121900" anchor="ctr" anchorCtr="0">
              <a:noAutofit/>
            </a:bodyPr>
            <a:lstStyle/>
            <a:p>
              <a:pPr defTabSz="1219139">
                <a:defRPr/>
              </a:pPr>
              <a:endParaRPr sz="2400" kern="0" dirty="0">
                <a:solidFill>
                  <a:sysClr val="windowText" lastClr="000000"/>
                </a:solidFill>
                <a:latin typeface="Calibri" panose="020F0502020204030204"/>
              </a:endParaRPr>
            </a:p>
          </p:txBody>
        </p:sp>
        <p:grpSp>
          <p:nvGrpSpPr>
            <p:cNvPr id="6" name="Google Shape;1611;p33">
              <a:extLst>
                <a:ext uri="{FF2B5EF4-FFF2-40B4-BE49-F238E27FC236}">
                  <a16:creationId xmlns:a16="http://schemas.microsoft.com/office/drawing/2014/main" id="{FA85F09C-DD9E-188F-DBDB-73B9EAADFA6E}"/>
                </a:ext>
              </a:extLst>
            </p:cNvPr>
            <p:cNvGrpSpPr/>
            <p:nvPr/>
          </p:nvGrpSpPr>
          <p:grpSpPr>
            <a:xfrm>
              <a:off x="1342608" y="3191254"/>
              <a:ext cx="2385928" cy="1024523"/>
              <a:chOff x="1228308" y="3115054"/>
              <a:chExt cx="2385928" cy="1024523"/>
            </a:xfrm>
          </p:grpSpPr>
          <p:sp>
            <p:nvSpPr>
              <p:cNvPr id="18" name="Google Shape;1612;p33">
                <a:extLst>
                  <a:ext uri="{FF2B5EF4-FFF2-40B4-BE49-F238E27FC236}">
                    <a16:creationId xmlns:a16="http://schemas.microsoft.com/office/drawing/2014/main" id="{40BD879C-6355-23D6-53DC-31B1254C175F}"/>
                  </a:ext>
                </a:extLst>
              </p:cNvPr>
              <p:cNvSpPr/>
              <p:nvPr/>
            </p:nvSpPr>
            <p:spPr>
              <a:xfrm>
                <a:off x="1228308" y="3115054"/>
                <a:ext cx="2385928" cy="1024523"/>
              </a:xfrm>
              <a:custGeom>
                <a:avLst/>
                <a:gdLst/>
                <a:ahLst/>
                <a:cxnLst/>
                <a:rect l="l" t="t" r="r" b="b"/>
                <a:pathLst>
                  <a:path w="68831" h="49995" extrusionOk="0">
                    <a:moveTo>
                      <a:pt x="29441" y="1869"/>
                    </a:moveTo>
                    <a:cubicBezTo>
                      <a:pt x="30583" y="1869"/>
                      <a:pt x="31722" y="1879"/>
                      <a:pt x="32862" y="1885"/>
                    </a:cubicBezTo>
                    <a:cubicBezTo>
                      <a:pt x="34267" y="1981"/>
                      <a:pt x="35672" y="1933"/>
                      <a:pt x="37065" y="1969"/>
                    </a:cubicBezTo>
                    <a:cubicBezTo>
                      <a:pt x="37910" y="2052"/>
                      <a:pt x="38755" y="2028"/>
                      <a:pt x="39589" y="2052"/>
                    </a:cubicBezTo>
                    <a:cubicBezTo>
                      <a:pt x="39632" y="2051"/>
                      <a:pt x="39674" y="2051"/>
                      <a:pt x="39717" y="2051"/>
                    </a:cubicBezTo>
                    <a:cubicBezTo>
                      <a:pt x="40440" y="2051"/>
                      <a:pt x="41155" y="2136"/>
                      <a:pt x="41878" y="2136"/>
                    </a:cubicBezTo>
                    <a:cubicBezTo>
                      <a:pt x="41920" y="2136"/>
                      <a:pt x="41963" y="2136"/>
                      <a:pt x="42006" y="2135"/>
                    </a:cubicBezTo>
                    <a:cubicBezTo>
                      <a:pt x="44173" y="2231"/>
                      <a:pt x="46340" y="2362"/>
                      <a:pt x="48507" y="2528"/>
                    </a:cubicBezTo>
                    <a:cubicBezTo>
                      <a:pt x="49185" y="2600"/>
                      <a:pt x="49864" y="2647"/>
                      <a:pt x="50543" y="2707"/>
                    </a:cubicBezTo>
                    <a:cubicBezTo>
                      <a:pt x="52936" y="2933"/>
                      <a:pt x="55329" y="3136"/>
                      <a:pt x="57734" y="3302"/>
                    </a:cubicBezTo>
                    <a:cubicBezTo>
                      <a:pt x="58556" y="3469"/>
                      <a:pt x="59389" y="3588"/>
                      <a:pt x="60222" y="3707"/>
                    </a:cubicBezTo>
                    <a:cubicBezTo>
                      <a:pt x="61151" y="3755"/>
                      <a:pt x="62044" y="4052"/>
                      <a:pt x="62889" y="4410"/>
                    </a:cubicBezTo>
                    <a:cubicBezTo>
                      <a:pt x="63473" y="4719"/>
                      <a:pt x="64080" y="5029"/>
                      <a:pt x="64509" y="5541"/>
                    </a:cubicBezTo>
                    <a:cubicBezTo>
                      <a:pt x="64949" y="6017"/>
                      <a:pt x="65306" y="6576"/>
                      <a:pt x="65592" y="7160"/>
                    </a:cubicBezTo>
                    <a:cubicBezTo>
                      <a:pt x="65771" y="7565"/>
                      <a:pt x="65914" y="7981"/>
                      <a:pt x="66033" y="8410"/>
                    </a:cubicBezTo>
                    <a:cubicBezTo>
                      <a:pt x="66057" y="8553"/>
                      <a:pt x="66080" y="8684"/>
                      <a:pt x="66128" y="8827"/>
                    </a:cubicBezTo>
                    <a:cubicBezTo>
                      <a:pt x="66140" y="8982"/>
                      <a:pt x="66176" y="9136"/>
                      <a:pt x="66211" y="9279"/>
                    </a:cubicBezTo>
                    <a:cubicBezTo>
                      <a:pt x="66235" y="9434"/>
                      <a:pt x="66247" y="9589"/>
                      <a:pt x="66307" y="9720"/>
                    </a:cubicBezTo>
                    <a:cubicBezTo>
                      <a:pt x="66330" y="9910"/>
                      <a:pt x="66330" y="10089"/>
                      <a:pt x="66402" y="10267"/>
                    </a:cubicBezTo>
                    <a:cubicBezTo>
                      <a:pt x="66414" y="10398"/>
                      <a:pt x="66426" y="10529"/>
                      <a:pt x="66426" y="10672"/>
                    </a:cubicBezTo>
                    <a:lnTo>
                      <a:pt x="66497" y="10672"/>
                    </a:lnTo>
                    <a:cubicBezTo>
                      <a:pt x="66497" y="10851"/>
                      <a:pt x="66509" y="11029"/>
                      <a:pt x="66509" y="11208"/>
                    </a:cubicBezTo>
                    <a:lnTo>
                      <a:pt x="66580" y="11208"/>
                    </a:lnTo>
                    <a:cubicBezTo>
                      <a:pt x="66616" y="11565"/>
                      <a:pt x="66557" y="11946"/>
                      <a:pt x="66676" y="12291"/>
                    </a:cubicBezTo>
                    <a:cubicBezTo>
                      <a:pt x="66783" y="13042"/>
                      <a:pt x="66783" y="13792"/>
                      <a:pt x="66795" y="14554"/>
                    </a:cubicBezTo>
                    <a:cubicBezTo>
                      <a:pt x="66878" y="15018"/>
                      <a:pt x="66819" y="15494"/>
                      <a:pt x="66842" y="15970"/>
                    </a:cubicBezTo>
                    <a:cubicBezTo>
                      <a:pt x="66878" y="16685"/>
                      <a:pt x="66759" y="17399"/>
                      <a:pt x="66759" y="18126"/>
                    </a:cubicBezTo>
                    <a:cubicBezTo>
                      <a:pt x="66664" y="18399"/>
                      <a:pt x="66711" y="18709"/>
                      <a:pt x="66688" y="18995"/>
                    </a:cubicBezTo>
                    <a:cubicBezTo>
                      <a:pt x="66699" y="19435"/>
                      <a:pt x="66592" y="19876"/>
                      <a:pt x="66580" y="20328"/>
                    </a:cubicBezTo>
                    <a:cubicBezTo>
                      <a:pt x="66557" y="20304"/>
                      <a:pt x="66509" y="20281"/>
                      <a:pt x="66485" y="20269"/>
                    </a:cubicBezTo>
                    <a:lnTo>
                      <a:pt x="66485" y="20269"/>
                    </a:lnTo>
                    <a:cubicBezTo>
                      <a:pt x="66509" y="20554"/>
                      <a:pt x="66533" y="20852"/>
                      <a:pt x="66497" y="21150"/>
                    </a:cubicBezTo>
                    <a:cubicBezTo>
                      <a:pt x="66378" y="21578"/>
                      <a:pt x="66473" y="22043"/>
                      <a:pt x="66402" y="22495"/>
                    </a:cubicBezTo>
                    <a:cubicBezTo>
                      <a:pt x="66295" y="23067"/>
                      <a:pt x="66378" y="23662"/>
                      <a:pt x="66271" y="24233"/>
                    </a:cubicBezTo>
                    <a:cubicBezTo>
                      <a:pt x="66211" y="24614"/>
                      <a:pt x="66271" y="25007"/>
                      <a:pt x="66176" y="25388"/>
                    </a:cubicBezTo>
                    <a:cubicBezTo>
                      <a:pt x="66140" y="25960"/>
                      <a:pt x="66068" y="26519"/>
                      <a:pt x="66033" y="27091"/>
                    </a:cubicBezTo>
                    <a:cubicBezTo>
                      <a:pt x="65973" y="27305"/>
                      <a:pt x="65985" y="27520"/>
                      <a:pt x="65961" y="27734"/>
                    </a:cubicBezTo>
                    <a:cubicBezTo>
                      <a:pt x="65854" y="28234"/>
                      <a:pt x="65890" y="28758"/>
                      <a:pt x="65866" y="29258"/>
                    </a:cubicBezTo>
                    <a:lnTo>
                      <a:pt x="65806" y="29270"/>
                    </a:lnTo>
                    <a:cubicBezTo>
                      <a:pt x="65818" y="29651"/>
                      <a:pt x="65771" y="30032"/>
                      <a:pt x="65783" y="30413"/>
                    </a:cubicBezTo>
                    <a:lnTo>
                      <a:pt x="65711" y="30413"/>
                    </a:lnTo>
                    <a:cubicBezTo>
                      <a:pt x="65723" y="30710"/>
                      <a:pt x="65687" y="31008"/>
                      <a:pt x="65687" y="31306"/>
                    </a:cubicBezTo>
                    <a:lnTo>
                      <a:pt x="65628" y="31306"/>
                    </a:lnTo>
                    <a:cubicBezTo>
                      <a:pt x="65628" y="31591"/>
                      <a:pt x="65628" y="31877"/>
                      <a:pt x="65592" y="32163"/>
                    </a:cubicBezTo>
                    <a:cubicBezTo>
                      <a:pt x="65485" y="32473"/>
                      <a:pt x="65568" y="32806"/>
                      <a:pt x="65473" y="33127"/>
                    </a:cubicBezTo>
                    <a:cubicBezTo>
                      <a:pt x="65449" y="33282"/>
                      <a:pt x="65437" y="33437"/>
                      <a:pt x="65425" y="33592"/>
                    </a:cubicBezTo>
                    <a:cubicBezTo>
                      <a:pt x="65330" y="33985"/>
                      <a:pt x="65271" y="34389"/>
                      <a:pt x="65259" y="34794"/>
                    </a:cubicBezTo>
                    <a:lnTo>
                      <a:pt x="65199" y="34794"/>
                    </a:lnTo>
                    <a:cubicBezTo>
                      <a:pt x="65187" y="34985"/>
                      <a:pt x="65175" y="35175"/>
                      <a:pt x="65140" y="35366"/>
                    </a:cubicBezTo>
                    <a:cubicBezTo>
                      <a:pt x="65080" y="35497"/>
                      <a:pt x="65080" y="35651"/>
                      <a:pt x="65056" y="35806"/>
                    </a:cubicBezTo>
                    <a:cubicBezTo>
                      <a:pt x="65009" y="35925"/>
                      <a:pt x="64997" y="36044"/>
                      <a:pt x="64973" y="36175"/>
                    </a:cubicBezTo>
                    <a:cubicBezTo>
                      <a:pt x="64937" y="36318"/>
                      <a:pt x="64902" y="36461"/>
                      <a:pt x="64878" y="36616"/>
                    </a:cubicBezTo>
                    <a:cubicBezTo>
                      <a:pt x="64794" y="36842"/>
                      <a:pt x="64735" y="37068"/>
                      <a:pt x="64699" y="37318"/>
                    </a:cubicBezTo>
                    <a:cubicBezTo>
                      <a:pt x="64640" y="37509"/>
                      <a:pt x="64568" y="37699"/>
                      <a:pt x="64544" y="37902"/>
                    </a:cubicBezTo>
                    <a:lnTo>
                      <a:pt x="64473" y="37902"/>
                    </a:lnTo>
                    <a:cubicBezTo>
                      <a:pt x="64473" y="37961"/>
                      <a:pt x="64461" y="38068"/>
                      <a:pt x="64461" y="38128"/>
                    </a:cubicBezTo>
                    <a:cubicBezTo>
                      <a:pt x="64342" y="38318"/>
                      <a:pt x="64330" y="38545"/>
                      <a:pt x="64223" y="38735"/>
                    </a:cubicBezTo>
                    <a:cubicBezTo>
                      <a:pt x="64163" y="38854"/>
                      <a:pt x="64116" y="38985"/>
                      <a:pt x="64092" y="39128"/>
                    </a:cubicBezTo>
                    <a:cubicBezTo>
                      <a:pt x="64080" y="39128"/>
                      <a:pt x="64044" y="39140"/>
                      <a:pt x="64032" y="39140"/>
                    </a:cubicBezTo>
                    <a:cubicBezTo>
                      <a:pt x="63973" y="39533"/>
                      <a:pt x="63640" y="39819"/>
                      <a:pt x="63568" y="40188"/>
                    </a:cubicBezTo>
                    <a:lnTo>
                      <a:pt x="63473" y="40212"/>
                    </a:lnTo>
                    <a:cubicBezTo>
                      <a:pt x="63473" y="40247"/>
                      <a:pt x="63485" y="40331"/>
                      <a:pt x="63485" y="40366"/>
                    </a:cubicBezTo>
                    <a:lnTo>
                      <a:pt x="63401" y="40366"/>
                    </a:lnTo>
                    <a:cubicBezTo>
                      <a:pt x="63366" y="40462"/>
                      <a:pt x="63330" y="40545"/>
                      <a:pt x="63294" y="40640"/>
                    </a:cubicBezTo>
                    <a:lnTo>
                      <a:pt x="63235" y="40652"/>
                    </a:lnTo>
                    <a:cubicBezTo>
                      <a:pt x="63151" y="40831"/>
                      <a:pt x="63032" y="40997"/>
                      <a:pt x="62925" y="41176"/>
                    </a:cubicBezTo>
                    <a:lnTo>
                      <a:pt x="62866" y="41188"/>
                    </a:lnTo>
                    <a:cubicBezTo>
                      <a:pt x="62866" y="41343"/>
                      <a:pt x="62675" y="41378"/>
                      <a:pt x="62663" y="41533"/>
                    </a:cubicBezTo>
                    <a:lnTo>
                      <a:pt x="62604" y="41545"/>
                    </a:lnTo>
                    <a:cubicBezTo>
                      <a:pt x="62604" y="41700"/>
                      <a:pt x="62401" y="41724"/>
                      <a:pt x="62389" y="41890"/>
                    </a:cubicBezTo>
                    <a:lnTo>
                      <a:pt x="62318" y="41878"/>
                    </a:lnTo>
                    <a:lnTo>
                      <a:pt x="62318" y="41974"/>
                    </a:lnTo>
                    <a:lnTo>
                      <a:pt x="62258" y="41998"/>
                    </a:lnTo>
                    <a:cubicBezTo>
                      <a:pt x="62104" y="42259"/>
                      <a:pt x="61818" y="42414"/>
                      <a:pt x="61675" y="42688"/>
                    </a:cubicBezTo>
                    <a:lnTo>
                      <a:pt x="61592" y="42676"/>
                    </a:lnTo>
                    <a:lnTo>
                      <a:pt x="61592" y="42676"/>
                    </a:lnTo>
                    <a:lnTo>
                      <a:pt x="61615" y="42771"/>
                    </a:lnTo>
                    <a:lnTo>
                      <a:pt x="61520" y="42783"/>
                    </a:lnTo>
                    <a:lnTo>
                      <a:pt x="61508" y="42879"/>
                    </a:lnTo>
                    <a:lnTo>
                      <a:pt x="61425" y="42855"/>
                    </a:lnTo>
                    <a:lnTo>
                      <a:pt x="61425" y="42926"/>
                    </a:lnTo>
                    <a:cubicBezTo>
                      <a:pt x="61175" y="43093"/>
                      <a:pt x="60996" y="43343"/>
                      <a:pt x="60746" y="43521"/>
                    </a:cubicBezTo>
                    <a:cubicBezTo>
                      <a:pt x="60711" y="43533"/>
                      <a:pt x="60651" y="43569"/>
                      <a:pt x="60615" y="43581"/>
                    </a:cubicBezTo>
                    <a:lnTo>
                      <a:pt x="60639" y="43676"/>
                    </a:lnTo>
                    <a:lnTo>
                      <a:pt x="60532" y="43652"/>
                    </a:lnTo>
                    <a:lnTo>
                      <a:pt x="60532" y="43736"/>
                    </a:lnTo>
                    <a:cubicBezTo>
                      <a:pt x="60377" y="43748"/>
                      <a:pt x="60353" y="43950"/>
                      <a:pt x="60199" y="43950"/>
                    </a:cubicBezTo>
                    <a:lnTo>
                      <a:pt x="60199" y="44033"/>
                    </a:lnTo>
                    <a:lnTo>
                      <a:pt x="60091" y="44010"/>
                    </a:lnTo>
                    <a:lnTo>
                      <a:pt x="60091" y="44105"/>
                    </a:lnTo>
                    <a:cubicBezTo>
                      <a:pt x="59937" y="44105"/>
                      <a:pt x="59901" y="44283"/>
                      <a:pt x="59746" y="44307"/>
                    </a:cubicBezTo>
                    <a:lnTo>
                      <a:pt x="59734" y="44367"/>
                    </a:lnTo>
                    <a:cubicBezTo>
                      <a:pt x="59532" y="44414"/>
                      <a:pt x="59437" y="44641"/>
                      <a:pt x="59222" y="44664"/>
                    </a:cubicBezTo>
                    <a:lnTo>
                      <a:pt x="59210" y="44748"/>
                    </a:lnTo>
                    <a:lnTo>
                      <a:pt x="59115" y="44724"/>
                    </a:lnTo>
                    <a:cubicBezTo>
                      <a:pt x="59115" y="44748"/>
                      <a:pt x="59103" y="44807"/>
                      <a:pt x="59103" y="44831"/>
                    </a:cubicBezTo>
                    <a:lnTo>
                      <a:pt x="58960" y="44807"/>
                    </a:lnTo>
                    <a:lnTo>
                      <a:pt x="58937" y="44926"/>
                    </a:lnTo>
                    <a:cubicBezTo>
                      <a:pt x="58889" y="44915"/>
                      <a:pt x="58818" y="44915"/>
                      <a:pt x="58770" y="44903"/>
                    </a:cubicBezTo>
                    <a:lnTo>
                      <a:pt x="58758" y="45022"/>
                    </a:lnTo>
                    <a:cubicBezTo>
                      <a:pt x="58722" y="45010"/>
                      <a:pt x="58639" y="44998"/>
                      <a:pt x="58591" y="44998"/>
                    </a:cubicBezTo>
                    <a:lnTo>
                      <a:pt x="58579" y="45117"/>
                    </a:lnTo>
                    <a:cubicBezTo>
                      <a:pt x="58544" y="45105"/>
                      <a:pt x="58460" y="45081"/>
                      <a:pt x="58413" y="45081"/>
                    </a:cubicBezTo>
                    <a:lnTo>
                      <a:pt x="58401" y="45200"/>
                    </a:lnTo>
                    <a:cubicBezTo>
                      <a:pt x="58365" y="45188"/>
                      <a:pt x="58294" y="45176"/>
                      <a:pt x="58258" y="45165"/>
                    </a:cubicBezTo>
                    <a:cubicBezTo>
                      <a:pt x="58195" y="45248"/>
                      <a:pt x="58114" y="45286"/>
                      <a:pt x="58007" y="45286"/>
                    </a:cubicBezTo>
                    <a:cubicBezTo>
                      <a:pt x="57992" y="45286"/>
                      <a:pt x="57976" y="45285"/>
                      <a:pt x="57960" y="45284"/>
                    </a:cubicBezTo>
                    <a:lnTo>
                      <a:pt x="57960" y="45284"/>
                    </a:lnTo>
                    <a:lnTo>
                      <a:pt x="57972" y="45355"/>
                    </a:lnTo>
                    <a:lnTo>
                      <a:pt x="57698" y="45355"/>
                    </a:lnTo>
                    <a:lnTo>
                      <a:pt x="57698" y="45462"/>
                    </a:lnTo>
                    <a:cubicBezTo>
                      <a:pt x="57651" y="45450"/>
                      <a:pt x="57555" y="45426"/>
                      <a:pt x="57520" y="45426"/>
                    </a:cubicBezTo>
                    <a:lnTo>
                      <a:pt x="57508" y="45522"/>
                    </a:lnTo>
                    <a:lnTo>
                      <a:pt x="57270" y="45522"/>
                    </a:lnTo>
                    <a:cubicBezTo>
                      <a:pt x="57163" y="45641"/>
                      <a:pt x="56984" y="45617"/>
                      <a:pt x="56841" y="45641"/>
                    </a:cubicBezTo>
                    <a:cubicBezTo>
                      <a:pt x="56722" y="45736"/>
                      <a:pt x="56579" y="45700"/>
                      <a:pt x="56448" y="45724"/>
                    </a:cubicBezTo>
                    <a:lnTo>
                      <a:pt x="56460" y="45796"/>
                    </a:lnTo>
                    <a:cubicBezTo>
                      <a:pt x="56389" y="45796"/>
                      <a:pt x="56270" y="45807"/>
                      <a:pt x="56198" y="45807"/>
                    </a:cubicBezTo>
                    <a:cubicBezTo>
                      <a:pt x="55853" y="45927"/>
                      <a:pt x="55484" y="45974"/>
                      <a:pt x="55115" y="45998"/>
                    </a:cubicBezTo>
                    <a:lnTo>
                      <a:pt x="55127" y="46069"/>
                    </a:lnTo>
                    <a:cubicBezTo>
                      <a:pt x="54996" y="46058"/>
                      <a:pt x="54877" y="46058"/>
                      <a:pt x="54757" y="46058"/>
                    </a:cubicBezTo>
                    <a:lnTo>
                      <a:pt x="54757" y="46141"/>
                    </a:lnTo>
                    <a:cubicBezTo>
                      <a:pt x="54603" y="46141"/>
                      <a:pt x="54448" y="46141"/>
                      <a:pt x="54305" y="46153"/>
                    </a:cubicBezTo>
                    <a:lnTo>
                      <a:pt x="54305" y="46224"/>
                    </a:lnTo>
                    <a:cubicBezTo>
                      <a:pt x="54079" y="46224"/>
                      <a:pt x="53865" y="46236"/>
                      <a:pt x="53638" y="46260"/>
                    </a:cubicBezTo>
                    <a:cubicBezTo>
                      <a:pt x="53543" y="46323"/>
                      <a:pt x="53427" y="46329"/>
                      <a:pt x="53310" y="46329"/>
                    </a:cubicBezTo>
                    <a:cubicBezTo>
                      <a:pt x="53287" y="46329"/>
                      <a:pt x="53264" y="46329"/>
                      <a:pt x="53241" y="46329"/>
                    </a:cubicBezTo>
                    <a:cubicBezTo>
                      <a:pt x="53206" y="46329"/>
                      <a:pt x="53172" y="46329"/>
                      <a:pt x="53138" y="46331"/>
                    </a:cubicBezTo>
                    <a:lnTo>
                      <a:pt x="53150" y="46403"/>
                    </a:lnTo>
                    <a:cubicBezTo>
                      <a:pt x="52864" y="46403"/>
                      <a:pt x="52567" y="46427"/>
                      <a:pt x="52269" y="46439"/>
                    </a:cubicBezTo>
                    <a:lnTo>
                      <a:pt x="52257" y="46498"/>
                    </a:lnTo>
                    <a:cubicBezTo>
                      <a:pt x="52079" y="46498"/>
                      <a:pt x="51900" y="46498"/>
                      <a:pt x="51721" y="46510"/>
                    </a:cubicBezTo>
                    <a:lnTo>
                      <a:pt x="51721" y="46569"/>
                    </a:lnTo>
                    <a:cubicBezTo>
                      <a:pt x="51376" y="46569"/>
                      <a:pt x="51031" y="46593"/>
                      <a:pt x="50686" y="46617"/>
                    </a:cubicBezTo>
                    <a:cubicBezTo>
                      <a:pt x="50221" y="46712"/>
                      <a:pt x="49721" y="46689"/>
                      <a:pt x="49245" y="46700"/>
                    </a:cubicBezTo>
                    <a:lnTo>
                      <a:pt x="49257" y="46760"/>
                    </a:lnTo>
                    <a:cubicBezTo>
                      <a:pt x="48876" y="46760"/>
                      <a:pt x="48495" y="46772"/>
                      <a:pt x="48114" y="46784"/>
                    </a:cubicBezTo>
                    <a:cubicBezTo>
                      <a:pt x="47530" y="46903"/>
                      <a:pt x="46923" y="46831"/>
                      <a:pt x="46328" y="46879"/>
                    </a:cubicBezTo>
                    <a:cubicBezTo>
                      <a:pt x="45542" y="46998"/>
                      <a:pt x="44732" y="46915"/>
                      <a:pt x="43947" y="46986"/>
                    </a:cubicBezTo>
                    <a:cubicBezTo>
                      <a:pt x="43805" y="47030"/>
                      <a:pt x="43661" y="47038"/>
                      <a:pt x="43516" y="47038"/>
                    </a:cubicBezTo>
                    <a:cubicBezTo>
                      <a:pt x="43421" y="47038"/>
                      <a:pt x="43326" y="47035"/>
                      <a:pt x="43231" y="47035"/>
                    </a:cubicBezTo>
                    <a:cubicBezTo>
                      <a:pt x="43156" y="47035"/>
                      <a:pt x="43081" y="47037"/>
                      <a:pt x="43006" y="47046"/>
                    </a:cubicBezTo>
                    <a:cubicBezTo>
                      <a:pt x="42113" y="47153"/>
                      <a:pt x="41196" y="47117"/>
                      <a:pt x="40291" y="47153"/>
                    </a:cubicBezTo>
                    <a:cubicBezTo>
                      <a:pt x="40160" y="47204"/>
                      <a:pt x="40020" y="47210"/>
                      <a:pt x="39876" y="47210"/>
                    </a:cubicBezTo>
                    <a:cubicBezTo>
                      <a:pt x="39828" y="47210"/>
                      <a:pt x="39781" y="47210"/>
                      <a:pt x="39733" y="47210"/>
                    </a:cubicBezTo>
                    <a:cubicBezTo>
                      <a:pt x="39689" y="47210"/>
                      <a:pt x="39645" y="47210"/>
                      <a:pt x="39601" y="47212"/>
                    </a:cubicBezTo>
                    <a:cubicBezTo>
                      <a:pt x="39158" y="47222"/>
                      <a:pt x="38715" y="47239"/>
                      <a:pt x="38272" y="47239"/>
                    </a:cubicBezTo>
                    <a:cubicBezTo>
                      <a:pt x="38167" y="47239"/>
                      <a:pt x="38062" y="47239"/>
                      <a:pt x="37958" y="47236"/>
                    </a:cubicBezTo>
                    <a:lnTo>
                      <a:pt x="37958" y="47308"/>
                    </a:lnTo>
                    <a:cubicBezTo>
                      <a:pt x="37740" y="47308"/>
                      <a:pt x="37522" y="47307"/>
                      <a:pt x="37304" y="47307"/>
                    </a:cubicBezTo>
                    <a:cubicBezTo>
                      <a:pt x="36649" y="47307"/>
                      <a:pt x="35990" y="47314"/>
                      <a:pt x="35338" y="47367"/>
                    </a:cubicBezTo>
                    <a:cubicBezTo>
                      <a:pt x="34541" y="47427"/>
                      <a:pt x="33731" y="47391"/>
                      <a:pt x="32921" y="47439"/>
                    </a:cubicBezTo>
                    <a:cubicBezTo>
                      <a:pt x="32734" y="47481"/>
                      <a:pt x="32547" y="47487"/>
                      <a:pt x="32356" y="47487"/>
                    </a:cubicBezTo>
                    <a:cubicBezTo>
                      <a:pt x="32279" y="47487"/>
                      <a:pt x="32202" y="47486"/>
                      <a:pt x="32124" y="47486"/>
                    </a:cubicBezTo>
                    <a:cubicBezTo>
                      <a:pt x="31524" y="47486"/>
                      <a:pt x="30924" y="47517"/>
                      <a:pt x="30323" y="47517"/>
                    </a:cubicBezTo>
                    <a:cubicBezTo>
                      <a:pt x="30173" y="47517"/>
                      <a:pt x="30023" y="47515"/>
                      <a:pt x="29873" y="47510"/>
                    </a:cubicBezTo>
                    <a:lnTo>
                      <a:pt x="29862" y="47582"/>
                    </a:lnTo>
                    <a:cubicBezTo>
                      <a:pt x="29573" y="47576"/>
                      <a:pt x="29285" y="47575"/>
                      <a:pt x="28998" y="47575"/>
                    </a:cubicBezTo>
                    <a:cubicBezTo>
                      <a:pt x="28357" y="47575"/>
                      <a:pt x="27717" y="47583"/>
                      <a:pt x="27077" y="47583"/>
                    </a:cubicBezTo>
                    <a:cubicBezTo>
                      <a:pt x="26688" y="47583"/>
                      <a:pt x="26299" y="47580"/>
                      <a:pt x="25909" y="47570"/>
                    </a:cubicBezTo>
                    <a:cubicBezTo>
                      <a:pt x="24826" y="47570"/>
                      <a:pt x="23744" y="47483"/>
                      <a:pt x="22662" y="47483"/>
                    </a:cubicBezTo>
                    <a:cubicBezTo>
                      <a:pt x="22542" y="47483"/>
                      <a:pt x="22421" y="47484"/>
                      <a:pt x="22301" y="47486"/>
                    </a:cubicBezTo>
                    <a:lnTo>
                      <a:pt x="22301" y="47427"/>
                    </a:lnTo>
                    <a:cubicBezTo>
                      <a:pt x="21694" y="47403"/>
                      <a:pt x="21087" y="47427"/>
                      <a:pt x="20491" y="47343"/>
                    </a:cubicBezTo>
                    <a:cubicBezTo>
                      <a:pt x="19682" y="47308"/>
                      <a:pt x="18884" y="47272"/>
                      <a:pt x="18086" y="47165"/>
                    </a:cubicBezTo>
                    <a:cubicBezTo>
                      <a:pt x="17443" y="47165"/>
                      <a:pt x="16824" y="47034"/>
                      <a:pt x="16181" y="47022"/>
                    </a:cubicBezTo>
                    <a:lnTo>
                      <a:pt x="16181" y="46962"/>
                    </a:lnTo>
                    <a:cubicBezTo>
                      <a:pt x="16116" y="46959"/>
                      <a:pt x="16050" y="46959"/>
                      <a:pt x="15985" y="46959"/>
                    </a:cubicBezTo>
                    <a:lnTo>
                      <a:pt x="15985" y="46959"/>
                    </a:lnTo>
                    <a:cubicBezTo>
                      <a:pt x="15790" y="46959"/>
                      <a:pt x="15598" y="46959"/>
                      <a:pt x="15419" y="46879"/>
                    </a:cubicBezTo>
                    <a:cubicBezTo>
                      <a:pt x="15217" y="46867"/>
                      <a:pt x="15014" y="46855"/>
                      <a:pt x="14812" y="46820"/>
                    </a:cubicBezTo>
                    <a:cubicBezTo>
                      <a:pt x="14657" y="46748"/>
                      <a:pt x="14479" y="46772"/>
                      <a:pt x="14312" y="46760"/>
                    </a:cubicBezTo>
                    <a:lnTo>
                      <a:pt x="14300" y="46700"/>
                    </a:lnTo>
                    <a:cubicBezTo>
                      <a:pt x="14086" y="46689"/>
                      <a:pt x="13860" y="46700"/>
                      <a:pt x="13645" y="46605"/>
                    </a:cubicBezTo>
                    <a:cubicBezTo>
                      <a:pt x="13514" y="46593"/>
                      <a:pt x="13383" y="46581"/>
                      <a:pt x="13240" y="46581"/>
                    </a:cubicBezTo>
                    <a:lnTo>
                      <a:pt x="13240" y="46522"/>
                    </a:lnTo>
                    <a:cubicBezTo>
                      <a:pt x="13074" y="46510"/>
                      <a:pt x="12907" y="46498"/>
                      <a:pt x="12752" y="46439"/>
                    </a:cubicBezTo>
                    <a:cubicBezTo>
                      <a:pt x="12633" y="46415"/>
                      <a:pt x="12526" y="46391"/>
                      <a:pt x="12407" y="46367"/>
                    </a:cubicBezTo>
                    <a:cubicBezTo>
                      <a:pt x="11943" y="46284"/>
                      <a:pt x="11490" y="46153"/>
                      <a:pt x="11038" y="46046"/>
                    </a:cubicBezTo>
                    <a:cubicBezTo>
                      <a:pt x="10919" y="46010"/>
                      <a:pt x="10800" y="45974"/>
                      <a:pt x="10692" y="45950"/>
                    </a:cubicBezTo>
                    <a:cubicBezTo>
                      <a:pt x="10180" y="45807"/>
                      <a:pt x="9692" y="45653"/>
                      <a:pt x="9192" y="45474"/>
                    </a:cubicBezTo>
                    <a:cubicBezTo>
                      <a:pt x="9073" y="45426"/>
                      <a:pt x="8942" y="45379"/>
                      <a:pt x="8823" y="45343"/>
                    </a:cubicBezTo>
                    <a:cubicBezTo>
                      <a:pt x="8645" y="45260"/>
                      <a:pt x="8478" y="45188"/>
                      <a:pt x="8299" y="45117"/>
                    </a:cubicBezTo>
                    <a:cubicBezTo>
                      <a:pt x="6954" y="44534"/>
                      <a:pt x="5716" y="43664"/>
                      <a:pt x="4823" y="42486"/>
                    </a:cubicBezTo>
                    <a:cubicBezTo>
                      <a:pt x="4215" y="41676"/>
                      <a:pt x="3787" y="40747"/>
                      <a:pt x="3501" y="39783"/>
                    </a:cubicBezTo>
                    <a:lnTo>
                      <a:pt x="3477" y="39723"/>
                    </a:lnTo>
                    <a:cubicBezTo>
                      <a:pt x="2430" y="36390"/>
                      <a:pt x="2132" y="32865"/>
                      <a:pt x="1941" y="29389"/>
                    </a:cubicBezTo>
                    <a:cubicBezTo>
                      <a:pt x="1894" y="28174"/>
                      <a:pt x="1810" y="26960"/>
                      <a:pt x="1715" y="25746"/>
                    </a:cubicBezTo>
                    <a:cubicBezTo>
                      <a:pt x="1537" y="23805"/>
                      <a:pt x="1501" y="21828"/>
                      <a:pt x="1668" y="19888"/>
                    </a:cubicBezTo>
                    <a:cubicBezTo>
                      <a:pt x="1834" y="17840"/>
                      <a:pt x="2322" y="15840"/>
                      <a:pt x="2680" y="13815"/>
                    </a:cubicBezTo>
                    <a:cubicBezTo>
                      <a:pt x="2977" y="12184"/>
                      <a:pt x="3370" y="10541"/>
                      <a:pt x="4144" y="9053"/>
                    </a:cubicBezTo>
                    <a:cubicBezTo>
                      <a:pt x="4966" y="7374"/>
                      <a:pt x="6240" y="5850"/>
                      <a:pt x="7942" y="5005"/>
                    </a:cubicBezTo>
                    <a:cubicBezTo>
                      <a:pt x="8109" y="4922"/>
                      <a:pt x="8287" y="4826"/>
                      <a:pt x="8466" y="4743"/>
                    </a:cubicBezTo>
                    <a:cubicBezTo>
                      <a:pt x="9133" y="4421"/>
                      <a:pt x="9823" y="4124"/>
                      <a:pt x="10526" y="3886"/>
                    </a:cubicBezTo>
                    <a:cubicBezTo>
                      <a:pt x="12312" y="3290"/>
                      <a:pt x="14157" y="2981"/>
                      <a:pt x="16015" y="2695"/>
                    </a:cubicBezTo>
                    <a:cubicBezTo>
                      <a:pt x="18705" y="2338"/>
                      <a:pt x="21408" y="2112"/>
                      <a:pt x="24123" y="2004"/>
                    </a:cubicBezTo>
                    <a:cubicBezTo>
                      <a:pt x="24533" y="1951"/>
                      <a:pt x="24947" y="1951"/>
                      <a:pt x="25361" y="1951"/>
                    </a:cubicBezTo>
                    <a:cubicBezTo>
                      <a:pt x="25775" y="1951"/>
                      <a:pt x="26188" y="1951"/>
                      <a:pt x="26599" y="1897"/>
                    </a:cubicBezTo>
                    <a:cubicBezTo>
                      <a:pt x="27549" y="1876"/>
                      <a:pt x="28496" y="1869"/>
                      <a:pt x="29441" y="1869"/>
                    </a:cubicBezTo>
                    <a:close/>
                    <a:moveTo>
                      <a:pt x="28697" y="1"/>
                    </a:moveTo>
                    <a:cubicBezTo>
                      <a:pt x="27293" y="1"/>
                      <a:pt x="25886" y="15"/>
                      <a:pt x="24480" y="88"/>
                    </a:cubicBezTo>
                    <a:cubicBezTo>
                      <a:pt x="24317" y="96"/>
                      <a:pt x="24152" y="96"/>
                      <a:pt x="23986" y="96"/>
                    </a:cubicBezTo>
                    <a:lnTo>
                      <a:pt x="23986" y="96"/>
                    </a:lnTo>
                    <a:cubicBezTo>
                      <a:pt x="23653" y="96"/>
                      <a:pt x="23317" y="96"/>
                      <a:pt x="22992" y="159"/>
                    </a:cubicBezTo>
                    <a:cubicBezTo>
                      <a:pt x="20146" y="302"/>
                      <a:pt x="17312" y="576"/>
                      <a:pt x="14502" y="1016"/>
                    </a:cubicBezTo>
                    <a:cubicBezTo>
                      <a:pt x="12550" y="1373"/>
                      <a:pt x="10573" y="1743"/>
                      <a:pt x="8740" y="2540"/>
                    </a:cubicBezTo>
                    <a:cubicBezTo>
                      <a:pt x="7585" y="3040"/>
                      <a:pt x="6418" y="3576"/>
                      <a:pt x="5442" y="4398"/>
                    </a:cubicBezTo>
                    <a:cubicBezTo>
                      <a:pt x="4846" y="4874"/>
                      <a:pt x="4335" y="5433"/>
                      <a:pt x="3870" y="6041"/>
                    </a:cubicBezTo>
                    <a:cubicBezTo>
                      <a:pt x="3227" y="6910"/>
                      <a:pt x="2775" y="7898"/>
                      <a:pt x="2382" y="8910"/>
                    </a:cubicBezTo>
                    <a:cubicBezTo>
                      <a:pt x="1679" y="10696"/>
                      <a:pt x="1358" y="12589"/>
                      <a:pt x="1013" y="14458"/>
                    </a:cubicBezTo>
                    <a:cubicBezTo>
                      <a:pt x="644" y="16375"/>
                      <a:pt x="227" y="18292"/>
                      <a:pt x="132" y="20233"/>
                    </a:cubicBezTo>
                    <a:cubicBezTo>
                      <a:pt x="1" y="21328"/>
                      <a:pt x="96" y="22424"/>
                      <a:pt x="13" y="23519"/>
                    </a:cubicBezTo>
                    <a:cubicBezTo>
                      <a:pt x="1" y="23817"/>
                      <a:pt x="13" y="24102"/>
                      <a:pt x="36" y="24400"/>
                    </a:cubicBezTo>
                    <a:cubicBezTo>
                      <a:pt x="72" y="25353"/>
                      <a:pt x="48" y="26317"/>
                      <a:pt x="132" y="27270"/>
                    </a:cubicBezTo>
                    <a:cubicBezTo>
                      <a:pt x="179" y="28627"/>
                      <a:pt x="120" y="29996"/>
                      <a:pt x="239" y="31353"/>
                    </a:cubicBezTo>
                    <a:cubicBezTo>
                      <a:pt x="227" y="32080"/>
                      <a:pt x="322" y="32782"/>
                      <a:pt x="370" y="33496"/>
                    </a:cubicBezTo>
                    <a:cubicBezTo>
                      <a:pt x="453" y="34235"/>
                      <a:pt x="536" y="34985"/>
                      <a:pt x="632" y="35723"/>
                    </a:cubicBezTo>
                    <a:cubicBezTo>
                      <a:pt x="679" y="35925"/>
                      <a:pt x="703" y="36128"/>
                      <a:pt x="727" y="36330"/>
                    </a:cubicBezTo>
                    <a:cubicBezTo>
                      <a:pt x="977" y="37842"/>
                      <a:pt x="1310" y="39342"/>
                      <a:pt x="1787" y="40795"/>
                    </a:cubicBezTo>
                    <a:cubicBezTo>
                      <a:pt x="1965" y="41307"/>
                      <a:pt x="2179" y="41807"/>
                      <a:pt x="2418" y="42295"/>
                    </a:cubicBezTo>
                    <a:cubicBezTo>
                      <a:pt x="3334" y="44129"/>
                      <a:pt x="4811" y="45653"/>
                      <a:pt x="6621" y="46629"/>
                    </a:cubicBezTo>
                    <a:cubicBezTo>
                      <a:pt x="7335" y="47034"/>
                      <a:pt x="8073" y="47403"/>
                      <a:pt x="8835" y="47689"/>
                    </a:cubicBezTo>
                    <a:cubicBezTo>
                      <a:pt x="8954" y="47736"/>
                      <a:pt x="9061" y="47772"/>
                      <a:pt x="9168" y="47820"/>
                    </a:cubicBezTo>
                    <a:cubicBezTo>
                      <a:pt x="9526" y="47939"/>
                      <a:pt x="9871" y="48058"/>
                      <a:pt x="10228" y="48177"/>
                    </a:cubicBezTo>
                    <a:cubicBezTo>
                      <a:pt x="10323" y="48201"/>
                      <a:pt x="10419" y="48236"/>
                      <a:pt x="10514" y="48260"/>
                    </a:cubicBezTo>
                    <a:cubicBezTo>
                      <a:pt x="10716" y="48308"/>
                      <a:pt x="10919" y="48379"/>
                      <a:pt x="11133" y="48439"/>
                    </a:cubicBezTo>
                    <a:cubicBezTo>
                      <a:pt x="11252" y="48463"/>
                      <a:pt x="11371" y="48486"/>
                      <a:pt x="11490" y="48534"/>
                    </a:cubicBezTo>
                    <a:cubicBezTo>
                      <a:pt x="11609" y="48558"/>
                      <a:pt x="11728" y="48570"/>
                      <a:pt x="11847" y="48629"/>
                    </a:cubicBezTo>
                    <a:cubicBezTo>
                      <a:pt x="11955" y="48641"/>
                      <a:pt x="12050" y="48653"/>
                      <a:pt x="12157" y="48653"/>
                    </a:cubicBezTo>
                    <a:lnTo>
                      <a:pt x="12169" y="48725"/>
                    </a:lnTo>
                    <a:cubicBezTo>
                      <a:pt x="12359" y="48736"/>
                      <a:pt x="12550" y="48736"/>
                      <a:pt x="12717" y="48808"/>
                    </a:cubicBezTo>
                    <a:cubicBezTo>
                      <a:pt x="12824" y="48820"/>
                      <a:pt x="12943" y="48832"/>
                      <a:pt x="13050" y="48844"/>
                    </a:cubicBezTo>
                    <a:lnTo>
                      <a:pt x="13050" y="48903"/>
                    </a:lnTo>
                    <a:cubicBezTo>
                      <a:pt x="13205" y="48903"/>
                      <a:pt x="13348" y="48915"/>
                      <a:pt x="13502" y="48927"/>
                    </a:cubicBezTo>
                    <a:lnTo>
                      <a:pt x="13502" y="48986"/>
                    </a:lnTo>
                    <a:cubicBezTo>
                      <a:pt x="13832" y="48986"/>
                      <a:pt x="14152" y="49108"/>
                      <a:pt x="14480" y="49108"/>
                    </a:cubicBezTo>
                    <a:cubicBezTo>
                      <a:pt x="14507" y="49108"/>
                      <a:pt x="14535" y="49107"/>
                      <a:pt x="14562" y="49106"/>
                    </a:cubicBezTo>
                    <a:lnTo>
                      <a:pt x="14574" y="49177"/>
                    </a:lnTo>
                    <a:cubicBezTo>
                      <a:pt x="14741" y="49177"/>
                      <a:pt x="14919" y="49177"/>
                      <a:pt x="15098" y="49189"/>
                    </a:cubicBezTo>
                    <a:lnTo>
                      <a:pt x="15110" y="49248"/>
                    </a:lnTo>
                    <a:cubicBezTo>
                      <a:pt x="15336" y="49260"/>
                      <a:pt x="15574" y="49272"/>
                      <a:pt x="15800" y="49284"/>
                    </a:cubicBezTo>
                    <a:lnTo>
                      <a:pt x="15812" y="49344"/>
                    </a:lnTo>
                    <a:cubicBezTo>
                      <a:pt x="16015" y="49344"/>
                      <a:pt x="16205" y="49356"/>
                      <a:pt x="16407" y="49379"/>
                    </a:cubicBezTo>
                    <a:cubicBezTo>
                      <a:pt x="17027" y="49498"/>
                      <a:pt x="17670" y="49510"/>
                      <a:pt x="18301" y="49606"/>
                    </a:cubicBezTo>
                    <a:cubicBezTo>
                      <a:pt x="18878" y="49627"/>
                      <a:pt x="19446" y="49731"/>
                      <a:pt x="20020" y="49731"/>
                    </a:cubicBezTo>
                    <a:cubicBezTo>
                      <a:pt x="20098" y="49731"/>
                      <a:pt x="20175" y="49729"/>
                      <a:pt x="20253" y="49725"/>
                    </a:cubicBezTo>
                    <a:lnTo>
                      <a:pt x="20265" y="49784"/>
                    </a:lnTo>
                    <a:cubicBezTo>
                      <a:pt x="20575" y="49796"/>
                      <a:pt x="20896" y="49808"/>
                      <a:pt x="21206" y="49820"/>
                    </a:cubicBezTo>
                    <a:cubicBezTo>
                      <a:pt x="21944" y="49927"/>
                      <a:pt x="22694" y="49856"/>
                      <a:pt x="23432" y="49915"/>
                    </a:cubicBezTo>
                    <a:cubicBezTo>
                      <a:pt x="23563" y="49975"/>
                      <a:pt x="23718" y="49951"/>
                      <a:pt x="23861" y="49963"/>
                    </a:cubicBezTo>
                    <a:cubicBezTo>
                      <a:pt x="25211" y="49985"/>
                      <a:pt x="26561" y="49994"/>
                      <a:pt x="27912" y="49994"/>
                    </a:cubicBezTo>
                    <a:cubicBezTo>
                      <a:pt x="29467" y="49994"/>
                      <a:pt x="31021" y="49982"/>
                      <a:pt x="32576" y="49963"/>
                    </a:cubicBezTo>
                    <a:cubicBezTo>
                      <a:pt x="33731" y="49844"/>
                      <a:pt x="34898" y="49915"/>
                      <a:pt x="36053" y="49856"/>
                    </a:cubicBezTo>
                    <a:cubicBezTo>
                      <a:pt x="36487" y="49802"/>
                      <a:pt x="36928" y="49802"/>
                      <a:pt x="37370" y="49802"/>
                    </a:cubicBezTo>
                    <a:cubicBezTo>
                      <a:pt x="37812" y="49802"/>
                      <a:pt x="38255" y="49802"/>
                      <a:pt x="38696" y="49748"/>
                    </a:cubicBezTo>
                    <a:cubicBezTo>
                      <a:pt x="39223" y="49722"/>
                      <a:pt x="39750" y="49708"/>
                      <a:pt x="40277" y="49708"/>
                    </a:cubicBezTo>
                    <a:cubicBezTo>
                      <a:pt x="40452" y="49708"/>
                      <a:pt x="40628" y="49710"/>
                      <a:pt x="40803" y="49713"/>
                    </a:cubicBezTo>
                    <a:lnTo>
                      <a:pt x="40803" y="49641"/>
                    </a:lnTo>
                    <a:cubicBezTo>
                      <a:pt x="40961" y="49644"/>
                      <a:pt x="41119" y="49646"/>
                      <a:pt x="41277" y="49646"/>
                    </a:cubicBezTo>
                    <a:cubicBezTo>
                      <a:pt x="42843" y="49646"/>
                      <a:pt x="44401" y="49508"/>
                      <a:pt x="45967" y="49508"/>
                    </a:cubicBezTo>
                    <a:cubicBezTo>
                      <a:pt x="46075" y="49508"/>
                      <a:pt x="46184" y="49509"/>
                      <a:pt x="46292" y="49510"/>
                    </a:cubicBezTo>
                    <a:lnTo>
                      <a:pt x="46292" y="49451"/>
                    </a:lnTo>
                    <a:cubicBezTo>
                      <a:pt x="46351" y="49452"/>
                      <a:pt x="46409" y="49453"/>
                      <a:pt x="46468" y="49453"/>
                    </a:cubicBezTo>
                    <a:cubicBezTo>
                      <a:pt x="46816" y="49453"/>
                      <a:pt x="47164" y="49432"/>
                      <a:pt x="47513" y="49432"/>
                    </a:cubicBezTo>
                    <a:cubicBezTo>
                      <a:pt x="47618" y="49432"/>
                      <a:pt x="47723" y="49434"/>
                      <a:pt x="47828" y="49439"/>
                    </a:cubicBezTo>
                    <a:lnTo>
                      <a:pt x="47816" y="49367"/>
                    </a:lnTo>
                    <a:cubicBezTo>
                      <a:pt x="48340" y="49344"/>
                      <a:pt x="48864" y="49391"/>
                      <a:pt x="49376" y="49296"/>
                    </a:cubicBezTo>
                    <a:cubicBezTo>
                      <a:pt x="49816" y="49236"/>
                      <a:pt x="50269" y="49308"/>
                      <a:pt x="50697" y="49213"/>
                    </a:cubicBezTo>
                    <a:cubicBezTo>
                      <a:pt x="51347" y="49201"/>
                      <a:pt x="51985" y="49081"/>
                      <a:pt x="52623" y="49081"/>
                    </a:cubicBezTo>
                    <a:cubicBezTo>
                      <a:pt x="52652" y="49081"/>
                      <a:pt x="52681" y="49081"/>
                      <a:pt x="52710" y="49082"/>
                    </a:cubicBezTo>
                    <a:lnTo>
                      <a:pt x="52710" y="49022"/>
                    </a:lnTo>
                    <a:cubicBezTo>
                      <a:pt x="52948" y="49010"/>
                      <a:pt x="53198" y="48998"/>
                      <a:pt x="53436" y="48986"/>
                    </a:cubicBezTo>
                    <a:lnTo>
                      <a:pt x="53424" y="48927"/>
                    </a:lnTo>
                    <a:cubicBezTo>
                      <a:pt x="53626" y="48915"/>
                      <a:pt x="53841" y="48915"/>
                      <a:pt x="54043" y="48903"/>
                    </a:cubicBezTo>
                    <a:lnTo>
                      <a:pt x="54055" y="48844"/>
                    </a:lnTo>
                    <a:cubicBezTo>
                      <a:pt x="54269" y="48832"/>
                      <a:pt x="54472" y="48820"/>
                      <a:pt x="54674" y="48808"/>
                    </a:cubicBezTo>
                    <a:lnTo>
                      <a:pt x="54662" y="48748"/>
                    </a:lnTo>
                    <a:cubicBezTo>
                      <a:pt x="54841" y="48736"/>
                      <a:pt x="55031" y="48736"/>
                      <a:pt x="55210" y="48725"/>
                    </a:cubicBezTo>
                    <a:lnTo>
                      <a:pt x="55210" y="48665"/>
                    </a:lnTo>
                    <a:cubicBezTo>
                      <a:pt x="55389" y="48653"/>
                      <a:pt x="55567" y="48641"/>
                      <a:pt x="55734" y="48629"/>
                    </a:cubicBezTo>
                    <a:lnTo>
                      <a:pt x="55734" y="48558"/>
                    </a:lnTo>
                    <a:cubicBezTo>
                      <a:pt x="55889" y="48558"/>
                      <a:pt x="56031" y="48546"/>
                      <a:pt x="56186" y="48546"/>
                    </a:cubicBezTo>
                    <a:lnTo>
                      <a:pt x="56174" y="48486"/>
                    </a:lnTo>
                    <a:cubicBezTo>
                      <a:pt x="56782" y="48439"/>
                      <a:pt x="57353" y="48189"/>
                      <a:pt x="57960" y="48093"/>
                    </a:cubicBezTo>
                    <a:lnTo>
                      <a:pt x="57972" y="48046"/>
                    </a:lnTo>
                    <a:cubicBezTo>
                      <a:pt x="58282" y="48010"/>
                      <a:pt x="58556" y="47855"/>
                      <a:pt x="58865" y="47832"/>
                    </a:cubicBezTo>
                    <a:lnTo>
                      <a:pt x="58841" y="47760"/>
                    </a:lnTo>
                    <a:cubicBezTo>
                      <a:pt x="58913" y="47760"/>
                      <a:pt x="59056" y="47748"/>
                      <a:pt x="59127" y="47748"/>
                    </a:cubicBezTo>
                    <a:lnTo>
                      <a:pt x="59127" y="47641"/>
                    </a:lnTo>
                    <a:cubicBezTo>
                      <a:pt x="59163" y="47653"/>
                      <a:pt x="59246" y="47689"/>
                      <a:pt x="59294" y="47701"/>
                    </a:cubicBezTo>
                    <a:lnTo>
                      <a:pt x="59294" y="47605"/>
                    </a:lnTo>
                    <a:cubicBezTo>
                      <a:pt x="59413" y="47605"/>
                      <a:pt x="59508" y="47570"/>
                      <a:pt x="59603" y="47510"/>
                    </a:cubicBezTo>
                    <a:cubicBezTo>
                      <a:pt x="59651" y="47486"/>
                      <a:pt x="59734" y="47439"/>
                      <a:pt x="59782" y="47415"/>
                    </a:cubicBezTo>
                    <a:lnTo>
                      <a:pt x="59889" y="47415"/>
                    </a:lnTo>
                    <a:cubicBezTo>
                      <a:pt x="60008" y="47272"/>
                      <a:pt x="60211" y="47284"/>
                      <a:pt x="60318" y="47141"/>
                    </a:cubicBezTo>
                    <a:lnTo>
                      <a:pt x="60449" y="47141"/>
                    </a:lnTo>
                    <a:lnTo>
                      <a:pt x="60472" y="47034"/>
                    </a:lnTo>
                    <a:cubicBezTo>
                      <a:pt x="60508" y="47046"/>
                      <a:pt x="60592" y="47046"/>
                      <a:pt x="60627" y="47058"/>
                    </a:cubicBezTo>
                    <a:lnTo>
                      <a:pt x="60627" y="46950"/>
                    </a:lnTo>
                    <a:lnTo>
                      <a:pt x="60734" y="46974"/>
                    </a:lnTo>
                    <a:lnTo>
                      <a:pt x="60734" y="46867"/>
                    </a:lnTo>
                    <a:lnTo>
                      <a:pt x="60901" y="46891"/>
                    </a:lnTo>
                    <a:lnTo>
                      <a:pt x="60889" y="46772"/>
                    </a:lnTo>
                    <a:lnTo>
                      <a:pt x="60996" y="46808"/>
                    </a:lnTo>
                    <a:lnTo>
                      <a:pt x="61008" y="46689"/>
                    </a:lnTo>
                    <a:cubicBezTo>
                      <a:pt x="61044" y="46689"/>
                      <a:pt x="61127" y="46700"/>
                      <a:pt x="61163" y="46700"/>
                    </a:cubicBezTo>
                    <a:lnTo>
                      <a:pt x="61163" y="46581"/>
                    </a:lnTo>
                    <a:cubicBezTo>
                      <a:pt x="61199" y="46593"/>
                      <a:pt x="61282" y="46593"/>
                      <a:pt x="61318" y="46593"/>
                    </a:cubicBezTo>
                    <a:cubicBezTo>
                      <a:pt x="61330" y="46474"/>
                      <a:pt x="61401" y="46415"/>
                      <a:pt x="61520" y="46415"/>
                    </a:cubicBezTo>
                    <a:lnTo>
                      <a:pt x="61520" y="46319"/>
                    </a:lnTo>
                    <a:cubicBezTo>
                      <a:pt x="61556" y="46319"/>
                      <a:pt x="61627" y="46331"/>
                      <a:pt x="61663" y="46331"/>
                    </a:cubicBezTo>
                    <a:cubicBezTo>
                      <a:pt x="61687" y="46200"/>
                      <a:pt x="61758" y="46141"/>
                      <a:pt x="61877" y="46141"/>
                    </a:cubicBezTo>
                    <a:lnTo>
                      <a:pt x="61866" y="46046"/>
                    </a:lnTo>
                    <a:lnTo>
                      <a:pt x="61866" y="46046"/>
                    </a:lnTo>
                    <a:lnTo>
                      <a:pt x="61973" y="46093"/>
                    </a:lnTo>
                    <a:lnTo>
                      <a:pt x="61961" y="45974"/>
                    </a:lnTo>
                    <a:lnTo>
                      <a:pt x="62044" y="45986"/>
                    </a:lnTo>
                    <a:cubicBezTo>
                      <a:pt x="62163" y="45891"/>
                      <a:pt x="62247" y="45736"/>
                      <a:pt x="62413" y="45700"/>
                    </a:cubicBezTo>
                    <a:lnTo>
                      <a:pt x="62401" y="45617"/>
                    </a:lnTo>
                    <a:lnTo>
                      <a:pt x="62497" y="45629"/>
                    </a:lnTo>
                    <a:lnTo>
                      <a:pt x="62497" y="45522"/>
                    </a:lnTo>
                    <a:lnTo>
                      <a:pt x="62592" y="45557"/>
                    </a:lnTo>
                    <a:lnTo>
                      <a:pt x="62592" y="45474"/>
                    </a:lnTo>
                    <a:cubicBezTo>
                      <a:pt x="62889" y="45272"/>
                      <a:pt x="63128" y="44986"/>
                      <a:pt x="63390" y="44736"/>
                    </a:cubicBezTo>
                    <a:cubicBezTo>
                      <a:pt x="63580" y="44534"/>
                      <a:pt x="63818" y="44367"/>
                      <a:pt x="63949" y="44117"/>
                    </a:cubicBezTo>
                    <a:lnTo>
                      <a:pt x="64032" y="44129"/>
                    </a:lnTo>
                    <a:lnTo>
                      <a:pt x="63997" y="44010"/>
                    </a:lnTo>
                    <a:lnTo>
                      <a:pt x="64104" y="44045"/>
                    </a:lnTo>
                    <a:lnTo>
                      <a:pt x="64092" y="43926"/>
                    </a:lnTo>
                    <a:lnTo>
                      <a:pt x="64199" y="43938"/>
                    </a:lnTo>
                    <a:lnTo>
                      <a:pt x="64199" y="43938"/>
                    </a:lnTo>
                    <a:lnTo>
                      <a:pt x="64163" y="43831"/>
                    </a:lnTo>
                    <a:lnTo>
                      <a:pt x="64282" y="43843"/>
                    </a:lnTo>
                    <a:cubicBezTo>
                      <a:pt x="64282" y="43795"/>
                      <a:pt x="64282" y="43724"/>
                      <a:pt x="64282" y="43676"/>
                    </a:cubicBezTo>
                    <a:cubicBezTo>
                      <a:pt x="64318" y="43676"/>
                      <a:pt x="64402" y="43664"/>
                      <a:pt x="64449" y="43652"/>
                    </a:cubicBezTo>
                    <a:cubicBezTo>
                      <a:pt x="64449" y="43617"/>
                      <a:pt x="64449" y="43533"/>
                      <a:pt x="64449" y="43486"/>
                    </a:cubicBezTo>
                    <a:lnTo>
                      <a:pt x="64533" y="43486"/>
                    </a:lnTo>
                    <a:cubicBezTo>
                      <a:pt x="64533" y="43331"/>
                      <a:pt x="64723" y="43295"/>
                      <a:pt x="64735" y="43140"/>
                    </a:cubicBezTo>
                    <a:lnTo>
                      <a:pt x="64794" y="43129"/>
                    </a:lnTo>
                    <a:cubicBezTo>
                      <a:pt x="64830" y="43057"/>
                      <a:pt x="64878" y="42974"/>
                      <a:pt x="64925" y="42902"/>
                    </a:cubicBezTo>
                    <a:cubicBezTo>
                      <a:pt x="64997" y="42807"/>
                      <a:pt x="65068" y="42712"/>
                      <a:pt x="65104" y="42605"/>
                    </a:cubicBezTo>
                    <a:lnTo>
                      <a:pt x="65164" y="42605"/>
                    </a:lnTo>
                    <a:cubicBezTo>
                      <a:pt x="65199" y="42509"/>
                      <a:pt x="65235" y="42426"/>
                      <a:pt x="65271" y="42331"/>
                    </a:cubicBezTo>
                    <a:lnTo>
                      <a:pt x="65366" y="42331"/>
                    </a:lnTo>
                    <a:cubicBezTo>
                      <a:pt x="65354" y="42295"/>
                      <a:pt x="65342" y="42212"/>
                      <a:pt x="65342" y="42164"/>
                    </a:cubicBezTo>
                    <a:lnTo>
                      <a:pt x="65449" y="42164"/>
                    </a:lnTo>
                    <a:lnTo>
                      <a:pt x="65414" y="42057"/>
                    </a:lnTo>
                    <a:lnTo>
                      <a:pt x="65533" y="42069"/>
                    </a:lnTo>
                    <a:cubicBezTo>
                      <a:pt x="65521" y="42021"/>
                      <a:pt x="65509" y="41938"/>
                      <a:pt x="65509" y="41902"/>
                    </a:cubicBezTo>
                    <a:lnTo>
                      <a:pt x="65616" y="41890"/>
                    </a:lnTo>
                    <a:cubicBezTo>
                      <a:pt x="65616" y="41843"/>
                      <a:pt x="65604" y="41771"/>
                      <a:pt x="65604" y="41724"/>
                    </a:cubicBezTo>
                    <a:lnTo>
                      <a:pt x="65687" y="41712"/>
                    </a:lnTo>
                    <a:cubicBezTo>
                      <a:pt x="65723" y="41652"/>
                      <a:pt x="65771" y="41557"/>
                      <a:pt x="65795" y="41497"/>
                    </a:cubicBezTo>
                    <a:cubicBezTo>
                      <a:pt x="65795" y="41462"/>
                      <a:pt x="65783" y="41402"/>
                      <a:pt x="65783" y="41366"/>
                    </a:cubicBezTo>
                    <a:lnTo>
                      <a:pt x="65902" y="41355"/>
                    </a:lnTo>
                    <a:cubicBezTo>
                      <a:pt x="65890" y="41307"/>
                      <a:pt x="65878" y="41224"/>
                      <a:pt x="65866" y="41188"/>
                    </a:cubicBezTo>
                    <a:lnTo>
                      <a:pt x="65985" y="41176"/>
                    </a:lnTo>
                    <a:cubicBezTo>
                      <a:pt x="65973" y="41128"/>
                      <a:pt x="65961" y="41057"/>
                      <a:pt x="65961" y="41009"/>
                    </a:cubicBezTo>
                    <a:lnTo>
                      <a:pt x="66080" y="40997"/>
                    </a:lnTo>
                    <a:cubicBezTo>
                      <a:pt x="66068" y="40950"/>
                      <a:pt x="66045" y="40878"/>
                      <a:pt x="66045" y="40831"/>
                    </a:cubicBezTo>
                    <a:lnTo>
                      <a:pt x="66152" y="40819"/>
                    </a:lnTo>
                    <a:cubicBezTo>
                      <a:pt x="66152" y="40783"/>
                      <a:pt x="66140" y="40712"/>
                      <a:pt x="66140" y="40676"/>
                    </a:cubicBezTo>
                    <a:cubicBezTo>
                      <a:pt x="66247" y="40593"/>
                      <a:pt x="66223" y="40426"/>
                      <a:pt x="66330" y="40343"/>
                    </a:cubicBezTo>
                    <a:cubicBezTo>
                      <a:pt x="66330" y="40319"/>
                      <a:pt x="66318" y="40259"/>
                      <a:pt x="66307" y="40235"/>
                    </a:cubicBezTo>
                    <a:cubicBezTo>
                      <a:pt x="66402" y="40164"/>
                      <a:pt x="66438" y="40069"/>
                      <a:pt x="66426" y="39938"/>
                    </a:cubicBezTo>
                    <a:lnTo>
                      <a:pt x="66485" y="39938"/>
                    </a:lnTo>
                    <a:cubicBezTo>
                      <a:pt x="66497" y="39831"/>
                      <a:pt x="66521" y="39735"/>
                      <a:pt x="66568" y="39640"/>
                    </a:cubicBezTo>
                    <a:cubicBezTo>
                      <a:pt x="66652" y="39378"/>
                      <a:pt x="66759" y="39128"/>
                      <a:pt x="66783" y="38866"/>
                    </a:cubicBezTo>
                    <a:lnTo>
                      <a:pt x="66842" y="38866"/>
                    </a:lnTo>
                    <a:cubicBezTo>
                      <a:pt x="66854" y="38759"/>
                      <a:pt x="66866" y="38652"/>
                      <a:pt x="66878" y="38545"/>
                    </a:cubicBezTo>
                    <a:cubicBezTo>
                      <a:pt x="67009" y="38307"/>
                      <a:pt x="66997" y="38021"/>
                      <a:pt x="67104" y="37771"/>
                    </a:cubicBezTo>
                    <a:cubicBezTo>
                      <a:pt x="67116" y="37664"/>
                      <a:pt x="67128" y="37556"/>
                      <a:pt x="67140" y="37449"/>
                    </a:cubicBezTo>
                    <a:lnTo>
                      <a:pt x="67200" y="37437"/>
                    </a:lnTo>
                    <a:cubicBezTo>
                      <a:pt x="67211" y="36961"/>
                      <a:pt x="67390" y="36521"/>
                      <a:pt x="67414" y="36056"/>
                    </a:cubicBezTo>
                    <a:cubicBezTo>
                      <a:pt x="67497" y="35842"/>
                      <a:pt x="67473" y="35616"/>
                      <a:pt x="67485" y="35390"/>
                    </a:cubicBezTo>
                    <a:lnTo>
                      <a:pt x="67485" y="35390"/>
                    </a:lnTo>
                    <a:lnTo>
                      <a:pt x="67557" y="35401"/>
                    </a:lnTo>
                    <a:cubicBezTo>
                      <a:pt x="67557" y="35175"/>
                      <a:pt x="67569" y="34949"/>
                      <a:pt x="67592" y="34723"/>
                    </a:cubicBezTo>
                    <a:cubicBezTo>
                      <a:pt x="67604" y="34699"/>
                      <a:pt x="67616" y="34651"/>
                      <a:pt x="67628" y="34628"/>
                    </a:cubicBezTo>
                    <a:cubicBezTo>
                      <a:pt x="67711" y="33604"/>
                      <a:pt x="67842" y="32592"/>
                      <a:pt x="67842" y="31568"/>
                    </a:cubicBezTo>
                    <a:lnTo>
                      <a:pt x="67902" y="31568"/>
                    </a:lnTo>
                    <a:cubicBezTo>
                      <a:pt x="67902" y="31199"/>
                      <a:pt x="67914" y="30818"/>
                      <a:pt x="67938" y="30448"/>
                    </a:cubicBezTo>
                    <a:cubicBezTo>
                      <a:pt x="68057" y="29877"/>
                      <a:pt x="67962" y="29282"/>
                      <a:pt x="68069" y="28710"/>
                    </a:cubicBezTo>
                    <a:cubicBezTo>
                      <a:pt x="68140" y="28341"/>
                      <a:pt x="68069" y="27972"/>
                      <a:pt x="68164" y="27627"/>
                    </a:cubicBezTo>
                    <a:cubicBezTo>
                      <a:pt x="68188" y="26948"/>
                      <a:pt x="68307" y="26293"/>
                      <a:pt x="68295" y="25615"/>
                    </a:cubicBezTo>
                    <a:lnTo>
                      <a:pt x="68354" y="25615"/>
                    </a:lnTo>
                    <a:cubicBezTo>
                      <a:pt x="68343" y="25091"/>
                      <a:pt x="68390" y="24579"/>
                      <a:pt x="68450" y="24067"/>
                    </a:cubicBezTo>
                    <a:cubicBezTo>
                      <a:pt x="68438" y="23305"/>
                      <a:pt x="68557" y="22567"/>
                      <a:pt x="68557" y="21816"/>
                    </a:cubicBezTo>
                    <a:cubicBezTo>
                      <a:pt x="68664" y="21340"/>
                      <a:pt x="68628" y="20840"/>
                      <a:pt x="68640" y="20364"/>
                    </a:cubicBezTo>
                    <a:lnTo>
                      <a:pt x="68700" y="20364"/>
                    </a:lnTo>
                    <a:cubicBezTo>
                      <a:pt x="68712" y="19900"/>
                      <a:pt x="68712" y="19435"/>
                      <a:pt x="68747" y="18971"/>
                    </a:cubicBezTo>
                    <a:cubicBezTo>
                      <a:pt x="68807" y="18721"/>
                      <a:pt x="68795" y="18459"/>
                      <a:pt x="68795" y="18197"/>
                    </a:cubicBezTo>
                    <a:cubicBezTo>
                      <a:pt x="68831" y="16792"/>
                      <a:pt x="68819" y="15375"/>
                      <a:pt x="68795" y="13970"/>
                    </a:cubicBezTo>
                    <a:lnTo>
                      <a:pt x="68747" y="13958"/>
                    </a:lnTo>
                    <a:cubicBezTo>
                      <a:pt x="68771" y="12792"/>
                      <a:pt x="68593" y="11649"/>
                      <a:pt x="68450" y="10494"/>
                    </a:cubicBezTo>
                    <a:lnTo>
                      <a:pt x="68390" y="10494"/>
                    </a:lnTo>
                    <a:cubicBezTo>
                      <a:pt x="68390" y="10160"/>
                      <a:pt x="68259" y="9851"/>
                      <a:pt x="68259" y="9529"/>
                    </a:cubicBezTo>
                    <a:lnTo>
                      <a:pt x="68188" y="9517"/>
                    </a:lnTo>
                    <a:cubicBezTo>
                      <a:pt x="68188" y="9398"/>
                      <a:pt x="68188" y="9279"/>
                      <a:pt x="68188" y="9172"/>
                    </a:cubicBezTo>
                    <a:lnTo>
                      <a:pt x="68116" y="9160"/>
                    </a:lnTo>
                    <a:cubicBezTo>
                      <a:pt x="68104" y="9017"/>
                      <a:pt x="68092" y="8862"/>
                      <a:pt x="68092" y="8720"/>
                    </a:cubicBezTo>
                    <a:lnTo>
                      <a:pt x="68021" y="8720"/>
                    </a:lnTo>
                    <a:cubicBezTo>
                      <a:pt x="68009" y="8612"/>
                      <a:pt x="67997" y="8505"/>
                      <a:pt x="67997" y="8398"/>
                    </a:cubicBezTo>
                    <a:cubicBezTo>
                      <a:pt x="67914" y="8196"/>
                      <a:pt x="67854" y="7981"/>
                      <a:pt x="67807" y="7779"/>
                    </a:cubicBezTo>
                    <a:cubicBezTo>
                      <a:pt x="67759" y="7660"/>
                      <a:pt x="67723" y="7553"/>
                      <a:pt x="67688" y="7434"/>
                    </a:cubicBezTo>
                    <a:cubicBezTo>
                      <a:pt x="67628" y="7291"/>
                      <a:pt x="67569" y="7136"/>
                      <a:pt x="67509" y="6993"/>
                    </a:cubicBezTo>
                    <a:cubicBezTo>
                      <a:pt x="67402" y="6767"/>
                      <a:pt x="67307" y="6553"/>
                      <a:pt x="67200" y="6338"/>
                    </a:cubicBezTo>
                    <a:cubicBezTo>
                      <a:pt x="66640" y="5303"/>
                      <a:pt x="65854" y="4410"/>
                      <a:pt x="64902" y="3743"/>
                    </a:cubicBezTo>
                    <a:cubicBezTo>
                      <a:pt x="63985" y="3147"/>
                      <a:pt x="62973" y="2743"/>
                      <a:pt x="61937" y="2433"/>
                    </a:cubicBezTo>
                    <a:cubicBezTo>
                      <a:pt x="60270" y="1874"/>
                      <a:pt x="58484" y="2171"/>
                      <a:pt x="56782" y="1802"/>
                    </a:cubicBezTo>
                    <a:cubicBezTo>
                      <a:pt x="56667" y="1776"/>
                      <a:pt x="56550" y="1771"/>
                      <a:pt x="56433" y="1771"/>
                    </a:cubicBezTo>
                    <a:cubicBezTo>
                      <a:pt x="56344" y="1771"/>
                      <a:pt x="56255" y="1774"/>
                      <a:pt x="56166" y="1774"/>
                    </a:cubicBezTo>
                    <a:cubicBezTo>
                      <a:pt x="56102" y="1774"/>
                      <a:pt x="56037" y="1772"/>
                      <a:pt x="55972" y="1766"/>
                    </a:cubicBezTo>
                    <a:cubicBezTo>
                      <a:pt x="53376" y="1314"/>
                      <a:pt x="50757" y="1123"/>
                      <a:pt x="48150" y="838"/>
                    </a:cubicBezTo>
                    <a:cubicBezTo>
                      <a:pt x="46447" y="695"/>
                      <a:pt x="44756" y="516"/>
                      <a:pt x="43054" y="421"/>
                    </a:cubicBezTo>
                    <a:cubicBezTo>
                      <a:pt x="42613" y="326"/>
                      <a:pt x="42161" y="385"/>
                      <a:pt x="41708" y="326"/>
                    </a:cubicBezTo>
                    <a:cubicBezTo>
                      <a:pt x="41077" y="230"/>
                      <a:pt x="40422" y="314"/>
                      <a:pt x="39791" y="219"/>
                    </a:cubicBezTo>
                    <a:cubicBezTo>
                      <a:pt x="39160" y="183"/>
                      <a:pt x="38529" y="183"/>
                      <a:pt x="37910" y="159"/>
                    </a:cubicBezTo>
                    <a:cubicBezTo>
                      <a:pt x="36815" y="64"/>
                      <a:pt x="35707" y="111"/>
                      <a:pt x="34612" y="64"/>
                    </a:cubicBezTo>
                    <a:cubicBezTo>
                      <a:pt x="34129" y="17"/>
                      <a:pt x="33645" y="11"/>
                      <a:pt x="33162" y="11"/>
                    </a:cubicBezTo>
                    <a:cubicBezTo>
                      <a:pt x="33019" y="11"/>
                      <a:pt x="32877" y="12"/>
                      <a:pt x="32734" y="12"/>
                    </a:cubicBezTo>
                    <a:cubicBezTo>
                      <a:pt x="32503" y="12"/>
                      <a:pt x="32272" y="11"/>
                      <a:pt x="32040" y="4"/>
                    </a:cubicBezTo>
                    <a:cubicBezTo>
                      <a:pt x="31782" y="5"/>
                      <a:pt x="31524" y="6"/>
                      <a:pt x="31266" y="6"/>
                    </a:cubicBezTo>
                    <a:cubicBezTo>
                      <a:pt x="30411" y="6"/>
                      <a:pt x="29554" y="1"/>
                      <a:pt x="28697" y="1"/>
                    </a:cubicBezTo>
                    <a:close/>
                  </a:path>
                </a:pathLst>
              </a:custGeom>
              <a:solidFill>
                <a:srgbClr val="010101"/>
              </a:solidFill>
              <a:ln>
                <a:noFill/>
              </a:ln>
            </p:spPr>
            <p:txBody>
              <a:bodyPr spcFirstLastPara="1" wrap="square" lIns="121900" tIns="121900" rIns="121900" bIns="121900" anchor="ctr" anchorCtr="0">
                <a:noAutofit/>
              </a:bodyPr>
              <a:lstStyle/>
              <a:p>
                <a:pPr algn="ctr" defTabSz="1219054">
                  <a:defRPr/>
                </a:pPr>
                <a:r>
                  <a:rPr lang="ar-SA" sz="2667" b="1" dirty="0">
                    <a:latin typeface="Sakkal Majalla" panose="02000000000000000000" pitchFamily="2" charset="-78"/>
                    <a:ea typeface="맑은 고딕" panose="020B0503020000020004" pitchFamily="34" charset="-127"/>
                    <a:cs typeface="Sakkal Majalla" panose="02000000000000000000" pitchFamily="2" charset="-78"/>
                  </a:rPr>
                  <a:t>ما علاقة هذا</a:t>
                </a:r>
              </a:p>
              <a:p>
                <a:pPr algn="ctr" defTabSz="1219054">
                  <a:defRPr/>
                </a:pPr>
                <a:r>
                  <a:rPr lang="ar-SA" sz="2667" b="1" dirty="0">
                    <a:latin typeface="Sakkal Majalla" panose="02000000000000000000" pitchFamily="2" charset="-78"/>
                    <a:ea typeface="맑은 고딕" panose="020B0503020000020004" pitchFamily="34" charset="-127"/>
                    <a:cs typeface="Sakkal Majalla" panose="02000000000000000000" pitchFamily="2" charset="-78"/>
                  </a:rPr>
                  <a:t> ببرنامج تنمية القدرات البشرية؟؟</a:t>
                </a:r>
                <a:endParaRPr lang="en-US" sz="2667" dirty="0">
                  <a:latin typeface="Arial"/>
                </a:endParaRPr>
              </a:p>
            </p:txBody>
          </p:sp>
          <p:sp>
            <p:nvSpPr>
              <p:cNvPr id="19" name="Google Shape;1613;p33">
                <a:extLst>
                  <a:ext uri="{FF2B5EF4-FFF2-40B4-BE49-F238E27FC236}">
                    <a16:creationId xmlns:a16="http://schemas.microsoft.com/office/drawing/2014/main" id="{8D87B8C4-02CF-2046-B581-F263F79494CD}"/>
                  </a:ext>
                </a:extLst>
              </p:cNvPr>
              <p:cNvSpPr/>
              <p:nvPr/>
            </p:nvSpPr>
            <p:spPr>
              <a:xfrm>
                <a:off x="1370905" y="3219394"/>
                <a:ext cx="127156" cy="226872"/>
              </a:xfrm>
              <a:custGeom>
                <a:avLst/>
                <a:gdLst/>
                <a:ahLst/>
                <a:cxnLst/>
                <a:rect l="l" t="t" r="r" b="b"/>
                <a:pathLst>
                  <a:path w="6205" h="11071" extrusionOk="0">
                    <a:moveTo>
                      <a:pt x="5714" y="0"/>
                    </a:moveTo>
                    <a:cubicBezTo>
                      <a:pt x="5695" y="0"/>
                      <a:pt x="5676" y="2"/>
                      <a:pt x="5656" y="5"/>
                    </a:cubicBezTo>
                    <a:cubicBezTo>
                      <a:pt x="5061" y="148"/>
                      <a:pt x="4573" y="541"/>
                      <a:pt x="4109" y="922"/>
                    </a:cubicBezTo>
                    <a:cubicBezTo>
                      <a:pt x="2858" y="2005"/>
                      <a:pt x="2001" y="3458"/>
                      <a:pt x="1346" y="4946"/>
                    </a:cubicBezTo>
                    <a:cubicBezTo>
                      <a:pt x="620" y="6649"/>
                      <a:pt x="1" y="8458"/>
                      <a:pt x="49" y="10340"/>
                    </a:cubicBezTo>
                    <a:cubicBezTo>
                      <a:pt x="72" y="10649"/>
                      <a:pt x="251" y="10983"/>
                      <a:pt x="584" y="11054"/>
                    </a:cubicBezTo>
                    <a:cubicBezTo>
                      <a:pt x="628" y="11066"/>
                      <a:pt x="671" y="11071"/>
                      <a:pt x="713" y="11071"/>
                    </a:cubicBezTo>
                    <a:cubicBezTo>
                      <a:pt x="1019" y="11071"/>
                      <a:pt x="1288" y="10789"/>
                      <a:pt x="1382" y="10506"/>
                    </a:cubicBezTo>
                    <a:cubicBezTo>
                      <a:pt x="1775" y="9482"/>
                      <a:pt x="1918" y="8375"/>
                      <a:pt x="2216" y="7315"/>
                    </a:cubicBezTo>
                    <a:cubicBezTo>
                      <a:pt x="2918" y="4863"/>
                      <a:pt x="4275" y="2648"/>
                      <a:pt x="5978" y="767"/>
                    </a:cubicBezTo>
                    <a:cubicBezTo>
                      <a:pt x="6180" y="588"/>
                      <a:pt x="6204" y="303"/>
                      <a:pt x="6049" y="88"/>
                    </a:cubicBezTo>
                    <a:cubicBezTo>
                      <a:pt x="5936" y="58"/>
                      <a:pt x="5832" y="0"/>
                      <a:pt x="5714" y="0"/>
                    </a:cubicBezTo>
                    <a:close/>
                  </a:path>
                </a:pathLst>
              </a:custGeom>
              <a:solidFill>
                <a:srgbClr val="010101"/>
              </a:solidFill>
              <a:ln>
                <a:noFill/>
              </a:ln>
            </p:spPr>
            <p:txBody>
              <a:bodyPr spcFirstLastPara="1" wrap="square" lIns="121900" tIns="121900" rIns="121900" bIns="121900" anchor="ctr" anchorCtr="0">
                <a:noAutofit/>
              </a:bodyPr>
              <a:lstStyle/>
              <a:p>
                <a:pPr defTabSz="1219139">
                  <a:defRPr/>
                </a:pPr>
                <a:endParaRPr sz="2133" kern="0">
                  <a:solidFill>
                    <a:sysClr val="windowText" lastClr="000000"/>
                  </a:solidFill>
                  <a:latin typeface="Calibri" panose="020F0502020204030204"/>
                </a:endParaRPr>
              </a:p>
            </p:txBody>
          </p:sp>
          <p:sp>
            <p:nvSpPr>
              <p:cNvPr id="20" name="Google Shape;1614;p33">
                <a:extLst>
                  <a:ext uri="{FF2B5EF4-FFF2-40B4-BE49-F238E27FC236}">
                    <a16:creationId xmlns:a16="http://schemas.microsoft.com/office/drawing/2014/main" id="{5C590027-61FC-9DEC-6C89-32BFCD8CE5FD}"/>
                  </a:ext>
                </a:extLst>
              </p:cNvPr>
              <p:cNvSpPr/>
              <p:nvPr/>
            </p:nvSpPr>
            <p:spPr>
              <a:xfrm>
                <a:off x="1343830" y="3528498"/>
                <a:ext cx="33936" cy="129922"/>
              </a:xfrm>
              <a:custGeom>
                <a:avLst/>
                <a:gdLst/>
                <a:ahLst/>
                <a:cxnLst/>
                <a:rect l="l" t="t" r="r" b="b"/>
                <a:pathLst>
                  <a:path w="1656" h="6340" extrusionOk="0">
                    <a:moveTo>
                      <a:pt x="921" y="0"/>
                    </a:moveTo>
                    <a:cubicBezTo>
                      <a:pt x="797" y="0"/>
                      <a:pt x="671" y="54"/>
                      <a:pt x="596" y="152"/>
                    </a:cubicBezTo>
                    <a:cubicBezTo>
                      <a:pt x="274" y="509"/>
                      <a:pt x="179" y="1009"/>
                      <a:pt x="108" y="1462"/>
                    </a:cubicBezTo>
                    <a:cubicBezTo>
                      <a:pt x="1" y="2629"/>
                      <a:pt x="143" y="3795"/>
                      <a:pt x="322" y="4950"/>
                    </a:cubicBezTo>
                    <a:cubicBezTo>
                      <a:pt x="417" y="5391"/>
                      <a:pt x="477" y="5891"/>
                      <a:pt x="822" y="6212"/>
                    </a:cubicBezTo>
                    <a:cubicBezTo>
                      <a:pt x="905" y="6300"/>
                      <a:pt x="1019" y="6339"/>
                      <a:pt x="1135" y="6339"/>
                    </a:cubicBezTo>
                    <a:cubicBezTo>
                      <a:pt x="1366" y="6339"/>
                      <a:pt x="1604" y="6181"/>
                      <a:pt x="1620" y="5927"/>
                    </a:cubicBezTo>
                    <a:cubicBezTo>
                      <a:pt x="1656" y="5427"/>
                      <a:pt x="1608" y="4915"/>
                      <a:pt x="1596" y="4403"/>
                    </a:cubicBezTo>
                    <a:cubicBezTo>
                      <a:pt x="1489" y="3522"/>
                      <a:pt x="1536" y="2617"/>
                      <a:pt x="1489" y="1724"/>
                    </a:cubicBezTo>
                    <a:cubicBezTo>
                      <a:pt x="1417" y="1212"/>
                      <a:pt x="1465" y="664"/>
                      <a:pt x="1239" y="188"/>
                    </a:cubicBezTo>
                    <a:cubicBezTo>
                      <a:pt x="1178" y="60"/>
                      <a:pt x="1051" y="0"/>
                      <a:pt x="921" y="0"/>
                    </a:cubicBezTo>
                    <a:close/>
                  </a:path>
                </a:pathLst>
              </a:custGeom>
              <a:solidFill>
                <a:srgbClr val="010101"/>
              </a:solidFill>
              <a:ln>
                <a:noFill/>
              </a:ln>
            </p:spPr>
            <p:txBody>
              <a:bodyPr spcFirstLastPara="1" wrap="square" lIns="121900" tIns="121900" rIns="121900" bIns="121900" anchor="ctr" anchorCtr="0">
                <a:noAutofit/>
              </a:bodyPr>
              <a:lstStyle/>
              <a:p>
                <a:pPr defTabSz="1219139">
                  <a:defRPr/>
                </a:pPr>
                <a:endParaRPr sz="2133" kern="0">
                  <a:solidFill>
                    <a:sysClr val="windowText" lastClr="000000"/>
                  </a:solidFill>
                  <a:latin typeface="Calibri" panose="020F0502020204030204"/>
                </a:endParaRPr>
              </a:p>
            </p:txBody>
          </p:sp>
          <p:sp>
            <p:nvSpPr>
              <p:cNvPr id="21" name="Google Shape;1615;p33">
                <a:extLst>
                  <a:ext uri="{FF2B5EF4-FFF2-40B4-BE49-F238E27FC236}">
                    <a16:creationId xmlns:a16="http://schemas.microsoft.com/office/drawing/2014/main" id="{9FE4DC86-4802-EE7C-4671-28C85925F27A}"/>
                  </a:ext>
                </a:extLst>
              </p:cNvPr>
              <p:cNvSpPr/>
              <p:nvPr/>
            </p:nvSpPr>
            <p:spPr>
              <a:xfrm>
                <a:off x="2986723" y="3995691"/>
                <a:ext cx="248656" cy="32706"/>
              </a:xfrm>
              <a:custGeom>
                <a:avLst/>
                <a:gdLst/>
                <a:ahLst/>
                <a:cxnLst/>
                <a:rect l="l" t="t" r="r" b="b"/>
                <a:pathLst>
                  <a:path w="12134" h="1596" extrusionOk="0">
                    <a:moveTo>
                      <a:pt x="621" y="1"/>
                    </a:moveTo>
                    <a:cubicBezTo>
                      <a:pt x="452" y="1"/>
                      <a:pt x="292" y="46"/>
                      <a:pt x="132" y="110"/>
                    </a:cubicBezTo>
                    <a:cubicBezTo>
                      <a:pt x="60" y="253"/>
                      <a:pt x="1" y="420"/>
                      <a:pt x="144" y="550"/>
                    </a:cubicBezTo>
                    <a:cubicBezTo>
                      <a:pt x="453" y="836"/>
                      <a:pt x="882" y="920"/>
                      <a:pt x="1275" y="1015"/>
                    </a:cubicBezTo>
                    <a:cubicBezTo>
                      <a:pt x="3347" y="1442"/>
                      <a:pt x="5474" y="1595"/>
                      <a:pt x="7599" y="1595"/>
                    </a:cubicBezTo>
                    <a:cubicBezTo>
                      <a:pt x="7904" y="1595"/>
                      <a:pt x="8209" y="1592"/>
                      <a:pt x="8514" y="1586"/>
                    </a:cubicBezTo>
                    <a:cubicBezTo>
                      <a:pt x="9490" y="1515"/>
                      <a:pt x="10466" y="1432"/>
                      <a:pt x="11431" y="1312"/>
                    </a:cubicBezTo>
                    <a:cubicBezTo>
                      <a:pt x="11717" y="1289"/>
                      <a:pt x="12086" y="1158"/>
                      <a:pt x="12098" y="836"/>
                    </a:cubicBezTo>
                    <a:cubicBezTo>
                      <a:pt x="12133" y="515"/>
                      <a:pt x="11824" y="312"/>
                      <a:pt x="11538" y="289"/>
                    </a:cubicBezTo>
                    <a:cubicBezTo>
                      <a:pt x="11110" y="250"/>
                      <a:pt x="10680" y="239"/>
                      <a:pt x="10249" y="239"/>
                    </a:cubicBezTo>
                    <a:cubicBezTo>
                      <a:pt x="9757" y="239"/>
                      <a:pt x="9265" y="253"/>
                      <a:pt x="8776" y="253"/>
                    </a:cubicBezTo>
                    <a:cubicBezTo>
                      <a:pt x="8261" y="253"/>
                      <a:pt x="7747" y="308"/>
                      <a:pt x="7233" y="308"/>
                    </a:cubicBezTo>
                    <a:cubicBezTo>
                      <a:pt x="7033" y="308"/>
                      <a:pt x="6833" y="300"/>
                      <a:pt x="6633" y="277"/>
                    </a:cubicBezTo>
                    <a:cubicBezTo>
                      <a:pt x="4644" y="253"/>
                      <a:pt x="2668" y="86"/>
                      <a:pt x="679" y="3"/>
                    </a:cubicBezTo>
                    <a:cubicBezTo>
                      <a:pt x="660" y="2"/>
                      <a:pt x="640" y="1"/>
                      <a:pt x="621" y="1"/>
                    </a:cubicBezTo>
                    <a:close/>
                  </a:path>
                </a:pathLst>
              </a:custGeom>
              <a:solidFill>
                <a:srgbClr val="010101"/>
              </a:solidFill>
              <a:ln>
                <a:noFill/>
              </a:ln>
            </p:spPr>
            <p:txBody>
              <a:bodyPr spcFirstLastPara="1" wrap="square" lIns="121900" tIns="121900" rIns="121900" bIns="121900" anchor="ctr" anchorCtr="0">
                <a:noAutofit/>
              </a:bodyPr>
              <a:lstStyle/>
              <a:p>
                <a:pPr defTabSz="1219139">
                  <a:defRPr/>
                </a:pPr>
                <a:endParaRPr sz="2133" kern="0">
                  <a:solidFill>
                    <a:sysClr val="windowText" lastClr="000000"/>
                  </a:solidFill>
                  <a:latin typeface="Calibri" panose="020F0502020204030204"/>
                </a:endParaRPr>
              </a:p>
            </p:txBody>
          </p:sp>
          <p:sp>
            <p:nvSpPr>
              <p:cNvPr id="22" name="Google Shape;1616;p33">
                <a:extLst>
                  <a:ext uri="{FF2B5EF4-FFF2-40B4-BE49-F238E27FC236}">
                    <a16:creationId xmlns:a16="http://schemas.microsoft.com/office/drawing/2014/main" id="{541206A3-5931-B32D-C55E-7D5193537830}"/>
                  </a:ext>
                </a:extLst>
              </p:cNvPr>
              <p:cNvSpPr/>
              <p:nvPr/>
            </p:nvSpPr>
            <p:spPr>
              <a:xfrm>
                <a:off x="3268800" y="3995035"/>
                <a:ext cx="102729" cy="35268"/>
              </a:xfrm>
              <a:custGeom>
                <a:avLst/>
                <a:gdLst/>
                <a:ahLst/>
                <a:cxnLst/>
                <a:rect l="l" t="t" r="r" b="b"/>
                <a:pathLst>
                  <a:path w="5013" h="1721" extrusionOk="0">
                    <a:moveTo>
                      <a:pt x="3946" y="1"/>
                    </a:moveTo>
                    <a:cubicBezTo>
                      <a:pt x="3393" y="1"/>
                      <a:pt x="2842" y="114"/>
                      <a:pt x="2298" y="142"/>
                    </a:cubicBezTo>
                    <a:cubicBezTo>
                      <a:pt x="1667" y="237"/>
                      <a:pt x="1036" y="285"/>
                      <a:pt x="441" y="475"/>
                    </a:cubicBezTo>
                    <a:cubicBezTo>
                      <a:pt x="143" y="559"/>
                      <a:pt x="0" y="952"/>
                      <a:pt x="215" y="1190"/>
                    </a:cubicBezTo>
                    <a:cubicBezTo>
                      <a:pt x="453" y="1487"/>
                      <a:pt x="858" y="1595"/>
                      <a:pt x="1227" y="1678"/>
                    </a:cubicBezTo>
                    <a:cubicBezTo>
                      <a:pt x="1401" y="1708"/>
                      <a:pt x="1574" y="1721"/>
                      <a:pt x="1748" y="1721"/>
                    </a:cubicBezTo>
                    <a:cubicBezTo>
                      <a:pt x="2546" y="1721"/>
                      <a:pt x="3335" y="1443"/>
                      <a:pt x="4108" y="1237"/>
                    </a:cubicBezTo>
                    <a:cubicBezTo>
                      <a:pt x="4418" y="1130"/>
                      <a:pt x="4846" y="1047"/>
                      <a:pt x="4930" y="678"/>
                    </a:cubicBezTo>
                    <a:cubicBezTo>
                      <a:pt x="5013" y="356"/>
                      <a:pt x="4739" y="71"/>
                      <a:pt x="4430" y="35"/>
                    </a:cubicBezTo>
                    <a:cubicBezTo>
                      <a:pt x="4268" y="11"/>
                      <a:pt x="4107" y="1"/>
                      <a:pt x="3946" y="1"/>
                    </a:cubicBezTo>
                    <a:close/>
                  </a:path>
                </a:pathLst>
              </a:custGeom>
              <a:solidFill>
                <a:srgbClr val="010101"/>
              </a:solidFill>
              <a:ln>
                <a:noFill/>
              </a:ln>
            </p:spPr>
            <p:txBody>
              <a:bodyPr spcFirstLastPara="1" wrap="square" lIns="121900" tIns="121900" rIns="121900" bIns="121900" anchor="ctr" anchorCtr="0">
                <a:noAutofit/>
              </a:bodyPr>
              <a:lstStyle/>
              <a:p>
                <a:pPr defTabSz="1219139">
                  <a:defRPr/>
                </a:pPr>
                <a:endParaRPr sz="2133" kern="0">
                  <a:solidFill>
                    <a:sysClr val="windowText" lastClr="000000"/>
                  </a:solidFill>
                  <a:latin typeface="Calibri" panose="020F0502020204030204"/>
                </a:endParaRPr>
              </a:p>
            </p:txBody>
          </p:sp>
        </p:grpSp>
        <p:grpSp>
          <p:nvGrpSpPr>
            <p:cNvPr id="7" name="Google Shape;1617;p33">
              <a:extLst>
                <a:ext uri="{FF2B5EF4-FFF2-40B4-BE49-F238E27FC236}">
                  <a16:creationId xmlns:a16="http://schemas.microsoft.com/office/drawing/2014/main" id="{B9E7FDC5-DC48-AB9D-92F2-EDEF29971F4A}"/>
                </a:ext>
              </a:extLst>
            </p:cNvPr>
            <p:cNvGrpSpPr/>
            <p:nvPr/>
          </p:nvGrpSpPr>
          <p:grpSpPr>
            <a:xfrm>
              <a:off x="3396098" y="3764837"/>
              <a:ext cx="734902" cy="694839"/>
              <a:chOff x="3205598" y="3612437"/>
              <a:chExt cx="734902" cy="694839"/>
            </a:xfrm>
          </p:grpSpPr>
          <p:sp>
            <p:nvSpPr>
              <p:cNvPr id="8" name="Google Shape;1618;p33">
                <a:extLst>
                  <a:ext uri="{FF2B5EF4-FFF2-40B4-BE49-F238E27FC236}">
                    <a16:creationId xmlns:a16="http://schemas.microsoft.com/office/drawing/2014/main" id="{6520F8FC-7A26-E742-8754-47F1BEF1C3F3}"/>
                  </a:ext>
                </a:extLst>
              </p:cNvPr>
              <p:cNvSpPr/>
              <p:nvPr/>
            </p:nvSpPr>
            <p:spPr>
              <a:xfrm>
                <a:off x="3205598" y="3612478"/>
                <a:ext cx="734902" cy="694798"/>
              </a:xfrm>
              <a:custGeom>
                <a:avLst/>
                <a:gdLst/>
                <a:ahLst/>
                <a:cxnLst/>
                <a:rect l="l" t="t" r="r" b="b"/>
                <a:pathLst>
                  <a:path w="35862" h="33905" extrusionOk="0">
                    <a:moveTo>
                      <a:pt x="17087" y="0"/>
                    </a:moveTo>
                    <a:cubicBezTo>
                      <a:pt x="16972" y="0"/>
                      <a:pt x="16856" y="1"/>
                      <a:pt x="16740" y="4"/>
                    </a:cubicBezTo>
                    <a:cubicBezTo>
                      <a:pt x="14728" y="28"/>
                      <a:pt x="12716" y="540"/>
                      <a:pt x="10942" y="1480"/>
                    </a:cubicBezTo>
                    <a:cubicBezTo>
                      <a:pt x="9716" y="2147"/>
                      <a:pt x="8608" y="2981"/>
                      <a:pt x="7525" y="3850"/>
                    </a:cubicBezTo>
                    <a:cubicBezTo>
                      <a:pt x="5263" y="5707"/>
                      <a:pt x="3179" y="7850"/>
                      <a:pt x="1727" y="10410"/>
                    </a:cubicBezTo>
                    <a:cubicBezTo>
                      <a:pt x="893" y="11863"/>
                      <a:pt x="417" y="13494"/>
                      <a:pt x="286" y="15161"/>
                    </a:cubicBezTo>
                    <a:cubicBezTo>
                      <a:pt x="107" y="16220"/>
                      <a:pt x="0" y="17292"/>
                      <a:pt x="48" y="18363"/>
                    </a:cubicBezTo>
                    <a:cubicBezTo>
                      <a:pt x="155" y="20638"/>
                      <a:pt x="619" y="22924"/>
                      <a:pt x="1655" y="24971"/>
                    </a:cubicBezTo>
                    <a:cubicBezTo>
                      <a:pt x="2358" y="26376"/>
                      <a:pt x="3358" y="27627"/>
                      <a:pt x="4501" y="28698"/>
                    </a:cubicBezTo>
                    <a:cubicBezTo>
                      <a:pt x="6918" y="30960"/>
                      <a:pt x="9942" y="32544"/>
                      <a:pt x="13157" y="33306"/>
                    </a:cubicBezTo>
                    <a:cubicBezTo>
                      <a:pt x="14774" y="33699"/>
                      <a:pt x="16441" y="33905"/>
                      <a:pt x="18107" y="33905"/>
                    </a:cubicBezTo>
                    <a:cubicBezTo>
                      <a:pt x="20071" y="33905"/>
                      <a:pt x="22033" y="33619"/>
                      <a:pt x="23908" y="33020"/>
                    </a:cubicBezTo>
                    <a:cubicBezTo>
                      <a:pt x="27027" y="32032"/>
                      <a:pt x="29837" y="30163"/>
                      <a:pt x="32052" y="27758"/>
                    </a:cubicBezTo>
                    <a:cubicBezTo>
                      <a:pt x="34207" y="25424"/>
                      <a:pt x="35636" y="22364"/>
                      <a:pt x="35707" y="19173"/>
                    </a:cubicBezTo>
                    <a:cubicBezTo>
                      <a:pt x="35862" y="15827"/>
                      <a:pt x="34945" y="12482"/>
                      <a:pt x="33314" y="9589"/>
                    </a:cubicBezTo>
                    <a:cubicBezTo>
                      <a:pt x="31790" y="6862"/>
                      <a:pt x="29516" y="4588"/>
                      <a:pt x="26849" y="2969"/>
                    </a:cubicBezTo>
                    <a:cubicBezTo>
                      <a:pt x="23922" y="1195"/>
                      <a:pt x="20539" y="0"/>
                      <a:pt x="17087" y="0"/>
                    </a:cubicBezTo>
                    <a:close/>
                  </a:path>
                </a:pathLst>
              </a:custGeom>
              <a:solidFill>
                <a:srgbClr val="5EB2FC"/>
              </a:solidFill>
              <a:ln>
                <a:noFill/>
              </a:ln>
            </p:spPr>
            <p:txBody>
              <a:bodyPr spcFirstLastPara="1" wrap="square" lIns="121900" tIns="121900" rIns="121900" bIns="121900" anchor="ctr" anchorCtr="0">
                <a:noAutofit/>
              </a:bodyPr>
              <a:lstStyle/>
              <a:p>
                <a:pPr defTabSz="1219139">
                  <a:defRPr/>
                </a:pPr>
                <a:endParaRPr sz="2400" kern="0">
                  <a:solidFill>
                    <a:sysClr val="windowText" lastClr="000000"/>
                  </a:solidFill>
                  <a:latin typeface="Calibri" panose="020F0502020204030204"/>
                </a:endParaRPr>
              </a:p>
            </p:txBody>
          </p:sp>
          <p:sp>
            <p:nvSpPr>
              <p:cNvPr id="9" name="Google Shape;1619;p33">
                <a:extLst>
                  <a:ext uri="{FF2B5EF4-FFF2-40B4-BE49-F238E27FC236}">
                    <a16:creationId xmlns:a16="http://schemas.microsoft.com/office/drawing/2014/main" id="{C58BD381-590D-16E0-ADCC-CCC7749CB378}"/>
                  </a:ext>
                </a:extLst>
              </p:cNvPr>
              <p:cNvSpPr/>
              <p:nvPr/>
            </p:nvSpPr>
            <p:spPr>
              <a:xfrm>
                <a:off x="3205598" y="3612437"/>
                <a:ext cx="733939" cy="694839"/>
              </a:xfrm>
              <a:custGeom>
                <a:avLst/>
                <a:gdLst/>
                <a:ahLst/>
                <a:cxnLst/>
                <a:rect l="l" t="t" r="r" b="b"/>
                <a:pathLst>
                  <a:path w="35815" h="33907" extrusionOk="0">
                    <a:moveTo>
                      <a:pt x="16955" y="1809"/>
                    </a:moveTo>
                    <a:cubicBezTo>
                      <a:pt x="17765" y="1857"/>
                      <a:pt x="18574" y="1880"/>
                      <a:pt x="19384" y="1999"/>
                    </a:cubicBezTo>
                    <a:cubicBezTo>
                      <a:pt x="22885" y="2559"/>
                      <a:pt x="26218" y="4178"/>
                      <a:pt x="28826" y="6595"/>
                    </a:cubicBezTo>
                    <a:cubicBezTo>
                      <a:pt x="31326" y="8953"/>
                      <a:pt x="33172" y="12060"/>
                      <a:pt x="33838" y="15453"/>
                    </a:cubicBezTo>
                    <a:cubicBezTo>
                      <a:pt x="33922" y="15834"/>
                      <a:pt x="33993" y="16215"/>
                      <a:pt x="34005" y="16608"/>
                    </a:cubicBezTo>
                    <a:lnTo>
                      <a:pt x="34041" y="16668"/>
                    </a:lnTo>
                    <a:cubicBezTo>
                      <a:pt x="34088" y="17775"/>
                      <a:pt x="34148" y="18894"/>
                      <a:pt x="33969" y="19990"/>
                    </a:cubicBezTo>
                    <a:cubicBezTo>
                      <a:pt x="33695" y="21871"/>
                      <a:pt x="32957" y="23657"/>
                      <a:pt x="31874" y="25205"/>
                    </a:cubicBezTo>
                    <a:cubicBezTo>
                      <a:pt x="30981" y="26455"/>
                      <a:pt x="29909" y="27574"/>
                      <a:pt x="28695" y="28526"/>
                    </a:cubicBezTo>
                    <a:cubicBezTo>
                      <a:pt x="26302" y="30467"/>
                      <a:pt x="23313" y="31658"/>
                      <a:pt x="20229" y="31884"/>
                    </a:cubicBezTo>
                    <a:cubicBezTo>
                      <a:pt x="19866" y="31938"/>
                      <a:pt x="19497" y="31949"/>
                      <a:pt x="19127" y="31949"/>
                    </a:cubicBezTo>
                    <a:cubicBezTo>
                      <a:pt x="18830" y="31949"/>
                      <a:pt x="18533" y="31942"/>
                      <a:pt x="18237" y="31942"/>
                    </a:cubicBezTo>
                    <a:cubicBezTo>
                      <a:pt x="18163" y="31942"/>
                      <a:pt x="18089" y="31942"/>
                      <a:pt x="18015" y="31944"/>
                    </a:cubicBezTo>
                    <a:cubicBezTo>
                      <a:pt x="17658" y="31932"/>
                      <a:pt x="17300" y="31955"/>
                      <a:pt x="16955" y="31884"/>
                    </a:cubicBezTo>
                    <a:cubicBezTo>
                      <a:pt x="13467" y="31610"/>
                      <a:pt x="10014" y="30408"/>
                      <a:pt x="7204" y="28288"/>
                    </a:cubicBezTo>
                    <a:cubicBezTo>
                      <a:pt x="6025" y="27383"/>
                      <a:pt x="4942" y="26312"/>
                      <a:pt x="4156" y="25026"/>
                    </a:cubicBezTo>
                    <a:cubicBezTo>
                      <a:pt x="3287" y="23585"/>
                      <a:pt x="2763" y="21954"/>
                      <a:pt x="2465" y="20311"/>
                    </a:cubicBezTo>
                    <a:lnTo>
                      <a:pt x="2430" y="20264"/>
                    </a:lnTo>
                    <a:cubicBezTo>
                      <a:pt x="2299" y="19382"/>
                      <a:pt x="2132" y="18501"/>
                      <a:pt x="2120" y="17608"/>
                    </a:cubicBezTo>
                    <a:cubicBezTo>
                      <a:pt x="2072" y="17096"/>
                      <a:pt x="2037" y="16585"/>
                      <a:pt x="2108" y="16073"/>
                    </a:cubicBezTo>
                    <a:cubicBezTo>
                      <a:pt x="2132" y="15715"/>
                      <a:pt x="2120" y="15358"/>
                      <a:pt x="2191" y="15001"/>
                    </a:cubicBezTo>
                    <a:cubicBezTo>
                      <a:pt x="2311" y="14108"/>
                      <a:pt x="2477" y="13203"/>
                      <a:pt x="2822" y="12358"/>
                    </a:cubicBezTo>
                    <a:cubicBezTo>
                      <a:pt x="3013" y="11893"/>
                      <a:pt x="3287" y="11441"/>
                      <a:pt x="3287" y="10917"/>
                    </a:cubicBezTo>
                    <a:cubicBezTo>
                      <a:pt x="4275" y="9405"/>
                      <a:pt x="5513" y="8060"/>
                      <a:pt x="6811" y="6809"/>
                    </a:cubicBezTo>
                    <a:cubicBezTo>
                      <a:pt x="8061" y="5643"/>
                      <a:pt x="9407" y="4559"/>
                      <a:pt x="10847" y="3642"/>
                    </a:cubicBezTo>
                    <a:cubicBezTo>
                      <a:pt x="12205" y="2761"/>
                      <a:pt x="13752" y="2190"/>
                      <a:pt x="15348" y="1964"/>
                    </a:cubicBezTo>
                    <a:cubicBezTo>
                      <a:pt x="15872" y="1857"/>
                      <a:pt x="16419" y="1868"/>
                      <a:pt x="16955" y="1809"/>
                    </a:cubicBezTo>
                    <a:close/>
                    <a:moveTo>
                      <a:pt x="17104" y="0"/>
                    </a:moveTo>
                    <a:cubicBezTo>
                      <a:pt x="16454" y="0"/>
                      <a:pt x="15804" y="42"/>
                      <a:pt x="15157" y="130"/>
                    </a:cubicBezTo>
                    <a:cubicBezTo>
                      <a:pt x="14336" y="273"/>
                      <a:pt x="13514" y="452"/>
                      <a:pt x="12717" y="737"/>
                    </a:cubicBezTo>
                    <a:cubicBezTo>
                      <a:pt x="11478" y="1166"/>
                      <a:pt x="10323" y="1821"/>
                      <a:pt x="9264" y="2583"/>
                    </a:cubicBezTo>
                    <a:cubicBezTo>
                      <a:pt x="7645" y="3726"/>
                      <a:pt x="6132" y="5035"/>
                      <a:pt x="4775" y="6464"/>
                    </a:cubicBezTo>
                    <a:cubicBezTo>
                      <a:pt x="3680" y="7619"/>
                      <a:pt x="2680" y="8869"/>
                      <a:pt x="1882" y="10250"/>
                    </a:cubicBezTo>
                    <a:cubicBezTo>
                      <a:pt x="977" y="11762"/>
                      <a:pt x="465" y="13501"/>
                      <a:pt x="334" y="15263"/>
                    </a:cubicBezTo>
                    <a:cubicBezTo>
                      <a:pt x="1" y="16966"/>
                      <a:pt x="48" y="18728"/>
                      <a:pt x="310" y="20442"/>
                    </a:cubicBezTo>
                    <a:cubicBezTo>
                      <a:pt x="346" y="20609"/>
                      <a:pt x="370" y="20787"/>
                      <a:pt x="394" y="20966"/>
                    </a:cubicBezTo>
                    <a:cubicBezTo>
                      <a:pt x="429" y="21109"/>
                      <a:pt x="465" y="21264"/>
                      <a:pt x="489" y="21418"/>
                    </a:cubicBezTo>
                    <a:cubicBezTo>
                      <a:pt x="572" y="21776"/>
                      <a:pt x="656" y="22133"/>
                      <a:pt x="751" y="22478"/>
                    </a:cubicBezTo>
                    <a:cubicBezTo>
                      <a:pt x="941" y="23109"/>
                      <a:pt x="1144" y="23728"/>
                      <a:pt x="1406" y="24324"/>
                    </a:cubicBezTo>
                    <a:cubicBezTo>
                      <a:pt x="1858" y="25359"/>
                      <a:pt x="2441" y="26324"/>
                      <a:pt x="3156" y="27193"/>
                    </a:cubicBezTo>
                    <a:cubicBezTo>
                      <a:pt x="5168" y="29669"/>
                      <a:pt x="7918" y="31491"/>
                      <a:pt x="10895" y="32622"/>
                    </a:cubicBezTo>
                    <a:cubicBezTo>
                      <a:pt x="12705" y="33265"/>
                      <a:pt x="14598" y="33718"/>
                      <a:pt x="16515" y="33837"/>
                    </a:cubicBezTo>
                    <a:cubicBezTo>
                      <a:pt x="17042" y="33888"/>
                      <a:pt x="17569" y="33907"/>
                      <a:pt x="18096" y="33907"/>
                    </a:cubicBezTo>
                    <a:cubicBezTo>
                      <a:pt x="18664" y="33907"/>
                      <a:pt x="19232" y="33885"/>
                      <a:pt x="19801" y="33860"/>
                    </a:cubicBezTo>
                    <a:cubicBezTo>
                      <a:pt x="20456" y="33777"/>
                      <a:pt x="21110" y="33706"/>
                      <a:pt x="21753" y="33587"/>
                    </a:cubicBezTo>
                    <a:cubicBezTo>
                      <a:pt x="21908" y="33551"/>
                      <a:pt x="22051" y="33527"/>
                      <a:pt x="22206" y="33503"/>
                    </a:cubicBezTo>
                    <a:cubicBezTo>
                      <a:pt x="22777" y="33372"/>
                      <a:pt x="23337" y="33241"/>
                      <a:pt x="23897" y="33063"/>
                    </a:cubicBezTo>
                    <a:cubicBezTo>
                      <a:pt x="26290" y="32313"/>
                      <a:pt x="28492" y="31039"/>
                      <a:pt x="30397" y="29419"/>
                    </a:cubicBezTo>
                    <a:cubicBezTo>
                      <a:pt x="31719" y="28288"/>
                      <a:pt x="32921" y="26991"/>
                      <a:pt x="33838" y="25490"/>
                    </a:cubicBezTo>
                    <a:cubicBezTo>
                      <a:pt x="34755" y="24038"/>
                      <a:pt x="35350" y="22395"/>
                      <a:pt x="35636" y="20704"/>
                    </a:cubicBezTo>
                    <a:cubicBezTo>
                      <a:pt x="35755" y="19990"/>
                      <a:pt x="35755" y="19275"/>
                      <a:pt x="35815" y="18549"/>
                    </a:cubicBezTo>
                    <a:cubicBezTo>
                      <a:pt x="35755" y="17751"/>
                      <a:pt x="35767" y="16942"/>
                      <a:pt x="35636" y="16144"/>
                    </a:cubicBezTo>
                    <a:cubicBezTo>
                      <a:pt x="35255" y="13679"/>
                      <a:pt x="34422" y="11274"/>
                      <a:pt x="33124" y="9143"/>
                    </a:cubicBezTo>
                    <a:cubicBezTo>
                      <a:pt x="31397" y="6250"/>
                      <a:pt x="28802" y="3940"/>
                      <a:pt x="25837" y="2368"/>
                    </a:cubicBezTo>
                    <a:cubicBezTo>
                      <a:pt x="24206" y="1511"/>
                      <a:pt x="22492" y="797"/>
                      <a:pt x="20682" y="416"/>
                    </a:cubicBezTo>
                    <a:cubicBezTo>
                      <a:pt x="19507" y="145"/>
                      <a:pt x="18306" y="0"/>
                      <a:pt x="17104" y="0"/>
                    </a:cubicBezTo>
                    <a:close/>
                  </a:path>
                </a:pathLst>
              </a:custGeom>
              <a:solidFill>
                <a:srgbClr val="030303"/>
              </a:solidFill>
              <a:ln>
                <a:noFill/>
              </a:ln>
            </p:spPr>
            <p:txBody>
              <a:bodyPr spcFirstLastPara="1" wrap="square" lIns="121900" tIns="121900" rIns="121900" bIns="121900" anchor="ctr" anchorCtr="0">
                <a:noAutofit/>
              </a:bodyPr>
              <a:lstStyle/>
              <a:p>
                <a:pPr defTabSz="1219139">
                  <a:defRPr/>
                </a:pPr>
                <a:endParaRPr sz="2400" kern="0">
                  <a:solidFill>
                    <a:sysClr val="windowText" lastClr="000000"/>
                  </a:solidFill>
                  <a:latin typeface="Calibri" panose="020F0502020204030204"/>
                </a:endParaRPr>
              </a:p>
            </p:txBody>
          </p:sp>
          <p:grpSp>
            <p:nvGrpSpPr>
              <p:cNvPr id="10" name="Google Shape;1620;p33">
                <a:extLst>
                  <a:ext uri="{FF2B5EF4-FFF2-40B4-BE49-F238E27FC236}">
                    <a16:creationId xmlns:a16="http://schemas.microsoft.com/office/drawing/2014/main" id="{B43C719F-9AFF-5F91-FD75-1DA144AA838A}"/>
                  </a:ext>
                </a:extLst>
              </p:cNvPr>
              <p:cNvGrpSpPr/>
              <p:nvPr/>
            </p:nvGrpSpPr>
            <p:grpSpPr>
              <a:xfrm>
                <a:off x="3275625" y="3711402"/>
                <a:ext cx="567325" cy="500591"/>
                <a:chOff x="3275625" y="3711402"/>
                <a:chExt cx="567325" cy="500591"/>
              </a:xfrm>
            </p:grpSpPr>
            <p:sp>
              <p:nvSpPr>
                <p:cNvPr id="11" name="Google Shape;1621;p33">
                  <a:extLst>
                    <a:ext uri="{FF2B5EF4-FFF2-40B4-BE49-F238E27FC236}">
                      <a16:creationId xmlns:a16="http://schemas.microsoft.com/office/drawing/2014/main" id="{26925F05-F762-1F93-8078-598D4389B998}"/>
                    </a:ext>
                  </a:extLst>
                </p:cNvPr>
                <p:cNvSpPr/>
                <p:nvPr/>
              </p:nvSpPr>
              <p:spPr>
                <a:xfrm>
                  <a:off x="3405433" y="3711402"/>
                  <a:ext cx="333556" cy="500591"/>
                </a:xfrm>
                <a:custGeom>
                  <a:avLst/>
                  <a:gdLst/>
                  <a:ahLst/>
                  <a:cxnLst/>
                  <a:rect l="l" t="t" r="r" b="b"/>
                  <a:pathLst>
                    <a:path w="16277" h="24428" extrusionOk="0">
                      <a:moveTo>
                        <a:pt x="10871" y="5469"/>
                      </a:moveTo>
                      <a:cubicBezTo>
                        <a:pt x="11086" y="6136"/>
                        <a:pt x="10955" y="6862"/>
                        <a:pt x="10752" y="7517"/>
                      </a:cubicBezTo>
                      <a:cubicBezTo>
                        <a:pt x="10538" y="8196"/>
                        <a:pt x="10181" y="8803"/>
                        <a:pt x="9788" y="9386"/>
                      </a:cubicBezTo>
                      <a:cubicBezTo>
                        <a:pt x="9883" y="8577"/>
                        <a:pt x="10097" y="7803"/>
                        <a:pt x="10288" y="7017"/>
                      </a:cubicBezTo>
                      <a:cubicBezTo>
                        <a:pt x="10431" y="6481"/>
                        <a:pt x="10609" y="5957"/>
                        <a:pt x="10871" y="5469"/>
                      </a:cubicBezTo>
                      <a:close/>
                      <a:moveTo>
                        <a:pt x="5037" y="5433"/>
                      </a:moveTo>
                      <a:lnTo>
                        <a:pt x="5037" y="5433"/>
                      </a:lnTo>
                      <a:cubicBezTo>
                        <a:pt x="5394" y="5921"/>
                        <a:pt x="5549" y="6517"/>
                        <a:pt x="5716" y="7088"/>
                      </a:cubicBezTo>
                      <a:cubicBezTo>
                        <a:pt x="5930" y="7910"/>
                        <a:pt x="6061" y="8755"/>
                        <a:pt x="6180" y="9589"/>
                      </a:cubicBezTo>
                      <a:cubicBezTo>
                        <a:pt x="5918" y="9112"/>
                        <a:pt x="5597" y="8660"/>
                        <a:pt x="5418" y="8136"/>
                      </a:cubicBezTo>
                      <a:cubicBezTo>
                        <a:pt x="5109" y="7279"/>
                        <a:pt x="4894" y="6350"/>
                        <a:pt x="5037" y="5433"/>
                      </a:cubicBezTo>
                      <a:close/>
                      <a:moveTo>
                        <a:pt x="8597" y="11505"/>
                      </a:moveTo>
                      <a:lnTo>
                        <a:pt x="8597" y="11505"/>
                      </a:lnTo>
                      <a:cubicBezTo>
                        <a:pt x="8454" y="12446"/>
                        <a:pt x="8383" y="13399"/>
                        <a:pt x="8288" y="14351"/>
                      </a:cubicBezTo>
                      <a:cubicBezTo>
                        <a:pt x="8073" y="16327"/>
                        <a:pt x="7895" y="18316"/>
                        <a:pt x="7919" y="20304"/>
                      </a:cubicBezTo>
                      <a:cubicBezTo>
                        <a:pt x="7573" y="20280"/>
                        <a:pt x="7240" y="20233"/>
                        <a:pt x="6895" y="20185"/>
                      </a:cubicBezTo>
                      <a:cubicBezTo>
                        <a:pt x="7204" y="19399"/>
                        <a:pt x="7228" y="18554"/>
                        <a:pt x="7311" y="17721"/>
                      </a:cubicBezTo>
                      <a:cubicBezTo>
                        <a:pt x="7454" y="15685"/>
                        <a:pt x="7585" y="13649"/>
                        <a:pt x="7502" y="11601"/>
                      </a:cubicBezTo>
                      <a:lnTo>
                        <a:pt x="7502" y="11601"/>
                      </a:lnTo>
                      <a:cubicBezTo>
                        <a:pt x="7607" y="11611"/>
                        <a:pt x="7711" y="11616"/>
                        <a:pt x="7816" y="11616"/>
                      </a:cubicBezTo>
                      <a:cubicBezTo>
                        <a:pt x="8080" y="11616"/>
                        <a:pt x="8341" y="11582"/>
                        <a:pt x="8597" y="11505"/>
                      </a:cubicBezTo>
                      <a:close/>
                      <a:moveTo>
                        <a:pt x="7635" y="1298"/>
                      </a:moveTo>
                      <a:cubicBezTo>
                        <a:pt x="8651" y="1298"/>
                        <a:pt x="9665" y="1538"/>
                        <a:pt x="10574" y="1992"/>
                      </a:cubicBezTo>
                      <a:cubicBezTo>
                        <a:pt x="11860" y="2647"/>
                        <a:pt x="13145" y="3445"/>
                        <a:pt x="13931" y="4695"/>
                      </a:cubicBezTo>
                      <a:cubicBezTo>
                        <a:pt x="14753" y="5921"/>
                        <a:pt x="14908" y="7481"/>
                        <a:pt x="14705" y="8922"/>
                      </a:cubicBezTo>
                      <a:cubicBezTo>
                        <a:pt x="14467" y="10589"/>
                        <a:pt x="13896" y="12208"/>
                        <a:pt x="12931" y="13601"/>
                      </a:cubicBezTo>
                      <a:cubicBezTo>
                        <a:pt x="11955" y="15054"/>
                        <a:pt x="10740" y="16327"/>
                        <a:pt x="9740" y="17780"/>
                      </a:cubicBezTo>
                      <a:cubicBezTo>
                        <a:pt x="9181" y="18566"/>
                        <a:pt x="8943" y="19530"/>
                        <a:pt x="8835" y="20471"/>
                      </a:cubicBezTo>
                      <a:cubicBezTo>
                        <a:pt x="8716" y="20459"/>
                        <a:pt x="8585" y="20435"/>
                        <a:pt x="8466" y="20423"/>
                      </a:cubicBezTo>
                      <a:cubicBezTo>
                        <a:pt x="8454" y="19399"/>
                        <a:pt x="8692" y="18387"/>
                        <a:pt x="8752" y="17363"/>
                      </a:cubicBezTo>
                      <a:cubicBezTo>
                        <a:pt x="9002" y="15292"/>
                        <a:pt x="9204" y="13208"/>
                        <a:pt x="9466" y="11136"/>
                      </a:cubicBezTo>
                      <a:cubicBezTo>
                        <a:pt x="9454" y="10958"/>
                        <a:pt x="9609" y="10851"/>
                        <a:pt x="9728" y="10743"/>
                      </a:cubicBezTo>
                      <a:cubicBezTo>
                        <a:pt x="10871" y="9708"/>
                        <a:pt x="11681" y="8255"/>
                        <a:pt x="11788" y="6695"/>
                      </a:cubicBezTo>
                      <a:cubicBezTo>
                        <a:pt x="11871" y="6243"/>
                        <a:pt x="11788" y="5779"/>
                        <a:pt x="11693" y="5338"/>
                      </a:cubicBezTo>
                      <a:cubicBezTo>
                        <a:pt x="11598" y="4993"/>
                        <a:pt x="11348" y="4588"/>
                        <a:pt x="10943" y="4588"/>
                      </a:cubicBezTo>
                      <a:cubicBezTo>
                        <a:pt x="10923" y="4586"/>
                        <a:pt x="10903" y="4585"/>
                        <a:pt x="10883" y="4585"/>
                      </a:cubicBezTo>
                      <a:cubicBezTo>
                        <a:pt x="10509" y="4585"/>
                        <a:pt x="10231" y="4902"/>
                        <a:pt x="10062" y="5207"/>
                      </a:cubicBezTo>
                      <a:cubicBezTo>
                        <a:pt x="9669" y="5886"/>
                        <a:pt x="9478" y="6660"/>
                        <a:pt x="9276" y="7422"/>
                      </a:cubicBezTo>
                      <a:cubicBezTo>
                        <a:pt x="9038" y="8386"/>
                        <a:pt x="8859" y="9374"/>
                        <a:pt x="8728" y="10362"/>
                      </a:cubicBezTo>
                      <a:cubicBezTo>
                        <a:pt x="8524" y="10608"/>
                        <a:pt x="8184" y="10763"/>
                        <a:pt x="7857" y="10763"/>
                      </a:cubicBezTo>
                      <a:cubicBezTo>
                        <a:pt x="7708" y="10763"/>
                        <a:pt x="7561" y="10731"/>
                        <a:pt x="7430" y="10660"/>
                      </a:cubicBezTo>
                      <a:cubicBezTo>
                        <a:pt x="7323" y="9684"/>
                        <a:pt x="7157" y="8719"/>
                        <a:pt x="6942" y="7755"/>
                      </a:cubicBezTo>
                      <a:cubicBezTo>
                        <a:pt x="6716" y="6862"/>
                        <a:pt x="6418" y="5957"/>
                        <a:pt x="5835" y="5219"/>
                      </a:cubicBezTo>
                      <a:cubicBezTo>
                        <a:pt x="5636" y="4968"/>
                        <a:pt x="5354" y="4716"/>
                        <a:pt x="5021" y="4716"/>
                      </a:cubicBezTo>
                      <a:cubicBezTo>
                        <a:pt x="4976" y="4716"/>
                        <a:pt x="4930" y="4721"/>
                        <a:pt x="4882" y="4731"/>
                      </a:cubicBezTo>
                      <a:cubicBezTo>
                        <a:pt x="4501" y="4814"/>
                        <a:pt x="4335" y="5219"/>
                        <a:pt x="4263" y="5564"/>
                      </a:cubicBezTo>
                      <a:cubicBezTo>
                        <a:pt x="4180" y="6219"/>
                        <a:pt x="4251" y="6898"/>
                        <a:pt x="4430" y="7541"/>
                      </a:cubicBezTo>
                      <a:cubicBezTo>
                        <a:pt x="4763" y="8767"/>
                        <a:pt x="5394" y="9910"/>
                        <a:pt x="6240" y="10851"/>
                      </a:cubicBezTo>
                      <a:cubicBezTo>
                        <a:pt x="6311" y="10958"/>
                        <a:pt x="6299" y="11101"/>
                        <a:pt x="6323" y="11232"/>
                      </a:cubicBezTo>
                      <a:cubicBezTo>
                        <a:pt x="6383" y="12803"/>
                        <a:pt x="6395" y="14375"/>
                        <a:pt x="6383" y="15946"/>
                      </a:cubicBezTo>
                      <a:cubicBezTo>
                        <a:pt x="6395" y="17340"/>
                        <a:pt x="6311" y="18733"/>
                        <a:pt x="6133" y="20114"/>
                      </a:cubicBezTo>
                      <a:cubicBezTo>
                        <a:pt x="5930" y="20102"/>
                        <a:pt x="5716" y="20090"/>
                        <a:pt x="5514" y="20078"/>
                      </a:cubicBezTo>
                      <a:cubicBezTo>
                        <a:pt x="5764" y="19316"/>
                        <a:pt x="5799" y="18494"/>
                        <a:pt x="5609" y="17721"/>
                      </a:cubicBezTo>
                      <a:cubicBezTo>
                        <a:pt x="5180" y="15685"/>
                        <a:pt x="4132" y="13851"/>
                        <a:pt x="3216" y="11994"/>
                      </a:cubicBezTo>
                      <a:cubicBezTo>
                        <a:pt x="2477" y="10470"/>
                        <a:pt x="1763" y="8862"/>
                        <a:pt x="1739" y="7148"/>
                      </a:cubicBezTo>
                      <a:cubicBezTo>
                        <a:pt x="1823" y="5671"/>
                        <a:pt x="2239" y="4136"/>
                        <a:pt x="3263" y="3040"/>
                      </a:cubicBezTo>
                      <a:cubicBezTo>
                        <a:pt x="3978" y="2242"/>
                        <a:pt x="4978" y="1790"/>
                        <a:pt x="5990" y="1516"/>
                      </a:cubicBezTo>
                      <a:cubicBezTo>
                        <a:pt x="6528" y="1369"/>
                        <a:pt x="7082" y="1298"/>
                        <a:pt x="7635" y="1298"/>
                      </a:cubicBezTo>
                      <a:close/>
                      <a:moveTo>
                        <a:pt x="4667" y="20841"/>
                      </a:moveTo>
                      <a:cubicBezTo>
                        <a:pt x="4917" y="20841"/>
                        <a:pt x="5166" y="20935"/>
                        <a:pt x="5406" y="20995"/>
                      </a:cubicBezTo>
                      <a:cubicBezTo>
                        <a:pt x="6204" y="21161"/>
                        <a:pt x="7002" y="21257"/>
                        <a:pt x="7811" y="21388"/>
                      </a:cubicBezTo>
                      <a:cubicBezTo>
                        <a:pt x="8157" y="21507"/>
                        <a:pt x="8538" y="21459"/>
                        <a:pt x="8895" y="21519"/>
                      </a:cubicBezTo>
                      <a:cubicBezTo>
                        <a:pt x="9526" y="21626"/>
                        <a:pt x="10157" y="21733"/>
                        <a:pt x="10776" y="21912"/>
                      </a:cubicBezTo>
                      <a:cubicBezTo>
                        <a:pt x="9824" y="22007"/>
                        <a:pt x="8871" y="22150"/>
                        <a:pt x="7919" y="22162"/>
                      </a:cubicBezTo>
                      <a:cubicBezTo>
                        <a:pt x="7645" y="22173"/>
                        <a:pt x="7383" y="22197"/>
                        <a:pt x="7121" y="22293"/>
                      </a:cubicBezTo>
                      <a:cubicBezTo>
                        <a:pt x="7133" y="22412"/>
                        <a:pt x="7073" y="22614"/>
                        <a:pt x="7228" y="22662"/>
                      </a:cubicBezTo>
                      <a:cubicBezTo>
                        <a:pt x="7621" y="22769"/>
                        <a:pt x="8038" y="22709"/>
                        <a:pt x="8442" y="22745"/>
                      </a:cubicBezTo>
                      <a:cubicBezTo>
                        <a:pt x="8865" y="22745"/>
                        <a:pt x="9287" y="22811"/>
                        <a:pt x="9710" y="22811"/>
                      </a:cubicBezTo>
                      <a:cubicBezTo>
                        <a:pt x="9883" y="22811"/>
                        <a:pt x="10056" y="22800"/>
                        <a:pt x="10228" y="22769"/>
                      </a:cubicBezTo>
                      <a:cubicBezTo>
                        <a:pt x="10621" y="22840"/>
                        <a:pt x="10931" y="23138"/>
                        <a:pt x="11240" y="23364"/>
                      </a:cubicBezTo>
                      <a:cubicBezTo>
                        <a:pt x="10661" y="23555"/>
                        <a:pt x="10055" y="23576"/>
                        <a:pt x="9447" y="23576"/>
                      </a:cubicBezTo>
                      <a:cubicBezTo>
                        <a:pt x="9274" y="23576"/>
                        <a:pt x="9100" y="23574"/>
                        <a:pt x="8927" y="23574"/>
                      </a:cubicBezTo>
                      <a:cubicBezTo>
                        <a:pt x="8797" y="23574"/>
                        <a:pt x="8667" y="23575"/>
                        <a:pt x="8538" y="23578"/>
                      </a:cubicBezTo>
                      <a:cubicBezTo>
                        <a:pt x="8446" y="23581"/>
                        <a:pt x="8354" y="23583"/>
                        <a:pt x="8263" y="23583"/>
                      </a:cubicBezTo>
                      <a:cubicBezTo>
                        <a:pt x="7274" y="23583"/>
                        <a:pt x="6304" y="23420"/>
                        <a:pt x="5323" y="23376"/>
                      </a:cubicBezTo>
                      <a:cubicBezTo>
                        <a:pt x="4632" y="23293"/>
                        <a:pt x="3930" y="23209"/>
                        <a:pt x="3263" y="22983"/>
                      </a:cubicBezTo>
                      <a:cubicBezTo>
                        <a:pt x="4144" y="22685"/>
                        <a:pt x="5097" y="22650"/>
                        <a:pt x="6002" y="22483"/>
                      </a:cubicBezTo>
                      <a:cubicBezTo>
                        <a:pt x="6156" y="22435"/>
                        <a:pt x="6240" y="22316"/>
                        <a:pt x="6192" y="22162"/>
                      </a:cubicBezTo>
                      <a:cubicBezTo>
                        <a:pt x="6030" y="22050"/>
                        <a:pt x="5849" y="22021"/>
                        <a:pt x="5662" y="22021"/>
                      </a:cubicBezTo>
                      <a:cubicBezTo>
                        <a:pt x="5450" y="22021"/>
                        <a:pt x="5230" y="22059"/>
                        <a:pt x="5022" y="22059"/>
                      </a:cubicBezTo>
                      <a:cubicBezTo>
                        <a:pt x="4983" y="22059"/>
                        <a:pt x="4944" y="22058"/>
                        <a:pt x="4906" y="22054"/>
                      </a:cubicBezTo>
                      <a:cubicBezTo>
                        <a:pt x="4632" y="21983"/>
                        <a:pt x="4359" y="21864"/>
                        <a:pt x="4085" y="21792"/>
                      </a:cubicBezTo>
                      <a:cubicBezTo>
                        <a:pt x="3680" y="21661"/>
                        <a:pt x="3239" y="21542"/>
                        <a:pt x="2977" y="21185"/>
                      </a:cubicBezTo>
                      <a:cubicBezTo>
                        <a:pt x="3454" y="20935"/>
                        <a:pt x="4001" y="20911"/>
                        <a:pt x="4525" y="20852"/>
                      </a:cubicBezTo>
                      <a:cubicBezTo>
                        <a:pt x="4573" y="20844"/>
                        <a:pt x="4620" y="20841"/>
                        <a:pt x="4667" y="20841"/>
                      </a:cubicBezTo>
                      <a:close/>
                      <a:moveTo>
                        <a:pt x="7506" y="0"/>
                      </a:moveTo>
                      <a:cubicBezTo>
                        <a:pt x="7042" y="0"/>
                        <a:pt x="6579" y="46"/>
                        <a:pt x="6121" y="147"/>
                      </a:cubicBezTo>
                      <a:cubicBezTo>
                        <a:pt x="4811" y="409"/>
                        <a:pt x="3561" y="980"/>
                        <a:pt x="2585" y="1909"/>
                      </a:cubicBezTo>
                      <a:cubicBezTo>
                        <a:pt x="1311" y="3052"/>
                        <a:pt x="596" y="4683"/>
                        <a:pt x="251" y="6326"/>
                      </a:cubicBezTo>
                      <a:cubicBezTo>
                        <a:pt x="1" y="7541"/>
                        <a:pt x="191" y="8791"/>
                        <a:pt x="525" y="9958"/>
                      </a:cubicBezTo>
                      <a:cubicBezTo>
                        <a:pt x="1334" y="12732"/>
                        <a:pt x="3156" y="15089"/>
                        <a:pt x="4049" y="17840"/>
                      </a:cubicBezTo>
                      <a:cubicBezTo>
                        <a:pt x="4299" y="18590"/>
                        <a:pt x="4430" y="19387"/>
                        <a:pt x="4501" y="20173"/>
                      </a:cubicBezTo>
                      <a:cubicBezTo>
                        <a:pt x="3882" y="20185"/>
                        <a:pt x="3228" y="20197"/>
                        <a:pt x="2656" y="20483"/>
                      </a:cubicBezTo>
                      <a:cubicBezTo>
                        <a:pt x="2299" y="20649"/>
                        <a:pt x="2120" y="21114"/>
                        <a:pt x="2287" y="21483"/>
                      </a:cubicBezTo>
                      <a:cubicBezTo>
                        <a:pt x="2501" y="21888"/>
                        <a:pt x="2906" y="22185"/>
                        <a:pt x="3347" y="22281"/>
                      </a:cubicBezTo>
                      <a:cubicBezTo>
                        <a:pt x="3037" y="22388"/>
                        <a:pt x="2632" y="22459"/>
                        <a:pt x="2489" y="22804"/>
                      </a:cubicBezTo>
                      <a:cubicBezTo>
                        <a:pt x="2358" y="23090"/>
                        <a:pt x="2608" y="23364"/>
                        <a:pt x="2858" y="23483"/>
                      </a:cubicBezTo>
                      <a:cubicBezTo>
                        <a:pt x="3442" y="23757"/>
                        <a:pt x="4073" y="23900"/>
                        <a:pt x="4704" y="24031"/>
                      </a:cubicBezTo>
                      <a:cubicBezTo>
                        <a:pt x="5982" y="24285"/>
                        <a:pt x="7281" y="24428"/>
                        <a:pt x="8584" y="24428"/>
                      </a:cubicBezTo>
                      <a:cubicBezTo>
                        <a:pt x="9235" y="24428"/>
                        <a:pt x="9887" y="24392"/>
                        <a:pt x="10538" y="24317"/>
                      </a:cubicBezTo>
                      <a:cubicBezTo>
                        <a:pt x="10919" y="24245"/>
                        <a:pt x="11336" y="24198"/>
                        <a:pt x="11657" y="23971"/>
                      </a:cubicBezTo>
                      <a:cubicBezTo>
                        <a:pt x="11883" y="23817"/>
                        <a:pt x="12002" y="23507"/>
                        <a:pt x="11895" y="23245"/>
                      </a:cubicBezTo>
                      <a:cubicBezTo>
                        <a:pt x="11764" y="22924"/>
                        <a:pt x="11419" y="22757"/>
                        <a:pt x="11121" y="22602"/>
                      </a:cubicBezTo>
                      <a:cubicBezTo>
                        <a:pt x="11550" y="22507"/>
                        <a:pt x="11931" y="22019"/>
                        <a:pt x="11669" y="21602"/>
                      </a:cubicBezTo>
                      <a:cubicBezTo>
                        <a:pt x="11276" y="21054"/>
                        <a:pt x="10562" y="20935"/>
                        <a:pt x="9966" y="20745"/>
                      </a:cubicBezTo>
                      <a:cubicBezTo>
                        <a:pt x="10086" y="20328"/>
                        <a:pt x="10240" y="19911"/>
                        <a:pt x="10431" y="19530"/>
                      </a:cubicBezTo>
                      <a:cubicBezTo>
                        <a:pt x="10978" y="18316"/>
                        <a:pt x="11919" y="17351"/>
                        <a:pt x="12705" y="16304"/>
                      </a:cubicBezTo>
                      <a:cubicBezTo>
                        <a:pt x="13693" y="15054"/>
                        <a:pt x="14658" y="13744"/>
                        <a:pt x="15229" y="12232"/>
                      </a:cubicBezTo>
                      <a:cubicBezTo>
                        <a:pt x="15920" y="10422"/>
                        <a:pt x="16277" y="8446"/>
                        <a:pt x="16027" y="6505"/>
                      </a:cubicBezTo>
                      <a:cubicBezTo>
                        <a:pt x="15884" y="5421"/>
                        <a:pt x="15420" y="4374"/>
                        <a:pt x="14741" y="3504"/>
                      </a:cubicBezTo>
                      <a:cubicBezTo>
                        <a:pt x="13788" y="2242"/>
                        <a:pt x="12407" y="1338"/>
                        <a:pt x="10955" y="730"/>
                      </a:cubicBezTo>
                      <a:cubicBezTo>
                        <a:pt x="9862" y="295"/>
                        <a:pt x="8683" y="0"/>
                        <a:pt x="7506" y="0"/>
                      </a:cubicBezTo>
                      <a:close/>
                    </a:path>
                  </a:pathLst>
                </a:custGeom>
                <a:solidFill>
                  <a:srgbClr val="030303"/>
                </a:solidFill>
                <a:ln>
                  <a:noFill/>
                </a:ln>
              </p:spPr>
              <p:txBody>
                <a:bodyPr spcFirstLastPara="1" wrap="square" lIns="121900" tIns="121900" rIns="121900" bIns="121900" anchor="ctr" anchorCtr="0">
                  <a:noAutofit/>
                </a:bodyPr>
                <a:lstStyle/>
                <a:p>
                  <a:pPr defTabSz="1219139">
                    <a:defRPr/>
                  </a:pPr>
                  <a:endParaRPr sz="2400" kern="0">
                    <a:solidFill>
                      <a:sysClr val="windowText" lastClr="000000"/>
                    </a:solidFill>
                    <a:latin typeface="Calibri" panose="020F0502020204030204"/>
                  </a:endParaRPr>
                </a:p>
              </p:txBody>
            </p:sp>
            <p:sp>
              <p:nvSpPr>
                <p:cNvPr id="12" name="Google Shape;1622;p33">
                  <a:extLst>
                    <a:ext uri="{FF2B5EF4-FFF2-40B4-BE49-F238E27FC236}">
                      <a16:creationId xmlns:a16="http://schemas.microsoft.com/office/drawing/2014/main" id="{784EF9F2-3C62-7BF4-35D4-672E02A7B1BB}"/>
                    </a:ext>
                  </a:extLst>
                </p:cNvPr>
                <p:cNvSpPr/>
                <p:nvPr/>
              </p:nvSpPr>
              <p:spPr>
                <a:xfrm>
                  <a:off x="3757291" y="3837151"/>
                  <a:ext cx="82257" cy="54121"/>
                </a:xfrm>
                <a:custGeom>
                  <a:avLst/>
                  <a:gdLst/>
                  <a:ahLst/>
                  <a:cxnLst/>
                  <a:rect l="l" t="t" r="r" b="b"/>
                  <a:pathLst>
                    <a:path w="4014" h="2641" extrusionOk="0">
                      <a:moveTo>
                        <a:pt x="3559" y="0"/>
                      </a:moveTo>
                      <a:cubicBezTo>
                        <a:pt x="3293" y="0"/>
                        <a:pt x="3049" y="169"/>
                        <a:pt x="2823" y="297"/>
                      </a:cubicBezTo>
                      <a:cubicBezTo>
                        <a:pt x="2096" y="726"/>
                        <a:pt x="1370" y="1167"/>
                        <a:pt x="632" y="1571"/>
                      </a:cubicBezTo>
                      <a:cubicBezTo>
                        <a:pt x="286" y="1750"/>
                        <a:pt x="1" y="2155"/>
                        <a:pt x="227" y="2536"/>
                      </a:cubicBezTo>
                      <a:cubicBezTo>
                        <a:pt x="353" y="2607"/>
                        <a:pt x="490" y="2641"/>
                        <a:pt x="626" y="2641"/>
                      </a:cubicBezTo>
                      <a:cubicBezTo>
                        <a:pt x="785" y="2641"/>
                        <a:pt x="943" y="2595"/>
                        <a:pt x="1084" y="2512"/>
                      </a:cubicBezTo>
                      <a:cubicBezTo>
                        <a:pt x="1727" y="2155"/>
                        <a:pt x="2358" y="1750"/>
                        <a:pt x="2977" y="1333"/>
                      </a:cubicBezTo>
                      <a:cubicBezTo>
                        <a:pt x="3287" y="1107"/>
                        <a:pt x="3608" y="905"/>
                        <a:pt x="3858" y="607"/>
                      </a:cubicBezTo>
                      <a:cubicBezTo>
                        <a:pt x="4013" y="440"/>
                        <a:pt x="3966" y="95"/>
                        <a:pt x="3727" y="24"/>
                      </a:cubicBezTo>
                      <a:cubicBezTo>
                        <a:pt x="3670" y="7"/>
                        <a:pt x="3614" y="0"/>
                        <a:pt x="3559" y="0"/>
                      </a:cubicBezTo>
                      <a:close/>
                    </a:path>
                  </a:pathLst>
                </a:custGeom>
                <a:solidFill>
                  <a:srgbClr val="030303"/>
                </a:solidFill>
                <a:ln>
                  <a:noFill/>
                </a:ln>
              </p:spPr>
              <p:txBody>
                <a:bodyPr spcFirstLastPara="1" wrap="square" lIns="121900" tIns="121900" rIns="121900" bIns="121900" anchor="ctr" anchorCtr="0">
                  <a:noAutofit/>
                </a:bodyPr>
                <a:lstStyle/>
                <a:p>
                  <a:pPr defTabSz="1219139">
                    <a:defRPr/>
                  </a:pPr>
                  <a:endParaRPr sz="2400" kern="0">
                    <a:solidFill>
                      <a:sysClr val="windowText" lastClr="000000"/>
                    </a:solidFill>
                    <a:latin typeface="Calibri" panose="020F0502020204030204"/>
                  </a:endParaRPr>
                </a:p>
              </p:txBody>
            </p:sp>
            <p:sp>
              <p:nvSpPr>
                <p:cNvPr id="13" name="Google Shape;1623;p33">
                  <a:extLst>
                    <a:ext uri="{FF2B5EF4-FFF2-40B4-BE49-F238E27FC236}">
                      <a16:creationId xmlns:a16="http://schemas.microsoft.com/office/drawing/2014/main" id="{2DC67F03-4F49-24CD-9FB9-D31C632AF706}"/>
                    </a:ext>
                  </a:extLst>
                </p:cNvPr>
                <p:cNvSpPr/>
                <p:nvPr/>
              </p:nvSpPr>
              <p:spPr>
                <a:xfrm>
                  <a:off x="3275625" y="3909556"/>
                  <a:ext cx="107873" cy="25452"/>
                </a:xfrm>
                <a:custGeom>
                  <a:avLst/>
                  <a:gdLst/>
                  <a:ahLst/>
                  <a:cxnLst/>
                  <a:rect l="l" t="t" r="r" b="b"/>
                  <a:pathLst>
                    <a:path w="5264" h="1242" extrusionOk="0">
                      <a:moveTo>
                        <a:pt x="4090" y="1"/>
                      </a:moveTo>
                      <a:cubicBezTo>
                        <a:pt x="3141" y="1"/>
                        <a:pt x="2202" y="166"/>
                        <a:pt x="1263" y="289"/>
                      </a:cubicBezTo>
                      <a:cubicBezTo>
                        <a:pt x="906" y="360"/>
                        <a:pt x="501" y="360"/>
                        <a:pt x="191" y="586"/>
                      </a:cubicBezTo>
                      <a:cubicBezTo>
                        <a:pt x="1" y="729"/>
                        <a:pt x="60" y="979"/>
                        <a:pt x="167" y="1158"/>
                      </a:cubicBezTo>
                      <a:cubicBezTo>
                        <a:pt x="358" y="1223"/>
                        <a:pt x="554" y="1241"/>
                        <a:pt x="752" y="1241"/>
                      </a:cubicBezTo>
                      <a:cubicBezTo>
                        <a:pt x="950" y="1241"/>
                        <a:pt x="1150" y="1223"/>
                        <a:pt x="1346" y="1217"/>
                      </a:cubicBezTo>
                      <a:cubicBezTo>
                        <a:pt x="2418" y="1098"/>
                        <a:pt x="3489" y="1063"/>
                        <a:pt x="4549" y="920"/>
                      </a:cubicBezTo>
                      <a:cubicBezTo>
                        <a:pt x="4823" y="884"/>
                        <a:pt x="5263" y="777"/>
                        <a:pt x="5180" y="408"/>
                      </a:cubicBezTo>
                      <a:cubicBezTo>
                        <a:pt x="5061" y="51"/>
                        <a:pt x="4597" y="39"/>
                        <a:pt x="4275" y="3"/>
                      </a:cubicBezTo>
                      <a:cubicBezTo>
                        <a:pt x="4213" y="1"/>
                        <a:pt x="4151" y="1"/>
                        <a:pt x="4090" y="1"/>
                      </a:cubicBezTo>
                      <a:close/>
                    </a:path>
                  </a:pathLst>
                </a:custGeom>
                <a:solidFill>
                  <a:srgbClr val="030303"/>
                </a:solidFill>
                <a:ln>
                  <a:noFill/>
                </a:ln>
              </p:spPr>
              <p:txBody>
                <a:bodyPr spcFirstLastPara="1" wrap="square" lIns="121900" tIns="121900" rIns="121900" bIns="121900" anchor="ctr" anchorCtr="0">
                  <a:noAutofit/>
                </a:bodyPr>
                <a:lstStyle/>
                <a:p>
                  <a:pPr defTabSz="1219139">
                    <a:defRPr/>
                  </a:pPr>
                  <a:endParaRPr sz="2400" kern="0">
                    <a:solidFill>
                      <a:sysClr val="windowText" lastClr="000000"/>
                    </a:solidFill>
                    <a:latin typeface="Calibri" panose="020F0502020204030204"/>
                  </a:endParaRPr>
                </a:p>
              </p:txBody>
            </p:sp>
            <p:sp>
              <p:nvSpPr>
                <p:cNvPr id="15" name="Google Shape;1624;p33">
                  <a:extLst>
                    <a:ext uri="{FF2B5EF4-FFF2-40B4-BE49-F238E27FC236}">
                      <a16:creationId xmlns:a16="http://schemas.microsoft.com/office/drawing/2014/main" id="{2B16F12A-4FFF-BAD5-D573-3A6B345E92CB}"/>
                    </a:ext>
                  </a:extLst>
                </p:cNvPr>
                <p:cNvSpPr/>
                <p:nvPr/>
              </p:nvSpPr>
              <p:spPr>
                <a:xfrm>
                  <a:off x="3759238" y="3935706"/>
                  <a:ext cx="83712" cy="21087"/>
                </a:xfrm>
                <a:custGeom>
                  <a:avLst/>
                  <a:gdLst/>
                  <a:ahLst/>
                  <a:cxnLst/>
                  <a:rect l="l" t="t" r="r" b="b"/>
                  <a:pathLst>
                    <a:path w="4085" h="1029" extrusionOk="0">
                      <a:moveTo>
                        <a:pt x="692" y="1"/>
                      </a:moveTo>
                      <a:cubicBezTo>
                        <a:pt x="382" y="1"/>
                        <a:pt x="1" y="215"/>
                        <a:pt x="49" y="572"/>
                      </a:cubicBezTo>
                      <a:cubicBezTo>
                        <a:pt x="123" y="933"/>
                        <a:pt x="518" y="1029"/>
                        <a:pt x="847" y="1029"/>
                      </a:cubicBezTo>
                      <a:cubicBezTo>
                        <a:pt x="888" y="1029"/>
                        <a:pt x="927" y="1027"/>
                        <a:pt x="965" y="1025"/>
                      </a:cubicBezTo>
                      <a:cubicBezTo>
                        <a:pt x="1088" y="1022"/>
                        <a:pt x="1211" y="1021"/>
                        <a:pt x="1334" y="1021"/>
                      </a:cubicBezTo>
                      <a:cubicBezTo>
                        <a:pt x="1511" y="1021"/>
                        <a:pt x="1688" y="1023"/>
                        <a:pt x="1865" y="1023"/>
                      </a:cubicBezTo>
                      <a:cubicBezTo>
                        <a:pt x="2532" y="1023"/>
                        <a:pt x="3200" y="997"/>
                        <a:pt x="3823" y="751"/>
                      </a:cubicBezTo>
                      <a:cubicBezTo>
                        <a:pt x="4073" y="668"/>
                        <a:pt x="4085" y="394"/>
                        <a:pt x="4025" y="179"/>
                      </a:cubicBezTo>
                      <a:cubicBezTo>
                        <a:pt x="3879" y="125"/>
                        <a:pt x="3733" y="84"/>
                        <a:pt x="3582" y="84"/>
                      </a:cubicBezTo>
                      <a:cubicBezTo>
                        <a:pt x="3536" y="84"/>
                        <a:pt x="3489" y="88"/>
                        <a:pt x="3442" y="96"/>
                      </a:cubicBezTo>
                      <a:cubicBezTo>
                        <a:pt x="3182" y="126"/>
                        <a:pt x="2922" y="139"/>
                        <a:pt x="2663" y="139"/>
                      </a:cubicBezTo>
                      <a:cubicBezTo>
                        <a:pt x="2006" y="139"/>
                        <a:pt x="1349" y="61"/>
                        <a:pt x="692" y="1"/>
                      </a:cubicBezTo>
                      <a:close/>
                    </a:path>
                  </a:pathLst>
                </a:custGeom>
                <a:solidFill>
                  <a:srgbClr val="030303"/>
                </a:solidFill>
                <a:ln>
                  <a:noFill/>
                </a:ln>
              </p:spPr>
              <p:txBody>
                <a:bodyPr spcFirstLastPara="1" wrap="square" lIns="121900" tIns="121900" rIns="121900" bIns="121900" anchor="ctr" anchorCtr="0">
                  <a:noAutofit/>
                </a:bodyPr>
                <a:lstStyle/>
                <a:p>
                  <a:pPr defTabSz="1219139">
                    <a:defRPr/>
                  </a:pPr>
                  <a:endParaRPr sz="2400" kern="0">
                    <a:solidFill>
                      <a:sysClr val="windowText" lastClr="000000"/>
                    </a:solidFill>
                    <a:latin typeface="Calibri" panose="020F0502020204030204"/>
                  </a:endParaRPr>
                </a:p>
              </p:txBody>
            </p:sp>
            <p:sp>
              <p:nvSpPr>
                <p:cNvPr id="16" name="Google Shape;1625;p33">
                  <a:extLst>
                    <a:ext uri="{FF2B5EF4-FFF2-40B4-BE49-F238E27FC236}">
                      <a16:creationId xmlns:a16="http://schemas.microsoft.com/office/drawing/2014/main" id="{545B94DB-4D48-D3B7-7732-2A914F7CF2B3}"/>
                    </a:ext>
                  </a:extLst>
                </p:cNvPr>
                <p:cNvSpPr/>
                <p:nvPr/>
              </p:nvSpPr>
              <p:spPr>
                <a:xfrm>
                  <a:off x="3739974" y="3983969"/>
                  <a:ext cx="52973" cy="41005"/>
                </a:xfrm>
                <a:custGeom>
                  <a:avLst/>
                  <a:gdLst/>
                  <a:ahLst/>
                  <a:cxnLst/>
                  <a:rect l="l" t="t" r="r" b="b"/>
                  <a:pathLst>
                    <a:path w="2585" h="2001" extrusionOk="0">
                      <a:moveTo>
                        <a:pt x="447" y="1"/>
                      </a:moveTo>
                      <a:cubicBezTo>
                        <a:pt x="386" y="1"/>
                        <a:pt x="324" y="6"/>
                        <a:pt x="262" y="15"/>
                      </a:cubicBezTo>
                      <a:cubicBezTo>
                        <a:pt x="227" y="51"/>
                        <a:pt x="143" y="122"/>
                        <a:pt x="96" y="158"/>
                      </a:cubicBezTo>
                      <a:cubicBezTo>
                        <a:pt x="60" y="241"/>
                        <a:pt x="36" y="337"/>
                        <a:pt x="0" y="432"/>
                      </a:cubicBezTo>
                      <a:cubicBezTo>
                        <a:pt x="119" y="968"/>
                        <a:pt x="655" y="1218"/>
                        <a:pt x="1072" y="1527"/>
                      </a:cubicBezTo>
                      <a:cubicBezTo>
                        <a:pt x="1372" y="1718"/>
                        <a:pt x="1707" y="2001"/>
                        <a:pt x="2082" y="2001"/>
                      </a:cubicBezTo>
                      <a:cubicBezTo>
                        <a:pt x="2152" y="2001"/>
                        <a:pt x="2225" y="1991"/>
                        <a:pt x="2298" y="1968"/>
                      </a:cubicBezTo>
                      <a:cubicBezTo>
                        <a:pt x="2584" y="1837"/>
                        <a:pt x="2560" y="1408"/>
                        <a:pt x="2334" y="1242"/>
                      </a:cubicBezTo>
                      <a:cubicBezTo>
                        <a:pt x="1893" y="849"/>
                        <a:pt x="1417" y="491"/>
                        <a:pt x="929" y="158"/>
                      </a:cubicBezTo>
                      <a:cubicBezTo>
                        <a:pt x="788" y="43"/>
                        <a:pt x="621" y="1"/>
                        <a:pt x="447" y="1"/>
                      </a:cubicBezTo>
                      <a:close/>
                    </a:path>
                  </a:pathLst>
                </a:custGeom>
                <a:solidFill>
                  <a:srgbClr val="030303"/>
                </a:solidFill>
                <a:ln>
                  <a:noFill/>
                </a:ln>
              </p:spPr>
              <p:txBody>
                <a:bodyPr spcFirstLastPara="1" wrap="square" lIns="121900" tIns="121900" rIns="121900" bIns="121900" anchor="ctr" anchorCtr="0">
                  <a:noAutofit/>
                </a:bodyPr>
                <a:lstStyle/>
                <a:p>
                  <a:pPr defTabSz="1219139">
                    <a:defRPr/>
                  </a:pPr>
                  <a:endParaRPr sz="2400" kern="0">
                    <a:solidFill>
                      <a:sysClr val="windowText" lastClr="000000"/>
                    </a:solidFill>
                    <a:latin typeface="Calibri" panose="020F0502020204030204"/>
                  </a:endParaRPr>
                </a:p>
              </p:txBody>
            </p:sp>
            <p:sp>
              <p:nvSpPr>
                <p:cNvPr id="17" name="Google Shape;1626;p33">
                  <a:extLst>
                    <a:ext uri="{FF2B5EF4-FFF2-40B4-BE49-F238E27FC236}">
                      <a16:creationId xmlns:a16="http://schemas.microsoft.com/office/drawing/2014/main" id="{15FCD05F-30DD-8BA3-36E7-2AF9FBAF5E46}"/>
                    </a:ext>
                  </a:extLst>
                </p:cNvPr>
                <p:cNvSpPr/>
                <p:nvPr/>
              </p:nvSpPr>
              <p:spPr>
                <a:xfrm>
                  <a:off x="3333704" y="3986059"/>
                  <a:ext cx="65412" cy="40063"/>
                </a:xfrm>
                <a:custGeom>
                  <a:avLst/>
                  <a:gdLst/>
                  <a:ahLst/>
                  <a:cxnLst/>
                  <a:rect l="l" t="t" r="r" b="b"/>
                  <a:pathLst>
                    <a:path w="3192" h="1955" extrusionOk="0">
                      <a:moveTo>
                        <a:pt x="2579" y="1"/>
                      </a:moveTo>
                      <a:cubicBezTo>
                        <a:pt x="2429" y="1"/>
                        <a:pt x="2277" y="43"/>
                        <a:pt x="2144" y="116"/>
                      </a:cubicBezTo>
                      <a:cubicBezTo>
                        <a:pt x="1572" y="378"/>
                        <a:pt x="1013" y="687"/>
                        <a:pt x="501" y="1056"/>
                      </a:cubicBezTo>
                      <a:cubicBezTo>
                        <a:pt x="286" y="1223"/>
                        <a:pt x="0" y="1437"/>
                        <a:pt x="96" y="1747"/>
                      </a:cubicBezTo>
                      <a:cubicBezTo>
                        <a:pt x="160" y="1883"/>
                        <a:pt x="299" y="1954"/>
                        <a:pt x="437" y="1954"/>
                      </a:cubicBezTo>
                      <a:cubicBezTo>
                        <a:pt x="505" y="1954"/>
                        <a:pt x="573" y="1937"/>
                        <a:pt x="632" y="1902"/>
                      </a:cubicBezTo>
                      <a:cubicBezTo>
                        <a:pt x="1310" y="1604"/>
                        <a:pt x="1953" y="1259"/>
                        <a:pt x="2632" y="961"/>
                      </a:cubicBezTo>
                      <a:cubicBezTo>
                        <a:pt x="2965" y="830"/>
                        <a:pt x="3191" y="461"/>
                        <a:pt x="2989" y="128"/>
                      </a:cubicBezTo>
                      <a:cubicBezTo>
                        <a:pt x="2866" y="40"/>
                        <a:pt x="2723" y="1"/>
                        <a:pt x="2579" y="1"/>
                      </a:cubicBezTo>
                      <a:close/>
                    </a:path>
                  </a:pathLst>
                </a:custGeom>
                <a:solidFill>
                  <a:srgbClr val="030303"/>
                </a:solidFill>
                <a:ln>
                  <a:noFill/>
                </a:ln>
              </p:spPr>
              <p:txBody>
                <a:bodyPr spcFirstLastPara="1" wrap="square" lIns="121900" tIns="121900" rIns="121900" bIns="121900" anchor="ctr" anchorCtr="0">
                  <a:noAutofit/>
                </a:bodyPr>
                <a:lstStyle/>
                <a:p>
                  <a:pPr defTabSz="1219139">
                    <a:defRPr/>
                  </a:pPr>
                  <a:endParaRPr sz="2400" kern="0">
                    <a:solidFill>
                      <a:sysClr val="windowText" lastClr="000000"/>
                    </a:solidFill>
                    <a:latin typeface="Calibri" panose="020F0502020204030204"/>
                  </a:endParaRPr>
                </a:p>
              </p:txBody>
            </p:sp>
          </p:grpSp>
        </p:grpSp>
      </p:grpSp>
      <p:sp>
        <p:nvSpPr>
          <p:cNvPr id="27" name="Google Shape;1269;p40">
            <a:extLst>
              <a:ext uri="{FF2B5EF4-FFF2-40B4-BE49-F238E27FC236}">
                <a16:creationId xmlns:a16="http://schemas.microsoft.com/office/drawing/2014/main" id="{61B59720-0394-F52A-2293-AB1BB4FF80E1}"/>
              </a:ext>
            </a:extLst>
          </p:cNvPr>
          <p:cNvSpPr txBox="1"/>
          <p:nvPr/>
        </p:nvSpPr>
        <p:spPr>
          <a:xfrm flipH="1">
            <a:off x="2447595" y="2785774"/>
            <a:ext cx="9217024" cy="1315303"/>
          </a:xfrm>
          <a:prstGeom prst="rect">
            <a:avLst/>
          </a:prstGeom>
          <a:solidFill>
            <a:srgbClr val="00FFCC"/>
          </a:solidFill>
          <a:ln w="9525" cap="flat" cmpd="sng">
            <a:solidFill>
              <a:srgbClr val="97A4FF"/>
            </a:solidFill>
            <a:prstDash val="solid"/>
            <a:round/>
            <a:headEnd type="none" w="sm" len="sm"/>
            <a:tailEnd type="none" w="sm" len="sm"/>
          </a:ln>
        </p:spPr>
        <p:txBody>
          <a:bodyPr spcFirstLastPara="1" wrap="square" lIns="121900" tIns="121900" rIns="121900" bIns="121900" anchor="ctr" anchorCtr="0">
            <a:noAutofit/>
          </a:bodyPr>
          <a:lstStyle/>
          <a:p>
            <a:pPr algn="justLow" defTabSz="1625367">
              <a:defRPr/>
            </a:pPr>
            <a:r>
              <a:rPr lang="ar-SA" sz="3200" b="1" dirty="0">
                <a:solidFill>
                  <a:srgbClr val="FF0000"/>
                </a:solidFill>
                <a:latin typeface="Sakkal Majalla" panose="02000000000000000000" pitchFamily="2" charset="-78"/>
                <a:ea typeface="Cambria" panose="02040503050406030204" pitchFamily="18" charset="0"/>
                <a:cs typeface="Sakkal Majalla" panose="02000000000000000000" pitchFamily="2" charset="-78"/>
                <a:sym typeface="Josefin Sans"/>
              </a:rPr>
              <a:t>القدرات : </a:t>
            </a:r>
            <a:r>
              <a:rPr lang="ar-SA" sz="3200" b="1" dirty="0">
                <a:solidFill>
                  <a:prstClr val="black">
                    <a:lumMod val="75000"/>
                    <a:lumOff val="25000"/>
                  </a:prstClr>
                </a:solidFill>
                <a:latin typeface="Sakkal Majalla" panose="02000000000000000000" pitchFamily="2" charset="-78"/>
                <a:ea typeface="Cambria" panose="02040503050406030204" pitchFamily="18" charset="0"/>
                <a:cs typeface="Sakkal Majalla" panose="02000000000000000000" pitchFamily="2" charset="-78"/>
                <a:sym typeface="Josefin Sans"/>
              </a:rPr>
              <a:t>هي مجموعة من المعارف والمهارات والكفايات والقيم التي ينبغي أن يمتلكها الفرد وتمكنه من بناء كيانه الشخصي والاجتماعي والاقتصادي.</a:t>
            </a:r>
            <a:endParaRPr lang="en-IN" sz="3200" b="1" dirty="0">
              <a:solidFill>
                <a:prstClr val="black">
                  <a:lumMod val="75000"/>
                  <a:lumOff val="25000"/>
                </a:prstClr>
              </a:solidFill>
              <a:latin typeface="Sakkal Majalla" panose="02000000000000000000" pitchFamily="2" charset="-78"/>
              <a:ea typeface="Cambria" panose="02040503050406030204" pitchFamily="18" charset="0"/>
              <a:cs typeface="Sakkal Majalla" panose="02000000000000000000" pitchFamily="2" charset="-78"/>
            </a:endParaRPr>
          </a:p>
        </p:txBody>
      </p:sp>
    </p:spTree>
    <p:extLst>
      <p:ext uri="{BB962C8B-B14F-4D97-AF65-F5344CB8AC3E}">
        <p14:creationId xmlns:p14="http://schemas.microsoft.com/office/powerpoint/2010/main" val="19159013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arn(inVertical)">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grpId="0"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barn(inVertical)">
                                      <p:cBhvr>
                                        <p:cTn id="12"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Google Shape;910;p31">
            <a:extLst>
              <a:ext uri="{FF2B5EF4-FFF2-40B4-BE49-F238E27FC236}">
                <a16:creationId xmlns:a16="http://schemas.microsoft.com/office/drawing/2014/main" id="{8156D699-6BDB-47ED-DEAE-EF4C9BF626B2}"/>
              </a:ext>
            </a:extLst>
          </p:cNvPr>
          <p:cNvSpPr txBox="1"/>
          <p:nvPr/>
        </p:nvSpPr>
        <p:spPr>
          <a:xfrm>
            <a:off x="2354713" y="2727714"/>
            <a:ext cx="3277500" cy="923429"/>
          </a:xfrm>
          <a:prstGeom prst="rect">
            <a:avLst/>
          </a:prstGeom>
          <a:solidFill>
            <a:srgbClr val="E5E8FF"/>
          </a:solidFill>
          <a:ln w="9525" cap="flat" cmpd="sng">
            <a:solidFill>
              <a:srgbClr val="97A4FF"/>
            </a:solidFill>
            <a:prstDash val="solid"/>
            <a:round/>
            <a:headEnd type="none" w="sm" len="sm"/>
            <a:tailEnd type="none" w="sm" len="sm"/>
          </a:ln>
        </p:spPr>
        <p:txBody>
          <a:bodyPr spcFirstLastPara="1" wrap="square" lIns="162533" tIns="162533" rIns="162533" bIns="162533" anchor="ctr" anchorCtr="0">
            <a:noAutofit/>
          </a:bodyPr>
          <a:lstStyle/>
          <a:p>
            <a:pPr algn="ctr" defTabSz="1218868"/>
            <a:r>
              <a:rPr lang="ar-SA" sz="2667" b="1" dirty="0">
                <a:solidFill>
                  <a:srgbClr val="002060"/>
                </a:solidFill>
                <a:latin typeface="Sakkal Majalla" panose="02000000000000000000" pitchFamily="2" charset="-78"/>
                <a:ea typeface="Samim" panose="020B0603030804020204" pitchFamily="34" charset="0"/>
                <a:cs typeface="Sakkal Majalla" panose="02000000000000000000" pitchFamily="2" charset="-78"/>
              </a:rPr>
              <a:t>الركيزة الأولى </a:t>
            </a:r>
            <a:endParaRPr lang="en-US" sz="2667" dirty="0">
              <a:solidFill>
                <a:prstClr val="black"/>
              </a:solidFill>
              <a:latin typeface="Sakkal Majalla" panose="02000000000000000000" pitchFamily="2" charset="-78"/>
              <a:ea typeface="Samim" panose="020B0603030804020204" pitchFamily="34" charset="0"/>
              <a:cs typeface="Sakkal Majalla" panose="02000000000000000000" pitchFamily="2" charset="-78"/>
            </a:endParaRPr>
          </a:p>
          <a:p>
            <a:pPr algn="ctr" defTabSz="1218868"/>
            <a:r>
              <a:rPr lang="ar-SA" sz="2400" b="1" dirty="0">
                <a:solidFill>
                  <a:srgbClr val="009900"/>
                </a:solidFill>
                <a:latin typeface="Sakkal Majalla" panose="02000000000000000000" pitchFamily="2" charset="-78"/>
                <a:ea typeface="Samim" panose="020B0603030804020204" pitchFamily="34" charset="0"/>
                <a:cs typeface="Sakkal Majalla" panose="02000000000000000000" pitchFamily="2" charset="-78"/>
              </a:rPr>
              <a:t>تطوير أساس تعليمي متين ومرن</a:t>
            </a:r>
            <a:endParaRPr lang="en-US" sz="2400" dirty="0">
              <a:solidFill>
                <a:prstClr val="black"/>
              </a:solidFill>
              <a:latin typeface="Sakkal Majalla" panose="02000000000000000000" pitchFamily="2" charset="-78"/>
              <a:ea typeface="Samim" panose="020B0603030804020204" pitchFamily="34" charset="0"/>
              <a:cs typeface="Sakkal Majalla" panose="02000000000000000000" pitchFamily="2" charset="-78"/>
            </a:endParaRPr>
          </a:p>
        </p:txBody>
      </p:sp>
      <p:sp>
        <p:nvSpPr>
          <p:cNvPr id="5" name="Google Shape;924;p31">
            <a:extLst>
              <a:ext uri="{FF2B5EF4-FFF2-40B4-BE49-F238E27FC236}">
                <a16:creationId xmlns:a16="http://schemas.microsoft.com/office/drawing/2014/main" id="{EA5F3A35-66D1-E354-5E37-99E321F84C5F}"/>
              </a:ext>
            </a:extLst>
          </p:cNvPr>
          <p:cNvSpPr txBox="1"/>
          <p:nvPr/>
        </p:nvSpPr>
        <p:spPr>
          <a:xfrm>
            <a:off x="2280388" y="312726"/>
            <a:ext cx="3429893" cy="1956425"/>
          </a:xfrm>
          <a:prstGeom prst="rect">
            <a:avLst/>
          </a:prstGeom>
          <a:solidFill>
            <a:srgbClr val="E5E8FF"/>
          </a:solidFill>
          <a:ln w="9525" cap="flat" cmpd="sng">
            <a:solidFill>
              <a:srgbClr val="97A4FF"/>
            </a:solidFill>
            <a:prstDash val="solid"/>
            <a:round/>
            <a:headEnd type="none" w="sm" len="sm"/>
            <a:tailEnd type="none" w="sm" len="sm"/>
          </a:ln>
        </p:spPr>
        <p:txBody>
          <a:bodyPr spcFirstLastPara="1" wrap="square" lIns="162533" tIns="162533" rIns="162533" bIns="162533" anchor="ctr" anchorCtr="0">
            <a:noAutofit/>
          </a:bodyPr>
          <a:lstStyle/>
          <a:p>
            <a:pPr algn="ctr" defTabSz="1625367">
              <a:defRPr/>
            </a:pPr>
            <a:r>
              <a:rPr lang="ar-SA" sz="3200" b="1" kern="0" dirty="0">
                <a:solidFill>
                  <a:srgbClr val="FF0000"/>
                </a:solidFill>
                <a:latin typeface="Sakkal Majalla" panose="02000000000000000000" pitchFamily="2" charset="-78"/>
                <a:ea typeface="Samim" panose="020B0603030804020204" pitchFamily="34" charset="0"/>
                <a:cs typeface="Sakkal Majalla" panose="02000000000000000000" pitchFamily="2" charset="-78"/>
                <a:sym typeface="Josefin Sans"/>
              </a:rPr>
              <a:t>القدرات البشرية</a:t>
            </a:r>
          </a:p>
          <a:p>
            <a:pPr algn="ctr" defTabSz="1625367">
              <a:defRPr/>
            </a:pPr>
            <a:r>
              <a:rPr lang="ar-SA" sz="2400" b="1" kern="0" dirty="0">
                <a:solidFill>
                  <a:srgbClr val="0070C0"/>
                </a:solidFill>
                <a:latin typeface="Sakkal Majalla" panose="02000000000000000000" pitchFamily="2" charset="-78"/>
                <a:ea typeface="Samim" panose="020B0603030804020204" pitchFamily="34" charset="0"/>
                <a:cs typeface="Sakkal Majalla" panose="02000000000000000000" pitchFamily="2" charset="-78"/>
                <a:sym typeface="Josefin Sans"/>
              </a:rPr>
              <a:t>هي مجموعة من المعارف والمهارات والكفايات والقيم التي ينبغي أن يمتلكها الفرد وتمكنه من بناء كيانه الشخصي والاجتماعي والاقتصادي</a:t>
            </a:r>
          </a:p>
        </p:txBody>
      </p:sp>
      <p:sp>
        <p:nvSpPr>
          <p:cNvPr id="6" name="Google Shape;910;p31">
            <a:extLst>
              <a:ext uri="{FF2B5EF4-FFF2-40B4-BE49-F238E27FC236}">
                <a16:creationId xmlns:a16="http://schemas.microsoft.com/office/drawing/2014/main" id="{E48C3426-754E-A3F2-37D5-41E7929D63D8}"/>
              </a:ext>
            </a:extLst>
          </p:cNvPr>
          <p:cNvSpPr txBox="1"/>
          <p:nvPr/>
        </p:nvSpPr>
        <p:spPr>
          <a:xfrm>
            <a:off x="2639622" y="4221127"/>
            <a:ext cx="2484204" cy="557860"/>
          </a:xfrm>
          <a:prstGeom prst="rect">
            <a:avLst/>
          </a:prstGeom>
          <a:solidFill>
            <a:srgbClr val="ABFFEF"/>
          </a:solidFill>
          <a:ln w="9525" cap="flat" cmpd="sng">
            <a:solidFill>
              <a:srgbClr val="97A4FF"/>
            </a:solidFill>
            <a:prstDash val="solid"/>
            <a:round/>
            <a:headEnd type="none" w="sm" len="sm"/>
            <a:tailEnd type="none" w="sm" len="sm"/>
          </a:ln>
        </p:spPr>
        <p:txBody>
          <a:bodyPr spcFirstLastPara="1" wrap="square" lIns="162533" tIns="162533" rIns="162533" bIns="162533" anchor="ctr" anchorCtr="0">
            <a:noAutofit/>
          </a:bodyPr>
          <a:lstStyle/>
          <a:p>
            <a:pPr algn="ctr" defTabSz="1625367">
              <a:defRPr/>
            </a:pPr>
            <a:r>
              <a:rPr lang="ar-SA" sz="2400" b="1" dirty="0">
                <a:solidFill>
                  <a:srgbClr val="01083A"/>
                </a:solidFill>
                <a:latin typeface="Sakkal Majalla" panose="02000000000000000000" pitchFamily="2" charset="-78"/>
                <a:ea typeface="Samim" panose="020B0603030804020204" pitchFamily="34" charset="0"/>
                <a:cs typeface="Sakkal Majalla" panose="02000000000000000000" pitchFamily="2" charset="-78"/>
                <a:sym typeface="Josefin Sans"/>
              </a:rPr>
              <a:t>مراحل التعليم العام</a:t>
            </a:r>
            <a:endParaRPr sz="2400" b="1" dirty="0">
              <a:solidFill>
                <a:srgbClr val="01083A"/>
              </a:solidFill>
              <a:latin typeface="Sakkal Majalla" panose="02000000000000000000" pitchFamily="2" charset="-78"/>
              <a:ea typeface="Samim" panose="020B0603030804020204" pitchFamily="34" charset="0"/>
              <a:cs typeface="Sakkal Majalla" panose="02000000000000000000" pitchFamily="2" charset="-78"/>
              <a:sym typeface="Josefin Sans"/>
            </a:endParaRPr>
          </a:p>
        </p:txBody>
      </p:sp>
      <p:cxnSp>
        <p:nvCxnSpPr>
          <p:cNvPr id="7" name="رابط مستقيم 6">
            <a:extLst>
              <a:ext uri="{FF2B5EF4-FFF2-40B4-BE49-F238E27FC236}">
                <a16:creationId xmlns:a16="http://schemas.microsoft.com/office/drawing/2014/main" id="{71734284-C5F5-79BE-1455-0C32A4BCD95C}"/>
              </a:ext>
            </a:extLst>
          </p:cNvPr>
          <p:cNvCxnSpPr>
            <a:cxnSpLocks/>
          </p:cNvCxnSpPr>
          <p:nvPr/>
        </p:nvCxnSpPr>
        <p:spPr>
          <a:xfrm flipH="1">
            <a:off x="3739268" y="2313084"/>
            <a:ext cx="0" cy="383691"/>
          </a:xfrm>
          <a:prstGeom prst="line">
            <a:avLst/>
          </a:prstGeom>
          <a:noFill/>
          <a:ln w="28575" cap="flat" cmpd="sng" algn="ctr">
            <a:solidFill>
              <a:srgbClr val="7030A0"/>
            </a:solidFill>
            <a:prstDash val="solid"/>
            <a:miter lim="800000"/>
            <a:headEnd type="none" w="med" len="med"/>
            <a:tailEnd type="arrow" w="med" len="med"/>
          </a:ln>
          <a:effectLst/>
        </p:spPr>
      </p:cxnSp>
      <p:sp>
        <p:nvSpPr>
          <p:cNvPr id="8" name="Google Shape;910;p31">
            <a:extLst>
              <a:ext uri="{FF2B5EF4-FFF2-40B4-BE49-F238E27FC236}">
                <a16:creationId xmlns:a16="http://schemas.microsoft.com/office/drawing/2014/main" id="{EBFE9716-98A9-022B-E219-08E0DF7FB398}"/>
              </a:ext>
            </a:extLst>
          </p:cNvPr>
          <p:cNvSpPr txBox="1"/>
          <p:nvPr/>
        </p:nvSpPr>
        <p:spPr>
          <a:xfrm>
            <a:off x="2354715" y="5157194"/>
            <a:ext cx="3003543" cy="1344149"/>
          </a:xfrm>
          <a:prstGeom prst="rect">
            <a:avLst/>
          </a:prstGeom>
          <a:solidFill>
            <a:srgbClr val="ABFFEF">
              <a:alpha val="60000"/>
            </a:srgbClr>
          </a:solidFill>
          <a:ln w="9525" cap="flat" cmpd="sng">
            <a:solidFill>
              <a:srgbClr val="97A4FF"/>
            </a:solidFill>
            <a:prstDash val="solid"/>
            <a:round/>
            <a:headEnd type="none" w="sm" len="sm"/>
            <a:tailEnd type="none" w="sm" len="sm"/>
          </a:ln>
        </p:spPr>
        <p:txBody>
          <a:bodyPr spcFirstLastPara="1" wrap="square" lIns="162533" tIns="162533" rIns="162533" bIns="162533" anchor="ctr" anchorCtr="0">
            <a:noAutofit/>
          </a:bodyPr>
          <a:lstStyle/>
          <a:p>
            <a:pPr algn="ctr" defTabSz="1625367">
              <a:defRPr/>
            </a:pPr>
            <a:r>
              <a:rPr lang="ar-SA" sz="2400" b="1" dirty="0">
                <a:solidFill>
                  <a:srgbClr val="01083A"/>
                </a:solidFill>
                <a:latin typeface="Sakkal Majalla" panose="02000000000000000000" pitchFamily="2" charset="-78"/>
                <a:ea typeface="Samim" panose="020B0603030804020204" pitchFamily="34" charset="0"/>
                <a:cs typeface="Sakkal Majalla" panose="02000000000000000000" pitchFamily="2" charset="-78"/>
                <a:sym typeface="Josefin Sans"/>
              </a:rPr>
              <a:t>مخرجات التعليم:</a:t>
            </a:r>
          </a:p>
          <a:p>
            <a:pPr algn="ctr" defTabSz="1625367">
              <a:defRPr/>
            </a:pPr>
            <a:r>
              <a:rPr lang="ar-SA" sz="2400" b="1" dirty="0">
                <a:solidFill>
                  <a:srgbClr val="C00000"/>
                </a:solidFill>
                <a:latin typeface="Sakkal Majalla" panose="02000000000000000000" pitchFamily="2" charset="-78"/>
                <a:ea typeface="Samim" panose="020B0603030804020204" pitchFamily="34" charset="0"/>
                <a:cs typeface="Sakkal Majalla" panose="02000000000000000000" pitchFamily="2" charset="-78"/>
                <a:sym typeface="Josefin Sans"/>
              </a:rPr>
              <a:t> المعارف والمهارات</a:t>
            </a:r>
          </a:p>
          <a:p>
            <a:pPr algn="ctr" defTabSz="1625367">
              <a:defRPr/>
            </a:pPr>
            <a:r>
              <a:rPr lang="ar-SA" sz="2400" b="1" dirty="0">
                <a:solidFill>
                  <a:srgbClr val="C00000"/>
                </a:solidFill>
                <a:latin typeface="Sakkal Majalla" panose="02000000000000000000" pitchFamily="2" charset="-78"/>
                <a:ea typeface="Samim" panose="020B0603030804020204" pitchFamily="34" charset="0"/>
                <a:cs typeface="Sakkal Majalla" panose="02000000000000000000" pitchFamily="2" charset="-78"/>
                <a:sym typeface="Josefin Sans"/>
              </a:rPr>
              <a:t> القيم والسلوك</a:t>
            </a:r>
          </a:p>
        </p:txBody>
      </p:sp>
      <p:cxnSp>
        <p:nvCxnSpPr>
          <p:cNvPr id="9" name="رابط مستقيم 8">
            <a:extLst>
              <a:ext uri="{FF2B5EF4-FFF2-40B4-BE49-F238E27FC236}">
                <a16:creationId xmlns:a16="http://schemas.microsoft.com/office/drawing/2014/main" id="{2EC35D19-2335-38CF-863F-6459FE493348}"/>
              </a:ext>
            </a:extLst>
          </p:cNvPr>
          <p:cNvCxnSpPr>
            <a:cxnSpLocks/>
          </p:cNvCxnSpPr>
          <p:nvPr/>
        </p:nvCxnSpPr>
        <p:spPr>
          <a:xfrm>
            <a:off x="3718091" y="3651143"/>
            <a:ext cx="0" cy="549280"/>
          </a:xfrm>
          <a:prstGeom prst="line">
            <a:avLst/>
          </a:prstGeom>
          <a:noFill/>
          <a:ln w="28575" cap="flat" cmpd="sng" algn="ctr">
            <a:solidFill>
              <a:srgbClr val="7030A0"/>
            </a:solidFill>
            <a:prstDash val="solid"/>
            <a:miter lim="800000"/>
            <a:headEnd type="none" w="med" len="med"/>
            <a:tailEnd type="arrow" w="med" len="med"/>
          </a:ln>
          <a:effectLst/>
        </p:spPr>
      </p:cxnSp>
      <p:cxnSp>
        <p:nvCxnSpPr>
          <p:cNvPr id="10" name="رابط مستقيم 9">
            <a:extLst>
              <a:ext uri="{FF2B5EF4-FFF2-40B4-BE49-F238E27FC236}">
                <a16:creationId xmlns:a16="http://schemas.microsoft.com/office/drawing/2014/main" id="{101D6782-DFDB-FB0F-7129-7150724BCAEC}"/>
              </a:ext>
            </a:extLst>
          </p:cNvPr>
          <p:cNvCxnSpPr>
            <a:cxnSpLocks/>
          </p:cNvCxnSpPr>
          <p:nvPr/>
        </p:nvCxnSpPr>
        <p:spPr>
          <a:xfrm>
            <a:off x="3739265" y="4778987"/>
            <a:ext cx="0" cy="378207"/>
          </a:xfrm>
          <a:prstGeom prst="line">
            <a:avLst/>
          </a:prstGeom>
          <a:noFill/>
          <a:ln w="28575" cap="flat" cmpd="sng" algn="ctr">
            <a:solidFill>
              <a:srgbClr val="7030A0"/>
            </a:solidFill>
            <a:prstDash val="solid"/>
            <a:miter lim="800000"/>
            <a:headEnd type="none" w="med" len="med"/>
            <a:tailEnd type="arrow" w="med" len="med"/>
          </a:ln>
          <a:effectLst/>
        </p:spPr>
      </p:cxnSp>
      <p:sp>
        <p:nvSpPr>
          <p:cNvPr id="11" name="مربع نص 8">
            <a:extLst>
              <a:ext uri="{FF2B5EF4-FFF2-40B4-BE49-F238E27FC236}">
                <a16:creationId xmlns:a16="http://schemas.microsoft.com/office/drawing/2014/main" id="{F355437B-2151-24E4-EB91-DCD83D4C5F4E}"/>
              </a:ext>
            </a:extLst>
          </p:cNvPr>
          <p:cNvSpPr txBox="1"/>
          <p:nvPr/>
        </p:nvSpPr>
        <p:spPr>
          <a:xfrm>
            <a:off x="2120278" y="4773150"/>
            <a:ext cx="1445423" cy="380753"/>
          </a:xfrm>
          <a:prstGeom prst="rect">
            <a:avLst/>
          </a:prstGeom>
          <a:noFill/>
          <a:ln w="6350">
            <a:noFill/>
          </a:ln>
          <a:effectLst/>
        </p:spPr>
        <p:txBody>
          <a:bodyPr rot="0" spcFirstLastPara="0" vert="horz" wrap="square" lIns="162560" tIns="81280" rIns="162560" bIns="81280" numCol="1" spcCol="0" rtlCol="1" fromWordArt="0" anchor="ctr" anchorCtr="0" forceAA="0" compatLnSpc="1">
            <a:prstTxWarp prst="textNoShape">
              <a:avLst/>
            </a:prstTxWarp>
            <a:noAutofit/>
          </a:bodyPr>
          <a:lstStyle/>
          <a:p>
            <a:pPr defTabSz="1218868">
              <a:lnSpc>
                <a:spcPct val="115000"/>
              </a:lnSpc>
              <a:spcAft>
                <a:spcPts val="1777"/>
              </a:spcAft>
            </a:pPr>
            <a:r>
              <a:rPr lang="ar-SA" sz="2400" dirty="0">
                <a:solidFill>
                  <a:srgbClr val="C00000"/>
                </a:solidFill>
                <a:latin typeface="Sakkal Majalla" panose="02000000000000000000" pitchFamily="2" charset="-78"/>
                <a:ea typeface="Samim" panose="020B0603030804020204" pitchFamily="34" charset="0"/>
                <a:cs typeface="Sakkal Majalla" panose="02000000000000000000" pitchFamily="2" charset="-78"/>
              </a:rPr>
              <a:t>تحقق</a:t>
            </a:r>
            <a:endParaRPr lang="en-US" sz="2400" dirty="0">
              <a:solidFill>
                <a:srgbClr val="C00000"/>
              </a:solidFill>
              <a:latin typeface="Sakkal Majalla" panose="02000000000000000000" pitchFamily="2" charset="-78"/>
              <a:ea typeface="Samim" panose="020B0603030804020204" pitchFamily="34" charset="0"/>
              <a:cs typeface="Sakkal Majalla" panose="02000000000000000000" pitchFamily="2" charset="-78"/>
            </a:endParaRPr>
          </a:p>
        </p:txBody>
      </p:sp>
      <p:sp>
        <p:nvSpPr>
          <p:cNvPr id="12" name="مربع نص 8">
            <a:extLst>
              <a:ext uri="{FF2B5EF4-FFF2-40B4-BE49-F238E27FC236}">
                <a16:creationId xmlns:a16="http://schemas.microsoft.com/office/drawing/2014/main" id="{E8981515-A2C9-520E-6A2D-6F2B71366EAD}"/>
              </a:ext>
            </a:extLst>
          </p:cNvPr>
          <p:cNvSpPr txBox="1"/>
          <p:nvPr/>
        </p:nvSpPr>
        <p:spPr>
          <a:xfrm>
            <a:off x="1679510" y="3525013"/>
            <a:ext cx="2041169" cy="627663"/>
          </a:xfrm>
          <a:prstGeom prst="rect">
            <a:avLst/>
          </a:prstGeom>
          <a:noFill/>
          <a:ln w="6350">
            <a:noFill/>
          </a:ln>
          <a:effectLst/>
        </p:spPr>
        <p:txBody>
          <a:bodyPr rot="0" spcFirstLastPara="0" vert="horz" wrap="square" lIns="162560" tIns="81280" rIns="162560" bIns="81280" numCol="1" spcCol="0" rtlCol="1" fromWordArt="0" anchor="ctr" anchorCtr="0" forceAA="0" compatLnSpc="1">
            <a:prstTxWarp prst="textNoShape">
              <a:avLst/>
            </a:prstTxWarp>
            <a:noAutofit/>
          </a:bodyPr>
          <a:lstStyle/>
          <a:p>
            <a:pPr defTabSz="1218868">
              <a:lnSpc>
                <a:spcPct val="115000"/>
              </a:lnSpc>
              <a:spcAft>
                <a:spcPts val="1777"/>
              </a:spcAft>
            </a:pPr>
            <a:r>
              <a:rPr lang="ar-SA" sz="2400" dirty="0">
                <a:solidFill>
                  <a:srgbClr val="C00000"/>
                </a:solidFill>
                <a:latin typeface="Sakkal Majalla" panose="02000000000000000000" pitchFamily="2" charset="-78"/>
                <a:ea typeface="Samim" panose="020B0603030804020204" pitchFamily="34" charset="0"/>
                <a:cs typeface="Sakkal Majalla" panose="02000000000000000000" pitchFamily="2" charset="-78"/>
              </a:rPr>
              <a:t>يعتمد على</a:t>
            </a:r>
            <a:endParaRPr lang="en-US" sz="2400" dirty="0">
              <a:solidFill>
                <a:srgbClr val="C00000"/>
              </a:solidFill>
              <a:latin typeface="Sakkal Majalla" panose="02000000000000000000" pitchFamily="2" charset="-78"/>
              <a:ea typeface="Samim" panose="020B0603030804020204" pitchFamily="34" charset="0"/>
              <a:cs typeface="Sakkal Majalla" panose="02000000000000000000" pitchFamily="2" charset="-78"/>
            </a:endParaRPr>
          </a:p>
        </p:txBody>
      </p:sp>
      <p:cxnSp>
        <p:nvCxnSpPr>
          <p:cNvPr id="18" name="Google Shape;921;p31">
            <a:extLst>
              <a:ext uri="{FF2B5EF4-FFF2-40B4-BE49-F238E27FC236}">
                <a16:creationId xmlns:a16="http://schemas.microsoft.com/office/drawing/2014/main" id="{E7415824-9E3B-F3CB-EBB2-D2B8801DBBCE}"/>
              </a:ext>
            </a:extLst>
          </p:cNvPr>
          <p:cNvCxnSpPr>
            <a:cxnSpLocks/>
            <a:stCxn id="8" idx="3"/>
            <a:endCxn id="19" idx="1"/>
          </p:cNvCxnSpPr>
          <p:nvPr/>
        </p:nvCxnSpPr>
        <p:spPr>
          <a:xfrm flipV="1">
            <a:off x="5358255" y="741428"/>
            <a:ext cx="2627632" cy="5087840"/>
          </a:xfrm>
          <a:prstGeom prst="bentConnector3">
            <a:avLst>
              <a:gd name="adj1" fmla="val 20321"/>
            </a:avLst>
          </a:prstGeom>
          <a:noFill/>
          <a:ln w="28575" cap="flat" cmpd="sng">
            <a:solidFill>
              <a:srgbClr val="8594FF"/>
            </a:solidFill>
            <a:prstDash val="solid"/>
            <a:round/>
            <a:headEnd type="none" w="med" len="med"/>
            <a:tailEnd type="arrow" w="med" len="med"/>
          </a:ln>
        </p:spPr>
      </p:cxnSp>
      <p:sp>
        <p:nvSpPr>
          <p:cNvPr id="19" name="Google Shape;910;p31">
            <a:extLst>
              <a:ext uri="{FF2B5EF4-FFF2-40B4-BE49-F238E27FC236}">
                <a16:creationId xmlns:a16="http://schemas.microsoft.com/office/drawing/2014/main" id="{CEE9DDDD-6FDA-1D8F-EC84-7F8E0D2D3EF2}"/>
              </a:ext>
            </a:extLst>
          </p:cNvPr>
          <p:cNvSpPr txBox="1"/>
          <p:nvPr/>
        </p:nvSpPr>
        <p:spPr>
          <a:xfrm>
            <a:off x="7985890" y="462499"/>
            <a:ext cx="3390700" cy="557860"/>
          </a:xfrm>
          <a:prstGeom prst="rect">
            <a:avLst/>
          </a:prstGeom>
          <a:solidFill>
            <a:srgbClr val="00FFCC">
              <a:alpha val="56078"/>
            </a:srgbClr>
          </a:solidFill>
          <a:ln w="9525" cap="flat" cmpd="sng">
            <a:solidFill>
              <a:srgbClr val="97A4FF"/>
            </a:solidFill>
            <a:prstDash val="solid"/>
            <a:round/>
            <a:headEnd type="none" w="sm" len="sm"/>
            <a:tailEnd type="none" w="sm" len="sm"/>
          </a:ln>
        </p:spPr>
        <p:txBody>
          <a:bodyPr spcFirstLastPara="1" wrap="square" lIns="162533" tIns="162533" rIns="162533" bIns="162533" anchor="ctr" anchorCtr="0">
            <a:noAutofit/>
          </a:bodyPr>
          <a:lstStyle/>
          <a:p>
            <a:pPr algn="ctr" defTabSz="1625367">
              <a:defRPr/>
            </a:pPr>
            <a:r>
              <a:rPr lang="ar-SA" sz="3733" dirty="0">
                <a:solidFill>
                  <a:srgbClr val="002060"/>
                </a:solidFill>
                <a:latin typeface="Sakkal Majalla" panose="02000000000000000000" pitchFamily="2" charset="-78"/>
                <a:ea typeface="Samim" panose="020B0603030804020204" pitchFamily="34" charset="0"/>
                <a:cs typeface="Sakkal Majalla" panose="02000000000000000000" pitchFamily="2" charset="-78"/>
              </a:rPr>
              <a:t>يتطلب منظمة مُمكنة</a:t>
            </a:r>
            <a:endParaRPr sz="4800" b="1" dirty="0">
              <a:solidFill>
                <a:srgbClr val="01083A"/>
              </a:solidFill>
              <a:latin typeface="Sakkal Majalla" panose="02000000000000000000" pitchFamily="2" charset="-78"/>
              <a:ea typeface="Samim" panose="020B0603030804020204" pitchFamily="34" charset="0"/>
              <a:cs typeface="Sakkal Majalla" panose="02000000000000000000" pitchFamily="2" charset="-78"/>
              <a:sym typeface="Josefin Sans"/>
            </a:endParaRPr>
          </a:p>
        </p:txBody>
      </p:sp>
      <p:sp>
        <p:nvSpPr>
          <p:cNvPr id="24" name="Google Shape;911;p31">
            <a:extLst>
              <a:ext uri="{FF2B5EF4-FFF2-40B4-BE49-F238E27FC236}">
                <a16:creationId xmlns:a16="http://schemas.microsoft.com/office/drawing/2014/main" id="{FC4D1266-5311-422B-9432-F473D94C8076}"/>
              </a:ext>
            </a:extLst>
          </p:cNvPr>
          <p:cNvSpPr txBox="1"/>
          <p:nvPr/>
        </p:nvSpPr>
        <p:spPr>
          <a:xfrm>
            <a:off x="6072702" y="1126905"/>
            <a:ext cx="5720988" cy="5280587"/>
          </a:xfrm>
          <a:prstGeom prst="rect">
            <a:avLst/>
          </a:prstGeom>
          <a:noFill/>
          <a:ln w="12700" cap="flat" cmpd="sng">
            <a:solidFill>
              <a:srgbClr val="7030A0"/>
            </a:solidFill>
            <a:prstDash val="solid"/>
            <a:round/>
            <a:headEnd type="none" w="sm" len="sm"/>
            <a:tailEnd type="none" w="sm" len="sm"/>
            <a:extLst>
              <a:ext uri="{C807C97D-BFC1-408E-A445-0C87EB9F89A2}">
                <ask:lineSketchStyleProps xmlns:ask="http://schemas.microsoft.com/office/drawing/2018/sketchyshapes" sd="3032389892">
                  <a:custGeom>
                    <a:avLst/>
                    <a:gdLst>
                      <a:gd name="connsiteX0" fmla="*/ 0 w 4563674"/>
                      <a:gd name="connsiteY0" fmla="*/ 0 h 4985401"/>
                      <a:gd name="connsiteX1" fmla="*/ 606317 w 4563674"/>
                      <a:gd name="connsiteY1" fmla="*/ 0 h 4985401"/>
                      <a:gd name="connsiteX2" fmla="*/ 1349544 w 4563674"/>
                      <a:gd name="connsiteY2" fmla="*/ 0 h 4985401"/>
                      <a:gd name="connsiteX3" fmla="*/ 2092771 w 4563674"/>
                      <a:gd name="connsiteY3" fmla="*/ 0 h 4985401"/>
                      <a:gd name="connsiteX4" fmla="*/ 2653450 w 4563674"/>
                      <a:gd name="connsiteY4" fmla="*/ 0 h 4985401"/>
                      <a:gd name="connsiteX5" fmla="*/ 3396677 w 4563674"/>
                      <a:gd name="connsiteY5" fmla="*/ 0 h 4985401"/>
                      <a:gd name="connsiteX6" fmla="*/ 4002994 w 4563674"/>
                      <a:gd name="connsiteY6" fmla="*/ 0 h 4985401"/>
                      <a:gd name="connsiteX7" fmla="*/ 4563674 w 4563674"/>
                      <a:gd name="connsiteY7" fmla="*/ 0 h 4985401"/>
                      <a:gd name="connsiteX8" fmla="*/ 4563674 w 4563674"/>
                      <a:gd name="connsiteY8" fmla="*/ 473613 h 4985401"/>
                      <a:gd name="connsiteX9" fmla="*/ 4563674 w 4563674"/>
                      <a:gd name="connsiteY9" fmla="*/ 1096788 h 4985401"/>
                      <a:gd name="connsiteX10" fmla="*/ 4563674 w 4563674"/>
                      <a:gd name="connsiteY10" fmla="*/ 1819671 h 4985401"/>
                      <a:gd name="connsiteX11" fmla="*/ 4563674 w 4563674"/>
                      <a:gd name="connsiteY11" fmla="*/ 2442846 h 4985401"/>
                      <a:gd name="connsiteX12" fmla="*/ 4563674 w 4563674"/>
                      <a:gd name="connsiteY12" fmla="*/ 3115876 h 4985401"/>
                      <a:gd name="connsiteX13" fmla="*/ 4563674 w 4563674"/>
                      <a:gd name="connsiteY13" fmla="*/ 3689197 h 4985401"/>
                      <a:gd name="connsiteX14" fmla="*/ 4563674 w 4563674"/>
                      <a:gd name="connsiteY14" fmla="*/ 4362226 h 4985401"/>
                      <a:gd name="connsiteX15" fmla="*/ 4563674 w 4563674"/>
                      <a:gd name="connsiteY15" fmla="*/ 4985401 h 4985401"/>
                      <a:gd name="connsiteX16" fmla="*/ 3957357 w 4563674"/>
                      <a:gd name="connsiteY16" fmla="*/ 4985401 h 4985401"/>
                      <a:gd name="connsiteX17" fmla="*/ 3442314 w 4563674"/>
                      <a:gd name="connsiteY17" fmla="*/ 4985401 h 4985401"/>
                      <a:gd name="connsiteX18" fmla="*/ 2881634 w 4563674"/>
                      <a:gd name="connsiteY18" fmla="*/ 4985401 h 4985401"/>
                      <a:gd name="connsiteX19" fmla="*/ 2366591 w 4563674"/>
                      <a:gd name="connsiteY19" fmla="*/ 4985401 h 4985401"/>
                      <a:gd name="connsiteX20" fmla="*/ 1669001 w 4563674"/>
                      <a:gd name="connsiteY20" fmla="*/ 4985401 h 4985401"/>
                      <a:gd name="connsiteX21" fmla="*/ 1017047 w 4563674"/>
                      <a:gd name="connsiteY21" fmla="*/ 4985401 h 4985401"/>
                      <a:gd name="connsiteX22" fmla="*/ 0 w 4563674"/>
                      <a:gd name="connsiteY22" fmla="*/ 4985401 h 4985401"/>
                      <a:gd name="connsiteX23" fmla="*/ 0 w 4563674"/>
                      <a:gd name="connsiteY23" fmla="*/ 4362226 h 4985401"/>
                      <a:gd name="connsiteX24" fmla="*/ 0 w 4563674"/>
                      <a:gd name="connsiteY24" fmla="*/ 3739051 h 4985401"/>
                      <a:gd name="connsiteX25" fmla="*/ 0 w 4563674"/>
                      <a:gd name="connsiteY25" fmla="*/ 3265438 h 4985401"/>
                      <a:gd name="connsiteX26" fmla="*/ 0 w 4563674"/>
                      <a:gd name="connsiteY26" fmla="*/ 2791825 h 4985401"/>
                      <a:gd name="connsiteX27" fmla="*/ 0 w 4563674"/>
                      <a:gd name="connsiteY27" fmla="*/ 2268357 h 4985401"/>
                      <a:gd name="connsiteX28" fmla="*/ 0 w 4563674"/>
                      <a:gd name="connsiteY28" fmla="*/ 1695036 h 4985401"/>
                      <a:gd name="connsiteX29" fmla="*/ 0 w 4563674"/>
                      <a:gd name="connsiteY29" fmla="*/ 1121715 h 4985401"/>
                      <a:gd name="connsiteX30" fmla="*/ 0 w 4563674"/>
                      <a:gd name="connsiteY30" fmla="*/ 0 h 4985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4563674" h="4985401" extrusionOk="0">
                        <a:moveTo>
                          <a:pt x="0" y="0"/>
                        </a:moveTo>
                        <a:cubicBezTo>
                          <a:pt x="180063" y="-12546"/>
                          <a:pt x="470988" y="4802"/>
                          <a:pt x="606317" y="0"/>
                        </a:cubicBezTo>
                        <a:cubicBezTo>
                          <a:pt x="741646" y="-4802"/>
                          <a:pt x="1074993" y="12173"/>
                          <a:pt x="1349544" y="0"/>
                        </a:cubicBezTo>
                        <a:cubicBezTo>
                          <a:pt x="1624095" y="-12173"/>
                          <a:pt x="1898054" y="-34704"/>
                          <a:pt x="2092771" y="0"/>
                        </a:cubicBezTo>
                        <a:cubicBezTo>
                          <a:pt x="2287488" y="34704"/>
                          <a:pt x="2462394" y="-27934"/>
                          <a:pt x="2653450" y="0"/>
                        </a:cubicBezTo>
                        <a:cubicBezTo>
                          <a:pt x="2844506" y="27934"/>
                          <a:pt x="3066339" y="-24621"/>
                          <a:pt x="3396677" y="0"/>
                        </a:cubicBezTo>
                        <a:cubicBezTo>
                          <a:pt x="3727015" y="24621"/>
                          <a:pt x="3735565" y="29513"/>
                          <a:pt x="4002994" y="0"/>
                        </a:cubicBezTo>
                        <a:cubicBezTo>
                          <a:pt x="4270423" y="-29513"/>
                          <a:pt x="4335060" y="4818"/>
                          <a:pt x="4563674" y="0"/>
                        </a:cubicBezTo>
                        <a:cubicBezTo>
                          <a:pt x="4552553" y="225149"/>
                          <a:pt x="4561713" y="365426"/>
                          <a:pt x="4563674" y="473613"/>
                        </a:cubicBezTo>
                        <a:cubicBezTo>
                          <a:pt x="4565635" y="581800"/>
                          <a:pt x="4550669" y="931959"/>
                          <a:pt x="4563674" y="1096788"/>
                        </a:cubicBezTo>
                        <a:cubicBezTo>
                          <a:pt x="4576679" y="1261618"/>
                          <a:pt x="4545821" y="1505476"/>
                          <a:pt x="4563674" y="1819671"/>
                        </a:cubicBezTo>
                        <a:cubicBezTo>
                          <a:pt x="4581527" y="2133866"/>
                          <a:pt x="4563360" y="2317865"/>
                          <a:pt x="4563674" y="2442846"/>
                        </a:cubicBezTo>
                        <a:cubicBezTo>
                          <a:pt x="4563988" y="2567828"/>
                          <a:pt x="4581958" y="2823659"/>
                          <a:pt x="4563674" y="3115876"/>
                        </a:cubicBezTo>
                        <a:cubicBezTo>
                          <a:pt x="4545391" y="3408093"/>
                          <a:pt x="4535341" y="3521859"/>
                          <a:pt x="4563674" y="3689197"/>
                        </a:cubicBezTo>
                        <a:cubicBezTo>
                          <a:pt x="4592007" y="3856535"/>
                          <a:pt x="4588124" y="4183615"/>
                          <a:pt x="4563674" y="4362226"/>
                        </a:cubicBezTo>
                        <a:cubicBezTo>
                          <a:pt x="4539224" y="4540837"/>
                          <a:pt x="4573929" y="4698678"/>
                          <a:pt x="4563674" y="4985401"/>
                        </a:cubicBezTo>
                        <a:cubicBezTo>
                          <a:pt x="4299377" y="5002076"/>
                          <a:pt x="4227962" y="4984233"/>
                          <a:pt x="3957357" y="4985401"/>
                        </a:cubicBezTo>
                        <a:cubicBezTo>
                          <a:pt x="3686752" y="4986569"/>
                          <a:pt x="3562956" y="4978443"/>
                          <a:pt x="3442314" y="4985401"/>
                        </a:cubicBezTo>
                        <a:cubicBezTo>
                          <a:pt x="3321672" y="4992359"/>
                          <a:pt x="3131577" y="4958614"/>
                          <a:pt x="2881634" y="4985401"/>
                        </a:cubicBezTo>
                        <a:cubicBezTo>
                          <a:pt x="2631691" y="5012188"/>
                          <a:pt x="2581710" y="4967145"/>
                          <a:pt x="2366591" y="4985401"/>
                        </a:cubicBezTo>
                        <a:cubicBezTo>
                          <a:pt x="2151472" y="5003657"/>
                          <a:pt x="1869415" y="4982952"/>
                          <a:pt x="1669001" y="4985401"/>
                        </a:cubicBezTo>
                        <a:cubicBezTo>
                          <a:pt x="1468587" y="4987851"/>
                          <a:pt x="1164754" y="5005264"/>
                          <a:pt x="1017047" y="4985401"/>
                        </a:cubicBezTo>
                        <a:cubicBezTo>
                          <a:pt x="869340" y="4965538"/>
                          <a:pt x="204307" y="5010023"/>
                          <a:pt x="0" y="4985401"/>
                        </a:cubicBezTo>
                        <a:cubicBezTo>
                          <a:pt x="2974" y="4696278"/>
                          <a:pt x="-11918" y="4645261"/>
                          <a:pt x="0" y="4362226"/>
                        </a:cubicBezTo>
                        <a:cubicBezTo>
                          <a:pt x="11918" y="4079191"/>
                          <a:pt x="23650" y="3898536"/>
                          <a:pt x="0" y="3739051"/>
                        </a:cubicBezTo>
                        <a:cubicBezTo>
                          <a:pt x="-23650" y="3579566"/>
                          <a:pt x="-11188" y="3448946"/>
                          <a:pt x="0" y="3265438"/>
                        </a:cubicBezTo>
                        <a:cubicBezTo>
                          <a:pt x="11188" y="3081930"/>
                          <a:pt x="-8887" y="2956883"/>
                          <a:pt x="0" y="2791825"/>
                        </a:cubicBezTo>
                        <a:cubicBezTo>
                          <a:pt x="8887" y="2626767"/>
                          <a:pt x="13768" y="2445260"/>
                          <a:pt x="0" y="2268357"/>
                        </a:cubicBezTo>
                        <a:cubicBezTo>
                          <a:pt x="-13768" y="2091454"/>
                          <a:pt x="-21702" y="1835473"/>
                          <a:pt x="0" y="1695036"/>
                        </a:cubicBezTo>
                        <a:cubicBezTo>
                          <a:pt x="21702" y="1554599"/>
                          <a:pt x="-17363" y="1339087"/>
                          <a:pt x="0" y="1121715"/>
                        </a:cubicBezTo>
                        <a:cubicBezTo>
                          <a:pt x="17363" y="904343"/>
                          <a:pt x="-23845" y="527438"/>
                          <a:pt x="0" y="0"/>
                        </a:cubicBezTo>
                        <a:close/>
                      </a:path>
                    </a:pathLst>
                  </a:custGeom>
                  <ask:type>
                    <ask:lineSketchNone/>
                  </ask:type>
                </ask:lineSketchStyleProps>
              </a:ext>
            </a:extLst>
          </a:ln>
        </p:spPr>
        <p:txBody>
          <a:bodyPr spcFirstLastPara="1" wrap="square" lIns="81244" tIns="81244" rIns="81244" bIns="0" anchor="t" anchorCtr="0">
            <a:noAutofit/>
          </a:bodyPr>
          <a:lstStyle/>
          <a:p>
            <a:pPr algn="justLow" defTabSz="1218868">
              <a:buClr>
                <a:srgbClr val="C00000"/>
              </a:buClr>
              <a:buFont typeface="Wingdings" panose="05000000000000000000" pitchFamily="2" charset="2"/>
              <a:buChar char=""/>
            </a:pPr>
            <a:r>
              <a:rPr lang="ar-SA" sz="2400" dirty="0">
                <a:solidFill>
                  <a:srgbClr val="002060"/>
                </a:solidFill>
                <a:latin typeface="Sakkal Majalla" panose="02000000000000000000" pitchFamily="2" charset="-78"/>
                <a:ea typeface="Samim" panose="020B0603030804020204" pitchFamily="34" charset="0"/>
                <a:cs typeface="Sakkal Majalla" panose="02000000000000000000" pitchFamily="2" charset="-78"/>
              </a:rPr>
              <a:t>تُكسب أفرادها مخرجات التعلم المقصودة من (المعارف والمهارات والقيم).</a:t>
            </a:r>
            <a:endParaRPr lang="en-US" sz="2400" dirty="0">
              <a:solidFill>
                <a:srgbClr val="002060"/>
              </a:solidFill>
              <a:latin typeface="Sakkal Majalla" panose="02000000000000000000" pitchFamily="2" charset="-78"/>
              <a:ea typeface="Samim" panose="020B0603030804020204" pitchFamily="34" charset="0"/>
              <a:cs typeface="Sakkal Majalla" panose="02000000000000000000" pitchFamily="2" charset="-78"/>
            </a:endParaRPr>
          </a:p>
          <a:p>
            <a:pPr algn="justLow" defTabSz="1218868">
              <a:buClr>
                <a:srgbClr val="C00000"/>
              </a:buClr>
              <a:buFont typeface="Wingdings" panose="05000000000000000000" pitchFamily="2" charset="2"/>
              <a:buChar char=""/>
            </a:pPr>
            <a:r>
              <a:rPr lang="ar-SA" sz="2400" dirty="0">
                <a:solidFill>
                  <a:srgbClr val="002060"/>
                </a:solidFill>
                <a:latin typeface="Sakkal Majalla" panose="02000000000000000000" pitchFamily="2" charset="-78"/>
                <a:ea typeface="Samim" panose="020B0603030804020204" pitchFamily="34" charset="0"/>
                <a:cs typeface="Sakkal Majalla" panose="02000000000000000000" pitchFamily="2" charset="-78"/>
              </a:rPr>
              <a:t>الشفافية في البيانات التي تقيس نواتج التعلم</a:t>
            </a:r>
            <a:endParaRPr lang="en-US" sz="2400" dirty="0">
              <a:solidFill>
                <a:srgbClr val="002060"/>
              </a:solidFill>
              <a:latin typeface="Sakkal Majalla" panose="02000000000000000000" pitchFamily="2" charset="-78"/>
              <a:ea typeface="Samim" panose="020B0603030804020204" pitchFamily="34" charset="0"/>
              <a:cs typeface="Sakkal Majalla" panose="02000000000000000000" pitchFamily="2" charset="-78"/>
            </a:endParaRPr>
          </a:p>
          <a:p>
            <a:pPr algn="justLow" defTabSz="1218868">
              <a:buClr>
                <a:srgbClr val="C00000"/>
              </a:buClr>
              <a:buFont typeface="Wingdings" panose="05000000000000000000" pitchFamily="2" charset="2"/>
              <a:buChar char=""/>
            </a:pPr>
            <a:r>
              <a:rPr lang="ar-SA" sz="2400" dirty="0">
                <a:solidFill>
                  <a:srgbClr val="002060"/>
                </a:solidFill>
                <a:latin typeface="Sakkal Majalla" panose="02000000000000000000" pitchFamily="2" charset="-78"/>
                <a:ea typeface="Samim" panose="020B0603030804020204" pitchFamily="34" charset="0"/>
                <a:cs typeface="Sakkal Majalla" panose="02000000000000000000" pitchFamily="2" charset="-78"/>
              </a:rPr>
              <a:t>اتخاذ القرارات السليمة في منظومة التعليم بناء على بيانات سليمة وشفافة.</a:t>
            </a:r>
            <a:endParaRPr lang="en-US" sz="2400" dirty="0">
              <a:solidFill>
                <a:srgbClr val="002060"/>
              </a:solidFill>
              <a:latin typeface="Sakkal Majalla" panose="02000000000000000000" pitchFamily="2" charset="-78"/>
              <a:ea typeface="Samim" panose="020B0603030804020204" pitchFamily="34" charset="0"/>
              <a:cs typeface="Sakkal Majalla" panose="02000000000000000000" pitchFamily="2" charset="-78"/>
            </a:endParaRPr>
          </a:p>
          <a:p>
            <a:pPr algn="justLow" defTabSz="1218868">
              <a:buClr>
                <a:srgbClr val="C00000"/>
              </a:buClr>
              <a:buFont typeface="Wingdings" panose="05000000000000000000" pitchFamily="2" charset="2"/>
              <a:buChar char=""/>
            </a:pPr>
            <a:r>
              <a:rPr lang="ar-SA" sz="2400" dirty="0">
                <a:solidFill>
                  <a:srgbClr val="002060"/>
                </a:solidFill>
                <a:latin typeface="Sakkal Majalla" panose="02000000000000000000" pitchFamily="2" charset="-78"/>
                <a:ea typeface="Samim" panose="020B0603030804020204" pitchFamily="34" charset="0"/>
                <a:cs typeface="Sakkal Majalla" panose="02000000000000000000" pitchFamily="2" charset="-78"/>
              </a:rPr>
              <a:t>معلمون ملهمون ذوي خبرات علمية وخيارات مرنة ومبتكرة في أساليب وطرق التعليم مصممة حسب احتياجات المتعلمين. </a:t>
            </a:r>
            <a:endParaRPr lang="en-US" sz="2400" dirty="0">
              <a:solidFill>
                <a:srgbClr val="002060"/>
              </a:solidFill>
              <a:latin typeface="Sakkal Majalla" panose="02000000000000000000" pitchFamily="2" charset="-78"/>
              <a:ea typeface="Samim" panose="020B0603030804020204" pitchFamily="34" charset="0"/>
              <a:cs typeface="Sakkal Majalla" panose="02000000000000000000" pitchFamily="2" charset="-78"/>
            </a:endParaRPr>
          </a:p>
          <a:p>
            <a:pPr algn="justLow" defTabSz="1218868">
              <a:buClr>
                <a:srgbClr val="C00000"/>
              </a:buClr>
              <a:buFont typeface="Wingdings" panose="05000000000000000000" pitchFamily="2" charset="2"/>
              <a:buChar char=""/>
            </a:pPr>
            <a:r>
              <a:rPr lang="ar-SA" sz="2400" dirty="0">
                <a:solidFill>
                  <a:srgbClr val="002060"/>
                </a:solidFill>
                <a:latin typeface="Sakkal Majalla" panose="02000000000000000000" pitchFamily="2" charset="-78"/>
                <a:ea typeface="Samim" panose="020B0603030804020204" pitchFamily="34" charset="0"/>
                <a:cs typeface="Sakkal Majalla" panose="02000000000000000000" pitchFamily="2" charset="-78"/>
              </a:rPr>
              <a:t>تحسين مستمر وذاتي لعمليات التعليم والتعلم.</a:t>
            </a:r>
            <a:endParaRPr lang="en-US" sz="2400" dirty="0">
              <a:solidFill>
                <a:srgbClr val="002060"/>
              </a:solidFill>
              <a:latin typeface="Sakkal Majalla" panose="02000000000000000000" pitchFamily="2" charset="-78"/>
              <a:ea typeface="Samim" panose="020B0603030804020204" pitchFamily="34" charset="0"/>
              <a:cs typeface="Sakkal Majalla" panose="02000000000000000000" pitchFamily="2" charset="-78"/>
            </a:endParaRPr>
          </a:p>
          <a:p>
            <a:pPr algn="justLow" defTabSz="1218868">
              <a:buClr>
                <a:srgbClr val="C00000"/>
              </a:buClr>
              <a:buFont typeface="Wingdings" panose="05000000000000000000" pitchFamily="2" charset="2"/>
              <a:buChar char=""/>
            </a:pPr>
            <a:r>
              <a:rPr lang="ar-SA" sz="2400" dirty="0">
                <a:solidFill>
                  <a:srgbClr val="002060"/>
                </a:solidFill>
                <a:latin typeface="Sakkal Majalla" panose="02000000000000000000" pitchFamily="2" charset="-78"/>
                <a:ea typeface="Samim" panose="020B0603030804020204" pitchFamily="34" charset="0"/>
                <a:cs typeface="Sakkal Majalla" panose="02000000000000000000" pitchFamily="2" charset="-78"/>
              </a:rPr>
              <a:t>إرشاد مهني وسلوكي ونشر الوعي وإشراك الآسرة في التعليم.</a:t>
            </a:r>
            <a:endParaRPr lang="en-US" sz="2400" dirty="0">
              <a:solidFill>
                <a:srgbClr val="002060"/>
              </a:solidFill>
              <a:latin typeface="Sakkal Majalla" panose="02000000000000000000" pitchFamily="2" charset="-78"/>
              <a:ea typeface="Samim" panose="020B0603030804020204" pitchFamily="34" charset="0"/>
              <a:cs typeface="Sakkal Majalla" panose="02000000000000000000" pitchFamily="2" charset="-78"/>
            </a:endParaRPr>
          </a:p>
          <a:p>
            <a:pPr algn="justLow" defTabSz="1218868">
              <a:buClr>
                <a:srgbClr val="C00000"/>
              </a:buClr>
              <a:buFont typeface="Wingdings" panose="05000000000000000000" pitchFamily="2" charset="2"/>
              <a:buChar char=""/>
            </a:pPr>
            <a:r>
              <a:rPr lang="ar-SA" sz="2400" dirty="0">
                <a:solidFill>
                  <a:srgbClr val="002060"/>
                </a:solidFill>
                <a:latin typeface="Sakkal Majalla" panose="02000000000000000000" pitchFamily="2" charset="-78"/>
                <a:ea typeface="Samim" panose="020B0603030804020204" pitchFamily="34" charset="0"/>
                <a:cs typeface="Sakkal Majalla" panose="02000000000000000000" pitchFamily="2" charset="-78"/>
              </a:rPr>
              <a:t>تعزيز الانضباط في البيئة التعليمية.</a:t>
            </a:r>
            <a:endParaRPr lang="en-US" sz="2400" dirty="0">
              <a:solidFill>
                <a:srgbClr val="002060"/>
              </a:solidFill>
              <a:latin typeface="Sakkal Majalla" panose="02000000000000000000" pitchFamily="2" charset="-78"/>
              <a:ea typeface="Samim" panose="020B0603030804020204" pitchFamily="34" charset="0"/>
              <a:cs typeface="Sakkal Majalla" panose="02000000000000000000" pitchFamily="2" charset="-78"/>
            </a:endParaRPr>
          </a:p>
          <a:p>
            <a:pPr algn="justLow" defTabSz="1218868">
              <a:buClr>
                <a:srgbClr val="C00000"/>
              </a:buClr>
              <a:buFont typeface="Wingdings" panose="05000000000000000000" pitchFamily="2" charset="2"/>
              <a:buChar char=""/>
            </a:pPr>
            <a:r>
              <a:rPr lang="ar-SA" sz="2400" dirty="0">
                <a:solidFill>
                  <a:srgbClr val="002060"/>
                </a:solidFill>
                <a:latin typeface="Sakkal Majalla" panose="02000000000000000000" pitchFamily="2" charset="-78"/>
                <a:ea typeface="Samim" panose="020B0603030804020204" pitchFamily="34" charset="0"/>
                <a:cs typeface="Sakkal Majalla" panose="02000000000000000000" pitchFamily="2" charset="-78"/>
              </a:rPr>
              <a:t>تمكين الطلاب من التفوق في المنافسات الدولية </a:t>
            </a:r>
            <a:r>
              <a:rPr lang="en-US" sz="2400" dirty="0">
                <a:solidFill>
                  <a:srgbClr val="002060"/>
                </a:solidFill>
                <a:latin typeface="Sakkal Majalla" panose="02000000000000000000" pitchFamily="2" charset="-78"/>
                <a:ea typeface="Samim" panose="020B0603030804020204" pitchFamily="34" charset="0"/>
                <a:cs typeface="Sakkal Majalla" panose="02000000000000000000" pitchFamily="2" charset="-78"/>
              </a:rPr>
              <a:t>TIMSS</a:t>
            </a:r>
            <a:r>
              <a:rPr lang="ar-SA" sz="2400" dirty="0">
                <a:solidFill>
                  <a:srgbClr val="002060"/>
                </a:solidFill>
                <a:latin typeface="Sakkal Majalla" panose="02000000000000000000" pitchFamily="2" charset="-78"/>
                <a:ea typeface="Samim" panose="020B0603030804020204" pitchFamily="34" charset="0"/>
                <a:cs typeface="Sakkal Majalla" panose="02000000000000000000" pitchFamily="2" charset="-78"/>
              </a:rPr>
              <a:t> ، </a:t>
            </a:r>
            <a:r>
              <a:rPr lang="en-US" sz="2400" dirty="0">
                <a:solidFill>
                  <a:srgbClr val="002060"/>
                </a:solidFill>
                <a:latin typeface="Sakkal Majalla" panose="02000000000000000000" pitchFamily="2" charset="-78"/>
                <a:ea typeface="Samim" panose="020B0603030804020204" pitchFamily="34" charset="0"/>
                <a:cs typeface="Sakkal Majalla" panose="02000000000000000000" pitchFamily="2" charset="-78"/>
              </a:rPr>
              <a:t>PISA</a:t>
            </a:r>
            <a:r>
              <a:rPr lang="ar-SA" sz="2400" dirty="0">
                <a:solidFill>
                  <a:srgbClr val="002060"/>
                </a:solidFill>
                <a:latin typeface="Sakkal Majalla" panose="02000000000000000000" pitchFamily="2" charset="-78"/>
                <a:ea typeface="Samim" panose="020B0603030804020204" pitchFamily="34" charset="0"/>
                <a:cs typeface="Sakkal Majalla" panose="02000000000000000000" pitchFamily="2" charset="-78"/>
              </a:rPr>
              <a:t> ، </a:t>
            </a:r>
            <a:r>
              <a:rPr lang="en-US" sz="2400" dirty="0">
                <a:solidFill>
                  <a:srgbClr val="002060"/>
                </a:solidFill>
                <a:latin typeface="Sakkal Majalla" panose="02000000000000000000" pitchFamily="2" charset="-78"/>
                <a:ea typeface="Samim" panose="020B0603030804020204" pitchFamily="34" charset="0"/>
                <a:cs typeface="Sakkal Majalla" panose="02000000000000000000" pitchFamily="2" charset="-78"/>
              </a:rPr>
              <a:t>PIRLS</a:t>
            </a:r>
            <a:r>
              <a:rPr lang="ar-SA" sz="2400" dirty="0">
                <a:solidFill>
                  <a:srgbClr val="002060"/>
                </a:solidFill>
                <a:latin typeface="Sakkal Majalla" panose="02000000000000000000" pitchFamily="2" charset="-78"/>
                <a:ea typeface="Samim" panose="020B0603030804020204" pitchFamily="34" charset="0"/>
                <a:cs typeface="Sakkal Majalla" panose="02000000000000000000" pitchFamily="2" charset="-78"/>
              </a:rPr>
              <a:t> (تحسين مستوى المملكة في المؤشرات).</a:t>
            </a:r>
            <a:endParaRPr lang="en-US" sz="2400" dirty="0">
              <a:solidFill>
                <a:srgbClr val="002060"/>
              </a:solidFill>
              <a:latin typeface="Sakkal Majalla" panose="02000000000000000000" pitchFamily="2" charset="-78"/>
              <a:ea typeface="Samim" panose="020B0603030804020204" pitchFamily="34" charset="0"/>
              <a:cs typeface="Sakkal Majalla" panose="02000000000000000000" pitchFamily="2" charset="-78"/>
            </a:endParaRPr>
          </a:p>
          <a:p>
            <a:pPr algn="justLow" defTabSz="1218868">
              <a:buClr>
                <a:srgbClr val="C00000"/>
              </a:buClr>
              <a:buFont typeface="Wingdings" panose="05000000000000000000" pitchFamily="2" charset="2"/>
              <a:buChar char=""/>
            </a:pPr>
            <a:r>
              <a:rPr lang="ar-SA" sz="2400" dirty="0">
                <a:solidFill>
                  <a:srgbClr val="002060"/>
                </a:solidFill>
                <a:latin typeface="Sakkal Majalla" panose="02000000000000000000" pitchFamily="2" charset="-78"/>
                <a:ea typeface="Samim" panose="020B0603030804020204" pitchFamily="34" charset="0"/>
                <a:cs typeface="Sakkal Majalla" panose="02000000000000000000" pitchFamily="2" charset="-78"/>
              </a:rPr>
              <a:t>العناية بالتربية الخاصة وصعوبات التعلم والكشف عن الموهوبين وذوي الاعاقة.</a:t>
            </a:r>
            <a:endParaRPr lang="en-US" sz="2400" dirty="0">
              <a:solidFill>
                <a:srgbClr val="002060"/>
              </a:solidFill>
              <a:latin typeface="Sakkal Majalla" panose="02000000000000000000" pitchFamily="2" charset="-78"/>
              <a:ea typeface="Samim" panose="020B0603030804020204" pitchFamily="34" charset="0"/>
              <a:cs typeface="Sakkal Majalla" panose="02000000000000000000" pitchFamily="2" charset="-78"/>
            </a:endParaRPr>
          </a:p>
          <a:p>
            <a:pPr algn="justLow" defTabSz="1625367">
              <a:buClr>
                <a:srgbClr val="C00000"/>
              </a:buClr>
              <a:defRPr/>
            </a:pPr>
            <a:endParaRPr lang="ar-SA" sz="2400" dirty="0">
              <a:solidFill>
                <a:srgbClr val="002060"/>
              </a:solidFill>
              <a:latin typeface="Sakkal Majalla" panose="02000000000000000000" pitchFamily="2" charset="-78"/>
              <a:ea typeface="Samim" panose="020B0603030804020204" pitchFamily="34" charset="0"/>
              <a:cs typeface="Sakkal Majalla" panose="02000000000000000000" pitchFamily="2" charset="-78"/>
              <a:sym typeface="Quicksand"/>
            </a:endParaRPr>
          </a:p>
        </p:txBody>
      </p:sp>
      <p:sp>
        <p:nvSpPr>
          <p:cNvPr id="25" name="مربع نص 24">
            <a:extLst>
              <a:ext uri="{FF2B5EF4-FFF2-40B4-BE49-F238E27FC236}">
                <a16:creationId xmlns:a16="http://schemas.microsoft.com/office/drawing/2014/main" id="{D2845611-5A17-52D7-7DD0-E6AE4351E28D}"/>
              </a:ext>
            </a:extLst>
          </p:cNvPr>
          <p:cNvSpPr txBox="1"/>
          <p:nvPr/>
        </p:nvSpPr>
        <p:spPr>
          <a:xfrm>
            <a:off x="239350" y="1020357"/>
            <a:ext cx="1669063" cy="4359335"/>
          </a:xfrm>
          <a:prstGeom prst="rect">
            <a:avLst/>
          </a:prstGeom>
          <a:noFill/>
          <a:ln w="19050">
            <a:solidFill>
              <a:srgbClr val="7030A0"/>
            </a:solidFill>
            <a:extLst>
              <a:ext uri="{C807C97D-BFC1-408E-A445-0C87EB9F89A2}">
                <ask:lineSketchStyleProps xmlns:ask="http://schemas.microsoft.com/office/drawing/2018/sketchyshapes" sd="1725321366">
                  <a:custGeom>
                    <a:avLst/>
                    <a:gdLst>
                      <a:gd name="connsiteX0" fmla="*/ 0 w 2168487"/>
                      <a:gd name="connsiteY0" fmla="*/ 0 h 2862322"/>
                      <a:gd name="connsiteX1" fmla="*/ 563807 w 2168487"/>
                      <a:gd name="connsiteY1" fmla="*/ 0 h 2862322"/>
                      <a:gd name="connsiteX2" fmla="*/ 1127613 w 2168487"/>
                      <a:gd name="connsiteY2" fmla="*/ 0 h 2862322"/>
                      <a:gd name="connsiteX3" fmla="*/ 1626365 w 2168487"/>
                      <a:gd name="connsiteY3" fmla="*/ 0 h 2862322"/>
                      <a:gd name="connsiteX4" fmla="*/ 2168487 w 2168487"/>
                      <a:gd name="connsiteY4" fmla="*/ 0 h 2862322"/>
                      <a:gd name="connsiteX5" fmla="*/ 2168487 w 2168487"/>
                      <a:gd name="connsiteY5" fmla="*/ 515218 h 2862322"/>
                      <a:gd name="connsiteX6" fmla="*/ 2168487 w 2168487"/>
                      <a:gd name="connsiteY6" fmla="*/ 1116306 h 2862322"/>
                      <a:gd name="connsiteX7" fmla="*/ 2168487 w 2168487"/>
                      <a:gd name="connsiteY7" fmla="*/ 1717393 h 2862322"/>
                      <a:gd name="connsiteX8" fmla="*/ 2168487 w 2168487"/>
                      <a:gd name="connsiteY8" fmla="*/ 2232611 h 2862322"/>
                      <a:gd name="connsiteX9" fmla="*/ 2168487 w 2168487"/>
                      <a:gd name="connsiteY9" fmla="*/ 2862322 h 2862322"/>
                      <a:gd name="connsiteX10" fmla="*/ 1669735 w 2168487"/>
                      <a:gd name="connsiteY10" fmla="*/ 2862322 h 2862322"/>
                      <a:gd name="connsiteX11" fmla="*/ 1192668 w 2168487"/>
                      <a:gd name="connsiteY11" fmla="*/ 2862322 h 2862322"/>
                      <a:gd name="connsiteX12" fmla="*/ 628861 w 2168487"/>
                      <a:gd name="connsiteY12" fmla="*/ 2862322 h 2862322"/>
                      <a:gd name="connsiteX13" fmla="*/ 0 w 2168487"/>
                      <a:gd name="connsiteY13" fmla="*/ 2862322 h 2862322"/>
                      <a:gd name="connsiteX14" fmla="*/ 0 w 2168487"/>
                      <a:gd name="connsiteY14" fmla="*/ 2289858 h 2862322"/>
                      <a:gd name="connsiteX15" fmla="*/ 0 w 2168487"/>
                      <a:gd name="connsiteY15" fmla="*/ 1688770 h 2862322"/>
                      <a:gd name="connsiteX16" fmla="*/ 0 w 2168487"/>
                      <a:gd name="connsiteY16" fmla="*/ 1173552 h 2862322"/>
                      <a:gd name="connsiteX17" fmla="*/ 0 w 2168487"/>
                      <a:gd name="connsiteY17" fmla="*/ 543841 h 2862322"/>
                      <a:gd name="connsiteX18" fmla="*/ 0 w 2168487"/>
                      <a:gd name="connsiteY18" fmla="*/ 0 h 2862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68487" h="2862322" extrusionOk="0">
                        <a:moveTo>
                          <a:pt x="0" y="0"/>
                        </a:moveTo>
                        <a:cubicBezTo>
                          <a:pt x="198173" y="25339"/>
                          <a:pt x="292360" y="23741"/>
                          <a:pt x="563807" y="0"/>
                        </a:cubicBezTo>
                        <a:cubicBezTo>
                          <a:pt x="835254" y="-23741"/>
                          <a:pt x="991568" y="26077"/>
                          <a:pt x="1127613" y="0"/>
                        </a:cubicBezTo>
                        <a:cubicBezTo>
                          <a:pt x="1263658" y="-26077"/>
                          <a:pt x="1453834" y="3508"/>
                          <a:pt x="1626365" y="0"/>
                        </a:cubicBezTo>
                        <a:cubicBezTo>
                          <a:pt x="1798896" y="-3508"/>
                          <a:pt x="1972786" y="-23043"/>
                          <a:pt x="2168487" y="0"/>
                        </a:cubicBezTo>
                        <a:cubicBezTo>
                          <a:pt x="2179409" y="230187"/>
                          <a:pt x="2192948" y="320574"/>
                          <a:pt x="2168487" y="515218"/>
                        </a:cubicBezTo>
                        <a:cubicBezTo>
                          <a:pt x="2144026" y="709862"/>
                          <a:pt x="2190762" y="936875"/>
                          <a:pt x="2168487" y="1116306"/>
                        </a:cubicBezTo>
                        <a:cubicBezTo>
                          <a:pt x="2146212" y="1295737"/>
                          <a:pt x="2139459" y="1481664"/>
                          <a:pt x="2168487" y="1717393"/>
                        </a:cubicBezTo>
                        <a:cubicBezTo>
                          <a:pt x="2197515" y="1953122"/>
                          <a:pt x="2174746" y="2018398"/>
                          <a:pt x="2168487" y="2232611"/>
                        </a:cubicBezTo>
                        <a:cubicBezTo>
                          <a:pt x="2162228" y="2446824"/>
                          <a:pt x="2149727" y="2611111"/>
                          <a:pt x="2168487" y="2862322"/>
                        </a:cubicBezTo>
                        <a:cubicBezTo>
                          <a:pt x="2063992" y="2879501"/>
                          <a:pt x="1868296" y="2871658"/>
                          <a:pt x="1669735" y="2862322"/>
                        </a:cubicBezTo>
                        <a:cubicBezTo>
                          <a:pt x="1471174" y="2852986"/>
                          <a:pt x="1418517" y="2878977"/>
                          <a:pt x="1192668" y="2862322"/>
                        </a:cubicBezTo>
                        <a:cubicBezTo>
                          <a:pt x="966819" y="2845667"/>
                          <a:pt x="751653" y="2874768"/>
                          <a:pt x="628861" y="2862322"/>
                        </a:cubicBezTo>
                        <a:cubicBezTo>
                          <a:pt x="506069" y="2849876"/>
                          <a:pt x="283563" y="2887780"/>
                          <a:pt x="0" y="2862322"/>
                        </a:cubicBezTo>
                        <a:cubicBezTo>
                          <a:pt x="2094" y="2715805"/>
                          <a:pt x="-4122" y="2501553"/>
                          <a:pt x="0" y="2289858"/>
                        </a:cubicBezTo>
                        <a:cubicBezTo>
                          <a:pt x="4122" y="2078163"/>
                          <a:pt x="-21384" y="1963116"/>
                          <a:pt x="0" y="1688770"/>
                        </a:cubicBezTo>
                        <a:cubicBezTo>
                          <a:pt x="21384" y="1414424"/>
                          <a:pt x="4321" y="1327284"/>
                          <a:pt x="0" y="1173552"/>
                        </a:cubicBezTo>
                        <a:cubicBezTo>
                          <a:pt x="-4321" y="1019820"/>
                          <a:pt x="-25094" y="816586"/>
                          <a:pt x="0" y="543841"/>
                        </a:cubicBezTo>
                        <a:cubicBezTo>
                          <a:pt x="25094" y="271096"/>
                          <a:pt x="11268" y="257278"/>
                          <a:pt x="0" y="0"/>
                        </a:cubicBezTo>
                        <a:close/>
                      </a:path>
                    </a:pathLst>
                  </a:custGeom>
                  <ask:type>
                    <ask:lineSketchNone/>
                  </ask:type>
                </ask:lineSketchStyleProps>
              </a:ext>
            </a:extLst>
          </a:ln>
        </p:spPr>
        <p:txBody>
          <a:bodyPr wrap="square">
            <a:spAutoFit/>
          </a:bodyPr>
          <a:lstStyle/>
          <a:p>
            <a:pPr defTabSz="1218868">
              <a:buClr>
                <a:srgbClr val="C00000"/>
              </a:buClr>
              <a:buFont typeface="Wingdings" panose="05000000000000000000" pitchFamily="2" charset="2"/>
              <a:buChar char=""/>
            </a:pPr>
            <a:r>
              <a:rPr lang="ar-SA" sz="2133" dirty="0">
                <a:solidFill>
                  <a:srgbClr val="002060"/>
                </a:solidFill>
                <a:latin typeface="Sakkal Majalla" panose="02000000000000000000" pitchFamily="2" charset="-78"/>
                <a:ea typeface="Samim" panose="020B0603030804020204" pitchFamily="34" charset="0"/>
                <a:cs typeface="Sakkal Majalla" panose="02000000000000000000" pitchFamily="2" charset="-78"/>
              </a:rPr>
              <a:t>المساءلة والمحاسبية</a:t>
            </a:r>
            <a:endParaRPr lang="en-US" sz="2133" dirty="0">
              <a:solidFill>
                <a:srgbClr val="002060"/>
              </a:solidFill>
              <a:latin typeface="Sakkal Majalla" panose="02000000000000000000" pitchFamily="2" charset="-78"/>
              <a:ea typeface="Samim" panose="020B0603030804020204" pitchFamily="34" charset="0"/>
              <a:cs typeface="Sakkal Majalla" panose="02000000000000000000" pitchFamily="2" charset="-78"/>
            </a:endParaRPr>
          </a:p>
          <a:p>
            <a:pPr defTabSz="1218868">
              <a:buClr>
                <a:srgbClr val="C00000"/>
              </a:buClr>
              <a:buFont typeface="Wingdings" panose="05000000000000000000" pitchFamily="2" charset="2"/>
              <a:buChar char=""/>
            </a:pPr>
            <a:r>
              <a:rPr lang="ar-SA" sz="2133" dirty="0">
                <a:solidFill>
                  <a:srgbClr val="002060"/>
                </a:solidFill>
                <a:latin typeface="Sakkal Majalla" panose="02000000000000000000" pitchFamily="2" charset="-78"/>
                <a:ea typeface="Samim" panose="020B0603030804020204" pitchFamily="34" charset="0"/>
                <a:cs typeface="Sakkal Majalla" panose="02000000000000000000" pitchFamily="2" charset="-78"/>
              </a:rPr>
              <a:t>المرونة.</a:t>
            </a:r>
            <a:endParaRPr lang="en-US" sz="2133" dirty="0">
              <a:solidFill>
                <a:srgbClr val="002060"/>
              </a:solidFill>
              <a:latin typeface="Sakkal Majalla" panose="02000000000000000000" pitchFamily="2" charset="-78"/>
              <a:ea typeface="Samim" panose="020B0603030804020204" pitchFamily="34" charset="0"/>
              <a:cs typeface="Sakkal Majalla" panose="02000000000000000000" pitchFamily="2" charset="-78"/>
            </a:endParaRPr>
          </a:p>
          <a:p>
            <a:pPr defTabSz="1218868">
              <a:buClr>
                <a:srgbClr val="C00000"/>
              </a:buClr>
              <a:buFont typeface="Wingdings" panose="05000000000000000000" pitchFamily="2" charset="2"/>
              <a:buChar char=""/>
            </a:pPr>
            <a:r>
              <a:rPr lang="ar-SA" sz="2133" dirty="0">
                <a:solidFill>
                  <a:srgbClr val="002060"/>
                </a:solidFill>
                <a:latin typeface="Sakkal Majalla" panose="02000000000000000000" pitchFamily="2" charset="-78"/>
                <a:ea typeface="Samim" panose="020B0603030804020204" pitchFamily="34" charset="0"/>
                <a:cs typeface="Sakkal Majalla" panose="02000000000000000000" pitchFamily="2" charset="-78"/>
              </a:rPr>
              <a:t>التمكين.</a:t>
            </a:r>
            <a:endParaRPr lang="en-US" sz="2133" dirty="0">
              <a:solidFill>
                <a:srgbClr val="002060"/>
              </a:solidFill>
              <a:latin typeface="Sakkal Majalla" panose="02000000000000000000" pitchFamily="2" charset="-78"/>
              <a:ea typeface="Samim" panose="020B0603030804020204" pitchFamily="34" charset="0"/>
              <a:cs typeface="Sakkal Majalla" panose="02000000000000000000" pitchFamily="2" charset="-78"/>
            </a:endParaRPr>
          </a:p>
          <a:p>
            <a:pPr defTabSz="1218868">
              <a:buClr>
                <a:srgbClr val="C00000"/>
              </a:buClr>
              <a:buFont typeface="Wingdings" panose="05000000000000000000" pitchFamily="2" charset="2"/>
              <a:buChar char=""/>
            </a:pPr>
            <a:r>
              <a:rPr lang="ar-SA" sz="2133" dirty="0">
                <a:solidFill>
                  <a:srgbClr val="002060"/>
                </a:solidFill>
                <a:latin typeface="Sakkal Majalla" panose="02000000000000000000" pitchFamily="2" charset="-78"/>
                <a:ea typeface="Samim" panose="020B0603030804020204" pitchFamily="34" charset="0"/>
                <a:cs typeface="Sakkal Majalla" panose="02000000000000000000" pitchFamily="2" charset="-78"/>
              </a:rPr>
              <a:t>التفويض في اتخاذ القرارات.</a:t>
            </a:r>
            <a:endParaRPr lang="en-US" sz="2133" dirty="0">
              <a:solidFill>
                <a:srgbClr val="002060"/>
              </a:solidFill>
              <a:latin typeface="Sakkal Majalla" panose="02000000000000000000" pitchFamily="2" charset="-78"/>
              <a:ea typeface="Samim" panose="020B0603030804020204" pitchFamily="34" charset="0"/>
              <a:cs typeface="Sakkal Majalla" panose="02000000000000000000" pitchFamily="2" charset="-78"/>
            </a:endParaRPr>
          </a:p>
          <a:p>
            <a:pPr defTabSz="1218868">
              <a:buClr>
                <a:srgbClr val="C00000"/>
              </a:buClr>
              <a:buFont typeface="Wingdings" panose="05000000000000000000" pitchFamily="2" charset="2"/>
              <a:buChar char=""/>
            </a:pPr>
            <a:r>
              <a:rPr lang="ar-SA" sz="2133" dirty="0">
                <a:solidFill>
                  <a:srgbClr val="002060"/>
                </a:solidFill>
                <a:latin typeface="Sakkal Majalla" panose="02000000000000000000" pitchFamily="2" charset="-78"/>
                <a:ea typeface="Samim" panose="020B0603030804020204" pitchFamily="34" charset="0"/>
                <a:cs typeface="Sakkal Majalla" panose="02000000000000000000" pitchFamily="2" charset="-78"/>
              </a:rPr>
              <a:t>الثقة والشفافية.</a:t>
            </a:r>
            <a:endParaRPr lang="en-US" sz="2133" dirty="0">
              <a:solidFill>
                <a:srgbClr val="002060"/>
              </a:solidFill>
              <a:latin typeface="Sakkal Majalla" panose="02000000000000000000" pitchFamily="2" charset="-78"/>
              <a:ea typeface="Samim" panose="020B0603030804020204" pitchFamily="34" charset="0"/>
              <a:cs typeface="Sakkal Majalla" panose="02000000000000000000" pitchFamily="2" charset="-78"/>
            </a:endParaRPr>
          </a:p>
          <a:p>
            <a:pPr defTabSz="1218868">
              <a:buClr>
                <a:srgbClr val="C00000"/>
              </a:buClr>
              <a:buFont typeface="Wingdings" panose="05000000000000000000" pitchFamily="2" charset="2"/>
              <a:buChar char=""/>
            </a:pPr>
            <a:r>
              <a:rPr lang="ar-SA" sz="2133" dirty="0">
                <a:solidFill>
                  <a:srgbClr val="002060"/>
                </a:solidFill>
                <a:latin typeface="Sakkal Majalla" panose="02000000000000000000" pitchFamily="2" charset="-78"/>
                <a:ea typeface="Samim" panose="020B0603030804020204" pitchFamily="34" charset="0"/>
                <a:cs typeface="Sakkal Majalla" panose="02000000000000000000" pitchFamily="2" charset="-78"/>
              </a:rPr>
              <a:t>المبادرة والقيادة الذاتية.</a:t>
            </a:r>
            <a:endParaRPr lang="en-US" sz="2133" dirty="0">
              <a:solidFill>
                <a:srgbClr val="002060"/>
              </a:solidFill>
              <a:latin typeface="Sakkal Majalla" panose="02000000000000000000" pitchFamily="2" charset="-78"/>
              <a:ea typeface="Samim" panose="020B0603030804020204" pitchFamily="34" charset="0"/>
              <a:cs typeface="Sakkal Majalla" panose="02000000000000000000" pitchFamily="2" charset="-78"/>
            </a:endParaRPr>
          </a:p>
          <a:p>
            <a:pPr defTabSz="1218868">
              <a:buClr>
                <a:srgbClr val="C00000"/>
              </a:buClr>
              <a:buFont typeface="Wingdings" panose="05000000000000000000" pitchFamily="2" charset="2"/>
              <a:buChar char=""/>
            </a:pPr>
            <a:r>
              <a:rPr lang="ar-SA" sz="2133" dirty="0">
                <a:solidFill>
                  <a:srgbClr val="002060"/>
                </a:solidFill>
                <a:latin typeface="Sakkal Majalla" panose="02000000000000000000" pitchFamily="2" charset="-78"/>
                <a:ea typeface="Samim" panose="020B0603030804020204" pitchFamily="34" charset="0"/>
                <a:cs typeface="Sakkal Majalla" panose="02000000000000000000" pitchFamily="2" charset="-78"/>
              </a:rPr>
              <a:t>التعاون.</a:t>
            </a:r>
            <a:endParaRPr lang="en-US" sz="2133" dirty="0">
              <a:solidFill>
                <a:srgbClr val="002060"/>
              </a:solidFill>
              <a:latin typeface="Sakkal Majalla" panose="02000000000000000000" pitchFamily="2" charset="-78"/>
              <a:ea typeface="Samim" panose="020B0603030804020204" pitchFamily="34" charset="0"/>
              <a:cs typeface="Sakkal Majalla" panose="02000000000000000000" pitchFamily="2" charset="-78"/>
            </a:endParaRPr>
          </a:p>
          <a:p>
            <a:pPr defTabSz="1218868">
              <a:buClr>
                <a:srgbClr val="C00000"/>
              </a:buClr>
              <a:buFont typeface="Wingdings" panose="05000000000000000000" pitchFamily="2" charset="2"/>
              <a:buChar char=""/>
            </a:pPr>
            <a:r>
              <a:rPr lang="ar-SA" sz="2133" dirty="0">
                <a:solidFill>
                  <a:srgbClr val="002060"/>
                </a:solidFill>
                <a:latin typeface="Sakkal Majalla" panose="02000000000000000000" pitchFamily="2" charset="-78"/>
                <a:ea typeface="Samim" panose="020B0603030804020204" pitchFamily="34" charset="0"/>
                <a:cs typeface="Sakkal Majalla" panose="02000000000000000000" pitchFamily="2" charset="-78"/>
              </a:rPr>
              <a:t>الاتقان والانضباط والمثابرة</a:t>
            </a:r>
          </a:p>
          <a:p>
            <a:pPr defTabSz="1625367">
              <a:buClr>
                <a:srgbClr val="C00000"/>
              </a:buClr>
              <a:buFont typeface="Wingdings" panose="05000000000000000000" pitchFamily="2" charset="2"/>
              <a:buChar char=""/>
              <a:defRPr/>
            </a:pPr>
            <a:r>
              <a:rPr lang="ar-SA" sz="2133" dirty="0">
                <a:solidFill>
                  <a:srgbClr val="002060"/>
                </a:solidFill>
                <a:latin typeface="Sakkal Majalla" panose="02000000000000000000" pitchFamily="2" charset="-78"/>
                <a:ea typeface="Samim" panose="020B0603030804020204" pitchFamily="34" charset="0"/>
                <a:cs typeface="Sakkal Majalla" panose="02000000000000000000" pitchFamily="2" charset="-78"/>
              </a:rPr>
              <a:t> </a:t>
            </a:r>
            <a:r>
              <a:rPr lang="ar-SA" sz="2133" kern="0" dirty="0">
                <a:solidFill>
                  <a:srgbClr val="002060"/>
                </a:solidFill>
                <a:latin typeface="Sakkal Majalla" panose="02000000000000000000" pitchFamily="2" charset="-78"/>
                <a:ea typeface="Samim" panose="020B0603030804020204" pitchFamily="34" charset="0"/>
                <a:cs typeface="Sakkal Majalla" panose="02000000000000000000" pitchFamily="2" charset="-78"/>
                <a:sym typeface="Arial"/>
              </a:rPr>
              <a:t>الحوافز.</a:t>
            </a:r>
            <a:endParaRPr lang="en-US" sz="2133" kern="0" dirty="0">
              <a:solidFill>
                <a:srgbClr val="002060"/>
              </a:solidFill>
              <a:latin typeface="Sakkal Majalla" panose="02000000000000000000" pitchFamily="2" charset="-78"/>
              <a:ea typeface="Samim" panose="020B0603030804020204" pitchFamily="34" charset="0"/>
              <a:cs typeface="Sakkal Majalla" panose="02000000000000000000" pitchFamily="2" charset="-78"/>
              <a:sym typeface="Arial"/>
            </a:endParaRPr>
          </a:p>
        </p:txBody>
      </p:sp>
      <p:sp>
        <p:nvSpPr>
          <p:cNvPr id="26" name="Google Shape;910;p31">
            <a:extLst>
              <a:ext uri="{FF2B5EF4-FFF2-40B4-BE49-F238E27FC236}">
                <a16:creationId xmlns:a16="http://schemas.microsoft.com/office/drawing/2014/main" id="{626CD1B6-8875-DED8-3AC8-416456741F75}"/>
              </a:ext>
            </a:extLst>
          </p:cNvPr>
          <p:cNvSpPr txBox="1"/>
          <p:nvPr/>
        </p:nvSpPr>
        <p:spPr>
          <a:xfrm>
            <a:off x="567497" y="356691"/>
            <a:ext cx="1350473" cy="557860"/>
          </a:xfrm>
          <a:prstGeom prst="rect">
            <a:avLst/>
          </a:prstGeom>
          <a:solidFill>
            <a:srgbClr val="00FFCC">
              <a:alpha val="56078"/>
            </a:srgbClr>
          </a:solidFill>
          <a:ln w="9525" cap="flat" cmpd="sng">
            <a:solidFill>
              <a:srgbClr val="97A4FF"/>
            </a:solidFill>
            <a:prstDash val="solid"/>
            <a:round/>
            <a:headEnd type="none" w="sm" len="sm"/>
            <a:tailEnd type="none" w="sm" len="sm"/>
          </a:ln>
        </p:spPr>
        <p:txBody>
          <a:bodyPr spcFirstLastPara="1" wrap="square" lIns="162533" tIns="162533" rIns="162533" bIns="162533" anchor="ctr" anchorCtr="0">
            <a:noAutofit/>
          </a:bodyPr>
          <a:lstStyle/>
          <a:p>
            <a:pPr algn="ctr" defTabSz="1625367">
              <a:defRPr/>
            </a:pPr>
            <a:r>
              <a:rPr lang="ar-SA" sz="2400" b="1" dirty="0">
                <a:solidFill>
                  <a:srgbClr val="01083A"/>
                </a:solidFill>
                <a:latin typeface="Sakkal Majalla" panose="02000000000000000000" pitchFamily="2" charset="-78"/>
                <a:ea typeface="Samim" panose="020B0603030804020204" pitchFamily="34" charset="0"/>
                <a:cs typeface="Sakkal Majalla" panose="02000000000000000000" pitchFamily="2" charset="-78"/>
                <a:sym typeface="Josefin Sans"/>
              </a:rPr>
              <a:t>قائم على:</a:t>
            </a:r>
            <a:endParaRPr sz="2400" b="1" dirty="0">
              <a:solidFill>
                <a:srgbClr val="01083A"/>
              </a:solidFill>
              <a:latin typeface="Sakkal Majalla" panose="02000000000000000000" pitchFamily="2" charset="-78"/>
              <a:ea typeface="Samim" panose="020B0603030804020204" pitchFamily="34" charset="0"/>
              <a:cs typeface="Sakkal Majalla" panose="02000000000000000000" pitchFamily="2" charset="-78"/>
              <a:sym typeface="Josefin Sans"/>
            </a:endParaRPr>
          </a:p>
        </p:txBody>
      </p:sp>
      <p:cxnSp>
        <p:nvCxnSpPr>
          <p:cNvPr id="27" name="Google Shape;921;p31">
            <a:extLst>
              <a:ext uri="{FF2B5EF4-FFF2-40B4-BE49-F238E27FC236}">
                <a16:creationId xmlns:a16="http://schemas.microsoft.com/office/drawing/2014/main" id="{BAC6D53A-8690-629E-AA9A-A44A88384BA2}"/>
              </a:ext>
            </a:extLst>
          </p:cNvPr>
          <p:cNvCxnSpPr>
            <a:cxnSpLocks/>
            <a:stCxn id="8" idx="1"/>
            <a:endCxn id="26" idx="3"/>
          </p:cNvCxnSpPr>
          <p:nvPr/>
        </p:nvCxnSpPr>
        <p:spPr>
          <a:xfrm rot="10800000">
            <a:off x="1917972" y="635621"/>
            <a:ext cx="436745" cy="5193648"/>
          </a:xfrm>
          <a:prstGeom prst="bentConnector3">
            <a:avLst>
              <a:gd name="adj1" fmla="val 50000"/>
            </a:avLst>
          </a:prstGeom>
          <a:noFill/>
          <a:ln w="28575" cap="flat" cmpd="sng">
            <a:solidFill>
              <a:srgbClr val="8594FF"/>
            </a:solidFill>
            <a:prstDash val="solid"/>
            <a:round/>
            <a:headEnd type="none" w="med" len="med"/>
            <a:tailEnd type="arrow" w="med" len="med"/>
          </a:ln>
        </p:spPr>
      </p:cxnSp>
    </p:spTree>
    <p:extLst>
      <p:ext uri="{BB962C8B-B14F-4D97-AF65-F5344CB8AC3E}">
        <p14:creationId xmlns:p14="http://schemas.microsoft.com/office/powerpoint/2010/main" val="5511345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arn(inVertical)">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barn(inVertical)">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16" presetClass="entr" presetSubtype="21" fill="hold" grpId="0" nodeType="click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barn(inVertical)">
                                      <p:cBhvr>
                                        <p:cTn id="17" dur="500"/>
                                        <p:tgtEl>
                                          <p:spTgt spid="4"/>
                                        </p:tgtEl>
                                      </p:cBhvr>
                                    </p:animEffect>
                                  </p:childTnLst>
                                </p:cTn>
                              </p:par>
                            </p:childTnLst>
                          </p:cTn>
                        </p:par>
                      </p:childTnLst>
                    </p:cTn>
                  </p:par>
                  <p:par>
                    <p:cTn id="18" fill="hold">
                      <p:stCondLst>
                        <p:cond delay="indefinite"/>
                      </p:stCondLst>
                      <p:childTnLst>
                        <p:par>
                          <p:cTn id="19" fill="hold">
                            <p:stCondLst>
                              <p:cond delay="0"/>
                            </p:stCondLst>
                            <p:childTnLst>
                              <p:par>
                                <p:cTn id="20" presetID="16" presetClass="entr" presetSubtype="21" fill="hold"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barn(inVertical)">
                                      <p:cBhvr>
                                        <p:cTn id="22" dur="500"/>
                                        <p:tgtEl>
                                          <p:spTgt spid="9"/>
                                        </p:tgtEl>
                                      </p:cBhvr>
                                    </p:animEffect>
                                  </p:childTnLst>
                                </p:cTn>
                              </p:par>
                            </p:childTnLst>
                          </p:cTn>
                        </p:par>
                      </p:childTnLst>
                    </p:cTn>
                  </p:par>
                  <p:par>
                    <p:cTn id="23" fill="hold">
                      <p:stCondLst>
                        <p:cond delay="indefinite"/>
                      </p:stCondLst>
                      <p:childTnLst>
                        <p:par>
                          <p:cTn id="24" fill="hold">
                            <p:stCondLst>
                              <p:cond delay="0"/>
                            </p:stCondLst>
                            <p:childTnLst>
                              <p:par>
                                <p:cTn id="25" presetID="16" presetClass="entr" presetSubtype="21" fill="hold" grpId="0" nodeType="clickEffect">
                                  <p:stCondLst>
                                    <p:cond delay="0"/>
                                  </p:stCondLst>
                                  <p:childTnLst>
                                    <p:set>
                                      <p:cBhvr>
                                        <p:cTn id="26" dur="1" fill="hold">
                                          <p:stCondLst>
                                            <p:cond delay="0"/>
                                          </p:stCondLst>
                                        </p:cTn>
                                        <p:tgtEl>
                                          <p:spTgt spid="12"/>
                                        </p:tgtEl>
                                        <p:attrNameLst>
                                          <p:attrName>style.visibility</p:attrName>
                                        </p:attrNameLst>
                                      </p:cBhvr>
                                      <p:to>
                                        <p:strVal val="visible"/>
                                      </p:to>
                                    </p:set>
                                    <p:animEffect transition="in" filter="barn(inVertical)">
                                      <p:cBhvr>
                                        <p:cTn id="27" dur="500"/>
                                        <p:tgtEl>
                                          <p:spTgt spid="12"/>
                                        </p:tgtEl>
                                      </p:cBhvr>
                                    </p:animEffect>
                                  </p:childTnLst>
                                </p:cTn>
                              </p:par>
                            </p:childTnLst>
                          </p:cTn>
                        </p:par>
                      </p:childTnLst>
                    </p:cTn>
                  </p:par>
                  <p:par>
                    <p:cTn id="28" fill="hold">
                      <p:stCondLst>
                        <p:cond delay="indefinite"/>
                      </p:stCondLst>
                      <p:childTnLst>
                        <p:par>
                          <p:cTn id="29" fill="hold">
                            <p:stCondLst>
                              <p:cond delay="0"/>
                            </p:stCondLst>
                            <p:childTnLst>
                              <p:par>
                                <p:cTn id="30" presetID="16" presetClass="entr" presetSubtype="21" fill="hold" grpId="0" nodeType="clickEffect">
                                  <p:stCondLst>
                                    <p:cond delay="0"/>
                                  </p:stCondLst>
                                  <p:childTnLst>
                                    <p:set>
                                      <p:cBhvr>
                                        <p:cTn id="31" dur="1" fill="hold">
                                          <p:stCondLst>
                                            <p:cond delay="0"/>
                                          </p:stCondLst>
                                        </p:cTn>
                                        <p:tgtEl>
                                          <p:spTgt spid="6"/>
                                        </p:tgtEl>
                                        <p:attrNameLst>
                                          <p:attrName>style.visibility</p:attrName>
                                        </p:attrNameLst>
                                      </p:cBhvr>
                                      <p:to>
                                        <p:strVal val="visible"/>
                                      </p:to>
                                    </p:set>
                                    <p:animEffect transition="in" filter="barn(inVertical)">
                                      <p:cBhvr>
                                        <p:cTn id="32" dur="500"/>
                                        <p:tgtEl>
                                          <p:spTgt spid="6"/>
                                        </p:tgtEl>
                                      </p:cBhvr>
                                    </p:animEffect>
                                  </p:childTnLst>
                                </p:cTn>
                              </p:par>
                            </p:childTnLst>
                          </p:cTn>
                        </p:par>
                      </p:childTnLst>
                    </p:cTn>
                  </p:par>
                  <p:par>
                    <p:cTn id="33" fill="hold">
                      <p:stCondLst>
                        <p:cond delay="indefinite"/>
                      </p:stCondLst>
                      <p:childTnLst>
                        <p:par>
                          <p:cTn id="34" fill="hold">
                            <p:stCondLst>
                              <p:cond delay="0"/>
                            </p:stCondLst>
                            <p:childTnLst>
                              <p:par>
                                <p:cTn id="35" presetID="16" presetClass="entr" presetSubtype="21" fill="hold" nodeType="clickEffect">
                                  <p:stCondLst>
                                    <p:cond delay="0"/>
                                  </p:stCondLst>
                                  <p:childTnLst>
                                    <p:set>
                                      <p:cBhvr>
                                        <p:cTn id="36" dur="1" fill="hold">
                                          <p:stCondLst>
                                            <p:cond delay="0"/>
                                          </p:stCondLst>
                                        </p:cTn>
                                        <p:tgtEl>
                                          <p:spTgt spid="10"/>
                                        </p:tgtEl>
                                        <p:attrNameLst>
                                          <p:attrName>style.visibility</p:attrName>
                                        </p:attrNameLst>
                                      </p:cBhvr>
                                      <p:to>
                                        <p:strVal val="visible"/>
                                      </p:to>
                                    </p:set>
                                    <p:animEffect transition="in" filter="barn(inVertical)">
                                      <p:cBhvr>
                                        <p:cTn id="37" dur="500"/>
                                        <p:tgtEl>
                                          <p:spTgt spid="10"/>
                                        </p:tgtEl>
                                      </p:cBhvr>
                                    </p:animEffect>
                                  </p:childTnLst>
                                </p:cTn>
                              </p:par>
                            </p:childTnLst>
                          </p:cTn>
                        </p:par>
                      </p:childTnLst>
                    </p:cTn>
                  </p:par>
                  <p:par>
                    <p:cTn id="38" fill="hold">
                      <p:stCondLst>
                        <p:cond delay="indefinite"/>
                      </p:stCondLst>
                      <p:childTnLst>
                        <p:par>
                          <p:cTn id="39" fill="hold">
                            <p:stCondLst>
                              <p:cond delay="0"/>
                            </p:stCondLst>
                            <p:childTnLst>
                              <p:par>
                                <p:cTn id="40" presetID="16" presetClass="entr" presetSubtype="21" fill="hold" grpId="0" nodeType="clickEffect">
                                  <p:stCondLst>
                                    <p:cond delay="0"/>
                                  </p:stCondLst>
                                  <p:childTnLst>
                                    <p:set>
                                      <p:cBhvr>
                                        <p:cTn id="41" dur="1" fill="hold">
                                          <p:stCondLst>
                                            <p:cond delay="0"/>
                                          </p:stCondLst>
                                        </p:cTn>
                                        <p:tgtEl>
                                          <p:spTgt spid="11"/>
                                        </p:tgtEl>
                                        <p:attrNameLst>
                                          <p:attrName>style.visibility</p:attrName>
                                        </p:attrNameLst>
                                      </p:cBhvr>
                                      <p:to>
                                        <p:strVal val="visible"/>
                                      </p:to>
                                    </p:set>
                                    <p:animEffect transition="in" filter="barn(inVertical)">
                                      <p:cBhvr>
                                        <p:cTn id="42" dur="500"/>
                                        <p:tgtEl>
                                          <p:spTgt spid="11"/>
                                        </p:tgtEl>
                                      </p:cBhvr>
                                    </p:animEffect>
                                  </p:childTnLst>
                                </p:cTn>
                              </p:par>
                            </p:childTnLst>
                          </p:cTn>
                        </p:par>
                      </p:childTnLst>
                    </p:cTn>
                  </p:par>
                  <p:par>
                    <p:cTn id="43" fill="hold">
                      <p:stCondLst>
                        <p:cond delay="indefinite"/>
                      </p:stCondLst>
                      <p:childTnLst>
                        <p:par>
                          <p:cTn id="44" fill="hold">
                            <p:stCondLst>
                              <p:cond delay="0"/>
                            </p:stCondLst>
                            <p:childTnLst>
                              <p:par>
                                <p:cTn id="45" presetID="16" presetClass="entr" presetSubtype="21" fill="hold" grpId="0" nodeType="clickEffect">
                                  <p:stCondLst>
                                    <p:cond delay="0"/>
                                  </p:stCondLst>
                                  <p:childTnLst>
                                    <p:set>
                                      <p:cBhvr>
                                        <p:cTn id="46" dur="1" fill="hold">
                                          <p:stCondLst>
                                            <p:cond delay="0"/>
                                          </p:stCondLst>
                                        </p:cTn>
                                        <p:tgtEl>
                                          <p:spTgt spid="8"/>
                                        </p:tgtEl>
                                        <p:attrNameLst>
                                          <p:attrName>style.visibility</p:attrName>
                                        </p:attrNameLst>
                                      </p:cBhvr>
                                      <p:to>
                                        <p:strVal val="visible"/>
                                      </p:to>
                                    </p:set>
                                    <p:animEffect transition="in" filter="barn(inVertical)">
                                      <p:cBhvr>
                                        <p:cTn id="47" dur="500"/>
                                        <p:tgtEl>
                                          <p:spTgt spid="8"/>
                                        </p:tgtEl>
                                      </p:cBhvr>
                                    </p:animEffect>
                                  </p:childTnLst>
                                </p:cTn>
                              </p:par>
                            </p:childTnLst>
                          </p:cTn>
                        </p:par>
                      </p:childTnLst>
                    </p:cTn>
                  </p:par>
                  <p:par>
                    <p:cTn id="48" fill="hold">
                      <p:stCondLst>
                        <p:cond delay="indefinite"/>
                      </p:stCondLst>
                      <p:childTnLst>
                        <p:par>
                          <p:cTn id="49" fill="hold">
                            <p:stCondLst>
                              <p:cond delay="0"/>
                            </p:stCondLst>
                            <p:childTnLst>
                              <p:par>
                                <p:cTn id="50" presetID="16" presetClass="entr" presetSubtype="21" fill="hold" nodeType="clickEffect">
                                  <p:stCondLst>
                                    <p:cond delay="0"/>
                                  </p:stCondLst>
                                  <p:childTnLst>
                                    <p:set>
                                      <p:cBhvr>
                                        <p:cTn id="51" dur="1" fill="hold">
                                          <p:stCondLst>
                                            <p:cond delay="0"/>
                                          </p:stCondLst>
                                        </p:cTn>
                                        <p:tgtEl>
                                          <p:spTgt spid="18"/>
                                        </p:tgtEl>
                                        <p:attrNameLst>
                                          <p:attrName>style.visibility</p:attrName>
                                        </p:attrNameLst>
                                      </p:cBhvr>
                                      <p:to>
                                        <p:strVal val="visible"/>
                                      </p:to>
                                    </p:set>
                                    <p:animEffect transition="in" filter="barn(inVertical)">
                                      <p:cBhvr>
                                        <p:cTn id="52" dur="500"/>
                                        <p:tgtEl>
                                          <p:spTgt spid="18"/>
                                        </p:tgtEl>
                                      </p:cBhvr>
                                    </p:animEffect>
                                  </p:childTnLst>
                                </p:cTn>
                              </p:par>
                            </p:childTnLst>
                          </p:cTn>
                        </p:par>
                      </p:childTnLst>
                    </p:cTn>
                  </p:par>
                  <p:par>
                    <p:cTn id="53" fill="hold">
                      <p:stCondLst>
                        <p:cond delay="indefinite"/>
                      </p:stCondLst>
                      <p:childTnLst>
                        <p:par>
                          <p:cTn id="54" fill="hold">
                            <p:stCondLst>
                              <p:cond delay="0"/>
                            </p:stCondLst>
                            <p:childTnLst>
                              <p:par>
                                <p:cTn id="55" presetID="16" presetClass="entr" presetSubtype="21" fill="hold" grpId="0" nodeType="clickEffect">
                                  <p:stCondLst>
                                    <p:cond delay="0"/>
                                  </p:stCondLst>
                                  <p:childTnLst>
                                    <p:set>
                                      <p:cBhvr>
                                        <p:cTn id="56" dur="1" fill="hold">
                                          <p:stCondLst>
                                            <p:cond delay="0"/>
                                          </p:stCondLst>
                                        </p:cTn>
                                        <p:tgtEl>
                                          <p:spTgt spid="19"/>
                                        </p:tgtEl>
                                        <p:attrNameLst>
                                          <p:attrName>style.visibility</p:attrName>
                                        </p:attrNameLst>
                                      </p:cBhvr>
                                      <p:to>
                                        <p:strVal val="visible"/>
                                      </p:to>
                                    </p:set>
                                    <p:animEffect transition="in" filter="barn(inVertical)">
                                      <p:cBhvr>
                                        <p:cTn id="57" dur="500"/>
                                        <p:tgtEl>
                                          <p:spTgt spid="19"/>
                                        </p:tgtEl>
                                      </p:cBhvr>
                                    </p:animEffect>
                                  </p:childTnLst>
                                </p:cTn>
                              </p:par>
                            </p:childTnLst>
                          </p:cTn>
                        </p:par>
                      </p:childTnLst>
                    </p:cTn>
                  </p:par>
                  <p:par>
                    <p:cTn id="58" fill="hold">
                      <p:stCondLst>
                        <p:cond delay="indefinite"/>
                      </p:stCondLst>
                      <p:childTnLst>
                        <p:par>
                          <p:cTn id="59" fill="hold">
                            <p:stCondLst>
                              <p:cond delay="0"/>
                            </p:stCondLst>
                            <p:childTnLst>
                              <p:par>
                                <p:cTn id="60" presetID="16" presetClass="entr" presetSubtype="21" fill="hold" grpId="0" nodeType="clickEffect">
                                  <p:stCondLst>
                                    <p:cond delay="0"/>
                                  </p:stCondLst>
                                  <p:childTnLst>
                                    <p:set>
                                      <p:cBhvr>
                                        <p:cTn id="61" dur="1" fill="hold">
                                          <p:stCondLst>
                                            <p:cond delay="0"/>
                                          </p:stCondLst>
                                        </p:cTn>
                                        <p:tgtEl>
                                          <p:spTgt spid="24"/>
                                        </p:tgtEl>
                                        <p:attrNameLst>
                                          <p:attrName>style.visibility</p:attrName>
                                        </p:attrNameLst>
                                      </p:cBhvr>
                                      <p:to>
                                        <p:strVal val="visible"/>
                                      </p:to>
                                    </p:set>
                                    <p:animEffect transition="in" filter="barn(inVertical)">
                                      <p:cBhvr>
                                        <p:cTn id="62" dur="500"/>
                                        <p:tgtEl>
                                          <p:spTgt spid="24"/>
                                        </p:tgtEl>
                                      </p:cBhvr>
                                    </p:animEffect>
                                  </p:childTnLst>
                                </p:cTn>
                              </p:par>
                            </p:childTnLst>
                          </p:cTn>
                        </p:par>
                      </p:childTnLst>
                    </p:cTn>
                  </p:par>
                  <p:par>
                    <p:cTn id="63" fill="hold">
                      <p:stCondLst>
                        <p:cond delay="indefinite"/>
                      </p:stCondLst>
                      <p:childTnLst>
                        <p:par>
                          <p:cTn id="64" fill="hold">
                            <p:stCondLst>
                              <p:cond delay="0"/>
                            </p:stCondLst>
                            <p:childTnLst>
                              <p:par>
                                <p:cTn id="65" presetID="16" presetClass="entr" presetSubtype="21" fill="hold" nodeType="clickEffect">
                                  <p:stCondLst>
                                    <p:cond delay="0"/>
                                  </p:stCondLst>
                                  <p:childTnLst>
                                    <p:set>
                                      <p:cBhvr>
                                        <p:cTn id="66" dur="1" fill="hold">
                                          <p:stCondLst>
                                            <p:cond delay="0"/>
                                          </p:stCondLst>
                                        </p:cTn>
                                        <p:tgtEl>
                                          <p:spTgt spid="27"/>
                                        </p:tgtEl>
                                        <p:attrNameLst>
                                          <p:attrName>style.visibility</p:attrName>
                                        </p:attrNameLst>
                                      </p:cBhvr>
                                      <p:to>
                                        <p:strVal val="visible"/>
                                      </p:to>
                                    </p:set>
                                    <p:animEffect transition="in" filter="barn(inVertical)">
                                      <p:cBhvr>
                                        <p:cTn id="67" dur="500"/>
                                        <p:tgtEl>
                                          <p:spTgt spid="27"/>
                                        </p:tgtEl>
                                      </p:cBhvr>
                                    </p:animEffect>
                                  </p:childTnLst>
                                </p:cTn>
                              </p:par>
                            </p:childTnLst>
                          </p:cTn>
                        </p:par>
                      </p:childTnLst>
                    </p:cTn>
                  </p:par>
                  <p:par>
                    <p:cTn id="68" fill="hold">
                      <p:stCondLst>
                        <p:cond delay="indefinite"/>
                      </p:stCondLst>
                      <p:childTnLst>
                        <p:par>
                          <p:cTn id="69" fill="hold">
                            <p:stCondLst>
                              <p:cond delay="0"/>
                            </p:stCondLst>
                            <p:childTnLst>
                              <p:par>
                                <p:cTn id="70" presetID="16" presetClass="entr" presetSubtype="21" fill="hold" grpId="0" nodeType="clickEffect">
                                  <p:stCondLst>
                                    <p:cond delay="0"/>
                                  </p:stCondLst>
                                  <p:childTnLst>
                                    <p:set>
                                      <p:cBhvr>
                                        <p:cTn id="71" dur="1" fill="hold">
                                          <p:stCondLst>
                                            <p:cond delay="0"/>
                                          </p:stCondLst>
                                        </p:cTn>
                                        <p:tgtEl>
                                          <p:spTgt spid="26"/>
                                        </p:tgtEl>
                                        <p:attrNameLst>
                                          <p:attrName>style.visibility</p:attrName>
                                        </p:attrNameLst>
                                      </p:cBhvr>
                                      <p:to>
                                        <p:strVal val="visible"/>
                                      </p:to>
                                    </p:set>
                                    <p:animEffect transition="in" filter="barn(inVertical)">
                                      <p:cBhvr>
                                        <p:cTn id="72" dur="500"/>
                                        <p:tgtEl>
                                          <p:spTgt spid="26"/>
                                        </p:tgtEl>
                                      </p:cBhvr>
                                    </p:animEffect>
                                  </p:childTnLst>
                                </p:cTn>
                              </p:par>
                            </p:childTnLst>
                          </p:cTn>
                        </p:par>
                      </p:childTnLst>
                    </p:cTn>
                  </p:par>
                  <p:par>
                    <p:cTn id="73" fill="hold">
                      <p:stCondLst>
                        <p:cond delay="indefinite"/>
                      </p:stCondLst>
                      <p:childTnLst>
                        <p:par>
                          <p:cTn id="74" fill="hold">
                            <p:stCondLst>
                              <p:cond delay="0"/>
                            </p:stCondLst>
                            <p:childTnLst>
                              <p:par>
                                <p:cTn id="75" presetID="16" presetClass="entr" presetSubtype="21" fill="hold" grpId="0" nodeType="clickEffect">
                                  <p:stCondLst>
                                    <p:cond delay="0"/>
                                  </p:stCondLst>
                                  <p:childTnLst>
                                    <p:set>
                                      <p:cBhvr>
                                        <p:cTn id="76" dur="1" fill="hold">
                                          <p:stCondLst>
                                            <p:cond delay="0"/>
                                          </p:stCondLst>
                                        </p:cTn>
                                        <p:tgtEl>
                                          <p:spTgt spid="25"/>
                                        </p:tgtEl>
                                        <p:attrNameLst>
                                          <p:attrName>style.visibility</p:attrName>
                                        </p:attrNameLst>
                                      </p:cBhvr>
                                      <p:to>
                                        <p:strVal val="visible"/>
                                      </p:to>
                                    </p:set>
                                    <p:animEffect transition="in" filter="barn(inVertical)">
                                      <p:cBhvr>
                                        <p:cTn id="77"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8" grpId="0" animBg="1"/>
      <p:bldP spid="11" grpId="0"/>
      <p:bldP spid="12" grpId="0"/>
      <p:bldP spid="19" grpId="0" animBg="1"/>
      <p:bldP spid="24" grpId="0" animBg="1"/>
      <p:bldP spid="25" grpId="0" animBg="1"/>
      <p:bldP spid="26"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ame 16">
            <a:extLst>
              <a:ext uri="{FF2B5EF4-FFF2-40B4-BE49-F238E27FC236}">
                <a16:creationId xmlns:a16="http://schemas.microsoft.com/office/drawing/2014/main" id="{FBD915D9-74EA-C76E-E4FB-598C7DD639D9}"/>
              </a:ext>
            </a:extLst>
          </p:cNvPr>
          <p:cNvSpPr/>
          <p:nvPr/>
        </p:nvSpPr>
        <p:spPr>
          <a:xfrm>
            <a:off x="740229" y="767708"/>
            <a:ext cx="10256545" cy="5590256"/>
          </a:xfrm>
          <a:prstGeom prst="frame">
            <a:avLst>
              <a:gd name="adj1" fmla="val 890"/>
            </a:avLst>
          </a:prstGeom>
          <a:solidFill>
            <a:srgbClr val="32AEB8"/>
          </a:solidFill>
          <a:ln w="25400" cap="flat" cmpd="sng" algn="ctr">
            <a:noFill/>
            <a:prstDash val="solid"/>
          </a:ln>
          <a:effectLst/>
        </p:spPr>
        <p:txBody>
          <a:bodyPr rtlCol="0" anchor="ctr"/>
          <a:lstStyle/>
          <a:p>
            <a:pPr marL="0" marR="0" lvl="0" indent="0" algn="ctr" defTabSz="913836" rtl="0" eaLnBrk="1" fontAlgn="auto" latinLnBrk="1" hangingPunct="1">
              <a:lnSpc>
                <a:spcPct val="100000"/>
              </a:lnSpc>
              <a:spcBef>
                <a:spcPts val="0"/>
              </a:spcBef>
              <a:spcAft>
                <a:spcPts val="0"/>
              </a:spcAft>
              <a:buClrTx/>
              <a:buSzTx/>
              <a:buFontTx/>
              <a:buNone/>
              <a:tabLst/>
              <a:defRPr/>
            </a:pPr>
            <a:endParaRPr kumimoji="0" lang="ko-KR" altLang="en-US" sz="1815" b="0" i="0" u="none" strike="noStrike" kern="0" cap="none" spc="0" normalizeH="0" baseline="0" noProof="0">
              <a:ln>
                <a:noFill/>
              </a:ln>
              <a:solidFill>
                <a:prstClr val="black"/>
              </a:solidFill>
              <a:effectLst/>
              <a:uLnTx/>
              <a:uFillTx/>
              <a:latin typeface="Arial"/>
              <a:cs typeface="+mn-cs"/>
            </a:endParaRPr>
          </a:p>
        </p:txBody>
      </p:sp>
      <p:sp>
        <p:nvSpPr>
          <p:cNvPr id="3" name="Rectangle 13">
            <a:extLst>
              <a:ext uri="{FF2B5EF4-FFF2-40B4-BE49-F238E27FC236}">
                <a16:creationId xmlns:a16="http://schemas.microsoft.com/office/drawing/2014/main" id="{C7CC2CA8-E120-A9EA-8B4C-5156C3B26220}"/>
              </a:ext>
            </a:extLst>
          </p:cNvPr>
          <p:cNvSpPr/>
          <p:nvPr/>
        </p:nvSpPr>
        <p:spPr>
          <a:xfrm>
            <a:off x="9160566" y="500036"/>
            <a:ext cx="1575720" cy="6053164"/>
          </a:xfrm>
          <a:prstGeom prst="rect">
            <a:avLst/>
          </a:prstGeom>
          <a:solidFill>
            <a:srgbClr val="32AEB8"/>
          </a:solidFill>
          <a:ln w="25400" cap="flat" cmpd="sng" algn="ctr">
            <a:noFill/>
            <a:prstDash val="solid"/>
          </a:ln>
          <a:effectLst/>
        </p:spPr>
        <p:txBody>
          <a:bodyPr rtlCol="0" anchor="ctr"/>
          <a:lstStyle/>
          <a:p>
            <a:pPr marL="0" marR="0" lvl="0" indent="0" algn="ctr" defTabSz="913836" rtl="0" eaLnBrk="1" fontAlgn="auto" latinLnBrk="1" hangingPunct="1">
              <a:lnSpc>
                <a:spcPct val="100000"/>
              </a:lnSpc>
              <a:spcBef>
                <a:spcPts val="0"/>
              </a:spcBef>
              <a:spcAft>
                <a:spcPts val="0"/>
              </a:spcAft>
              <a:buClrTx/>
              <a:buSzTx/>
              <a:buFontTx/>
              <a:buNone/>
              <a:tabLst/>
              <a:defRPr/>
            </a:pPr>
            <a:endParaRPr kumimoji="0" lang="ko-KR" altLang="en-US" sz="1815" b="0" i="0" u="none" strike="noStrike" kern="0" cap="none" spc="0" normalizeH="0" baseline="0" noProof="0">
              <a:ln>
                <a:noFill/>
              </a:ln>
              <a:solidFill>
                <a:prstClr val="white"/>
              </a:solidFill>
              <a:effectLst/>
              <a:uLnTx/>
              <a:uFillTx/>
              <a:latin typeface="Arial"/>
              <a:cs typeface="+mn-cs"/>
            </a:endParaRPr>
          </a:p>
        </p:txBody>
      </p:sp>
      <p:sp>
        <p:nvSpPr>
          <p:cNvPr id="4" name="Text Placeholder 1">
            <a:extLst>
              <a:ext uri="{FF2B5EF4-FFF2-40B4-BE49-F238E27FC236}">
                <a16:creationId xmlns:a16="http://schemas.microsoft.com/office/drawing/2014/main" id="{9C2885E5-99A2-A190-BB1F-7D76E0AC7E40}"/>
              </a:ext>
            </a:extLst>
          </p:cNvPr>
          <p:cNvSpPr txBox="1">
            <a:spLocks/>
          </p:cNvSpPr>
          <p:nvPr/>
        </p:nvSpPr>
        <p:spPr>
          <a:xfrm>
            <a:off x="8944544" y="2483062"/>
            <a:ext cx="2016223" cy="2062103"/>
          </a:xfrm>
          <a:prstGeom prst="rect">
            <a:avLst/>
          </a:prstGeom>
        </p:spPr>
        <p:txBody>
          <a:bodyPr/>
          <a:lstStyle>
            <a:lvl1pPr marL="342900" indent="-342900" algn="l" defTabSz="914400" rtl="0" eaLnBrk="1" latinLnBrk="1"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1"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1"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14276" rtl="1">
              <a:spcBef>
                <a:spcPts val="0"/>
              </a:spcBef>
              <a:buFont typeface="Arial" pitchFamily="34" charset="0"/>
              <a:buNone/>
              <a:defRPr/>
            </a:pPr>
            <a:r>
              <a:rPr lang="ar-SA" altLang="ko-KR" sz="2400" b="1" dirty="0">
                <a:solidFill>
                  <a:srgbClr val="FFFF00"/>
                </a:solidFill>
                <a:latin typeface="Sakkal Majalla" panose="02000000000000000000" pitchFamily="2" charset="-78"/>
                <a:cs typeface="Sakkal Majalla" panose="02000000000000000000" pitchFamily="2" charset="-78"/>
              </a:rPr>
              <a:t>الوضع الحالي: </a:t>
            </a:r>
            <a:r>
              <a:rPr lang="ar-SA" altLang="ko-KR" sz="2400" b="1" dirty="0">
                <a:solidFill>
                  <a:prstClr val="white"/>
                </a:solidFill>
                <a:latin typeface="Sakkal Majalla" panose="02000000000000000000" pitchFamily="2" charset="-78"/>
                <a:cs typeface="Sakkal Majalla" panose="02000000000000000000" pitchFamily="2" charset="-78"/>
              </a:rPr>
              <a:t>التحديات والصعوبات التي تواجه منظومة التعليم</a:t>
            </a:r>
          </a:p>
        </p:txBody>
      </p:sp>
      <p:sp>
        <p:nvSpPr>
          <p:cNvPr id="5" name="Rectangle 36">
            <a:extLst>
              <a:ext uri="{FF2B5EF4-FFF2-40B4-BE49-F238E27FC236}">
                <a16:creationId xmlns:a16="http://schemas.microsoft.com/office/drawing/2014/main" id="{82F386D9-55FF-CFC2-D9A5-EFC0D11FFC86}"/>
              </a:ext>
            </a:extLst>
          </p:cNvPr>
          <p:cNvSpPr/>
          <p:nvPr/>
        </p:nvSpPr>
        <p:spPr bwMode="auto">
          <a:xfrm>
            <a:off x="859971" y="834466"/>
            <a:ext cx="8264590" cy="5189068"/>
          </a:xfrm>
          <a:prstGeom prst="rect">
            <a:avLst/>
          </a:prstGeom>
          <a:noFill/>
          <a:ln>
            <a:noFill/>
            <a:prstDash val="dash"/>
          </a:ln>
        </p:spPr>
        <p:txBody>
          <a:bodyPr vert="horz" wrap="square" lIns="91440" tIns="45720" rIns="91440" bIns="45720" numCol="1" rtlCol="0" anchor="t" anchorCtr="0" compatLnSpc="1">
            <a:prstTxWarp prst="textNoShape">
              <a:avLst/>
            </a:prstTxWarp>
          </a:bodyPr>
          <a:lstStyle/>
          <a:p>
            <a:pPr marL="180966" indent="-180966" algn="justLow" defTabSz="914176" latinLnBrk="1">
              <a:buClr>
                <a:srgbClr val="32AEB8"/>
              </a:buClr>
              <a:buSzPct val="120000"/>
              <a:buFont typeface="Arial" panose="020B0604020202020204" pitchFamily="34" charset="0"/>
              <a:buChar char="•"/>
              <a:defRPr/>
            </a:pPr>
            <a:r>
              <a:rPr lang="ar-SA" altLang="ko-KR" sz="2800" dirty="0">
                <a:solidFill>
                  <a:prstClr val="black"/>
                </a:solidFill>
                <a:latin typeface="Sakkal Majalla" panose="02000000000000000000" pitchFamily="2" charset="-78"/>
                <a:cs typeface="Sakkal Majalla" panose="02000000000000000000" pitchFamily="2" charset="-78"/>
              </a:rPr>
              <a:t>نظام تعليمي شديد المركزية تسبب في محدودية دور مديري المدارس في اتخاذ القرارات بشأن تحسين الأداء المدرسي.</a:t>
            </a:r>
          </a:p>
          <a:p>
            <a:pPr marL="180966" indent="-180966" algn="justLow" defTabSz="914176" latinLnBrk="1">
              <a:buClr>
                <a:srgbClr val="32AEB8"/>
              </a:buClr>
              <a:buSzPct val="120000"/>
              <a:buFont typeface="Arial" panose="020B0604020202020204" pitchFamily="34" charset="0"/>
              <a:buChar char="•"/>
              <a:defRPr/>
            </a:pPr>
            <a:r>
              <a:rPr lang="ar-SA" altLang="ko-KR" sz="2800" dirty="0">
                <a:solidFill>
                  <a:prstClr val="black"/>
                </a:solidFill>
                <a:latin typeface="Sakkal Majalla" panose="02000000000000000000" pitchFamily="2" charset="-78"/>
                <a:cs typeface="Sakkal Majalla" panose="02000000000000000000" pitchFamily="2" charset="-78"/>
              </a:rPr>
              <a:t> تعقيد حوكمة النظام التعليمي: تداخل في الجهود، والأدوار المتعلقة بضمان جودة التعليم ( الوزارة ، إدارات التعليم ، مكاتب التعليم ، هيئة تقويم التعليم).</a:t>
            </a:r>
          </a:p>
          <a:p>
            <a:pPr marL="180966" indent="-180966" algn="justLow" defTabSz="914176" latinLnBrk="1">
              <a:buClr>
                <a:srgbClr val="32AEB8"/>
              </a:buClr>
              <a:buSzPct val="120000"/>
              <a:buFont typeface="Arial" panose="020B0604020202020204" pitchFamily="34" charset="0"/>
              <a:buChar char="•"/>
              <a:defRPr/>
            </a:pPr>
            <a:r>
              <a:rPr lang="ar-SA" altLang="ko-KR" sz="2800" dirty="0">
                <a:solidFill>
                  <a:prstClr val="black"/>
                </a:solidFill>
                <a:latin typeface="Sakkal Majalla" panose="02000000000000000000" pitchFamily="2" charset="-78"/>
                <a:cs typeface="Sakkal Majalla" panose="02000000000000000000" pitchFamily="2" charset="-78"/>
              </a:rPr>
              <a:t>  محدودية ربط تقييم أداء المدارس بجودة تحصيل طلابها.</a:t>
            </a:r>
          </a:p>
          <a:p>
            <a:pPr marL="180966" indent="-180966" algn="justLow" defTabSz="914176" latinLnBrk="1">
              <a:buClr>
                <a:srgbClr val="32AEB8"/>
              </a:buClr>
              <a:buSzPct val="120000"/>
              <a:buFont typeface="Arial" panose="020B0604020202020204" pitchFamily="34" charset="0"/>
              <a:buChar char="•"/>
              <a:defRPr/>
            </a:pPr>
            <a:r>
              <a:rPr lang="ar-SA" altLang="ko-KR" sz="2800" dirty="0">
                <a:solidFill>
                  <a:prstClr val="black"/>
                </a:solidFill>
                <a:latin typeface="Sakkal Majalla" panose="02000000000000000000" pitchFamily="2" charset="-78"/>
                <a:cs typeface="Sakkal Majalla" panose="02000000000000000000" pitchFamily="2" charset="-78"/>
              </a:rPr>
              <a:t>ضعف تطبيق قواعد السلوك في المؤسسات التعليمية </a:t>
            </a:r>
          </a:p>
          <a:p>
            <a:pPr marL="180966" indent="-180966" algn="justLow" defTabSz="914176" latinLnBrk="1">
              <a:buClr>
                <a:srgbClr val="32AEB8"/>
              </a:buClr>
              <a:buSzPct val="120000"/>
              <a:buFont typeface="Arial" panose="020B0604020202020204" pitchFamily="34" charset="0"/>
              <a:buChar char="•"/>
              <a:defRPr/>
            </a:pPr>
            <a:r>
              <a:rPr lang="ar-SA" altLang="ko-KR" sz="2800" dirty="0">
                <a:solidFill>
                  <a:prstClr val="black"/>
                </a:solidFill>
                <a:latin typeface="Sakkal Majalla" panose="02000000000000000000" pitchFamily="2" charset="-78"/>
                <a:cs typeface="Sakkal Majalla" panose="02000000000000000000" pitchFamily="2" charset="-78"/>
              </a:rPr>
              <a:t>محدودية التوجيه الطلابي السلوكي والتعليمي.</a:t>
            </a:r>
          </a:p>
          <a:p>
            <a:pPr marL="180966" indent="-180966" algn="justLow" defTabSz="914176" latinLnBrk="1">
              <a:buClr>
                <a:srgbClr val="32AEB8"/>
              </a:buClr>
              <a:buSzPct val="120000"/>
              <a:buFont typeface="Arial" panose="020B0604020202020204" pitchFamily="34" charset="0"/>
              <a:buChar char="•"/>
              <a:defRPr/>
            </a:pPr>
            <a:r>
              <a:rPr lang="ar-SA" altLang="ko-KR" sz="2800" dirty="0">
                <a:solidFill>
                  <a:prstClr val="black"/>
                </a:solidFill>
                <a:latin typeface="Sakkal Majalla" panose="02000000000000000000" pitchFamily="2" charset="-78"/>
                <a:cs typeface="Sakkal Majalla" panose="02000000000000000000" pitchFamily="2" charset="-78"/>
              </a:rPr>
              <a:t> محدودية مشاركة أولياء الأمور : في تعلم أبنائهم ، في التواصل مع المدرسة ، في دعم عملية التعلم.</a:t>
            </a:r>
          </a:p>
          <a:p>
            <a:pPr marL="180966" indent="-180966" algn="justLow" defTabSz="914176" latinLnBrk="1">
              <a:buClr>
                <a:srgbClr val="32AEB8"/>
              </a:buClr>
              <a:buSzPct val="120000"/>
              <a:buFont typeface="Arial" panose="020B0604020202020204" pitchFamily="34" charset="0"/>
              <a:buChar char="•"/>
              <a:defRPr/>
            </a:pPr>
            <a:r>
              <a:rPr lang="ar-SA" altLang="ko-KR" sz="2800" dirty="0">
                <a:solidFill>
                  <a:prstClr val="black"/>
                </a:solidFill>
                <a:latin typeface="Sakkal Majalla" panose="02000000000000000000" pitchFamily="2" charset="-78"/>
                <a:cs typeface="Sakkal Majalla" panose="02000000000000000000" pitchFamily="2" charset="-78"/>
              </a:rPr>
              <a:t> ضعف مخرجات التعليم: من المعارف والمهارات خصوصاً في المواد الأساسية العلوم والرياضيات واللغة.</a:t>
            </a:r>
          </a:p>
          <a:p>
            <a:pPr marL="180966" indent="-180966" algn="justLow" defTabSz="914176" latinLnBrk="1">
              <a:buClr>
                <a:srgbClr val="32AEB8"/>
              </a:buClr>
              <a:buSzPct val="120000"/>
              <a:buFont typeface="Arial" panose="020B0604020202020204" pitchFamily="34" charset="0"/>
              <a:buChar char="•"/>
              <a:defRPr/>
            </a:pPr>
            <a:r>
              <a:rPr lang="ar-SA" altLang="ko-KR" sz="2800" dirty="0">
                <a:solidFill>
                  <a:prstClr val="black"/>
                </a:solidFill>
                <a:latin typeface="Sakkal Majalla" panose="02000000000000000000" pitchFamily="2" charset="-78"/>
                <a:cs typeface="Sakkal Majalla" panose="02000000000000000000" pitchFamily="2" charset="-78"/>
              </a:rPr>
              <a:t> ضعف الانضباط في البيئة التعليمية.</a:t>
            </a:r>
            <a:endParaRPr lang="ar-SA" altLang="ko-KR" sz="2400" dirty="0">
              <a:solidFill>
                <a:prstClr val="black"/>
              </a:solidFill>
              <a:latin typeface="Sakkal Majalla" panose="02000000000000000000" pitchFamily="2" charset="-78"/>
              <a:cs typeface="Sakkal Majalla" panose="02000000000000000000" pitchFamily="2" charset="-78"/>
            </a:endParaRPr>
          </a:p>
        </p:txBody>
      </p:sp>
      <p:sp>
        <p:nvSpPr>
          <p:cNvPr id="6" name="Text Placeholder 1">
            <a:extLst>
              <a:ext uri="{FF2B5EF4-FFF2-40B4-BE49-F238E27FC236}">
                <a16:creationId xmlns:a16="http://schemas.microsoft.com/office/drawing/2014/main" id="{BF4A5C97-EAF9-B7AC-1AF3-8961DC2D4742}"/>
              </a:ext>
            </a:extLst>
          </p:cNvPr>
          <p:cNvSpPr txBox="1">
            <a:spLocks/>
          </p:cNvSpPr>
          <p:nvPr/>
        </p:nvSpPr>
        <p:spPr>
          <a:xfrm>
            <a:off x="740229" y="6023534"/>
            <a:ext cx="2447316" cy="288032"/>
          </a:xfrm>
          <a:prstGeom prst="rect">
            <a:avLst/>
          </a:prstGeom>
        </p:spPr>
        <p:txBody>
          <a:bodyPr/>
          <a:lstStyle>
            <a:lvl1pPr marL="342870" indent="-342870" algn="l" defTabSz="914321" rtl="0" eaLnBrk="1" latinLnBrk="1" hangingPunct="1">
              <a:spcBef>
                <a:spcPct val="20000"/>
              </a:spcBef>
              <a:buFont typeface="Arial" pitchFamily="34" charset="0"/>
              <a:buChar char="•"/>
              <a:defRPr sz="3199" kern="1200">
                <a:solidFill>
                  <a:schemeClr val="tx1"/>
                </a:solidFill>
                <a:latin typeface="+mn-lt"/>
                <a:ea typeface="+mn-ea"/>
                <a:cs typeface="+mn-cs"/>
              </a:defRPr>
            </a:lvl1pPr>
            <a:lvl2pPr marL="742887" indent="-285726" algn="l" defTabSz="914321" rtl="0" eaLnBrk="1" latinLnBrk="1" hangingPunct="1">
              <a:spcBef>
                <a:spcPct val="20000"/>
              </a:spcBef>
              <a:buFont typeface="Arial" pitchFamily="34" charset="0"/>
              <a:buChar char="–"/>
              <a:defRPr sz="2800" kern="1200">
                <a:solidFill>
                  <a:schemeClr val="tx1"/>
                </a:solidFill>
                <a:latin typeface="+mn-lt"/>
                <a:ea typeface="+mn-ea"/>
                <a:cs typeface="+mn-cs"/>
              </a:defRPr>
            </a:lvl2pPr>
            <a:lvl3pPr marL="1142899" indent="-228579" algn="l" defTabSz="914321" rtl="0" eaLnBrk="1" latinLnBrk="1" hangingPunct="1">
              <a:spcBef>
                <a:spcPct val="20000"/>
              </a:spcBef>
              <a:buFont typeface="Arial" pitchFamily="34" charset="0"/>
              <a:buChar char="•"/>
              <a:defRPr sz="2400" kern="1200">
                <a:solidFill>
                  <a:schemeClr val="tx1"/>
                </a:solidFill>
                <a:latin typeface="+mn-lt"/>
                <a:ea typeface="+mn-ea"/>
                <a:cs typeface="+mn-cs"/>
              </a:defRPr>
            </a:lvl3pPr>
            <a:lvl4pPr marL="1600060" indent="-228579" algn="l" defTabSz="914321" rtl="0" eaLnBrk="1" latinLnBrk="1" hangingPunct="1">
              <a:spcBef>
                <a:spcPct val="20000"/>
              </a:spcBef>
              <a:buFont typeface="Arial" pitchFamily="34" charset="0"/>
              <a:buChar char="–"/>
              <a:defRPr sz="2000" kern="1200">
                <a:solidFill>
                  <a:schemeClr val="tx1"/>
                </a:solidFill>
                <a:latin typeface="+mn-lt"/>
                <a:ea typeface="+mn-ea"/>
                <a:cs typeface="+mn-cs"/>
              </a:defRPr>
            </a:lvl4pPr>
            <a:lvl5pPr marL="2057222" indent="-228579" algn="l" defTabSz="914321" rtl="0" eaLnBrk="1" latinLnBrk="1" hangingPunct="1">
              <a:spcBef>
                <a:spcPct val="20000"/>
              </a:spcBef>
              <a:buFont typeface="Arial" pitchFamily="34" charset="0"/>
              <a:buChar char="»"/>
              <a:defRPr sz="2000" kern="1200">
                <a:solidFill>
                  <a:schemeClr val="tx1"/>
                </a:solidFill>
                <a:latin typeface="+mn-lt"/>
                <a:ea typeface="+mn-ea"/>
                <a:cs typeface="+mn-cs"/>
              </a:defRPr>
            </a:lvl5pPr>
            <a:lvl6pPr marL="2514383" indent="-228579" algn="l" defTabSz="914321" rtl="0" eaLnBrk="1" latinLnBrk="1" hangingPunct="1">
              <a:spcBef>
                <a:spcPct val="20000"/>
              </a:spcBef>
              <a:buFont typeface="Arial" pitchFamily="34" charset="0"/>
              <a:buChar char="•"/>
              <a:defRPr sz="2000" kern="1200">
                <a:solidFill>
                  <a:schemeClr val="tx1"/>
                </a:solidFill>
                <a:latin typeface="+mn-lt"/>
                <a:ea typeface="+mn-ea"/>
                <a:cs typeface="+mn-cs"/>
              </a:defRPr>
            </a:lvl6pPr>
            <a:lvl7pPr marL="2971543" indent="-228579" algn="l" defTabSz="914321" rtl="0" eaLnBrk="1" latinLnBrk="1" hangingPunct="1">
              <a:spcBef>
                <a:spcPct val="20000"/>
              </a:spcBef>
              <a:buFont typeface="Arial" pitchFamily="34" charset="0"/>
              <a:buChar char="•"/>
              <a:defRPr sz="2000" kern="1200">
                <a:solidFill>
                  <a:schemeClr val="tx1"/>
                </a:solidFill>
                <a:latin typeface="+mn-lt"/>
                <a:ea typeface="+mn-ea"/>
                <a:cs typeface="+mn-cs"/>
              </a:defRPr>
            </a:lvl7pPr>
            <a:lvl8pPr marL="3428703" indent="-228579" algn="l" defTabSz="914321" rtl="0" eaLnBrk="1" latinLnBrk="1" hangingPunct="1">
              <a:spcBef>
                <a:spcPct val="20000"/>
              </a:spcBef>
              <a:buFont typeface="Arial" pitchFamily="34" charset="0"/>
              <a:buChar char="•"/>
              <a:defRPr sz="2000" kern="1200">
                <a:solidFill>
                  <a:schemeClr val="tx1"/>
                </a:solidFill>
                <a:latin typeface="+mn-lt"/>
                <a:ea typeface="+mn-ea"/>
                <a:cs typeface="+mn-cs"/>
              </a:defRPr>
            </a:lvl8pPr>
            <a:lvl9pPr marL="3885864" indent="-228579" algn="l" defTabSz="914321" rtl="0" eaLnBrk="1" latinLnBrk="1" hangingPunct="1">
              <a:spcBef>
                <a:spcPct val="20000"/>
              </a:spcBef>
              <a:buFont typeface="Arial" pitchFamily="34" charset="0"/>
              <a:buChar char="•"/>
              <a:defRPr sz="2000" kern="1200">
                <a:solidFill>
                  <a:schemeClr val="tx1"/>
                </a:solidFill>
                <a:latin typeface="+mn-lt"/>
                <a:ea typeface="+mn-ea"/>
                <a:cs typeface="+mn-cs"/>
              </a:defRPr>
            </a:lvl9pPr>
          </a:lstStyle>
          <a:p>
            <a:pPr marL="0" indent="0" algn="r" rtl="1">
              <a:buFont typeface="Arial" pitchFamily="34" charset="0"/>
              <a:buNone/>
            </a:pPr>
            <a:r>
              <a:rPr lang="ar-SA" altLang="ko-KR" sz="1600" b="1" dirty="0">
                <a:solidFill>
                  <a:srgbClr val="FF0000"/>
                </a:solidFill>
                <a:latin typeface="Sakkal Majalla" panose="02000000000000000000" pitchFamily="2" charset="-78"/>
                <a:cs typeface="Sakkal Majalla" panose="02000000000000000000" pitchFamily="2" charset="-78"/>
              </a:rPr>
              <a:t>حسب برنامج تنمية القدرات البشرية</a:t>
            </a:r>
            <a:endParaRPr lang="ko-KR" altLang="en-US" sz="1600" b="1" dirty="0">
              <a:solidFill>
                <a:srgbClr val="FF0000"/>
              </a:solidFill>
              <a:latin typeface="Sakkal Majalla" panose="02000000000000000000" pitchFamily="2" charset="-78"/>
              <a:cs typeface="Sakkal Majalla" panose="02000000000000000000" pitchFamily="2" charset="-78"/>
            </a:endParaRPr>
          </a:p>
        </p:txBody>
      </p:sp>
      <p:cxnSp>
        <p:nvCxnSpPr>
          <p:cNvPr id="7" name="رابط مستقيم 6">
            <a:extLst>
              <a:ext uri="{FF2B5EF4-FFF2-40B4-BE49-F238E27FC236}">
                <a16:creationId xmlns:a16="http://schemas.microsoft.com/office/drawing/2014/main" id="{E37A8432-78A0-18CF-F9CD-FE68183ACE5B}"/>
              </a:ext>
            </a:extLst>
          </p:cNvPr>
          <p:cNvCxnSpPr/>
          <p:nvPr/>
        </p:nvCxnSpPr>
        <p:spPr>
          <a:xfrm flipH="1">
            <a:off x="883887" y="6023534"/>
            <a:ext cx="2160000" cy="0"/>
          </a:xfrm>
          <a:prstGeom prst="line">
            <a:avLst/>
          </a:prstGeom>
          <a:noFill/>
          <a:ln w="12700" cap="flat" cmpd="sng" algn="ctr">
            <a:solidFill>
              <a:srgbClr val="32AEB8">
                <a:shade val="95000"/>
                <a:satMod val="105000"/>
              </a:srgbClr>
            </a:solidFill>
            <a:prstDash val="solid"/>
          </a:ln>
          <a:effectLst/>
        </p:spPr>
      </p:cxnSp>
    </p:spTree>
    <p:extLst>
      <p:ext uri="{BB962C8B-B14F-4D97-AF65-F5344CB8AC3E}">
        <p14:creationId xmlns:p14="http://schemas.microsoft.com/office/powerpoint/2010/main" val="18782405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arn(inVertical)">
                                      <p:cBhvr>
                                        <p:cTn id="7" dur="125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grpId="0"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barn(inVertical)">
                                      <p:cBhvr>
                                        <p:cTn id="12" dur="125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16" presetClass="entr" presetSubtype="21" fill="hold" grpId="0" nodeType="click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barn(inVertical)">
                                      <p:cBhvr>
                                        <p:cTn id="17" dur="1250"/>
                                        <p:tgtEl>
                                          <p:spTgt spid="4"/>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5"/>
                                        </p:tgtEl>
                                        <p:attrNameLst>
                                          <p:attrName>style.visibility</p:attrName>
                                        </p:attrNameLst>
                                      </p:cBhvr>
                                      <p:to>
                                        <p:strVal val="visible"/>
                                      </p:to>
                                    </p:set>
                                    <p:animEffect transition="in" filter="fade">
                                      <p:cBhvr>
                                        <p:cTn id="20" dur="500"/>
                                        <p:tgtEl>
                                          <p:spTgt spid="5"/>
                                        </p:tgtEl>
                                      </p:cBhvr>
                                    </p:animEffect>
                                  </p:childTnLst>
                                </p:cTn>
                              </p:par>
                            </p:childTnLst>
                          </p:cTn>
                        </p:par>
                      </p:childTnLst>
                    </p:cTn>
                  </p:par>
                  <p:par>
                    <p:cTn id="21" fill="hold">
                      <p:stCondLst>
                        <p:cond delay="indefinite"/>
                      </p:stCondLst>
                      <p:childTnLst>
                        <p:par>
                          <p:cTn id="22" fill="hold">
                            <p:stCondLst>
                              <p:cond delay="0"/>
                            </p:stCondLst>
                            <p:childTnLst>
                              <p:par>
                                <p:cTn id="23" presetID="47" presetClass="entr" presetSubtype="0" fill="hold" nodeType="clickEffect">
                                  <p:stCondLst>
                                    <p:cond delay="0"/>
                                  </p:stCondLst>
                                  <p:childTnLst>
                                    <p:set>
                                      <p:cBhvr>
                                        <p:cTn id="24" dur="1" fill="hold">
                                          <p:stCondLst>
                                            <p:cond delay="0"/>
                                          </p:stCondLst>
                                        </p:cTn>
                                        <p:tgtEl>
                                          <p:spTgt spid="5">
                                            <p:txEl>
                                              <p:pRg st="0" end="0"/>
                                            </p:txEl>
                                          </p:spTgt>
                                        </p:tgtEl>
                                        <p:attrNameLst>
                                          <p:attrName>style.visibility</p:attrName>
                                        </p:attrNameLst>
                                      </p:cBhvr>
                                      <p:to>
                                        <p:strVal val="visible"/>
                                      </p:to>
                                    </p:set>
                                    <p:animEffect transition="in" filter="fade">
                                      <p:cBhvr>
                                        <p:cTn id="25" dur="1250"/>
                                        <p:tgtEl>
                                          <p:spTgt spid="5">
                                            <p:txEl>
                                              <p:pRg st="0" end="0"/>
                                            </p:txEl>
                                          </p:spTgt>
                                        </p:tgtEl>
                                      </p:cBhvr>
                                    </p:animEffect>
                                    <p:anim calcmode="lin" valueType="num">
                                      <p:cBhvr>
                                        <p:cTn id="26" dur="1250" fill="hold"/>
                                        <p:tgtEl>
                                          <p:spTgt spid="5">
                                            <p:txEl>
                                              <p:pRg st="0" end="0"/>
                                            </p:txEl>
                                          </p:spTgt>
                                        </p:tgtEl>
                                        <p:attrNameLst>
                                          <p:attrName>ppt_x</p:attrName>
                                        </p:attrNameLst>
                                      </p:cBhvr>
                                      <p:tavLst>
                                        <p:tav tm="0">
                                          <p:val>
                                            <p:strVal val="#ppt_x"/>
                                          </p:val>
                                        </p:tav>
                                        <p:tav tm="100000">
                                          <p:val>
                                            <p:strVal val="#ppt_x"/>
                                          </p:val>
                                        </p:tav>
                                      </p:tavLst>
                                    </p:anim>
                                    <p:anim calcmode="lin" valueType="num">
                                      <p:cBhvr>
                                        <p:cTn id="27" dur="1250" fill="hold"/>
                                        <p:tgtEl>
                                          <p:spTgt spid="5">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28" fill="hold">
                      <p:stCondLst>
                        <p:cond delay="indefinite"/>
                      </p:stCondLst>
                      <p:childTnLst>
                        <p:par>
                          <p:cTn id="29" fill="hold">
                            <p:stCondLst>
                              <p:cond delay="0"/>
                            </p:stCondLst>
                            <p:childTnLst>
                              <p:par>
                                <p:cTn id="30" presetID="47" presetClass="entr" presetSubtype="0" fill="hold" nodeType="clickEffect">
                                  <p:stCondLst>
                                    <p:cond delay="0"/>
                                  </p:stCondLst>
                                  <p:childTnLst>
                                    <p:set>
                                      <p:cBhvr>
                                        <p:cTn id="31" dur="1" fill="hold">
                                          <p:stCondLst>
                                            <p:cond delay="0"/>
                                          </p:stCondLst>
                                        </p:cTn>
                                        <p:tgtEl>
                                          <p:spTgt spid="5">
                                            <p:txEl>
                                              <p:pRg st="1" end="1"/>
                                            </p:txEl>
                                          </p:spTgt>
                                        </p:tgtEl>
                                        <p:attrNameLst>
                                          <p:attrName>style.visibility</p:attrName>
                                        </p:attrNameLst>
                                      </p:cBhvr>
                                      <p:to>
                                        <p:strVal val="visible"/>
                                      </p:to>
                                    </p:set>
                                    <p:animEffect transition="in" filter="fade">
                                      <p:cBhvr>
                                        <p:cTn id="32" dur="1250"/>
                                        <p:tgtEl>
                                          <p:spTgt spid="5">
                                            <p:txEl>
                                              <p:pRg st="1" end="1"/>
                                            </p:txEl>
                                          </p:spTgt>
                                        </p:tgtEl>
                                      </p:cBhvr>
                                    </p:animEffect>
                                    <p:anim calcmode="lin" valueType="num">
                                      <p:cBhvr>
                                        <p:cTn id="33" dur="1250" fill="hold"/>
                                        <p:tgtEl>
                                          <p:spTgt spid="5">
                                            <p:txEl>
                                              <p:pRg st="1" end="1"/>
                                            </p:txEl>
                                          </p:spTgt>
                                        </p:tgtEl>
                                        <p:attrNameLst>
                                          <p:attrName>ppt_x</p:attrName>
                                        </p:attrNameLst>
                                      </p:cBhvr>
                                      <p:tavLst>
                                        <p:tav tm="0">
                                          <p:val>
                                            <p:strVal val="#ppt_x"/>
                                          </p:val>
                                        </p:tav>
                                        <p:tav tm="100000">
                                          <p:val>
                                            <p:strVal val="#ppt_x"/>
                                          </p:val>
                                        </p:tav>
                                      </p:tavLst>
                                    </p:anim>
                                    <p:anim calcmode="lin" valueType="num">
                                      <p:cBhvr>
                                        <p:cTn id="34" dur="1250" fill="hold"/>
                                        <p:tgtEl>
                                          <p:spTgt spid="5">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47" presetClass="entr" presetSubtype="0" fill="hold" nodeType="clickEffect">
                                  <p:stCondLst>
                                    <p:cond delay="0"/>
                                  </p:stCondLst>
                                  <p:childTnLst>
                                    <p:set>
                                      <p:cBhvr>
                                        <p:cTn id="38" dur="1" fill="hold">
                                          <p:stCondLst>
                                            <p:cond delay="0"/>
                                          </p:stCondLst>
                                        </p:cTn>
                                        <p:tgtEl>
                                          <p:spTgt spid="5">
                                            <p:txEl>
                                              <p:pRg st="2" end="2"/>
                                            </p:txEl>
                                          </p:spTgt>
                                        </p:tgtEl>
                                        <p:attrNameLst>
                                          <p:attrName>style.visibility</p:attrName>
                                        </p:attrNameLst>
                                      </p:cBhvr>
                                      <p:to>
                                        <p:strVal val="visible"/>
                                      </p:to>
                                    </p:set>
                                    <p:animEffect transition="in" filter="fade">
                                      <p:cBhvr>
                                        <p:cTn id="39" dur="1250"/>
                                        <p:tgtEl>
                                          <p:spTgt spid="5">
                                            <p:txEl>
                                              <p:pRg st="2" end="2"/>
                                            </p:txEl>
                                          </p:spTgt>
                                        </p:tgtEl>
                                      </p:cBhvr>
                                    </p:animEffect>
                                    <p:anim calcmode="lin" valueType="num">
                                      <p:cBhvr>
                                        <p:cTn id="40" dur="1250" fill="hold"/>
                                        <p:tgtEl>
                                          <p:spTgt spid="5">
                                            <p:txEl>
                                              <p:pRg st="2" end="2"/>
                                            </p:txEl>
                                          </p:spTgt>
                                        </p:tgtEl>
                                        <p:attrNameLst>
                                          <p:attrName>ppt_x</p:attrName>
                                        </p:attrNameLst>
                                      </p:cBhvr>
                                      <p:tavLst>
                                        <p:tav tm="0">
                                          <p:val>
                                            <p:strVal val="#ppt_x"/>
                                          </p:val>
                                        </p:tav>
                                        <p:tav tm="100000">
                                          <p:val>
                                            <p:strVal val="#ppt_x"/>
                                          </p:val>
                                        </p:tav>
                                      </p:tavLst>
                                    </p:anim>
                                    <p:anim calcmode="lin" valueType="num">
                                      <p:cBhvr>
                                        <p:cTn id="41" dur="1250" fill="hold"/>
                                        <p:tgtEl>
                                          <p:spTgt spid="5">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42" fill="hold">
                      <p:stCondLst>
                        <p:cond delay="indefinite"/>
                      </p:stCondLst>
                      <p:childTnLst>
                        <p:par>
                          <p:cTn id="43" fill="hold">
                            <p:stCondLst>
                              <p:cond delay="0"/>
                            </p:stCondLst>
                            <p:childTnLst>
                              <p:par>
                                <p:cTn id="44" presetID="47" presetClass="entr" presetSubtype="0" fill="hold" nodeType="clickEffect">
                                  <p:stCondLst>
                                    <p:cond delay="0"/>
                                  </p:stCondLst>
                                  <p:childTnLst>
                                    <p:set>
                                      <p:cBhvr>
                                        <p:cTn id="45" dur="1" fill="hold">
                                          <p:stCondLst>
                                            <p:cond delay="0"/>
                                          </p:stCondLst>
                                        </p:cTn>
                                        <p:tgtEl>
                                          <p:spTgt spid="5">
                                            <p:txEl>
                                              <p:pRg st="3" end="3"/>
                                            </p:txEl>
                                          </p:spTgt>
                                        </p:tgtEl>
                                        <p:attrNameLst>
                                          <p:attrName>style.visibility</p:attrName>
                                        </p:attrNameLst>
                                      </p:cBhvr>
                                      <p:to>
                                        <p:strVal val="visible"/>
                                      </p:to>
                                    </p:set>
                                    <p:animEffect transition="in" filter="fade">
                                      <p:cBhvr>
                                        <p:cTn id="46" dur="1250"/>
                                        <p:tgtEl>
                                          <p:spTgt spid="5">
                                            <p:txEl>
                                              <p:pRg st="3" end="3"/>
                                            </p:txEl>
                                          </p:spTgt>
                                        </p:tgtEl>
                                      </p:cBhvr>
                                    </p:animEffect>
                                    <p:anim calcmode="lin" valueType="num">
                                      <p:cBhvr>
                                        <p:cTn id="47" dur="1250" fill="hold"/>
                                        <p:tgtEl>
                                          <p:spTgt spid="5">
                                            <p:txEl>
                                              <p:pRg st="3" end="3"/>
                                            </p:txEl>
                                          </p:spTgt>
                                        </p:tgtEl>
                                        <p:attrNameLst>
                                          <p:attrName>ppt_x</p:attrName>
                                        </p:attrNameLst>
                                      </p:cBhvr>
                                      <p:tavLst>
                                        <p:tav tm="0">
                                          <p:val>
                                            <p:strVal val="#ppt_x"/>
                                          </p:val>
                                        </p:tav>
                                        <p:tav tm="100000">
                                          <p:val>
                                            <p:strVal val="#ppt_x"/>
                                          </p:val>
                                        </p:tav>
                                      </p:tavLst>
                                    </p:anim>
                                    <p:anim calcmode="lin" valueType="num">
                                      <p:cBhvr>
                                        <p:cTn id="48" dur="1250" fill="hold"/>
                                        <p:tgtEl>
                                          <p:spTgt spid="5">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49" fill="hold">
                      <p:stCondLst>
                        <p:cond delay="indefinite"/>
                      </p:stCondLst>
                      <p:childTnLst>
                        <p:par>
                          <p:cTn id="50" fill="hold">
                            <p:stCondLst>
                              <p:cond delay="0"/>
                            </p:stCondLst>
                            <p:childTnLst>
                              <p:par>
                                <p:cTn id="51" presetID="47" presetClass="entr" presetSubtype="0" fill="hold" nodeType="clickEffect">
                                  <p:stCondLst>
                                    <p:cond delay="0"/>
                                  </p:stCondLst>
                                  <p:childTnLst>
                                    <p:set>
                                      <p:cBhvr>
                                        <p:cTn id="52" dur="1" fill="hold">
                                          <p:stCondLst>
                                            <p:cond delay="0"/>
                                          </p:stCondLst>
                                        </p:cTn>
                                        <p:tgtEl>
                                          <p:spTgt spid="5">
                                            <p:txEl>
                                              <p:pRg st="4" end="4"/>
                                            </p:txEl>
                                          </p:spTgt>
                                        </p:tgtEl>
                                        <p:attrNameLst>
                                          <p:attrName>style.visibility</p:attrName>
                                        </p:attrNameLst>
                                      </p:cBhvr>
                                      <p:to>
                                        <p:strVal val="visible"/>
                                      </p:to>
                                    </p:set>
                                    <p:animEffect transition="in" filter="fade">
                                      <p:cBhvr>
                                        <p:cTn id="53" dur="1250"/>
                                        <p:tgtEl>
                                          <p:spTgt spid="5">
                                            <p:txEl>
                                              <p:pRg st="4" end="4"/>
                                            </p:txEl>
                                          </p:spTgt>
                                        </p:tgtEl>
                                      </p:cBhvr>
                                    </p:animEffect>
                                    <p:anim calcmode="lin" valueType="num">
                                      <p:cBhvr>
                                        <p:cTn id="54" dur="1250" fill="hold"/>
                                        <p:tgtEl>
                                          <p:spTgt spid="5">
                                            <p:txEl>
                                              <p:pRg st="4" end="4"/>
                                            </p:txEl>
                                          </p:spTgt>
                                        </p:tgtEl>
                                        <p:attrNameLst>
                                          <p:attrName>ppt_x</p:attrName>
                                        </p:attrNameLst>
                                      </p:cBhvr>
                                      <p:tavLst>
                                        <p:tav tm="0">
                                          <p:val>
                                            <p:strVal val="#ppt_x"/>
                                          </p:val>
                                        </p:tav>
                                        <p:tav tm="100000">
                                          <p:val>
                                            <p:strVal val="#ppt_x"/>
                                          </p:val>
                                        </p:tav>
                                      </p:tavLst>
                                    </p:anim>
                                    <p:anim calcmode="lin" valueType="num">
                                      <p:cBhvr>
                                        <p:cTn id="55" dur="1250" fill="hold"/>
                                        <p:tgtEl>
                                          <p:spTgt spid="5">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56" fill="hold">
                      <p:stCondLst>
                        <p:cond delay="indefinite"/>
                      </p:stCondLst>
                      <p:childTnLst>
                        <p:par>
                          <p:cTn id="57" fill="hold">
                            <p:stCondLst>
                              <p:cond delay="0"/>
                            </p:stCondLst>
                            <p:childTnLst>
                              <p:par>
                                <p:cTn id="58" presetID="47" presetClass="entr" presetSubtype="0" fill="hold" nodeType="clickEffect">
                                  <p:stCondLst>
                                    <p:cond delay="0"/>
                                  </p:stCondLst>
                                  <p:childTnLst>
                                    <p:set>
                                      <p:cBhvr>
                                        <p:cTn id="59" dur="1" fill="hold">
                                          <p:stCondLst>
                                            <p:cond delay="0"/>
                                          </p:stCondLst>
                                        </p:cTn>
                                        <p:tgtEl>
                                          <p:spTgt spid="5">
                                            <p:txEl>
                                              <p:pRg st="5" end="5"/>
                                            </p:txEl>
                                          </p:spTgt>
                                        </p:tgtEl>
                                        <p:attrNameLst>
                                          <p:attrName>style.visibility</p:attrName>
                                        </p:attrNameLst>
                                      </p:cBhvr>
                                      <p:to>
                                        <p:strVal val="visible"/>
                                      </p:to>
                                    </p:set>
                                    <p:animEffect transition="in" filter="fade">
                                      <p:cBhvr>
                                        <p:cTn id="60" dur="1250"/>
                                        <p:tgtEl>
                                          <p:spTgt spid="5">
                                            <p:txEl>
                                              <p:pRg st="5" end="5"/>
                                            </p:txEl>
                                          </p:spTgt>
                                        </p:tgtEl>
                                      </p:cBhvr>
                                    </p:animEffect>
                                    <p:anim calcmode="lin" valueType="num">
                                      <p:cBhvr>
                                        <p:cTn id="61" dur="1250" fill="hold"/>
                                        <p:tgtEl>
                                          <p:spTgt spid="5">
                                            <p:txEl>
                                              <p:pRg st="5" end="5"/>
                                            </p:txEl>
                                          </p:spTgt>
                                        </p:tgtEl>
                                        <p:attrNameLst>
                                          <p:attrName>ppt_x</p:attrName>
                                        </p:attrNameLst>
                                      </p:cBhvr>
                                      <p:tavLst>
                                        <p:tav tm="0">
                                          <p:val>
                                            <p:strVal val="#ppt_x"/>
                                          </p:val>
                                        </p:tav>
                                        <p:tav tm="100000">
                                          <p:val>
                                            <p:strVal val="#ppt_x"/>
                                          </p:val>
                                        </p:tav>
                                      </p:tavLst>
                                    </p:anim>
                                    <p:anim calcmode="lin" valueType="num">
                                      <p:cBhvr>
                                        <p:cTn id="62" dur="1250" fill="hold"/>
                                        <p:tgtEl>
                                          <p:spTgt spid="5">
                                            <p:txEl>
                                              <p:pRg st="5" end="5"/>
                                            </p:txEl>
                                          </p:spTgt>
                                        </p:tgtEl>
                                        <p:attrNameLst>
                                          <p:attrName>ppt_y</p:attrName>
                                        </p:attrNameLst>
                                      </p:cBhvr>
                                      <p:tavLst>
                                        <p:tav tm="0">
                                          <p:val>
                                            <p:strVal val="#ppt_y-.1"/>
                                          </p:val>
                                        </p:tav>
                                        <p:tav tm="100000">
                                          <p:val>
                                            <p:strVal val="#ppt_y"/>
                                          </p:val>
                                        </p:tav>
                                      </p:tavLst>
                                    </p:anim>
                                  </p:childTnLst>
                                </p:cTn>
                              </p:par>
                            </p:childTnLst>
                          </p:cTn>
                        </p:par>
                      </p:childTnLst>
                    </p:cTn>
                  </p:par>
                  <p:par>
                    <p:cTn id="63" fill="hold">
                      <p:stCondLst>
                        <p:cond delay="indefinite"/>
                      </p:stCondLst>
                      <p:childTnLst>
                        <p:par>
                          <p:cTn id="64" fill="hold">
                            <p:stCondLst>
                              <p:cond delay="0"/>
                            </p:stCondLst>
                            <p:childTnLst>
                              <p:par>
                                <p:cTn id="65" presetID="47" presetClass="entr" presetSubtype="0" fill="hold" nodeType="clickEffect">
                                  <p:stCondLst>
                                    <p:cond delay="0"/>
                                  </p:stCondLst>
                                  <p:childTnLst>
                                    <p:set>
                                      <p:cBhvr>
                                        <p:cTn id="66" dur="1" fill="hold">
                                          <p:stCondLst>
                                            <p:cond delay="0"/>
                                          </p:stCondLst>
                                        </p:cTn>
                                        <p:tgtEl>
                                          <p:spTgt spid="5">
                                            <p:txEl>
                                              <p:pRg st="6" end="6"/>
                                            </p:txEl>
                                          </p:spTgt>
                                        </p:tgtEl>
                                        <p:attrNameLst>
                                          <p:attrName>style.visibility</p:attrName>
                                        </p:attrNameLst>
                                      </p:cBhvr>
                                      <p:to>
                                        <p:strVal val="visible"/>
                                      </p:to>
                                    </p:set>
                                    <p:animEffect transition="in" filter="fade">
                                      <p:cBhvr>
                                        <p:cTn id="67" dur="1250"/>
                                        <p:tgtEl>
                                          <p:spTgt spid="5">
                                            <p:txEl>
                                              <p:pRg st="6" end="6"/>
                                            </p:txEl>
                                          </p:spTgt>
                                        </p:tgtEl>
                                      </p:cBhvr>
                                    </p:animEffect>
                                    <p:anim calcmode="lin" valueType="num">
                                      <p:cBhvr>
                                        <p:cTn id="68" dur="1250" fill="hold"/>
                                        <p:tgtEl>
                                          <p:spTgt spid="5">
                                            <p:txEl>
                                              <p:pRg st="6" end="6"/>
                                            </p:txEl>
                                          </p:spTgt>
                                        </p:tgtEl>
                                        <p:attrNameLst>
                                          <p:attrName>ppt_x</p:attrName>
                                        </p:attrNameLst>
                                      </p:cBhvr>
                                      <p:tavLst>
                                        <p:tav tm="0">
                                          <p:val>
                                            <p:strVal val="#ppt_x"/>
                                          </p:val>
                                        </p:tav>
                                        <p:tav tm="100000">
                                          <p:val>
                                            <p:strVal val="#ppt_x"/>
                                          </p:val>
                                        </p:tav>
                                      </p:tavLst>
                                    </p:anim>
                                    <p:anim calcmode="lin" valueType="num">
                                      <p:cBhvr>
                                        <p:cTn id="69" dur="1250" fill="hold"/>
                                        <p:tgtEl>
                                          <p:spTgt spid="5">
                                            <p:txEl>
                                              <p:pRg st="6" end="6"/>
                                            </p:txEl>
                                          </p:spTgt>
                                        </p:tgtEl>
                                        <p:attrNameLst>
                                          <p:attrName>ppt_y</p:attrName>
                                        </p:attrNameLst>
                                      </p:cBhvr>
                                      <p:tavLst>
                                        <p:tav tm="0">
                                          <p:val>
                                            <p:strVal val="#ppt_y-.1"/>
                                          </p:val>
                                        </p:tav>
                                        <p:tav tm="100000">
                                          <p:val>
                                            <p:strVal val="#ppt_y"/>
                                          </p:val>
                                        </p:tav>
                                      </p:tavLst>
                                    </p:anim>
                                  </p:childTnLst>
                                </p:cTn>
                              </p:par>
                            </p:childTnLst>
                          </p:cTn>
                        </p:par>
                      </p:childTnLst>
                    </p:cTn>
                  </p:par>
                  <p:par>
                    <p:cTn id="70" fill="hold">
                      <p:stCondLst>
                        <p:cond delay="indefinite"/>
                      </p:stCondLst>
                      <p:childTnLst>
                        <p:par>
                          <p:cTn id="71" fill="hold">
                            <p:stCondLst>
                              <p:cond delay="0"/>
                            </p:stCondLst>
                            <p:childTnLst>
                              <p:par>
                                <p:cTn id="72" presetID="47" presetClass="entr" presetSubtype="0" fill="hold" nodeType="clickEffect">
                                  <p:stCondLst>
                                    <p:cond delay="0"/>
                                  </p:stCondLst>
                                  <p:childTnLst>
                                    <p:set>
                                      <p:cBhvr>
                                        <p:cTn id="73" dur="1" fill="hold">
                                          <p:stCondLst>
                                            <p:cond delay="0"/>
                                          </p:stCondLst>
                                        </p:cTn>
                                        <p:tgtEl>
                                          <p:spTgt spid="5">
                                            <p:txEl>
                                              <p:pRg st="7" end="7"/>
                                            </p:txEl>
                                          </p:spTgt>
                                        </p:tgtEl>
                                        <p:attrNameLst>
                                          <p:attrName>style.visibility</p:attrName>
                                        </p:attrNameLst>
                                      </p:cBhvr>
                                      <p:to>
                                        <p:strVal val="visible"/>
                                      </p:to>
                                    </p:set>
                                    <p:animEffect transition="in" filter="fade">
                                      <p:cBhvr>
                                        <p:cTn id="74" dur="1250"/>
                                        <p:tgtEl>
                                          <p:spTgt spid="5">
                                            <p:txEl>
                                              <p:pRg st="7" end="7"/>
                                            </p:txEl>
                                          </p:spTgt>
                                        </p:tgtEl>
                                      </p:cBhvr>
                                    </p:animEffect>
                                    <p:anim calcmode="lin" valueType="num">
                                      <p:cBhvr>
                                        <p:cTn id="75" dur="1250" fill="hold"/>
                                        <p:tgtEl>
                                          <p:spTgt spid="5">
                                            <p:txEl>
                                              <p:pRg st="7" end="7"/>
                                            </p:txEl>
                                          </p:spTgt>
                                        </p:tgtEl>
                                        <p:attrNameLst>
                                          <p:attrName>ppt_x</p:attrName>
                                        </p:attrNameLst>
                                      </p:cBhvr>
                                      <p:tavLst>
                                        <p:tav tm="0">
                                          <p:val>
                                            <p:strVal val="#ppt_x"/>
                                          </p:val>
                                        </p:tav>
                                        <p:tav tm="100000">
                                          <p:val>
                                            <p:strVal val="#ppt_x"/>
                                          </p:val>
                                        </p:tav>
                                      </p:tavLst>
                                    </p:anim>
                                    <p:anim calcmode="lin" valueType="num">
                                      <p:cBhvr>
                                        <p:cTn id="76" dur="1250" fill="hold"/>
                                        <p:tgtEl>
                                          <p:spTgt spid="5">
                                            <p:txEl>
                                              <p:pRg st="7" end="7"/>
                                            </p:txEl>
                                          </p:spTgt>
                                        </p:tgtEl>
                                        <p:attrNameLst>
                                          <p:attrName>ppt_y</p:attrName>
                                        </p:attrNameLst>
                                      </p:cBhvr>
                                      <p:tavLst>
                                        <p:tav tm="0">
                                          <p:val>
                                            <p:strVal val="#ppt_y-.1"/>
                                          </p:val>
                                        </p:tav>
                                        <p:tav tm="100000">
                                          <p:val>
                                            <p:strVal val="#ppt_y"/>
                                          </p:val>
                                        </p:tav>
                                      </p:tavLst>
                                    </p:anim>
                                  </p:childTnLst>
                                </p:cTn>
                              </p:par>
                            </p:childTnLst>
                          </p:cTn>
                        </p:par>
                      </p:childTnLst>
                    </p:cTn>
                  </p:par>
                  <p:par>
                    <p:cTn id="77" fill="hold">
                      <p:stCondLst>
                        <p:cond delay="indefinite"/>
                      </p:stCondLst>
                      <p:childTnLst>
                        <p:par>
                          <p:cTn id="78" fill="hold">
                            <p:stCondLst>
                              <p:cond delay="0"/>
                            </p:stCondLst>
                            <p:childTnLst>
                              <p:par>
                                <p:cTn id="79" presetID="16" presetClass="entr" presetSubtype="21" fill="hold" nodeType="clickEffect">
                                  <p:stCondLst>
                                    <p:cond delay="0"/>
                                  </p:stCondLst>
                                  <p:childTnLst>
                                    <p:set>
                                      <p:cBhvr>
                                        <p:cTn id="80" dur="1" fill="hold">
                                          <p:stCondLst>
                                            <p:cond delay="0"/>
                                          </p:stCondLst>
                                        </p:cTn>
                                        <p:tgtEl>
                                          <p:spTgt spid="7"/>
                                        </p:tgtEl>
                                        <p:attrNameLst>
                                          <p:attrName>style.visibility</p:attrName>
                                        </p:attrNameLst>
                                      </p:cBhvr>
                                      <p:to>
                                        <p:strVal val="visible"/>
                                      </p:to>
                                    </p:set>
                                    <p:animEffect transition="in" filter="barn(inVertical)">
                                      <p:cBhvr>
                                        <p:cTn id="81" dur="500"/>
                                        <p:tgtEl>
                                          <p:spTgt spid="7"/>
                                        </p:tgtEl>
                                      </p:cBhvr>
                                    </p:animEffect>
                                  </p:childTnLst>
                                </p:cTn>
                              </p:par>
                              <p:par>
                                <p:cTn id="82" presetID="16" presetClass="entr" presetSubtype="21" fill="hold" grpId="0" nodeType="withEffect">
                                  <p:stCondLst>
                                    <p:cond delay="0"/>
                                  </p:stCondLst>
                                  <p:childTnLst>
                                    <p:set>
                                      <p:cBhvr>
                                        <p:cTn id="83" dur="1" fill="hold">
                                          <p:stCondLst>
                                            <p:cond delay="0"/>
                                          </p:stCondLst>
                                        </p:cTn>
                                        <p:tgtEl>
                                          <p:spTgt spid="6">
                                            <p:txEl>
                                              <p:pRg st="0" end="0"/>
                                            </p:txEl>
                                          </p:spTgt>
                                        </p:tgtEl>
                                        <p:attrNameLst>
                                          <p:attrName>style.visibility</p:attrName>
                                        </p:attrNameLst>
                                      </p:cBhvr>
                                      <p:to>
                                        <p:strVal val="visible"/>
                                      </p:to>
                                    </p:set>
                                    <p:animEffect transition="in" filter="barn(inVertical)">
                                      <p:cBhvr>
                                        <p:cTn id="84" dur="1250"/>
                                        <p:tgtEl>
                                          <p:spTgt spid="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4" grpId="0"/>
      <p:bldP spid="5" grpId="0" animBg="1"/>
      <p:bldP spid="6" grpId="0" build="p"/>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3">
            <a:extLst>
              <a:ext uri="{FF2B5EF4-FFF2-40B4-BE49-F238E27FC236}">
                <a16:creationId xmlns:a16="http://schemas.microsoft.com/office/drawing/2014/main" id="{3FCC1623-B9B5-6488-A932-3DB8DA24E9C6}"/>
              </a:ext>
            </a:extLst>
          </p:cNvPr>
          <p:cNvSpPr txBox="1">
            <a:spLocks noChangeArrowheads="1"/>
          </p:cNvSpPr>
          <p:nvPr/>
        </p:nvSpPr>
        <p:spPr bwMode="white">
          <a:xfrm>
            <a:off x="4751852" y="164639"/>
            <a:ext cx="4349385" cy="57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46304" tIns="121920" rIns="146304" bIns="121920" numCol="1" anchor="ctr" anchorCtr="0" compatLnSpc="1">
            <a:prstTxWarp prst="textNoShape">
              <a:avLst/>
            </a:prstTxWarp>
          </a:bodyPr>
          <a:lstStyle>
            <a:lvl1pPr marL="342900" indent="-342900" algn="l" rtl="0" eaLnBrk="0" fontAlgn="base" hangingPunct="0">
              <a:lnSpc>
                <a:spcPct val="95000"/>
              </a:lnSpc>
              <a:spcBef>
                <a:spcPct val="10000"/>
              </a:spcBef>
              <a:spcAft>
                <a:spcPct val="30000"/>
              </a:spcAft>
              <a:buChar char="•"/>
              <a:defRPr sz="2400">
                <a:solidFill>
                  <a:schemeClr val="tx1"/>
                </a:solidFill>
                <a:latin typeface="+mn-lt"/>
                <a:ea typeface="+mn-ea"/>
                <a:cs typeface="+mn-cs"/>
              </a:defRPr>
            </a:lvl1pPr>
            <a:lvl2pPr marL="227013" lvl="1" indent="-225425" algn="l" rtl="0" eaLnBrk="0" fontAlgn="base" hangingPunct="0">
              <a:lnSpc>
                <a:spcPct val="95000"/>
              </a:lnSpc>
              <a:spcBef>
                <a:spcPct val="10000"/>
              </a:spcBef>
              <a:spcAft>
                <a:spcPct val="30000"/>
              </a:spcAft>
              <a:buChar char="•"/>
              <a:defRPr sz="2400">
                <a:solidFill>
                  <a:schemeClr val="tx1"/>
                </a:solidFill>
                <a:latin typeface="+mn-lt"/>
              </a:defRPr>
            </a:lvl2pPr>
            <a:lvl3pPr marL="455613" lvl="2" indent="-227013" algn="l" rtl="0" eaLnBrk="0" fontAlgn="base" hangingPunct="0">
              <a:lnSpc>
                <a:spcPct val="95000"/>
              </a:lnSpc>
              <a:spcBef>
                <a:spcPct val="10000"/>
              </a:spcBef>
              <a:spcAft>
                <a:spcPct val="30000"/>
              </a:spcAft>
              <a:buChar char="–"/>
              <a:defRPr sz="2000">
                <a:solidFill>
                  <a:schemeClr val="tx1"/>
                </a:solidFill>
                <a:latin typeface="+mn-lt"/>
              </a:defRPr>
            </a:lvl3pPr>
            <a:lvl4pPr marL="685800" lvl="3" indent="-228600" algn="l" rtl="0" eaLnBrk="0" fontAlgn="base" hangingPunct="0">
              <a:lnSpc>
                <a:spcPct val="95000"/>
              </a:lnSpc>
              <a:spcBef>
                <a:spcPct val="10000"/>
              </a:spcBef>
              <a:spcAft>
                <a:spcPct val="30000"/>
              </a:spcAft>
              <a:buChar char="–"/>
              <a:defRPr sz="2000">
                <a:solidFill>
                  <a:schemeClr val="tx1"/>
                </a:solidFill>
                <a:latin typeface="+mn-lt"/>
              </a:defRPr>
            </a:lvl4pPr>
            <a:lvl5pPr marL="908050" lvl="4" indent="-220663" algn="l" rtl="0" eaLnBrk="0" fontAlgn="base" hangingPunct="0">
              <a:lnSpc>
                <a:spcPct val="95000"/>
              </a:lnSpc>
              <a:spcBef>
                <a:spcPct val="10000"/>
              </a:spcBef>
              <a:spcAft>
                <a:spcPct val="30000"/>
              </a:spcAft>
              <a:buChar char="–"/>
              <a:defRPr sz="2000">
                <a:solidFill>
                  <a:schemeClr val="tx1"/>
                </a:solidFill>
                <a:latin typeface="+mn-lt"/>
              </a:defRPr>
            </a:lvl5pPr>
            <a:lvl6pPr marL="1365250" indent="-220663" algn="l" rtl="0" fontAlgn="base">
              <a:lnSpc>
                <a:spcPct val="95000"/>
              </a:lnSpc>
              <a:spcBef>
                <a:spcPct val="10000"/>
              </a:spcBef>
              <a:spcAft>
                <a:spcPct val="30000"/>
              </a:spcAft>
              <a:buChar char="–"/>
              <a:defRPr>
                <a:solidFill>
                  <a:schemeClr val="tx1"/>
                </a:solidFill>
                <a:latin typeface="+mn-lt"/>
              </a:defRPr>
            </a:lvl6pPr>
            <a:lvl7pPr marL="1822450" indent="-220663" algn="l" rtl="0" fontAlgn="base">
              <a:lnSpc>
                <a:spcPct val="95000"/>
              </a:lnSpc>
              <a:spcBef>
                <a:spcPct val="10000"/>
              </a:spcBef>
              <a:spcAft>
                <a:spcPct val="30000"/>
              </a:spcAft>
              <a:buChar char="–"/>
              <a:defRPr>
                <a:solidFill>
                  <a:schemeClr val="tx1"/>
                </a:solidFill>
                <a:latin typeface="+mn-lt"/>
              </a:defRPr>
            </a:lvl7pPr>
            <a:lvl8pPr marL="2279650" indent="-220663" algn="l" rtl="0" fontAlgn="base">
              <a:lnSpc>
                <a:spcPct val="95000"/>
              </a:lnSpc>
              <a:spcBef>
                <a:spcPct val="10000"/>
              </a:spcBef>
              <a:spcAft>
                <a:spcPct val="30000"/>
              </a:spcAft>
              <a:buChar char="–"/>
              <a:defRPr>
                <a:solidFill>
                  <a:schemeClr val="tx1"/>
                </a:solidFill>
                <a:latin typeface="+mn-lt"/>
              </a:defRPr>
            </a:lvl8pPr>
            <a:lvl9pPr marL="2736850" indent="-220663" algn="l" rtl="0" fontAlgn="base">
              <a:lnSpc>
                <a:spcPct val="95000"/>
              </a:lnSpc>
              <a:spcBef>
                <a:spcPct val="10000"/>
              </a:spcBef>
              <a:spcAft>
                <a:spcPct val="30000"/>
              </a:spcAft>
              <a:buChar char="–"/>
              <a:defRPr>
                <a:solidFill>
                  <a:schemeClr val="tx1"/>
                </a:solidFill>
                <a:latin typeface="+mn-lt"/>
              </a:defRPr>
            </a:lvl9pPr>
          </a:lstStyle>
          <a:p>
            <a:pPr marL="0" indent="0" algn="ctr" defTabSz="1219139" eaLnBrk="1" hangingPunct="1">
              <a:buNone/>
              <a:defRPr/>
            </a:pPr>
            <a:endParaRPr lang="ar-SA" altLang="ar-SA" sz="3200" b="1" kern="0" dirty="0">
              <a:solidFill>
                <a:srgbClr val="C00000"/>
              </a:solidFill>
              <a:latin typeface="Sakkal Majalla" panose="02000000000000000000" pitchFamily="2" charset="-78"/>
              <a:cs typeface="Sakkal Majalla" panose="02000000000000000000" pitchFamily="2" charset="-78"/>
              <a:sym typeface="Arial"/>
            </a:endParaRPr>
          </a:p>
          <a:p>
            <a:pPr marL="0" indent="0" algn="ctr" defTabSz="1219139" eaLnBrk="1" hangingPunct="1">
              <a:buNone/>
              <a:defRPr/>
            </a:pPr>
            <a:r>
              <a:rPr lang="ar-SA" altLang="ar-SA" sz="3200" b="1" kern="0" dirty="0">
                <a:solidFill>
                  <a:srgbClr val="C00000"/>
                </a:solidFill>
                <a:latin typeface="Sakkal Majalla" panose="02000000000000000000" pitchFamily="2" charset="-78"/>
                <a:cs typeface="Sakkal Majalla" panose="02000000000000000000" pitchFamily="2" charset="-78"/>
                <a:sym typeface="Arial"/>
              </a:rPr>
              <a:t>فكرة التصميم العكسي</a:t>
            </a:r>
            <a:endParaRPr lang="en-US" altLang="ar-SA" sz="3200" kern="0" dirty="0">
              <a:solidFill>
                <a:srgbClr val="C00000"/>
              </a:solidFill>
              <a:latin typeface="Sakkal Majalla" panose="02000000000000000000" pitchFamily="2" charset="-78"/>
              <a:cs typeface="Sakkal Majalla" panose="02000000000000000000" pitchFamily="2" charset="-78"/>
              <a:sym typeface="Arial"/>
            </a:endParaRPr>
          </a:p>
          <a:p>
            <a:pPr marL="0" indent="0" algn="ctr" defTabSz="1219139">
              <a:lnSpc>
                <a:spcPct val="100000"/>
              </a:lnSpc>
              <a:spcBef>
                <a:spcPct val="0"/>
              </a:spcBef>
              <a:spcAft>
                <a:spcPct val="100000"/>
              </a:spcAft>
              <a:buNone/>
              <a:defRPr/>
            </a:pPr>
            <a:endParaRPr lang="en-US" altLang="ar-SA" sz="3200" kern="0" dirty="0">
              <a:solidFill>
                <a:srgbClr val="C00000"/>
              </a:solidFill>
              <a:latin typeface="Sakkal Majalla" panose="02000000000000000000" pitchFamily="2" charset="-78"/>
              <a:cs typeface="Sakkal Majalla" panose="02000000000000000000" pitchFamily="2" charset="-78"/>
              <a:sym typeface="Arial"/>
            </a:endParaRPr>
          </a:p>
        </p:txBody>
      </p:sp>
      <p:sp>
        <p:nvSpPr>
          <p:cNvPr id="14" name="Rectangle 9">
            <a:extLst>
              <a:ext uri="{FF2B5EF4-FFF2-40B4-BE49-F238E27FC236}">
                <a16:creationId xmlns:a16="http://schemas.microsoft.com/office/drawing/2014/main" id="{604A1863-35FD-436E-7D6B-123798D2ACCA}"/>
              </a:ext>
            </a:extLst>
          </p:cNvPr>
          <p:cNvSpPr>
            <a:spLocks noChangeAspect="1" noChangeArrowheads="1"/>
          </p:cNvSpPr>
          <p:nvPr/>
        </p:nvSpPr>
        <p:spPr bwMode="auto">
          <a:xfrm>
            <a:off x="5661981" y="893796"/>
            <a:ext cx="2838892" cy="960107"/>
          </a:xfrm>
          <a:prstGeom prst="rect">
            <a:avLst/>
          </a:prstGeom>
          <a:solidFill>
            <a:srgbClr val="8EC400">
              <a:lumMod val="20000"/>
              <a:lumOff val="80000"/>
            </a:srgbClr>
          </a:solidFill>
          <a:ln w="9525">
            <a:solidFill>
              <a:srgbClr val="000000"/>
            </a:solidFill>
            <a:miter lim="800000"/>
            <a:headEnd/>
            <a:tailEnd/>
          </a:ln>
        </p:spPr>
        <p:txBody>
          <a:bodyPr wrap="none" anchor="ctr"/>
          <a:lstStyle>
            <a:lvl1pPr eaLnBrk="0" hangingPunct="0">
              <a:defRPr sz="2400" i="1">
                <a:solidFill>
                  <a:schemeClr val="tx1"/>
                </a:solidFill>
                <a:latin typeface="Futura Bk" pitchFamily="34" charset="0"/>
              </a:defRPr>
            </a:lvl1pPr>
            <a:lvl2pPr marL="742950" indent="-285750" eaLnBrk="0" hangingPunct="0">
              <a:defRPr sz="2400" i="1">
                <a:solidFill>
                  <a:schemeClr val="tx1"/>
                </a:solidFill>
                <a:latin typeface="Futura Bk" pitchFamily="34" charset="0"/>
              </a:defRPr>
            </a:lvl2pPr>
            <a:lvl3pPr marL="1143000" indent="-228600" eaLnBrk="0" hangingPunct="0">
              <a:defRPr sz="2400" i="1">
                <a:solidFill>
                  <a:schemeClr val="tx1"/>
                </a:solidFill>
                <a:latin typeface="Futura Bk" pitchFamily="34" charset="0"/>
              </a:defRPr>
            </a:lvl3pPr>
            <a:lvl4pPr marL="1600200" indent="-228600" eaLnBrk="0" hangingPunct="0">
              <a:defRPr sz="2400" i="1">
                <a:solidFill>
                  <a:schemeClr val="tx1"/>
                </a:solidFill>
                <a:latin typeface="Futura Bk" pitchFamily="34" charset="0"/>
              </a:defRPr>
            </a:lvl4pPr>
            <a:lvl5pPr marL="2057400" indent="-228600" eaLnBrk="0" hangingPunct="0">
              <a:defRPr sz="2400" i="1">
                <a:solidFill>
                  <a:schemeClr val="tx1"/>
                </a:solidFill>
                <a:latin typeface="Futura Bk" pitchFamily="34" charset="0"/>
              </a:defRPr>
            </a:lvl5pPr>
            <a:lvl6pPr marL="2514600" indent="-228600" algn="ctr" rtl="0" eaLnBrk="0" fontAlgn="base" hangingPunct="0">
              <a:spcBef>
                <a:spcPct val="50000"/>
              </a:spcBef>
              <a:spcAft>
                <a:spcPct val="0"/>
              </a:spcAft>
              <a:defRPr sz="2400" i="1">
                <a:solidFill>
                  <a:schemeClr val="tx1"/>
                </a:solidFill>
                <a:latin typeface="Futura Bk" pitchFamily="34" charset="0"/>
              </a:defRPr>
            </a:lvl6pPr>
            <a:lvl7pPr marL="2971800" indent="-228600" algn="ctr" rtl="0" eaLnBrk="0" fontAlgn="base" hangingPunct="0">
              <a:spcBef>
                <a:spcPct val="50000"/>
              </a:spcBef>
              <a:spcAft>
                <a:spcPct val="0"/>
              </a:spcAft>
              <a:defRPr sz="2400" i="1">
                <a:solidFill>
                  <a:schemeClr val="tx1"/>
                </a:solidFill>
                <a:latin typeface="Futura Bk" pitchFamily="34" charset="0"/>
              </a:defRPr>
            </a:lvl7pPr>
            <a:lvl8pPr marL="3429000" indent="-228600" algn="ctr" rtl="0" eaLnBrk="0" fontAlgn="base" hangingPunct="0">
              <a:spcBef>
                <a:spcPct val="50000"/>
              </a:spcBef>
              <a:spcAft>
                <a:spcPct val="0"/>
              </a:spcAft>
              <a:defRPr sz="2400" i="1">
                <a:solidFill>
                  <a:schemeClr val="tx1"/>
                </a:solidFill>
                <a:latin typeface="Futura Bk" pitchFamily="34" charset="0"/>
              </a:defRPr>
            </a:lvl8pPr>
            <a:lvl9pPr marL="3886200" indent="-228600" algn="ctr" rtl="0" eaLnBrk="0" fontAlgn="base" hangingPunct="0">
              <a:spcBef>
                <a:spcPct val="50000"/>
              </a:spcBef>
              <a:spcAft>
                <a:spcPct val="0"/>
              </a:spcAft>
              <a:defRPr sz="2400" i="1">
                <a:solidFill>
                  <a:schemeClr val="tx1"/>
                </a:solidFill>
                <a:latin typeface="Futura Bk" pitchFamily="34" charset="0"/>
              </a:defRPr>
            </a:lvl9pPr>
          </a:lstStyle>
          <a:p>
            <a:pPr algn="ctr" defTabSz="1219139" eaLnBrk="1" fontAlgn="base" hangingPunct="1">
              <a:spcBef>
                <a:spcPct val="0"/>
              </a:spcBef>
              <a:spcAft>
                <a:spcPct val="0"/>
              </a:spcAft>
              <a:defRPr/>
            </a:pPr>
            <a:r>
              <a:rPr lang="ar-SA" altLang="ar-SA" sz="3200" b="1" i="0" kern="0" dirty="0">
                <a:solidFill>
                  <a:srgbClr val="28324A"/>
                </a:solidFill>
                <a:latin typeface="Sakkal Majalla" panose="02000000000000000000" pitchFamily="2" charset="-78"/>
                <a:cs typeface="Sakkal Majalla" panose="02000000000000000000" pitchFamily="2" charset="-78"/>
                <a:sym typeface="Arial"/>
              </a:rPr>
              <a:t>المؤسسة</a:t>
            </a:r>
            <a:endParaRPr lang="en-US" altLang="ar-SA" sz="3200" b="1" i="0" kern="0" dirty="0">
              <a:solidFill>
                <a:srgbClr val="28324A"/>
              </a:solidFill>
              <a:latin typeface="Sakkal Majalla" panose="02000000000000000000" pitchFamily="2" charset="-78"/>
              <a:cs typeface="Sakkal Majalla" panose="02000000000000000000" pitchFamily="2" charset="-78"/>
              <a:sym typeface="Arial"/>
            </a:endParaRPr>
          </a:p>
        </p:txBody>
      </p:sp>
      <p:grpSp>
        <p:nvGrpSpPr>
          <p:cNvPr id="16" name="مجموعة 15">
            <a:extLst>
              <a:ext uri="{FF2B5EF4-FFF2-40B4-BE49-F238E27FC236}">
                <a16:creationId xmlns:a16="http://schemas.microsoft.com/office/drawing/2014/main" id="{5B9D6E5F-6B14-2612-FC1C-CA7318402A53}"/>
              </a:ext>
            </a:extLst>
          </p:cNvPr>
          <p:cNvGrpSpPr/>
          <p:nvPr/>
        </p:nvGrpSpPr>
        <p:grpSpPr>
          <a:xfrm>
            <a:off x="8430123" y="2084853"/>
            <a:ext cx="2178379" cy="916692"/>
            <a:chOff x="3004927" y="2417"/>
            <a:chExt cx="1057720" cy="687518"/>
          </a:xfrm>
          <a:scene3d>
            <a:camera prst="orthographicFront"/>
            <a:lightRig rig="flat" dir="t"/>
          </a:scene3d>
        </p:grpSpPr>
        <p:sp>
          <p:nvSpPr>
            <p:cNvPr id="17" name="مستطيل: زوايا مستديرة 16">
              <a:extLst>
                <a:ext uri="{FF2B5EF4-FFF2-40B4-BE49-F238E27FC236}">
                  <a16:creationId xmlns:a16="http://schemas.microsoft.com/office/drawing/2014/main" id="{0C1F398E-DD2C-4517-62D7-F18A5F2DC6C2}"/>
                </a:ext>
              </a:extLst>
            </p:cNvPr>
            <p:cNvSpPr/>
            <p:nvPr/>
          </p:nvSpPr>
          <p:spPr>
            <a:xfrm>
              <a:off x="3004927" y="2417"/>
              <a:ext cx="1057720" cy="687518"/>
            </a:xfrm>
            <a:prstGeom prst="roundRect">
              <a:avLst/>
            </a:prstGeom>
            <a:sp3d prstMaterial="dkEdge">
              <a:bevelT w="8200" h="38100"/>
            </a:sp3d>
          </p:spPr>
          <p:style>
            <a:lnRef idx="0">
              <a:schemeClr val="lt1">
                <a:hueOff val="0"/>
                <a:satOff val="0"/>
                <a:lumOff val="0"/>
                <a:alphaOff val="0"/>
              </a:schemeClr>
            </a:lnRef>
            <a:fillRef idx="2">
              <a:schemeClr val="accent4">
                <a:hueOff val="0"/>
                <a:satOff val="0"/>
                <a:lumOff val="0"/>
                <a:alphaOff val="0"/>
              </a:schemeClr>
            </a:fillRef>
            <a:effectRef idx="1">
              <a:schemeClr val="accent4">
                <a:hueOff val="0"/>
                <a:satOff val="0"/>
                <a:lumOff val="0"/>
                <a:alphaOff val="0"/>
              </a:schemeClr>
            </a:effectRef>
            <a:fontRef idx="minor">
              <a:schemeClr val="dk1"/>
            </a:fontRef>
          </p:style>
          <p:txBody>
            <a:bodyPr/>
            <a:lstStyle/>
            <a:p>
              <a:endParaRPr lang="ar-SA" sz="3200">
                <a:latin typeface="Sakkal Majalla" panose="02000000000000000000" pitchFamily="2" charset="-78"/>
                <a:cs typeface="Sakkal Majalla" panose="02000000000000000000" pitchFamily="2" charset="-78"/>
              </a:endParaRPr>
            </a:p>
          </p:txBody>
        </p:sp>
        <p:sp>
          <p:nvSpPr>
            <p:cNvPr id="18" name="مستطيل: زوايا مستديرة 4">
              <a:extLst>
                <a:ext uri="{FF2B5EF4-FFF2-40B4-BE49-F238E27FC236}">
                  <a16:creationId xmlns:a16="http://schemas.microsoft.com/office/drawing/2014/main" id="{06F59C52-2133-3B72-F88F-C74380BCC7BA}"/>
                </a:ext>
              </a:extLst>
            </p:cNvPr>
            <p:cNvSpPr txBox="1"/>
            <p:nvPr/>
          </p:nvSpPr>
          <p:spPr>
            <a:xfrm>
              <a:off x="3038489" y="35979"/>
              <a:ext cx="990596" cy="620394"/>
            </a:xfrm>
            <a:prstGeom prst="rect">
              <a:avLst/>
            </a:prstGeom>
            <a:sp3d/>
          </p:spPr>
          <p:style>
            <a:lnRef idx="0">
              <a:scrgbClr r="0" g="0" b="0"/>
            </a:lnRef>
            <a:fillRef idx="0">
              <a:scrgbClr r="0" g="0" b="0"/>
            </a:fillRef>
            <a:effectRef idx="0">
              <a:scrgbClr r="0" g="0" b="0"/>
            </a:effectRef>
            <a:fontRef idx="minor">
              <a:schemeClr val="dk1"/>
            </a:fontRef>
          </p:style>
          <p:txBody>
            <a:bodyPr spcFirstLastPara="0" vert="horz" wrap="square" lIns="147321" tIns="147321" rIns="147321" bIns="147321" numCol="1" spcCol="1270" anchor="ctr" anchorCtr="0">
              <a:noAutofit/>
            </a:bodyPr>
            <a:lstStyle/>
            <a:p>
              <a:pPr algn="ctr" defTabSz="1718648">
                <a:lnSpc>
                  <a:spcPct val="90000"/>
                </a:lnSpc>
                <a:spcBef>
                  <a:spcPct val="0"/>
                </a:spcBef>
                <a:spcAft>
                  <a:spcPct val="35000"/>
                </a:spcAft>
              </a:pPr>
              <a:r>
                <a:rPr lang="ar-SA" altLang="ja-JP" sz="3200" dirty="0">
                  <a:latin typeface="Sakkal Majalla" panose="02000000000000000000" pitchFamily="2" charset="-78"/>
                  <a:ea typeface="ＭＳ Ｐ明朝" panose="02020600040205080304" pitchFamily="18" charset="-128"/>
                  <a:cs typeface="Sakkal Majalla" panose="02000000000000000000" pitchFamily="2" charset="-78"/>
                </a:rPr>
                <a:t>المعايير</a:t>
              </a:r>
              <a:endParaRPr lang="ja-JP" altLang="en-US" sz="3200" dirty="0">
                <a:latin typeface="Sakkal Majalla" panose="02000000000000000000" pitchFamily="2" charset="-78"/>
                <a:ea typeface="ＭＳ Ｐ明朝" panose="02020600040205080304" pitchFamily="18" charset="-128"/>
                <a:cs typeface="Sakkal Majalla" panose="02000000000000000000" pitchFamily="2" charset="-78"/>
              </a:endParaRPr>
            </a:p>
          </p:txBody>
        </p:sp>
      </p:grpSp>
      <p:grpSp>
        <p:nvGrpSpPr>
          <p:cNvPr id="19" name="مجموعة 18">
            <a:extLst>
              <a:ext uri="{FF2B5EF4-FFF2-40B4-BE49-F238E27FC236}">
                <a16:creationId xmlns:a16="http://schemas.microsoft.com/office/drawing/2014/main" id="{A97EEA14-8BCC-E3B6-3B5D-E93E4B23D740}"/>
              </a:ext>
            </a:extLst>
          </p:cNvPr>
          <p:cNvGrpSpPr/>
          <p:nvPr/>
        </p:nvGrpSpPr>
        <p:grpSpPr>
          <a:xfrm>
            <a:off x="5986772" y="2129601"/>
            <a:ext cx="2178379" cy="916692"/>
            <a:chOff x="3004927" y="2417"/>
            <a:chExt cx="1057720" cy="687518"/>
          </a:xfrm>
          <a:scene3d>
            <a:camera prst="orthographicFront"/>
            <a:lightRig rig="flat" dir="t"/>
          </a:scene3d>
        </p:grpSpPr>
        <p:sp>
          <p:nvSpPr>
            <p:cNvPr id="20" name="مستطيل: زوايا مستديرة 19">
              <a:extLst>
                <a:ext uri="{FF2B5EF4-FFF2-40B4-BE49-F238E27FC236}">
                  <a16:creationId xmlns:a16="http://schemas.microsoft.com/office/drawing/2014/main" id="{35CA2253-5067-0922-F87B-AEE3E71F1317}"/>
                </a:ext>
              </a:extLst>
            </p:cNvPr>
            <p:cNvSpPr/>
            <p:nvPr/>
          </p:nvSpPr>
          <p:spPr>
            <a:xfrm>
              <a:off x="3004927" y="2417"/>
              <a:ext cx="1057720" cy="687518"/>
            </a:xfrm>
            <a:prstGeom prst="roundRect">
              <a:avLst/>
            </a:prstGeom>
            <a:sp3d prstMaterial="dkEdge">
              <a:bevelT w="8200" h="38100"/>
            </a:sp3d>
          </p:spPr>
          <p:style>
            <a:lnRef idx="0">
              <a:schemeClr val="lt1">
                <a:hueOff val="0"/>
                <a:satOff val="0"/>
                <a:lumOff val="0"/>
                <a:alphaOff val="0"/>
              </a:schemeClr>
            </a:lnRef>
            <a:fillRef idx="2">
              <a:schemeClr val="accent4">
                <a:hueOff val="0"/>
                <a:satOff val="0"/>
                <a:lumOff val="0"/>
                <a:alphaOff val="0"/>
              </a:schemeClr>
            </a:fillRef>
            <a:effectRef idx="1">
              <a:schemeClr val="accent4">
                <a:hueOff val="0"/>
                <a:satOff val="0"/>
                <a:lumOff val="0"/>
                <a:alphaOff val="0"/>
              </a:schemeClr>
            </a:effectRef>
            <a:fontRef idx="minor">
              <a:schemeClr val="dk1"/>
            </a:fontRef>
          </p:style>
          <p:txBody>
            <a:bodyPr/>
            <a:lstStyle/>
            <a:p>
              <a:endParaRPr lang="ar-SA" sz="3200">
                <a:latin typeface="Sakkal Majalla" panose="02000000000000000000" pitchFamily="2" charset="-78"/>
                <a:cs typeface="Sakkal Majalla" panose="02000000000000000000" pitchFamily="2" charset="-78"/>
              </a:endParaRPr>
            </a:p>
          </p:txBody>
        </p:sp>
        <p:sp>
          <p:nvSpPr>
            <p:cNvPr id="21" name="مستطيل: زوايا مستديرة 4">
              <a:extLst>
                <a:ext uri="{FF2B5EF4-FFF2-40B4-BE49-F238E27FC236}">
                  <a16:creationId xmlns:a16="http://schemas.microsoft.com/office/drawing/2014/main" id="{25B642FC-987C-3604-FE25-8D655F8C1BDF}"/>
                </a:ext>
              </a:extLst>
            </p:cNvPr>
            <p:cNvSpPr txBox="1"/>
            <p:nvPr/>
          </p:nvSpPr>
          <p:spPr>
            <a:xfrm>
              <a:off x="3038489" y="35979"/>
              <a:ext cx="990596" cy="620394"/>
            </a:xfrm>
            <a:prstGeom prst="rect">
              <a:avLst/>
            </a:prstGeom>
            <a:sp3d/>
          </p:spPr>
          <p:style>
            <a:lnRef idx="0">
              <a:scrgbClr r="0" g="0" b="0"/>
            </a:lnRef>
            <a:fillRef idx="0">
              <a:scrgbClr r="0" g="0" b="0"/>
            </a:fillRef>
            <a:effectRef idx="0">
              <a:scrgbClr r="0" g="0" b="0"/>
            </a:effectRef>
            <a:fontRef idx="minor">
              <a:schemeClr val="dk1"/>
            </a:fontRef>
          </p:style>
          <p:txBody>
            <a:bodyPr spcFirstLastPara="0" vert="horz" wrap="square" lIns="147321" tIns="147321" rIns="147321" bIns="147321" numCol="1" spcCol="1270" anchor="ctr" anchorCtr="0">
              <a:noAutofit/>
            </a:bodyPr>
            <a:lstStyle/>
            <a:p>
              <a:pPr algn="ctr" defTabSz="1718648">
                <a:lnSpc>
                  <a:spcPct val="90000"/>
                </a:lnSpc>
                <a:spcBef>
                  <a:spcPct val="0"/>
                </a:spcBef>
                <a:spcAft>
                  <a:spcPct val="35000"/>
                </a:spcAft>
              </a:pPr>
              <a:r>
                <a:rPr lang="ar-SA" altLang="ja-JP" sz="3200" dirty="0">
                  <a:latin typeface="Sakkal Majalla" panose="02000000000000000000" pitchFamily="2" charset="-78"/>
                  <a:ea typeface="ＭＳ Ｐ明朝" panose="02020600040205080304" pitchFamily="18" charset="-128"/>
                  <a:cs typeface="Sakkal Majalla" panose="02000000000000000000" pitchFamily="2" charset="-78"/>
                </a:rPr>
                <a:t>التنفيذ</a:t>
              </a:r>
              <a:endParaRPr lang="ja-JP" altLang="en-US" sz="3200" dirty="0">
                <a:latin typeface="Sakkal Majalla" panose="02000000000000000000" pitchFamily="2" charset="-78"/>
                <a:ea typeface="ＭＳ Ｐ明朝" panose="02020600040205080304" pitchFamily="18" charset="-128"/>
                <a:cs typeface="Sakkal Majalla" panose="02000000000000000000" pitchFamily="2" charset="-78"/>
              </a:endParaRPr>
            </a:p>
          </p:txBody>
        </p:sp>
      </p:grpSp>
      <p:grpSp>
        <p:nvGrpSpPr>
          <p:cNvPr id="22" name="مجموعة 21">
            <a:extLst>
              <a:ext uri="{FF2B5EF4-FFF2-40B4-BE49-F238E27FC236}">
                <a16:creationId xmlns:a16="http://schemas.microsoft.com/office/drawing/2014/main" id="{717121E2-361E-E03C-AB7C-A0CA927FEA15}"/>
              </a:ext>
            </a:extLst>
          </p:cNvPr>
          <p:cNvGrpSpPr/>
          <p:nvPr/>
        </p:nvGrpSpPr>
        <p:grpSpPr>
          <a:xfrm>
            <a:off x="3341559" y="2174351"/>
            <a:ext cx="2380240" cy="916692"/>
            <a:chOff x="3004927" y="2417"/>
            <a:chExt cx="1057720" cy="687518"/>
          </a:xfrm>
          <a:scene3d>
            <a:camera prst="orthographicFront"/>
            <a:lightRig rig="flat" dir="t"/>
          </a:scene3d>
        </p:grpSpPr>
        <p:sp>
          <p:nvSpPr>
            <p:cNvPr id="23" name="مستطيل: زوايا مستديرة 22">
              <a:extLst>
                <a:ext uri="{FF2B5EF4-FFF2-40B4-BE49-F238E27FC236}">
                  <a16:creationId xmlns:a16="http://schemas.microsoft.com/office/drawing/2014/main" id="{010E7F0D-9224-07B8-D3C0-2E027AFCC6E2}"/>
                </a:ext>
              </a:extLst>
            </p:cNvPr>
            <p:cNvSpPr/>
            <p:nvPr/>
          </p:nvSpPr>
          <p:spPr>
            <a:xfrm>
              <a:off x="3004927" y="2417"/>
              <a:ext cx="1057720" cy="687518"/>
            </a:xfrm>
            <a:prstGeom prst="roundRect">
              <a:avLst/>
            </a:prstGeom>
            <a:sp3d prstMaterial="dkEdge">
              <a:bevelT w="8200" h="38100"/>
            </a:sp3d>
          </p:spPr>
          <p:style>
            <a:lnRef idx="0">
              <a:schemeClr val="lt1">
                <a:hueOff val="0"/>
                <a:satOff val="0"/>
                <a:lumOff val="0"/>
                <a:alphaOff val="0"/>
              </a:schemeClr>
            </a:lnRef>
            <a:fillRef idx="2">
              <a:schemeClr val="accent4">
                <a:hueOff val="0"/>
                <a:satOff val="0"/>
                <a:lumOff val="0"/>
                <a:alphaOff val="0"/>
              </a:schemeClr>
            </a:fillRef>
            <a:effectRef idx="1">
              <a:schemeClr val="accent4">
                <a:hueOff val="0"/>
                <a:satOff val="0"/>
                <a:lumOff val="0"/>
                <a:alphaOff val="0"/>
              </a:schemeClr>
            </a:effectRef>
            <a:fontRef idx="minor">
              <a:schemeClr val="dk1"/>
            </a:fontRef>
          </p:style>
          <p:txBody>
            <a:bodyPr/>
            <a:lstStyle/>
            <a:p>
              <a:endParaRPr lang="ar-SA" sz="3200">
                <a:latin typeface="Sakkal Majalla" panose="02000000000000000000" pitchFamily="2" charset="-78"/>
                <a:cs typeface="Sakkal Majalla" panose="02000000000000000000" pitchFamily="2" charset="-78"/>
              </a:endParaRPr>
            </a:p>
          </p:txBody>
        </p:sp>
        <p:sp>
          <p:nvSpPr>
            <p:cNvPr id="24" name="مستطيل: زوايا مستديرة 4">
              <a:extLst>
                <a:ext uri="{FF2B5EF4-FFF2-40B4-BE49-F238E27FC236}">
                  <a16:creationId xmlns:a16="http://schemas.microsoft.com/office/drawing/2014/main" id="{6DB1A0D7-B188-F3F0-859B-B620667845A2}"/>
                </a:ext>
              </a:extLst>
            </p:cNvPr>
            <p:cNvSpPr txBox="1"/>
            <p:nvPr/>
          </p:nvSpPr>
          <p:spPr>
            <a:xfrm>
              <a:off x="3038489" y="35979"/>
              <a:ext cx="990596" cy="620394"/>
            </a:xfrm>
            <a:prstGeom prst="rect">
              <a:avLst/>
            </a:prstGeom>
            <a:sp3d/>
          </p:spPr>
          <p:style>
            <a:lnRef idx="0">
              <a:scrgbClr r="0" g="0" b="0"/>
            </a:lnRef>
            <a:fillRef idx="0">
              <a:scrgbClr r="0" g="0" b="0"/>
            </a:fillRef>
            <a:effectRef idx="0">
              <a:scrgbClr r="0" g="0" b="0"/>
            </a:effectRef>
            <a:fontRef idx="minor">
              <a:schemeClr val="dk1"/>
            </a:fontRef>
          </p:style>
          <p:txBody>
            <a:bodyPr spcFirstLastPara="0" vert="horz" wrap="square" lIns="147321" tIns="147321" rIns="147321" bIns="147321" numCol="1" spcCol="1270" anchor="ctr" anchorCtr="0">
              <a:noAutofit/>
            </a:bodyPr>
            <a:lstStyle/>
            <a:p>
              <a:pPr algn="ctr" defTabSz="1718648">
                <a:lnSpc>
                  <a:spcPct val="90000"/>
                </a:lnSpc>
                <a:spcBef>
                  <a:spcPct val="0"/>
                </a:spcBef>
                <a:spcAft>
                  <a:spcPct val="35000"/>
                </a:spcAft>
              </a:pPr>
              <a:r>
                <a:rPr lang="ar-SA" altLang="ja-JP" sz="3200" dirty="0">
                  <a:latin typeface="Sakkal Majalla" panose="02000000000000000000" pitchFamily="2" charset="-78"/>
                  <a:ea typeface="ＭＳ Ｐ明朝" panose="02020600040205080304" pitchFamily="18" charset="-128"/>
                  <a:cs typeface="Sakkal Majalla" panose="02000000000000000000" pitchFamily="2" charset="-78"/>
                </a:rPr>
                <a:t>التقييم (الحكم)</a:t>
              </a:r>
              <a:endParaRPr lang="ja-JP" altLang="en-US" sz="3200" dirty="0">
                <a:latin typeface="Sakkal Majalla" panose="02000000000000000000" pitchFamily="2" charset="-78"/>
                <a:ea typeface="ＭＳ Ｐ明朝" panose="02020600040205080304" pitchFamily="18" charset="-128"/>
                <a:cs typeface="Sakkal Majalla" panose="02000000000000000000" pitchFamily="2" charset="-78"/>
              </a:endParaRPr>
            </a:p>
          </p:txBody>
        </p:sp>
      </p:grpSp>
      <p:sp>
        <p:nvSpPr>
          <p:cNvPr id="25" name="Rectangle 3">
            <a:extLst>
              <a:ext uri="{FF2B5EF4-FFF2-40B4-BE49-F238E27FC236}">
                <a16:creationId xmlns:a16="http://schemas.microsoft.com/office/drawing/2014/main" id="{1151D448-A98B-3B87-7EAA-DF5F590C6E9E}"/>
              </a:ext>
            </a:extLst>
          </p:cNvPr>
          <p:cNvSpPr txBox="1">
            <a:spLocks noChangeArrowheads="1"/>
          </p:cNvSpPr>
          <p:nvPr/>
        </p:nvSpPr>
        <p:spPr bwMode="white">
          <a:xfrm>
            <a:off x="3215683" y="3236979"/>
            <a:ext cx="8544468" cy="3104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46304" tIns="121920" rIns="146304" bIns="121920" numCol="1" anchor="t" anchorCtr="0" compatLnSpc="1">
            <a:prstTxWarp prst="textNoShape">
              <a:avLst/>
            </a:prstTxWarp>
          </a:bodyPr>
          <a:lstStyle>
            <a:lvl1pPr marL="342900" indent="-342900" algn="l" rtl="0" eaLnBrk="0" fontAlgn="base" hangingPunct="0">
              <a:lnSpc>
                <a:spcPct val="95000"/>
              </a:lnSpc>
              <a:spcBef>
                <a:spcPct val="10000"/>
              </a:spcBef>
              <a:spcAft>
                <a:spcPct val="30000"/>
              </a:spcAft>
              <a:buChar char="•"/>
              <a:defRPr sz="2400">
                <a:solidFill>
                  <a:schemeClr val="tx1"/>
                </a:solidFill>
                <a:latin typeface="+mn-lt"/>
                <a:ea typeface="+mn-ea"/>
                <a:cs typeface="+mn-cs"/>
              </a:defRPr>
            </a:lvl1pPr>
            <a:lvl2pPr marL="227013" lvl="1" indent="-225425" algn="l" rtl="0" eaLnBrk="0" fontAlgn="base" hangingPunct="0">
              <a:lnSpc>
                <a:spcPct val="95000"/>
              </a:lnSpc>
              <a:spcBef>
                <a:spcPct val="10000"/>
              </a:spcBef>
              <a:spcAft>
                <a:spcPct val="30000"/>
              </a:spcAft>
              <a:buChar char="•"/>
              <a:defRPr sz="2400">
                <a:solidFill>
                  <a:schemeClr val="tx1"/>
                </a:solidFill>
                <a:latin typeface="+mn-lt"/>
              </a:defRPr>
            </a:lvl2pPr>
            <a:lvl3pPr marL="455613" lvl="2" indent="-227013" algn="l" rtl="0" eaLnBrk="0" fontAlgn="base" hangingPunct="0">
              <a:lnSpc>
                <a:spcPct val="95000"/>
              </a:lnSpc>
              <a:spcBef>
                <a:spcPct val="10000"/>
              </a:spcBef>
              <a:spcAft>
                <a:spcPct val="30000"/>
              </a:spcAft>
              <a:buChar char="–"/>
              <a:defRPr sz="2000">
                <a:solidFill>
                  <a:schemeClr val="tx1"/>
                </a:solidFill>
                <a:latin typeface="+mn-lt"/>
              </a:defRPr>
            </a:lvl3pPr>
            <a:lvl4pPr marL="685800" lvl="3" indent="-228600" algn="l" rtl="0" eaLnBrk="0" fontAlgn="base" hangingPunct="0">
              <a:lnSpc>
                <a:spcPct val="95000"/>
              </a:lnSpc>
              <a:spcBef>
                <a:spcPct val="10000"/>
              </a:spcBef>
              <a:spcAft>
                <a:spcPct val="30000"/>
              </a:spcAft>
              <a:buChar char="–"/>
              <a:defRPr sz="2000">
                <a:solidFill>
                  <a:schemeClr val="tx1"/>
                </a:solidFill>
                <a:latin typeface="+mn-lt"/>
              </a:defRPr>
            </a:lvl4pPr>
            <a:lvl5pPr marL="908050" lvl="4" indent="-220663" algn="l" rtl="0" eaLnBrk="0" fontAlgn="base" hangingPunct="0">
              <a:lnSpc>
                <a:spcPct val="95000"/>
              </a:lnSpc>
              <a:spcBef>
                <a:spcPct val="10000"/>
              </a:spcBef>
              <a:spcAft>
                <a:spcPct val="30000"/>
              </a:spcAft>
              <a:buChar char="–"/>
              <a:defRPr sz="2000">
                <a:solidFill>
                  <a:schemeClr val="tx1"/>
                </a:solidFill>
                <a:latin typeface="+mn-lt"/>
              </a:defRPr>
            </a:lvl5pPr>
            <a:lvl6pPr marL="1365250" indent="-220663" algn="l" rtl="0" fontAlgn="base">
              <a:lnSpc>
                <a:spcPct val="95000"/>
              </a:lnSpc>
              <a:spcBef>
                <a:spcPct val="10000"/>
              </a:spcBef>
              <a:spcAft>
                <a:spcPct val="30000"/>
              </a:spcAft>
              <a:buChar char="–"/>
              <a:defRPr>
                <a:solidFill>
                  <a:schemeClr val="tx1"/>
                </a:solidFill>
                <a:latin typeface="+mn-lt"/>
              </a:defRPr>
            </a:lvl6pPr>
            <a:lvl7pPr marL="1822450" indent="-220663" algn="l" rtl="0" fontAlgn="base">
              <a:lnSpc>
                <a:spcPct val="95000"/>
              </a:lnSpc>
              <a:spcBef>
                <a:spcPct val="10000"/>
              </a:spcBef>
              <a:spcAft>
                <a:spcPct val="30000"/>
              </a:spcAft>
              <a:buChar char="–"/>
              <a:defRPr>
                <a:solidFill>
                  <a:schemeClr val="tx1"/>
                </a:solidFill>
                <a:latin typeface="+mn-lt"/>
              </a:defRPr>
            </a:lvl7pPr>
            <a:lvl8pPr marL="2279650" indent="-220663" algn="l" rtl="0" fontAlgn="base">
              <a:lnSpc>
                <a:spcPct val="95000"/>
              </a:lnSpc>
              <a:spcBef>
                <a:spcPct val="10000"/>
              </a:spcBef>
              <a:spcAft>
                <a:spcPct val="30000"/>
              </a:spcAft>
              <a:buChar char="–"/>
              <a:defRPr>
                <a:solidFill>
                  <a:schemeClr val="tx1"/>
                </a:solidFill>
                <a:latin typeface="+mn-lt"/>
              </a:defRPr>
            </a:lvl8pPr>
            <a:lvl9pPr marL="2736850" indent="-220663" algn="l" rtl="0" fontAlgn="base">
              <a:lnSpc>
                <a:spcPct val="95000"/>
              </a:lnSpc>
              <a:spcBef>
                <a:spcPct val="10000"/>
              </a:spcBef>
              <a:spcAft>
                <a:spcPct val="30000"/>
              </a:spcAft>
              <a:buChar char="–"/>
              <a:defRPr>
                <a:solidFill>
                  <a:schemeClr val="tx1"/>
                </a:solidFill>
                <a:latin typeface="+mn-lt"/>
              </a:defRPr>
            </a:lvl9pPr>
          </a:lstStyle>
          <a:p>
            <a:pPr marL="0" indent="0" algn="justLow" defTabSz="1219139" rtl="1" eaLnBrk="1" hangingPunct="1">
              <a:lnSpc>
                <a:spcPct val="100000"/>
              </a:lnSpc>
              <a:spcBef>
                <a:spcPts val="0"/>
              </a:spcBef>
              <a:spcAft>
                <a:spcPts val="0"/>
              </a:spcAft>
              <a:buNone/>
              <a:defRPr/>
            </a:pPr>
            <a:r>
              <a:rPr lang="ar-SA" altLang="ar-SA" b="1" kern="0" dirty="0">
                <a:solidFill>
                  <a:srgbClr val="FF0000"/>
                </a:solidFill>
                <a:latin typeface="Sakkal Majalla" panose="02000000000000000000" pitchFamily="2" charset="-78"/>
                <a:cs typeface="Sakkal Majalla" panose="02000000000000000000" pitchFamily="2" charset="-78"/>
                <a:sym typeface="Arial"/>
              </a:rPr>
              <a:t>ولكن ظهرت ما يسمى بالهيئات شبه الحكومية ( </a:t>
            </a:r>
            <a:r>
              <a:rPr lang="en-US" altLang="ar-SA" b="1" kern="0" dirty="0">
                <a:solidFill>
                  <a:srgbClr val="FF0000"/>
                </a:solidFill>
                <a:latin typeface="Sakkal Majalla" panose="02000000000000000000" pitchFamily="2" charset="-78"/>
                <a:cs typeface="Sakkal Majalla" panose="02000000000000000000" pitchFamily="2" charset="-78"/>
                <a:sym typeface="Arial"/>
              </a:rPr>
              <a:t>quasi government body</a:t>
            </a:r>
            <a:r>
              <a:rPr lang="ar-SA" altLang="ar-SA" b="1" kern="0" dirty="0">
                <a:solidFill>
                  <a:srgbClr val="FF0000"/>
                </a:solidFill>
                <a:latin typeface="Sakkal Majalla" panose="02000000000000000000" pitchFamily="2" charset="-78"/>
                <a:cs typeface="Sakkal Majalla" panose="02000000000000000000" pitchFamily="2" charset="-78"/>
                <a:sym typeface="Arial"/>
              </a:rPr>
              <a:t> )</a:t>
            </a:r>
          </a:p>
          <a:p>
            <a:pPr marL="0" algn="r" defTabSz="1219139" rtl="1" eaLnBrk="1" hangingPunct="1">
              <a:lnSpc>
                <a:spcPct val="125000"/>
              </a:lnSpc>
              <a:spcBef>
                <a:spcPts val="0"/>
              </a:spcBef>
              <a:spcAft>
                <a:spcPts val="0"/>
              </a:spcAft>
              <a:buClr>
                <a:srgbClr val="32AEB8"/>
              </a:buClr>
              <a:buSzPct val="100000"/>
              <a:buFont typeface="Source Sans Pro"/>
              <a:buChar char="◉"/>
              <a:defRPr/>
            </a:pPr>
            <a:r>
              <a:rPr lang="ar-SA" altLang="ar-SA" b="1" kern="0" dirty="0">
                <a:solidFill>
                  <a:srgbClr val="3C78D8">
                    <a:lumMod val="75000"/>
                  </a:srgbClr>
                </a:solidFill>
                <a:latin typeface="Sakkal Majalla" panose="02000000000000000000" pitchFamily="2" charset="-78"/>
                <a:cs typeface="Sakkal Majalla" panose="02000000000000000000" pitchFamily="2" charset="-78"/>
                <a:sym typeface="Arial"/>
              </a:rPr>
              <a:t>هيئة تطوير المدينة</a:t>
            </a:r>
          </a:p>
          <a:p>
            <a:pPr marL="0" algn="r" defTabSz="1219139" rtl="1" eaLnBrk="1" hangingPunct="1">
              <a:lnSpc>
                <a:spcPct val="125000"/>
              </a:lnSpc>
              <a:spcBef>
                <a:spcPts val="0"/>
              </a:spcBef>
              <a:spcAft>
                <a:spcPts val="0"/>
              </a:spcAft>
              <a:buClr>
                <a:srgbClr val="32AEB8"/>
              </a:buClr>
              <a:buSzPct val="100000"/>
              <a:buFont typeface="Source Sans Pro"/>
              <a:buChar char="◉"/>
              <a:defRPr/>
            </a:pPr>
            <a:r>
              <a:rPr lang="ar-SA" altLang="ar-SA" b="1" kern="0" dirty="0">
                <a:solidFill>
                  <a:srgbClr val="3C78D8">
                    <a:lumMod val="75000"/>
                  </a:srgbClr>
                </a:solidFill>
                <a:latin typeface="Sakkal Majalla" panose="02000000000000000000" pitchFamily="2" charset="-78"/>
                <a:cs typeface="Sakkal Majalla" panose="02000000000000000000" pitchFamily="2" charset="-78"/>
                <a:sym typeface="Arial"/>
              </a:rPr>
              <a:t>هيئة تقويم التعليم </a:t>
            </a:r>
          </a:p>
          <a:p>
            <a:pPr marL="0" algn="r" defTabSz="1219139" rtl="1" eaLnBrk="1" hangingPunct="1">
              <a:lnSpc>
                <a:spcPct val="125000"/>
              </a:lnSpc>
              <a:spcBef>
                <a:spcPts val="0"/>
              </a:spcBef>
              <a:spcAft>
                <a:spcPts val="0"/>
              </a:spcAft>
              <a:buClr>
                <a:srgbClr val="32AEB8"/>
              </a:buClr>
              <a:buSzPct val="100000"/>
              <a:buFont typeface="Source Sans Pro"/>
              <a:buChar char="◉"/>
              <a:defRPr/>
            </a:pPr>
            <a:r>
              <a:rPr lang="ar-SA" altLang="ar-SA" b="1" kern="0" dirty="0">
                <a:solidFill>
                  <a:srgbClr val="3C78D8">
                    <a:lumMod val="75000"/>
                  </a:srgbClr>
                </a:solidFill>
                <a:latin typeface="Sakkal Majalla" panose="02000000000000000000" pitchFamily="2" charset="-78"/>
                <a:cs typeface="Sakkal Majalla" panose="02000000000000000000" pitchFamily="2" charset="-78"/>
                <a:sym typeface="Arial"/>
              </a:rPr>
              <a:t>هيئة الاتصالات </a:t>
            </a:r>
          </a:p>
          <a:p>
            <a:pPr marL="0" algn="r" defTabSz="1219139" rtl="1" eaLnBrk="1" hangingPunct="1">
              <a:lnSpc>
                <a:spcPct val="125000"/>
              </a:lnSpc>
              <a:spcBef>
                <a:spcPts val="0"/>
              </a:spcBef>
              <a:spcAft>
                <a:spcPts val="0"/>
              </a:spcAft>
              <a:buClr>
                <a:srgbClr val="32AEB8"/>
              </a:buClr>
              <a:buSzPct val="100000"/>
              <a:buFont typeface="Source Sans Pro"/>
              <a:buChar char="◉"/>
              <a:defRPr/>
            </a:pPr>
            <a:r>
              <a:rPr lang="ar-SA" altLang="ar-SA" b="1" kern="0" dirty="0">
                <a:solidFill>
                  <a:srgbClr val="3C78D8">
                    <a:lumMod val="75000"/>
                  </a:srgbClr>
                </a:solidFill>
                <a:latin typeface="Sakkal Majalla" panose="02000000000000000000" pitchFamily="2" charset="-78"/>
                <a:cs typeface="Sakkal Majalla" panose="02000000000000000000" pitchFamily="2" charset="-78"/>
                <a:sym typeface="Arial"/>
              </a:rPr>
              <a:t>هيئة الطيران المدني</a:t>
            </a:r>
          </a:p>
          <a:p>
            <a:pPr marL="0" algn="r" defTabSz="1219139" rtl="1" eaLnBrk="1" hangingPunct="1">
              <a:lnSpc>
                <a:spcPct val="125000"/>
              </a:lnSpc>
              <a:spcBef>
                <a:spcPts val="0"/>
              </a:spcBef>
              <a:spcAft>
                <a:spcPts val="0"/>
              </a:spcAft>
              <a:buClr>
                <a:srgbClr val="32AEB8"/>
              </a:buClr>
              <a:buSzPct val="100000"/>
              <a:buFont typeface="Source Sans Pro"/>
              <a:buChar char="◉"/>
              <a:defRPr/>
            </a:pPr>
            <a:r>
              <a:rPr lang="ar-SA" altLang="ar-SA" b="1" kern="0" dirty="0">
                <a:solidFill>
                  <a:srgbClr val="3C78D8">
                    <a:lumMod val="75000"/>
                  </a:srgbClr>
                </a:solidFill>
                <a:latin typeface="Sakkal Majalla" panose="02000000000000000000" pitchFamily="2" charset="-78"/>
                <a:cs typeface="Sakkal Majalla" panose="02000000000000000000" pitchFamily="2" charset="-78"/>
                <a:sym typeface="Arial"/>
              </a:rPr>
              <a:t>هيئة.....</a:t>
            </a:r>
          </a:p>
          <a:p>
            <a:pPr marL="0" algn="r" defTabSz="1219139" rtl="1" eaLnBrk="1" hangingPunct="1">
              <a:lnSpc>
                <a:spcPct val="125000"/>
              </a:lnSpc>
              <a:spcBef>
                <a:spcPts val="0"/>
              </a:spcBef>
              <a:spcAft>
                <a:spcPts val="0"/>
              </a:spcAft>
              <a:buClr>
                <a:srgbClr val="32AEB8"/>
              </a:buClr>
              <a:buSzPct val="100000"/>
              <a:buFont typeface="Source Sans Pro"/>
              <a:buChar char="◉"/>
              <a:defRPr/>
            </a:pPr>
            <a:r>
              <a:rPr lang="ar-SA" altLang="ar-SA" b="1" kern="0" dirty="0">
                <a:solidFill>
                  <a:srgbClr val="3C78D8">
                    <a:lumMod val="75000"/>
                  </a:srgbClr>
                </a:solidFill>
                <a:latin typeface="Sakkal Majalla" panose="02000000000000000000" pitchFamily="2" charset="-78"/>
                <a:cs typeface="Sakkal Majalla" panose="02000000000000000000" pitchFamily="2" charset="-78"/>
                <a:sym typeface="Arial"/>
              </a:rPr>
              <a:t>هيئة.....</a:t>
            </a:r>
            <a:endParaRPr lang="en-US" altLang="ar-SA" b="1" kern="0" dirty="0">
              <a:solidFill>
                <a:srgbClr val="3C78D8">
                  <a:lumMod val="75000"/>
                </a:srgbClr>
              </a:solidFill>
              <a:latin typeface="Sakkal Majalla" panose="02000000000000000000" pitchFamily="2" charset="-78"/>
              <a:cs typeface="Sakkal Majalla" panose="02000000000000000000" pitchFamily="2" charset="-78"/>
              <a:sym typeface="Arial"/>
            </a:endParaRPr>
          </a:p>
          <a:p>
            <a:pPr marL="0" indent="0" algn="justLow" defTabSz="1219139" rtl="1">
              <a:lnSpc>
                <a:spcPct val="100000"/>
              </a:lnSpc>
              <a:spcBef>
                <a:spcPts val="0"/>
              </a:spcBef>
              <a:spcAft>
                <a:spcPts val="0"/>
              </a:spcAft>
              <a:buNone/>
              <a:defRPr/>
            </a:pPr>
            <a:endParaRPr lang="en-US" altLang="ar-SA" sz="2667" kern="0" dirty="0">
              <a:solidFill>
                <a:srgbClr val="C00000"/>
              </a:solidFill>
              <a:latin typeface="Sakkal Majalla" panose="02000000000000000000" pitchFamily="2" charset="-78"/>
              <a:cs typeface="Sakkal Majalla" panose="02000000000000000000" pitchFamily="2" charset="-78"/>
              <a:sym typeface="Arial"/>
            </a:endParaRPr>
          </a:p>
        </p:txBody>
      </p:sp>
    </p:spTree>
    <p:extLst>
      <p:ext uri="{BB962C8B-B14F-4D97-AF65-F5344CB8AC3E}">
        <p14:creationId xmlns:p14="http://schemas.microsoft.com/office/powerpoint/2010/main" val="12595242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8" presetClass="entr" presetSubtype="12" fill="hold" nodeType="clickEffect">
                                  <p:stCondLst>
                                    <p:cond delay="0"/>
                                  </p:stCondLst>
                                  <p:childTnLst>
                                    <p:set>
                                      <p:cBhvr>
                                        <p:cTn id="6" dur="1" fill="hold">
                                          <p:stCondLst>
                                            <p:cond delay="0"/>
                                          </p:stCondLst>
                                        </p:cTn>
                                        <p:tgtEl>
                                          <p:spTgt spid="13">
                                            <p:txEl>
                                              <p:pRg st="1" end="1"/>
                                            </p:txEl>
                                          </p:spTgt>
                                        </p:tgtEl>
                                        <p:attrNameLst>
                                          <p:attrName>style.visibility</p:attrName>
                                        </p:attrNameLst>
                                      </p:cBhvr>
                                      <p:to>
                                        <p:strVal val="visible"/>
                                      </p:to>
                                    </p:set>
                                    <p:animEffect transition="in" filter="strips(downLeft)">
                                      <p:cBhvr>
                                        <p:cTn id="7" dur="500"/>
                                        <p:tgtEl>
                                          <p:spTgt spid="13">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grpId="0"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barn(inVertical)">
                                      <p:cBhvr>
                                        <p:cTn id="12" dur="500"/>
                                        <p:tgtEl>
                                          <p:spTgt spid="14"/>
                                        </p:tgtEl>
                                      </p:cBhvr>
                                    </p:animEffect>
                                  </p:childTnLst>
                                </p:cTn>
                              </p:par>
                            </p:childTnLst>
                          </p:cTn>
                        </p:par>
                      </p:childTnLst>
                    </p:cTn>
                  </p:par>
                  <p:par>
                    <p:cTn id="13" fill="hold">
                      <p:stCondLst>
                        <p:cond delay="indefinite"/>
                      </p:stCondLst>
                      <p:childTnLst>
                        <p:par>
                          <p:cTn id="14" fill="hold">
                            <p:stCondLst>
                              <p:cond delay="0"/>
                            </p:stCondLst>
                            <p:childTnLst>
                              <p:par>
                                <p:cTn id="15" presetID="16" presetClass="entr" presetSubtype="21" fill="hold" nodeType="clickEffect">
                                  <p:stCondLst>
                                    <p:cond delay="0"/>
                                  </p:stCondLst>
                                  <p:childTnLst>
                                    <p:set>
                                      <p:cBhvr>
                                        <p:cTn id="16" dur="1" fill="hold">
                                          <p:stCondLst>
                                            <p:cond delay="0"/>
                                          </p:stCondLst>
                                        </p:cTn>
                                        <p:tgtEl>
                                          <p:spTgt spid="16"/>
                                        </p:tgtEl>
                                        <p:attrNameLst>
                                          <p:attrName>style.visibility</p:attrName>
                                        </p:attrNameLst>
                                      </p:cBhvr>
                                      <p:to>
                                        <p:strVal val="visible"/>
                                      </p:to>
                                    </p:set>
                                    <p:animEffect transition="in" filter="barn(inVertical)">
                                      <p:cBhvr>
                                        <p:cTn id="17" dur="1250"/>
                                        <p:tgtEl>
                                          <p:spTgt spid="16"/>
                                        </p:tgtEl>
                                      </p:cBhvr>
                                    </p:animEffect>
                                  </p:childTnLst>
                                </p:cTn>
                              </p:par>
                            </p:childTnLst>
                          </p:cTn>
                        </p:par>
                      </p:childTnLst>
                    </p:cTn>
                  </p:par>
                  <p:par>
                    <p:cTn id="18" fill="hold">
                      <p:stCondLst>
                        <p:cond delay="indefinite"/>
                      </p:stCondLst>
                      <p:childTnLst>
                        <p:par>
                          <p:cTn id="19" fill="hold">
                            <p:stCondLst>
                              <p:cond delay="0"/>
                            </p:stCondLst>
                            <p:childTnLst>
                              <p:par>
                                <p:cTn id="20" presetID="16" presetClass="entr" presetSubtype="21" fill="hold" nodeType="clickEffect">
                                  <p:stCondLst>
                                    <p:cond delay="0"/>
                                  </p:stCondLst>
                                  <p:childTnLst>
                                    <p:set>
                                      <p:cBhvr>
                                        <p:cTn id="21" dur="1" fill="hold">
                                          <p:stCondLst>
                                            <p:cond delay="0"/>
                                          </p:stCondLst>
                                        </p:cTn>
                                        <p:tgtEl>
                                          <p:spTgt spid="19"/>
                                        </p:tgtEl>
                                        <p:attrNameLst>
                                          <p:attrName>style.visibility</p:attrName>
                                        </p:attrNameLst>
                                      </p:cBhvr>
                                      <p:to>
                                        <p:strVal val="visible"/>
                                      </p:to>
                                    </p:set>
                                    <p:animEffect transition="in" filter="barn(inVertical)">
                                      <p:cBhvr>
                                        <p:cTn id="22" dur="1250"/>
                                        <p:tgtEl>
                                          <p:spTgt spid="19"/>
                                        </p:tgtEl>
                                      </p:cBhvr>
                                    </p:animEffect>
                                  </p:childTnLst>
                                </p:cTn>
                              </p:par>
                            </p:childTnLst>
                          </p:cTn>
                        </p:par>
                      </p:childTnLst>
                    </p:cTn>
                  </p:par>
                  <p:par>
                    <p:cTn id="23" fill="hold">
                      <p:stCondLst>
                        <p:cond delay="indefinite"/>
                      </p:stCondLst>
                      <p:childTnLst>
                        <p:par>
                          <p:cTn id="24" fill="hold">
                            <p:stCondLst>
                              <p:cond delay="0"/>
                            </p:stCondLst>
                            <p:childTnLst>
                              <p:par>
                                <p:cTn id="25" presetID="16" presetClass="entr" presetSubtype="21" fill="hold" nodeType="clickEffect">
                                  <p:stCondLst>
                                    <p:cond delay="0"/>
                                  </p:stCondLst>
                                  <p:childTnLst>
                                    <p:set>
                                      <p:cBhvr>
                                        <p:cTn id="26" dur="1" fill="hold">
                                          <p:stCondLst>
                                            <p:cond delay="0"/>
                                          </p:stCondLst>
                                        </p:cTn>
                                        <p:tgtEl>
                                          <p:spTgt spid="22"/>
                                        </p:tgtEl>
                                        <p:attrNameLst>
                                          <p:attrName>style.visibility</p:attrName>
                                        </p:attrNameLst>
                                      </p:cBhvr>
                                      <p:to>
                                        <p:strVal val="visible"/>
                                      </p:to>
                                    </p:set>
                                    <p:animEffect transition="in" filter="barn(inVertical)">
                                      <p:cBhvr>
                                        <p:cTn id="27" dur="1250"/>
                                        <p:tgtEl>
                                          <p:spTgt spid="22"/>
                                        </p:tgtEl>
                                      </p:cBhvr>
                                    </p:animEffect>
                                  </p:childTnLst>
                                </p:cTn>
                              </p:par>
                            </p:childTnLst>
                          </p:cTn>
                        </p:par>
                      </p:childTnLst>
                    </p:cTn>
                  </p:par>
                  <p:par>
                    <p:cTn id="28" fill="hold">
                      <p:stCondLst>
                        <p:cond delay="indefinite"/>
                      </p:stCondLst>
                      <p:childTnLst>
                        <p:par>
                          <p:cTn id="29" fill="hold">
                            <p:stCondLst>
                              <p:cond delay="0"/>
                            </p:stCondLst>
                            <p:childTnLst>
                              <p:par>
                                <p:cTn id="30" presetID="18" presetClass="entr" presetSubtype="12" fill="hold" nodeType="clickEffect">
                                  <p:stCondLst>
                                    <p:cond delay="0"/>
                                  </p:stCondLst>
                                  <p:childTnLst>
                                    <p:set>
                                      <p:cBhvr>
                                        <p:cTn id="31" dur="1" fill="hold">
                                          <p:stCondLst>
                                            <p:cond delay="0"/>
                                          </p:stCondLst>
                                        </p:cTn>
                                        <p:tgtEl>
                                          <p:spTgt spid="25">
                                            <p:txEl>
                                              <p:pRg st="0" end="0"/>
                                            </p:txEl>
                                          </p:spTgt>
                                        </p:tgtEl>
                                        <p:attrNameLst>
                                          <p:attrName>style.visibility</p:attrName>
                                        </p:attrNameLst>
                                      </p:cBhvr>
                                      <p:to>
                                        <p:strVal val="visible"/>
                                      </p:to>
                                    </p:set>
                                    <p:animEffect transition="in" filter="strips(downLeft)">
                                      <p:cBhvr>
                                        <p:cTn id="32" dur="500"/>
                                        <p:tgtEl>
                                          <p:spTgt spid="25">
                                            <p:txEl>
                                              <p:pRg st="0" end="0"/>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8" presetClass="entr" presetSubtype="12" fill="hold" nodeType="clickEffect">
                                  <p:stCondLst>
                                    <p:cond delay="0"/>
                                  </p:stCondLst>
                                  <p:childTnLst>
                                    <p:set>
                                      <p:cBhvr>
                                        <p:cTn id="36" dur="1" fill="hold">
                                          <p:stCondLst>
                                            <p:cond delay="0"/>
                                          </p:stCondLst>
                                        </p:cTn>
                                        <p:tgtEl>
                                          <p:spTgt spid="25">
                                            <p:txEl>
                                              <p:pRg st="1" end="1"/>
                                            </p:txEl>
                                          </p:spTgt>
                                        </p:tgtEl>
                                        <p:attrNameLst>
                                          <p:attrName>style.visibility</p:attrName>
                                        </p:attrNameLst>
                                      </p:cBhvr>
                                      <p:to>
                                        <p:strVal val="visible"/>
                                      </p:to>
                                    </p:set>
                                    <p:animEffect transition="in" filter="strips(downLeft)">
                                      <p:cBhvr>
                                        <p:cTn id="37" dur="500"/>
                                        <p:tgtEl>
                                          <p:spTgt spid="25">
                                            <p:txEl>
                                              <p:pRg st="1" end="1"/>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8" presetClass="entr" presetSubtype="12" fill="hold" nodeType="clickEffect">
                                  <p:stCondLst>
                                    <p:cond delay="0"/>
                                  </p:stCondLst>
                                  <p:childTnLst>
                                    <p:set>
                                      <p:cBhvr>
                                        <p:cTn id="41" dur="1" fill="hold">
                                          <p:stCondLst>
                                            <p:cond delay="0"/>
                                          </p:stCondLst>
                                        </p:cTn>
                                        <p:tgtEl>
                                          <p:spTgt spid="25">
                                            <p:txEl>
                                              <p:pRg st="2" end="2"/>
                                            </p:txEl>
                                          </p:spTgt>
                                        </p:tgtEl>
                                        <p:attrNameLst>
                                          <p:attrName>style.visibility</p:attrName>
                                        </p:attrNameLst>
                                      </p:cBhvr>
                                      <p:to>
                                        <p:strVal val="visible"/>
                                      </p:to>
                                    </p:set>
                                    <p:animEffect transition="in" filter="strips(downLeft)">
                                      <p:cBhvr>
                                        <p:cTn id="42" dur="500"/>
                                        <p:tgtEl>
                                          <p:spTgt spid="25">
                                            <p:txEl>
                                              <p:pRg st="2" end="2"/>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8" presetClass="entr" presetSubtype="12" fill="hold" nodeType="clickEffect">
                                  <p:stCondLst>
                                    <p:cond delay="0"/>
                                  </p:stCondLst>
                                  <p:childTnLst>
                                    <p:set>
                                      <p:cBhvr>
                                        <p:cTn id="46" dur="1" fill="hold">
                                          <p:stCondLst>
                                            <p:cond delay="0"/>
                                          </p:stCondLst>
                                        </p:cTn>
                                        <p:tgtEl>
                                          <p:spTgt spid="25">
                                            <p:txEl>
                                              <p:pRg st="3" end="3"/>
                                            </p:txEl>
                                          </p:spTgt>
                                        </p:tgtEl>
                                        <p:attrNameLst>
                                          <p:attrName>style.visibility</p:attrName>
                                        </p:attrNameLst>
                                      </p:cBhvr>
                                      <p:to>
                                        <p:strVal val="visible"/>
                                      </p:to>
                                    </p:set>
                                    <p:animEffect transition="in" filter="strips(downLeft)">
                                      <p:cBhvr>
                                        <p:cTn id="47" dur="500"/>
                                        <p:tgtEl>
                                          <p:spTgt spid="25">
                                            <p:txEl>
                                              <p:pRg st="3" end="3"/>
                                            </p:txEl>
                                          </p:spTgt>
                                        </p:tgtEl>
                                      </p:cBhvr>
                                    </p:animEffect>
                                  </p:childTnLst>
                                </p:cTn>
                              </p:par>
                            </p:childTnLst>
                          </p:cTn>
                        </p:par>
                      </p:childTnLst>
                    </p:cTn>
                  </p:par>
                  <p:par>
                    <p:cTn id="48" fill="hold">
                      <p:stCondLst>
                        <p:cond delay="indefinite"/>
                      </p:stCondLst>
                      <p:childTnLst>
                        <p:par>
                          <p:cTn id="49" fill="hold">
                            <p:stCondLst>
                              <p:cond delay="0"/>
                            </p:stCondLst>
                            <p:childTnLst>
                              <p:par>
                                <p:cTn id="50" presetID="18" presetClass="entr" presetSubtype="12" fill="hold" nodeType="clickEffect">
                                  <p:stCondLst>
                                    <p:cond delay="0"/>
                                  </p:stCondLst>
                                  <p:childTnLst>
                                    <p:set>
                                      <p:cBhvr>
                                        <p:cTn id="51" dur="1" fill="hold">
                                          <p:stCondLst>
                                            <p:cond delay="0"/>
                                          </p:stCondLst>
                                        </p:cTn>
                                        <p:tgtEl>
                                          <p:spTgt spid="25">
                                            <p:txEl>
                                              <p:pRg st="4" end="4"/>
                                            </p:txEl>
                                          </p:spTgt>
                                        </p:tgtEl>
                                        <p:attrNameLst>
                                          <p:attrName>style.visibility</p:attrName>
                                        </p:attrNameLst>
                                      </p:cBhvr>
                                      <p:to>
                                        <p:strVal val="visible"/>
                                      </p:to>
                                    </p:set>
                                    <p:animEffect transition="in" filter="strips(downLeft)">
                                      <p:cBhvr>
                                        <p:cTn id="52" dur="500"/>
                                        <p:tgtEl>
                                          <p:spTgt spid="25">
                                            <p:txEl>
                                              <p:pRg st="4" end="4"/>
                                            </p:txEl>
                                          </p:spTgt>
                                        </p:tgtEl>
                                      </p:cBhvr>
                                    </p:animEffect>
                                  </p:childTnLst>
                                </p:cTn>
                              </p:par>
                            </p:childTnLst>
                          </p:cTn>
                        </p:par>
                      </p:childTnLst>
                    </p:cTn>
                  </p:par>
                  <p:par>
                    <p:cTn id="53" fill="hold">
                      <p:stCondLst>
                        <p:cond delay="indefinite"/>
                      </p:stCondLst>
                      <p:childTnLst>
                        <p:par>
                          <p:cTn id="54" fill="hold">
                            <p:stCondLst>
                              <p:cond delay="0"/>
                            </p:stCondLst>
                            <p:childTnLst>
                              <p:par>
                                <p:cTn id="55" presetID="18" presetClass="entr" presetSubtype="12" fill="hold" nodeType="clickEffect">
                                  <p:stCondLst>
                                    <p:cond delay="0"/>
                                  </p:stCondLst>
                                  <p:childTnLst>
                                    <p:set>
                                      <p:cBhvr>
                                        <p:cTn id="56" dur="1" fill="hold">
                                          <p:stCondLst>
                                            <p:cond delay="0"/>
                                          </p:stCondLst>
                                        </p:cTn>
                                        <p:tgtEl>
                                          <p:spTgt spid="25">
                                            <p:txEl>
                                              <p:pRg st="5" end="5"/>
                                            </p:txEl>
                                          </p:spTgt>
                                        </p:tgtEl>
                                        <p:attrNameLst>
                                          <p:attrName>style.visibility</p:attrName>
                                        </p:attrNameLst>
                                      </p:cBhvr>
                                      <p:to>
                                        <p:strVal val="visible"/>
                                      </p:to>
                                    </p:set>
                                    <p:animEffect transition="in" filter="strips(downLeft)">
                                      <p:cBhvr>
                                        <p:cTn id="57" dur="500"/>
                                        <p:tgtEl>
                                          <p:spTgt spid="25">
                                            <p:txEl>
                                              <p:pRg st="5" end="5"/>
                                            </p:txEl>
                                          </p:spTgt>
                                        </p:tgtEl>
                                      </p:cBhvr>
                                    </p:animEffect>
                                  </p:childTnLst>
                                </p:cTn>
                              </p:par>
                            </p:childTnLst>
                          </p:cTn>
                        </p:par>
                      </p:childTnLst>
                    </p:cTn>
                  </p:par>
                  <p:par>
                    <p:cTn id="58" fill="hold">
                      <p:stCondLst>
                        <p:cond delay="indefinite"/>
                      </p:stCondLst>
                      <p:childTnLst>
                        <p:par>
                          <p:cTn id="59" fill="hold">
                            <p:stCondLst>
                              <p:cond delay="0"/>
                            </p:stCondLst>
                            <p:childTnLst>
                              <p:par>
                                <p:cTn id="60" presetID="18" presetClass="entr" presetSubtype="12" fill="hold" nodeType="clickEffect">
                                  <p:stCondLst>
                                    <p:cond delay="0"/>
                                  </p:stCondLst>
                                  <p:childTnLst>
                                    <p:set>
                                      <p:cBhvr>
                                        <p:cTn id="61" dur="1" fill="hold">
                                          <p:stCondLst>
                                            <p:cond delay="0"/>
                                          </p:stCondLst>
                                        </p:cTn>
                                        <p:tgtEl>
                                          <p:spTgt spid="25">
                                            <p:txEl>
                                              <p:pRg st="6" end="6"/>
                                            </p:txEl>
                                          </p:spTgt>
                                        </p:tgtEl>
                                        <p:attrNameLst>
                                          <p:attrName>style.visibility</p:attrName>
                                        </p:attrNameLst>
                                      </p:cBhvr>
                                      <p:to>
                                        <p:strVal val="visible"/>
                                      </p:to>
                                    </p:set>
                                    <p:animEffect transition="in" filter="strips(downLeft)">
                                      <p:cBhvr>
                                        <p:cTn id="62" dur="500"/>
                                        <p:tgtEl>
                                          <p:spTgt spid="25">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p:bldP spid="14" grpId="0" animBg="1"/>
      <p:bldP spid="25" grpId="0" build="p"/>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E13A437-BF9B-E7AE-9281-A2EE09705475}"/>
              </a:ext>
            </a:extLst>
          </p:cNvPr>
          <p:cNvSpPr txBox="1">
            <a:spLocks noChangeArrowheads="1"/>
          </p:cNvSpPr>
          <p:nvPr/>
        </p:nvSpPr>
        <p:spPr bwMode="white">
          <a:xfrm>
            <a:off x="4004558" y="452671"/>
            <a:ext cx="4349385" cy="57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46304" tIns="121920" rIns="146304" bIns="121920" numCol="1" anchor="ctr" anchorCtr="0" compatLnSpc="1">
            <a:prstTxWarp prst="textNoShape">
              <a:avLst/>
            </a:prstTxWarp>
          </a:bodyPr>
          <a:lstStyle>
            <a:lvl1pPr marL="342900" indent="-342900" algn="l" rtl="0" eaLnBrk="0" fontAlgn="base" hangingPunct="0">
              <a:lnSpc>
                <a:spcPct val="95000"/>
              </a:lnSpc>
              <a:spcBef>
                <a:spcPct val="10000"/>
              </a:spcBef>
              <a:spcAft>
                <a:spcPct val="30000"/>
              </a:spcAft>
              <a:buChar char="•"/>
              <a:defRPr sz="2400">
                <a:solidFill>
                  <a:schemeClr val="tx1"/>
                </a:solidFill>
                <a:latin typeface="+mn-lt"/>
                <a:ea typeface="+mn-ea"/>
                <a:cs typeface="+mn-cs"/>
              </a:defRPr>
            </a:lvl1pPr>
            <a:lvl2pPr marL="227013" lvl="1" indent="-225425" algn="l" rtl="0" eaLnBrk="0" fontAlgn="base" hangingPunct="0">
              <a:lnSpc>
                <a:spcPct val="95000"/>
              </a:lnSpc>
              <a:spcBef>
                <a:spcPct val="10000"/>
              </a:spcBef>
              <a:spcAft>
                <a:spcPct val="30000"/>
              </a:spcAft>
              <a:buChar char="•"/>
              <a:defRPr sz="2400">
                <a:solidFill>
                  <a:schemeClr val="tx1"/>
                </a:solidFill>
                <a:latin typeface="+mn-lt"/>
              </a:defRPr>
            </a:lvl2pPr>
            <a:lvl3pPr marL="455613" lvl="2" indent="-227013" algn="l" rtl="0" eaLnBrk="0" fontAlgn="base" hangingPunct="0">
              <a:lnSpc>
                <a:spcPct val="95000"/>
              </a:lnSpc>
              <a:spcBef>
                <a:spcPct val="10000"/>
              </a:spcBef>
              <a:spcAft>
                <a:spcPct val="30000"/>
              </a:spcAft>
              <a:buChar char="–"/>
              <a:defRPr sz="2000">
                <a:solidFill>
                  <a:schemeClr val="tx1"/>
                </a:solidFill>
                <a:latin typeface="+mn-lt"/>
              </a:defRPr>
            </a:lvl3pPr>
            <a:lvl4pPr marL="685800" lvl="3" indent="-228600" algn="l" rtl="0" eaLnBrk="0" fontAlgn="base" hangingPunct="0">
              <a:lnSpc>
                <a:spcPct val="95000"/>
              </a:lnSpc>
              <a:spcBef>
                <a:spcPct val="10000"/>
              </a:spcBef>
              <a:spcAft>
                <a:spcPct val="30000"/>
              </a:spcAft>
              <a:buChar char="–"/>
              <a:defRPr sz="2000">
                <a:solidFill>
                  <a:schemeClr val="tx1"/>
                </a:solidFill>
                <a:latin typeface="+mn-lt"/>
              </a:defRPr>
            </a:lvl4pPr>
            <a:lvl5pPr marL="908050" lvl="4" indent="-220663" algn="l" rtl="0" eaLnBrk="0" fontAlgn="base" hangingPunct="0">
              <a:lnSpc>
                <a:spcPct val="95000"/>
              </a:lnSpc>
              <a:spcBef>
                <a:spcPct val="10000"/>
              </a:spcBef>
              <a:spcAft>
                <a:spcPct val="30000"/>
              </a:spcAft>
              <a:buChar char="–"/>
              <a:defRPr sz="2000">
                <a:solidFill>
                  <a:schemeClr val="tx1"/>
                </a:solidFill>
                <a:latin typeface="+mn-lt"/>
              </a:defRPr>
            </a:lvl5pPr>
            <a:lvl6pPr marL="1365250" indent="-220663" algn="l" rtl="0" fontAlgn="base">
              <a:lnSpc>
                <a:spcPct val="95000"/>
              </a:lnSpc>
              <a:spcBef>
                <a:spcPct val="10000"/>
              </a:spcBef>
              <a:spcAft>
                <a:spcPct val="30000"/>
              </a:spcAft>
              <a:buChar char="–"/>
              <a:defRPr>
                <a:solidFill>
                  <a:schemeClr val="tx1"/>
                </a:solidFill>
                <a:latin typeface="+mn-lt"/>
              </a:defRPr>
            </a:lvl6pPr>
            <a:lvl7pPr marL="1822450" indent="-220663" algn="l" rtl="0" fontAlgn="base">
              <a:lnSpc>
                <a:spcPct val="95000"/>
              </a:lnSpc>
              <a:spcBef>
                <a:spcPct val="10000"/>
              </a:spcBef>
              <a:spcAft>
                <a:spcPct val="30000"/>
              </a:spcAft>
              <a:buChar char="–"/>
              <a:defRPr>
                <a:solidFill>
                  <a:schemeClr val="tx1"/>
                </a:solidFill>
                <a:latin typeface="+mn-lt"/>
              </a:defRPr>
            </a:lvl7pPr>
            <a:lvl8pPr marL="2279650" indent="-220663" algn="l" rtl="0" fontAlgn="base">
              <a:lnSpc>
                <a:spcPct val="95000"/>
              </a:lnSpc>
              <a:spcBef>
                <a:spcPct val="10000"/>
              </a:spcBef>
              <a:spcAft>
                <a:spcPct val="30000"/>
              </a:spcAft>
              <a:buChar char="–"/>
              <a:defRPr>
                <a:solidFill>
                  <a:schemeClr val="tx1"/>
                </a:solidFill>
                <a:latin typeface="+mn-lt"/>
              </a:defRPr>
            </a:lvl8pPr>
            <a:lvl9pPr marL="2736850" indent="-220663" algn="l" rtl="0" fontAlgn="base">
              <a:lnSpc>
                <a:spcPct val="95000"/>
              </a:lnSpc>
              <a:spcBef>
                <a:spcPct val="10000"/>
              </a:spcBef>
              <a:spcAft>
                <a:spcPct val="30000"/>
              </a:spcAft>
              <a:buChar char="–"/>
              <a:defRPr>
                <a:solidFill>
                  <a:schemeClr val="tx1"/>
                </a:solidFill>
                <a:latin typeface="+mn-lt"/>
              </a:defRPr>
            </a:lvl9pPr>
          </a:lstStyle>
          <a:p>
            <a:pPr marL="0" indent="0" algn="ctr" defTabSz="1219139" eaLnBrk="1" hangingPunct="1">
              <a:buNone/>
              <a:defRPr/>
            </a:pPr>
            <a:endParaRPr lang="ar-SA" altLang="ar-SA" sz="2667" b="1" kern="0" dirty="0">
              <a:solidFill>
                <a:srgbClr val="0070C0"/>
              </a:solidFill>
              <a:latin typeface="Sakkal Majalla" panose="02000000000000000000" pitchFamily="2" charset="-78"/>
              <a:cs typeface="Sakkal Majalla" panose="02000000000000000000" pitchFamily="2" charset="-78"/>
              <a:sym typeface="Arial"/>
            </a:endParaRPr>
          </a:p>
          <a:p>
            <a:pPr marL="0" indent="0" algn="ctr" defTabSz="1219139" eaLnBrk="1" hangingPunct="1">
              <a:buNone/>
              <a:defRPr/>
            </a:pPr>
            <a:r>
              <a:rPr lang="ar-SA" altLang="ar-SA" sz="2667" b="1" kern="0" dirty="0">
                <a:solidFill>
                  <a:srgbClr val="0070C0"/>
                </a:solidFill>
                <a:latin typeface="Sakkal Majalla" panose="02000000000000000000" pitchFamily="2" charset="-78"/>
                <a:cs typeface="Sakkal Majalla" panose="02000000000000000000" pitchFamily="2" charset="-78"/>
                <a:sym typeface="Arial"/>
              </a:rPr>
              <a:t>فكرة التصميم العكسي</a:t>
            </a:r>
            <a:endParaRPr lang="en-US" altLang="ar-SA" sz="2667" kern="0" dirty="0">
              <a:solidFill>
                <a:srgbClr val="0070C0"/>
              </a:solidFill>
              <a:latin typeface="Sakkal Majalla" panose="02000000000000000000" pitchFamily="2" charset="-78"/>
              <a:cs typeface="Sakkal Majalla" panose="02000000000000000000" pitchFamily="2" charset="-78"/>
              <a:sym typeface="Arial"/>
            </a:endParaRPr>
          </a:p>
          <a:p>
            <a:pPr marL="0" indent="0" algn="ctr" defTabSz="1219139">
              <a:lnSpc>
                <a:spcPct val="100000"/>
              </a:lnSpc>
              <a:spcBef>
                <a:spcPct val="0"/>
              </a:spcBef>
              <a:spcAft>
                <a:spcPct val="100000"/>
              </a:spcAft>
              <a:buNone/>
              <a:defRPr/>
            </a:pPr>
            <a:endParaRPr lang="en-US" altLang="ar-SA" sz="2667" kern="0" dirty="0">
              <a:solidFill>
                <a:srgbClr val="0070C0"/>
              </a:solidFill>
              <a:latin typeface="Sakkal Majalla" panose="02000000000000000000" pitchFamily="2" charset="-78"/>
              <a:cs typeface="Sakkal Majalla" panose="02000000000000000000" pitchFamily="2" charset="-78"/>
              <a:sym typeface="Arial"/>
            </a:endParaRPr>
          </a:p>
        </p:txBody>
      </p:sp>
      <p:grpSp>
        <p:nvGrpSpPr>
          <p:cNvPr id="5" name="Group 4">
            <a:extLst>
              <a:ext uri="{FF2B5EF4-FFF2-40B4-BE49-F238E27FC236}">
                <a16:creationId xmlns:a16="http://schemas.microsoft.com/office/drawing/2014/main" id="{1F4CCDBA-34A3-B7EE-4DD4-2DC73CEA06A9}"/>
              </a:ext>
            </a:extLst>
          </p:cNvPr>
          <p:cNvGrpSpPr>
            <a:grpSpLocks noChangeAspect="1"/>
          </p:cNvGrpSpPr>
          <p:nvPr/>
        </p:nvGrpSpPr>
        <p:grpSpPr bwMode="auto">
          <a:xfrm>
            <a:off x="1679511" y="740742"/>
            <a:ext cx="9344613" cy="3722188"/>
            <a:chOff x="134" y="1472"/>
            <a:chExt cx="5467" cy="1284"/>
          </a:xfrm>
        </p:grpSpPr>
        <p:sp>
          <p:nvSpPr>
            <p:cNvPr id="6" name="Line 5">
              <a:extLst>
                <a:ext uri="{FF2B5EF4-FFF2-40B4-BE49-F238E27FC236}">
                  <a16:creationId xmlns:a16="http://schemas.microsoft.com/office/drawing/2014/main" id="{F121275C-666D-F1C3-53D2-AEB45720E99E}"/>
                </a:ext>
              </a:extLst>
            </p:cNvPr>
            <p:cNvSpPr>
              <a:spLocks noChangeAspect="1" noChangeShapeType="1"/>
            </p:cNvSpPr>
            <p:nvPr/>
          </p:nvSpPr>
          <p:spPr bwMode="auto">
            <a:xfrm>
              <a:off x="489" y="2495"/>
              <a:ext cx="4762" cy="0"/>
            </a:xfrm>
            <a:prstGeom prst="line">
              <a:avLst/>
            </a:prstGeom>
            <a:noFill/>
            <a:ln w="76200">
              <a:solidFill>
                <a:srgbClr val="000000"/>
              </a:solidFill>
              <a:round/>
              <a:headEnd type="triangle" w="med" len="med"/>
              <a:tailEnd type="triangle" w="med" len="med"/>
            </a:ln>
            <a:effectLst/>
          </p:spPr>
          <p:txBody>
            <a:bodyPr/>
            <a:lstStyle/>
            <a:p>
              <a:pPr algn="ctr" defTabSz="1219139" fontAlgn="base">
                <a:spcBef>
                  <a:spcPct val="50000"/>
                </a:spcBef>
                <a:spcAft>
                  <a:spcPct val="0"/>
                </a:spcAft>
                <a:defRPr/>
              </a:pPr>
              <a:endParaRPr lang="ar-SA" sz="4267" i="1" kern="0">
                <a:solidFill>
                  <a:srgbClr val="0070C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sym typeface="Arial"/>
              </a:endParaRPr>
            </a:p>
          </p:txBody>
        </p:sp>
        <p:sp>
          <p:nvSpPr>
            <p:cNvPr id="7" name="Rectangle 6">
              <a:extLst>
                <a:ext uri="{FF2B5EF4-FFF2-40B4-BE49-F238E27FC236}">
                  <a16:creationId xmlns:a16="http://schemas.microsoft.com/office/drawing/2014/main" id="{BECBC5D0-DEB8-1661-0CA6-D44E0081DC42}"/>
                </a:ext>
              </a:extLst>
            </p:cNvPr>
            <p:cNvSpPr>
              <a:spLocks noChangeAspect="1" noChangeArrowheads="1"/>
            </p:cNvSpPr>
            <p:nvPr/>
          </p:nvSpPr>
          <p:spPr bwMode="auto">
            <a:xfrm>
              <a:off x="690" y="1860"/>
              <a:ext cx="998" cy="499"/>
            </a:xfrm>
            <a:prstGeom prst="rect">
              <a:avLst/>
            </a:prstGeom>
            <a:solidFill>
              <a:srgbClr val="8EC400">
                <a:lumMod val="20000"/>
                <a:lumOff val="80000"/>
              </a:srgbClr>
            </a:solidFill>
            <a:ln w="9525">
              <a:solidFill>
                <a:srgbClr val="000000"/>
              </a:solidFill>
              <a:miter lim="800000"/>
              <a:headEnd/>
              <a:tailEnd/>
            </a:ln>
          </p:spPr>
          <p:txBody>
            <a:bodyPr wrap="none" anchor="ctr"/>
            <a:lstStyle>
              <a:lvl1pPr eaLnBrk="0" hangingPunct="0">
                <a:defRPr sz="2400" i="1">
                  <a:solidFill>
                    <a:schemeClr val="tx1"/>
                  </a:solidFill>
                  <a:latin typeface="Futura Bk" pitchFamily="34" charset="0"/>
                </a:defRPr>
              </a:lvl1pPr>
              <a:lvl2pPr marL="742950" indent="-285750" eaLnBrk="0" hangingPunct="0">
                <a:defRPr sz="2400" i="1">
                  <a:solidFill>
                    <a:schemeClr val="tx1"/>
                  </a:solidFill>
                  <a:latin typeface="Futura Bk" pitchFamily="34" charset="0"/>
                </a:defRPr>
              </a:lvl2pPr>
              <a:lvl3pPr marL="1143000" indent="-228600" eaLnBrk="0" hangingPunct="0">
                <a:defRPr sz="2400" i="1">
                  <a:solidFill>
                    <a:schemeClr val="tx1"/>
                  </a:solidFill>
                  <a:latin typeface="Futura Bk" pitchFamily="34" charset="0"/>
                </a:defRPr>
              </a:lvl3pPr>
              <a:lvl4pPr marL="1600200" indent="-228600" eaLnBrk="0" hangingPunct="0">
                <a:defRPr sz="2400" i="1">
                  <a:solidFill>
                    <a:schemeClr val="tx1"/>
                  </a:solidFill>
                  <a:latin typeface="Futura Bk" pitchFamily="34" charset="0"/>
                </a:defRPr>
              </a:lvl4pPr>
              <a:lvl5pPr marL="2057400" indent="-228600" eaLnBrk="0" hangingPunct="0">
                <a:defRPr sz="2400" i="1">
                  <a:solidFill>
                    <a:schemeClr val="tx1"/>
                  </a:solidFill>
                  <a:latin typeface="Futura Bk" pitchFamily="34" charset="0"/>
                </a:defRPr>
              </a:lvl5pPr>
              <a:lvl6pPr marL="2514600" indent="-228600" algn="ctr" rtl="0" eaLnBrk="0" fontAlgn="base" hangingPunct="0">
                <a:spcBef>
                  <a:spcPct val="50000"/>
                </a:spcBef>
                <a:spcAft>
                  <a:spcPct val="0"/>
                </a:spcAft>
                <a:defRPr sz="2400" i="1">
                  <a:solidFill>
                    <a:schemeClr val="tx1"/>
                  </a:solidFill>
                  <a:latin typeface="Futura Bk" pitchFamily="34" charset="0"/>
                </a:defRPr>
              </a:lvl6pPr>
              <a:lvl7pPr marL="2971800" indent="-228600" algn="ctr" rtl="0" eaLnBrk="0" fontAlgn="base" hangingPunct="0">
                <a:spcBef>
                  <a:spcPct val="50000"/>
                </a:spcBef>
                <a:spcAft>
                  <a:spcPct val="0"/>
                </a:spcAft>
                <a:defRPr sz="2400" i="1">
                  <a:solidFill>
                    <a:schemeClr val="tx1"/>
                  </a:solidFill>
                  <a:latin typeface="Futura Bk" pitchFamily="34" charset="0"/>
                </a:defRPr>
              </a:lvl7pPr>
              <a:lvl8pPr marL="3429000" indent="-228600" algn="ctr" rtl="0" eaLnBrk="0" fontAlgn="base" hangingPunct="0">
                <a:spcBef>
                  <a:spcPct val="50000"/>
                </a:spcBef>
                <a:spcAft>
                  <a:spcPct val="0"/>
                </a:spcAft>
                <a:defRPr sz="2400" i="1">
                  <a:solidFill>
                    <a:schemeClr val="tx1"/>
                  </a:solidFill>
                  <a:latin typeface="Futura Bk" pitchFamily="34" charset="0"/>
                </a:defRPr>
              </a:lvl8pPr>
              <a:lvl9pPr marL="3886200" indent="-228600" algn="ctr" rtl="0" eaLnBrk="0" fontAlgn="base" hangingPunct="0">
                <a:spcBef>
                  <a:spcPct val="50000"/>
                </a:spcBef>
                <a:spcAft>
                  <a:spcPct val="0"/>
                </a:spcAft>
                <a:defRPr sz="2400" i="1">
                  <a:solidFill>
                    <a:schemeClr val="tx1"/>
                  </a:solidFill>
                  <a:latin typeface="Futura Bk" pitchFamily="34" charset="0"/>
                </a:defRPr>
              </a:lvl9pPr>
            </a:lstStyle>
            <a:p>
              <a:pPr algn="ctr" defTabSz="1219139" eaLnBrk="1" fontAlgn="base" hangingPunct="1">
                <a:spcBef>
                  <a:spcPct val="0"/>
                </a:spcBef>
                <a:spcAft>
                  <a:spcPct val="0"/>
                </a:spcAft>
                <a:defRPr/>
              </a:pPr>
              <a:r>
                <a:rPr lang="ar-SA" altLang="ar-SA" sz="3733" b="1" i="0" kern="0" dirty="0">
                  <a:solidFill>
                    <a:srgbClr val="28324A"/>
                  </a:solidFill>
                  <a:latin typeface="Sakkal Majalla" panose="02000000000000000000" pitchFamily="2" charset="-78"/>
                  <a:cs typeface="Sakkal Majalla" panose="02000000000000000000" pitchFamily="2" charset="-78"/>
                  <a:sym typeface="Arial"/>
                </a:rPr>
                <a:t>المدرسة</a:t>
              </a:r>
              <a:endParaRPr lang="en-US" altLang="ar-SA" sz="3733" b="1" i="0" kern="0" dirty="0">
                <a:solidFill>
                  <a:srgbClr val="28324A"/>
                </a:solidFill>
                <a:latin typeface="Sakkal Majalla" panose="02000000000000000000" pitchFamily="2" charset="-78"/>
                <a:cs typeface="Sakkal Majalla" panose="02000000000000000000" pitchFamily="2" charset="-78"/>
                <a:sym typeface="Arial"/>
              </a:endParaRPr>
            </a:p>
          </p:txBody>
        </p:sp>
        <p:sp>
          <p:nvSpPr>
            <p:cNvPr id="8" name="Rectangle 7">
              <a:extLst>
                <a:ext uri="{FF2B5EF4-FFF2-40B4-BE49-F238E27FC236}">
                  <a16:creationId xmlns:a16="http://schemas.microsoft.com/office/drawing/2014/main" id="{E8333BA9-90D0-2A03-D272-761078C6E765}"/>
                </a:ext>
              </a:extLst>
            </p:cNvPr>
            <p:cNvSpPr>
              <a:spLocks noChangeAspect="1" noChangeArrowheads="1"/>
            </p:cNvSpPr>
            <p:nvPr/>
          </p:nvSpPr>
          <p:spPr bwMode="auto">
            <a:xfrm>
              <a:off x="1736" y="1860"/>
              <a:ext cx="1153" cy="499"/>
            </a:xfrm>
            <a:prstGeom prst="rect">
              <a:avLst/>
            </a:prstGeom>
            <a:solidFill>
              <a:srgbClr val="8EC400">
                <a:lumMod val="20000"/>
                <a:lumOff val="80000"/>
              </a:srgbClr>
            </a:solidFill>
            <a:ln w="9525">
              <a:solidFill>
                <a:srgbClr val="000000"/>
              </a:solidFill>
              <a:miter lim="800000"/>
              <a:headEnd/>
              <a:tailEnd/>
            </a:ln>
          </p:spPr>
          <p:txBody>
            <a:bodyPr wrap="none" anchor="ctr"/>
            <a:lstStyle>
              <a:lvl1pPr eaLnBrk="0" hangingPunct="0">
                <a:defRPr sz="2400" i="1">
                  <a:solidFill>
                    <a:schemeClr val="tx1"/>
                  </a:solidFill>
                  <a:latin typeface="Futura Bk" pitchFamily="34" charset="0"/>
                </a:defRPr>
              </a:lvl1pPr>
              <a:lvl2pPr marL="742950" indent="-285750" eaLnBrk="0" hangingPunct="0">
                <a:defRPr sz="2400" i="1">
                  <a:solidFill>
                    <a:schemeClr val="tx1"/>
                  </a:solidFill>
                  <a:latin typeface="Futura Bk" pitchFamily="34" charset="0"/>
                </a:defRPr>
              </a:lvl2pPr>
              <a:lvl3pPr marL="1143000" indent="-228600" eaLnBrk="0" hangingPunct="0">
                <a:defRPr sz="2400" i="1">
                  <a:solidFill>
                    <a:schemeClr val="tx1"/>
                  </a:solidFill>
                  <a:latin typeface="Futura Bk" pitchFamily="34" charset="0"/>
                </a:defRPr>
              </a:lvl3pPr>
              <a:lvl4pPr marL="1600200" indent="-228600" eaLnBrk="0" hangingPunct="0">
                <a:defRPr sz="2400" i="1">
                  <a:solidFill>
                    <a:schemeClr val="tx1"/>
                  </a:solidFill>
                  <a:latin typeface="Futura Bk" pitchFamily="34" charset="0"/>
                </a:defRPr>
              </a:lvl4pPr>
              <a:lvl5pPr marL="2057400" indent="-228600" eaLnBrk="0" hangingPunct="0">
                <a:defRPr sz="2400" i="1">
                  <a:solidFill>
                    <a:schemeClr val="tx1"/>
                  </a:solidFill>
                  <a:latin typeface="Futura Bk" pitchFamily="34" charset="0"/>
                </a:defRPr>
              </a:lvl5pPr>
              <a:lvl6pPr marL="2514600" indent="-228600" algn="ctr" rtl="0" eaLnBrk="0" fontAlgn="base" hangingPunct="0">
                <a:spcBef>
                  <a:spcPct val="50000"/>
                </a:spcBef>
                <a:spcAft>
                  <a:spcPct val="0"/>
                </a:spcAft>
                <a:defRPr sz="2400" i="1">
                  <a:solidFill>
                    <a:schemeClr val="tx1"/>
                  </a:solidFill>
                  <a:latin typeface="Futura Bk" pitchFamily="34" charset="0"/>
                </a:defRPr>
              </a:lvl6pPr>
              <a:lvl7pPr marL="2971800" indent="-228600" algn="ctr" rtl="0" eaLnBrk="0" fontAlgn="base" hangingPunct="0">
                <a:spcBef>
                  <a:spcPct val="50000"/>
                </a:spcBef>
                <a:spcAft>
                  <a:spcPct val="0"/>
                </a:spcAft>
                <a:defRPr sz="2400" i="1">
                  <a:solidFill>
                    <a:schemeClr val="tx1"/>
                  </a:solidFill>
                  <a:latin typeface="Futura Bk" pitchFamily="34" charset="0"/>
                </a:defRPr>
              </a:lvl7pPr>
              <a:lvl8pPr marL="3429000" indent="-228600" algn="ctr" rtl="0" eaLnBrk="0" fontAlgn="base" hangingPunct="0">
                <a:spcBef>
                  <a:spcPct val="50000"/>
                </a:spcBef>
                <a:spcAft>
                  <a:spcPct val="0"/>
                </a:spcAft>
                <a:defRPr sz="2400" i="1">
                  <a:solidFill>
                    <a:schemeClr val="tx1"/>
                  </a:solidFill>
                  <a:latin typeface="Futura Bk" pitchFamily="34" charset="0"/>
                </a:defRPr>
              </a:lvl8pPr>
              <a:lvl9pPr marL="3886200" indent="-228600" algn="ctr" rtl="0" eaLnBrk="0" fontAlgn="base" hangingPunct="0">
                <a:spcBef>
                  <a:spcPct val="50000"/>
                </a:spcBef>
                <a:spcAft>
                  <a:spcPct val="0"/>
                </a:spcAft>
                <a:defRPr sz="2400" i="1">
                  <a:solidFill>
                    <a:schemeClr val="tx1"/>
                  </a:solidFill>
                  <a:latin typeface="Futura Bk" pitchFamily="34" charset="0"/>
                </a:defRPr>
              </a:lvl9pPr>
            </a:lstStyle>
            <a:p>
              <a:pPr algn="ctr" defTabSz="1219139" eaLnBrk="1" fontAlgn="base" hangingPunct="1">
                <a:spcBef>
                  <a:spcPct val="0"/>
                </a:spcBef>
                <a:spcAft>
                  <a:spcPct val="0"/>
                </a:spcAft>
                <a:defRPr/>
              </a:pPr>
              <a:r>
                <a:rPr lang="ar-SA" altLang="ar-SA" sz="3733" b="1" i="0" kern="0" dirty="0">
                  <a:solidFill>
                    <a:srgbClr val="28324A"/>
                  </a:solidFill>
                  <a:latin typeface="Sakkal Majalla" panose="02000000000000000000" pitchFamily="2" charset="-78"/>
                  <a:cs typeface="Sakkal Majalla" panose="02000000000000000000" pitchFamily="2" charset="-78"/>
                  <a:sym typeface="Arial"/>
                </a:rPr>
                <a:t>مكاتب التعليم</a:t>
              </a:r>
              <a:endParaRPr lang="en-US" altLang="ar-SA" sz="3733" b="1" i="0" kern="0" dirty="0">
                <a:solidFill>
                  <a:srgbClr val="28324A"/>
                </a:solidFill>
                <a:latin typeface="Sakkal Majalla" panose="02000000000000000000" pitchFamily="2" charset="-78"/>
                <a:cs typeface="Sakkal Majalla" panose="02000000000000000000" pitchFamily="2" charset="-78"/>
                <a:sym typeface="Arial"/>
              </a:endParaRPr>
            </a:p>
          </p:txBody>
        </p:sp>
        <p:sp>
          <p:nvSpPr>
            <p:cNvPr id="9" name="Rectangle 8">
              <a:extLst>
                <a:ext uri="{FF2B5EF4-FFF2-40B4-BE49-F238E27FC236}">
                  <a16:creationId xmlns:a16="http://schemas.microsoft.com/office/drawing/2014/main" id="{A3D8DF03-ABF7-9640-B286-D17E1A8EDA09}"/>
                </a:ext>
              </a:extLst>
            </p:cNvPr>
            <p:cNvSpPr>
              <a:spLocks noChangeAspect="1" noChangeArrowheads="1"/>
            </p:cNvSpPr>
            <p:nvPr/>
          </p:nvSpPr>
          <p:spPr bwMode="auto">
            <a:xfrm>
              <a:off x="2940" y="1860"/>
              <a:ext cx="1043" cy="499"/>
            </a:xfrm>
            <a:prstGeom prst="rect">
              <a:avLst/>
            </a:prstGeom>
            <a:solidFill>
              <a:srgbClr val="8EC400">
                <a:lumMod val="20000"/>
                <a:lumOff val="80000"/>
              </a:srgbClr>
            </a:solidFill>
            <a:ln w="9525">
              <a:solidFill>
                <a:srgbClr val="000000"/>
              </a:solidFill>
              <a:miter lim="800000"/>
              <a:headEnd/>
              <a:tailEnd/>
            </a:ln>
          </p:spPr>
          <p:txBody>
            <a:bodyPr wrap="none" anchor="ctr"/>
            <a:lstStyle>
              <a:lvl1pPr eaLnBrk="0" hangingPunct="0">
                <a:defRPr sz="2400" i="1">
                  <a:solidFill>
                    <a:schemeClr val="tx1"/>
                  </a:solidFill>
                  <a:latin typeface="Futura Bk" pitchFamily="34" charset="0"/>
                </a:defRPr>
              </a:lvl1pPr>
              <a:lvl2pPr marL="742950" indent="-285750" eaLnBrk="0" hangingPunct="0">
                <a:defRPr sz="2400" i="1">
                  <a:solidFill>
                    <a:schemeClr val="tx1"/>
                  </a:solidFill>
                  <a:latin typeface="Futura Bk" pitchFamily="34" charset="0"/>
                </a:defRPr>
              </a:lvl2pPr>
              <a:lvl3pPr marL="1143000" indent="-228600" eaLnBrk="0" hangingPunct="0">
                <a:defRPr sz="2400" i="1">
                  <a:solidFill>
                    <a:schemeClr val="tx1"/>
                  </a:solidFill>
                  <a:latin typeface="Futura Bk" pitchFamily="34" charset="0"/>
                </a:defRPr>
              </a:lvl3pPr>
              <a:lvl4pPr marL="1600200" indent="-228600" eaLnBrk="0" hangingPunct="0">
                <a:defRPr sz="2400" i="1">
                  <a:solidFill>
                    <a:schemeClr val="tx1"/>
                  </a:solidFill>
                  <a:latin typeface="Futura Bk" pitchFamily="34" charset="0"/>
                </a:defRPr>
              </a:lvl4pPr>
              <a:lvl5pPr marL="2057400" indent="-228600" eaLnBrk="0" hangingPunct="0">
                <a:defRPr sz="2400" i="1">
                  <a:solidFill>
                    <a:schemeClr val="tx1"/>
                  </a:solidFill>
                  <a:latin typeface="Futura Bk" pitchFamily="34" charset="0"/>
                </a:defRPr>
              </a:lvl5pPr>
              <a:lvl6pPr marL="2514600" indent="-228600" algn="ctr" rtl="0" eaLnBrk="0" fontAlgn="base" hangingPunct="0">
                <a:spcBef>
                  <a:spcPct val="50000"/>
                </a:spcBef>
                <a:spcAft>
                  <a:spcPct val="0"/>
                </a:spcAft>
                <a:defRPr sz="2400" i="1">
                  <a:solidFill>
                    <a:schemeClr val="tx1"/>
                  </a:solidFill>
                  <a:latin typeface="Futura Bk" pitchFamily="34" charset="0"/>
                </a:defRPr>
              </a:lvl6pPr>
              <a:lvl7pPr marL="2971800" indent="-228600" algn="ctr" rtl="0" eaLnBrk="0" fontAlgn="base" hangingPunct="0">
                <a:spcBef>
                  <a:spcPct val="50000"/>
                </a:spcBef>
                <a:spcAft>
                  <a:spcPct val="0"/>
                </a:spcAft>
                <a:defRPr sz="2400" i="1">
                  <a:solidFill>
                    <a:schemeClr val="tx1"/>
                  </a:solidFill>
                  <a:latin typeface="Futura Bk" pitchFamily="34" charset="0"/>
                </a:defRPr>
              </a:lvl7pPr>
              <a:lvl8pPr marL="3429000" indent="-228600" algn="ctr" rtl="0" eaLnBrk="0" fontAlgn="base" hangingPunct="0">
                <a:spcBef>
                  <a:spcPct val="50000"/>
                </a:spcBef>
                <a:spcAft>
                  <a:spcPct val="0"/>
                </a:spcAft>
                <a:defRPr sz="2400" i="1">
                  <a:solidFill>
                    <a:schemeClr val="tx1"/>
                  </a:solidFill>
                  <a:latin typeface="Futura Bk" pitchFamily="34" charset="0"/>
                </a:defRPr>
              </a:lvl8pPr>
              <a:lvl9pPr marL="3886200" indent="-228600" algn="ctr" rtl="0" eaLnBrk="0" fontAlgn="base" hangingPunct="0">
                <a:spcBef>
                  <a:spcPct val="50000"/>
                </a:spcBef>
                <a:spcAft>
                  <a:spcPct val="0"/>
                </a:spcAft>
                <a:defRPr sz="2400" i="1">
                  <a:solidFill>
                    <a:schemeClr val="tx1"/>
                  </a:solidFill>
                  <a:latin typeface="Futura Bk" pitchFamily="34" charset="0"/>
                </a:defRPr>
              </a:lvl9pPr>
            </a:lstStyle>
            <a:p>
              <a:pPr algn="ctr" defTabSz="1219139" eaLnBrk="1" fontAlgn="base" hangingPunct="1">
                <a:spcBef>
                  <a:spcPct val="0"/>
                </a:spcBef>
                <a:spcAft>
                  <a:spcPct val="0"/>
                </a:spcAft>
                <a:defRPr/>
              </a:pPr>
              <a:r>
                <a:rPr lang="ar-SA" altLang="ar-SA" sz="3733" b="1" i="0" kern="0" dirty="0">
                  <a:solidFill>
                    <a:srgbClr val="28324A"/>
                  </a:solidFill>
                  <a:latin typeface="Sakkal Majalla" panose="02000000000000000000" pitchFamily="2" charset="-78"/>
                  <a:cs typeface="Sakkal Majalla" panose="02000000000000000000" pitchFamily="2" charset="-78"/>
                  <a:sym typeface="Arial"/>
                </a:rPr>
                <a:t>إدارة التعليم</a:t>
              </a:r>
              <a:endParaRPr lang="en-US" altLang="ar-SA" sz="3733" b="1" i="0" kern="0" dirty="0">
                <a:solidFill>
                  <a:srgbClr val="28324A"/>
                </a:solidFill>
                <a:latin typeface="Sakkal Majalla" panose="02000000000000000000" pitchFamily="2" charset="-78"/>
                <a:cs typeface="Sakkal Majalla" panose="02000000000000000000" pitchFamily="2" charset="-78"/>
                <a:sym typeface="Arial"/>
              </a:endParaRPr>
            </a:p>
          </p:txBody>
        </p:sp>
        <p:sp>
          <p:nvSpPr>
            <p:cNvPr id="10" name="Rectangle 9">
              <a:extLst>
                <a:ext uri="{FF2B5EF4-FFF2-40B4-BE49-F238E27FC236}">
                  <a16:creationId xmlns:a16="http://schemas.microsoft.com/office/drawing/2014/main" id="{BD581CE3-9B49-50B6-E595-746F6037A9FA}"/>
                </a:ext>
              </a:extLst>
            </p:cNvPr>
            <p:cNvSpPr>
              <a:spLocks noChangeAspect="1" noChangeArrowheads="1"/>
            </p:cNvSpPr>
            <p:nvPr/>
          </p:nvSpPr>
          <p:spPr bwMode="auto">
            <a:xfrm>
              <a:off x="4032" y="1860"/>
              <a:ext cx="1043" cy="499"/>
            </a:xfrm>
            <a:prstGeom prst="rect">
              <a:avLst/>
            </a:prstGeom>
            <a:solidFill>
              <a:srgbClr val="8EC400">
                <a:lumMod val="20000"/>
                <a:lumOff val="80000"/>
              </a:srgbClr>
            </a:solidFill>
            <a:ln w="9525">
              <a:solidFill>
                <a:srgbClr val="000000"/>
              </a:solidFill>
              <a:miter lim="800000"/>
              <a:headEnd/>
              <a:tailEnd/>
            </a:ln>
          </p:spPr>
          <p:txBody>
            <a:bodyPr wrap="none" anchor="ctr"/>
            <a:lstStyle>
              <a:lvl1pPr eaLnBrk="0" hangingPunct="0">
                <a:defRPr sz="2400" i="1">
                  <a:solidFill>
                    <a:schemeClr val="tx1"/>
                  </a:solidFill>
                  <a:latin typeface="Futura Bk" pitchFamily="34" charset="0"/>
                </a:defRPr>
              </a:lvl1pPr>
              <a:lvl2pPr marL="742950" indent="-285750" eaLnBrk="0" hangingPunct="0">
                <a:defRPr sz="2400" i="1">
                  <a:solidFill>
                    <a:schemeClr val="tx1"/>
                  </a:solidFill>
                  <a:latin typeface="Futura Bk" pitchFamily="34" charset="0"/>
                </a:defRPr>
              </a:lvl2pPr>
              <a:lvl3pPr marL="1143000" indent="-228600" eaLnBrk="0" hangingPunct="0">
                <a:defRPr sz="2400" i="1">
                  <a:solidFill>
                    <a:schemeClr val="tx1"/>
                  </a:solidFill>
                  <a:latin typeface="Futura Bk" pitchFamily="34" charset="0"/>
                </a:defRPr>
              </a:lvl3pPr>
              <a:lvl4pPr marL="1600200" indent="-228600" eaLnBrk="0" hangingPunct="0">
                <a:defRPr sz="2400" i="1">
                  <a:solidFill>
                    <a:schemeClr val="tx1"/>
                  </a:solidFill>
                  <a:latin typeface="Futura Bk" pitchFamily="34" charset="0"/>
                </a:defRPr>
              </a:lvl4pPr>
              <a:lvl5pPr marL="2057400" indent="-228600" eaLnBrk="0" hangingPunct="0">
                <a:defRPr sz="2400" i="1">
                  <a:solidFill>
                    <a:schemeClr val="tx1"/>
                  </a:solidFill>
                  <a:latin typeface="Futura Bk" pitchFamily="34" charset="0"/>
                </a:defRPr>
              </a:lvl5pPr>
              <a:lvl6pPr marL="2514600" indent="-228600" algn="ctr" rtl="0" eaLnBrk="0" fontAlgn="base" hangingPunct="0">
                <a:spcBef>
                  <a:spcPct val="50000"/>
                </a:spcBef>
                <a:spcAft>
                  <a:spcPct val="0"/>
                </a:spcAft>
                <a:defRPr sz="2400" i="1">
                  <a:solidFill>
                    <a:schemeClr val="tx1"/>
                  </a:solidFill>
                  <a:latin typeface="Futura Bk" pitchFamily="34" charset="0"/>
                </a:defRPr>
              </a:lvl6pPr>
              <a:lvl7pPr marL="2971800" indent="-228600" algn="ctr" rtl="0" eaLnBrk="0" fontAlgn="base" hangingPunct="0">
                <a:spcBef>
                  <a:spcPct val="50000"/>
                </a:spcBef>
                <a:spcAft>
                  <a:spcPct val="0"/>
                </a:spcAft>
                <a:defRPr sz="2400" i="1">
                  <a:solidFill>
                    <a:schemeClr val="tx1"/>
                  </a:solidFill>
                  <a:latin typeface="Futura Bk" pitchFamily="34" charset="0"/>
                </a:defRPr>
              </a:lvl7pPr>
              <a:lvl8pPr marL="3429000" indent="-228600" algn="ctr" rtl="0" eaLnBrk="0" fontAlgn="base" hangingPunct="0">
                <a:spcBef>
                  <a:spcPct val="50000"/>
                </a:spcBef>
                <a:spcAft>
                  <a:spcPct val="0"/>
                </a:spcAft>
                <a:defRPr sz="2400" i="1">
                  <a:solidFill>
                    <a:schemeClr val="tx1"/>
                  </a:solidFill>
                  <a:latin typeface="Futura Bk" pitchFamily="34" charset="0"/>
                </a:defRPr>
              </a:lvl8pPr>
              <a:lvl9pPr marL="3886200" indent="-228600" algn="ctr" rtl="0" eaLnBrk="0" fontAlgn="base" hangingPunct="0">
                <a:spcBef>
                  <a:spcPct val="50000"/>
                </a:spcBef>
                <a:spcAft>
                  <a:spcPct val="0"/>
                </a:spcAft>
                <a:defRPr sz="2400" i="1">
                  <a:solidFill>
                    <a:schemeClr val="tx1"/>
                  </a:solidFill>
                  <a:latin typeface="Futura Bk" pitchFamily="34" charset="0"/>
                </a:defRPr>
              </a:lvl9pPr>
            </a:lstStyle>
            <a:p>
              <a:pPr algn="ctr" defTabSz="1219139" eaLnBrk="1" fontAlgn="base" hangingPunct="1">
                <a:spcBef>
                  <a:spcPct val="0"/>
                </a:spcBef>
                <a:spcAft>
                  <a:spcPct val="0"/>
                </a:spcAft>
                <a:defRPr/>
              </a:pPr>
              <a:r>
                <a:rPr lang="ar-SA" altLang="ar-SA" sz="3733" b="1" i="0" kern="0" dirty="0">
                  <a:solidFill>
                    <a:srgbClr val="28324A"/>
                  </a:solidFill>
                  <a:latin typeface="Sakkal Majalla" panose="02000000000000000000" pitchFamily="2" charset="-78"/>
                  <a:cs typeface="Sakkal Majalla" panose="02000000000000000000" pitchFamily="2" charset="-78"/>
                  <a:sym typeface="Arial"/>
                </a:rPr>
                <a:t>الوزارة</a:t>
              </a:r>
              <a:endParaRPr lang="en-US" altLang="ar-SA" sz="3733" b="1" i="0" kern="0" dirty="0">
                <a:solidFill>
                  <a:srgbClr val="28324A"/>
                </a:solidFill>
                <a:latin typeface="Sakkal Majalla" panose="02000000000000000000" pitchFamily="2" charset="-78"/>
                <a:cs typeface="Sakkal Majalla" panose="02000000000000000000" pitchFamily="2" charset="-78"/>
                <a:sym typeface="Arial"/>
              </a:endParaRPr>
            </a:p>
          </p:txBody>
        </p:sp>
        <p:sp>
          <p:nvSpPr>
            <p:cNvPr id="11" name="Line 10">
              <a:extLst>
                <a:ext uri="{FF2B5EF4-FFF2-40B4-BE49-F238E27FC236}">
                  <a16:creationId xmlns:a16="http://schemas.microsoft.com/office/drawing/2014/main" id="{AFFDA626-26CA-886B-905C-980D394D920C}"/>
                </a:ext>
              </a:extLst>
            </p:cNvPr>
            <p:cNvSpPr>
              <a:spLocks noChangeAspect="1" noChangeShapeType="1"/>
            </p:cNvSpPr>
            <p:nvPr/>
          </p:nvSpPr>
          <p:spPr bwMode="auto">
            <a:xfrm>
              <a:off x="489" y="1741"/>
              <a:ext cx="4762" cy="0"/>
            </a:xfrm>
            <a:prstGeom prst="line">
              <a:avLst/>
            </a:prstGeom>
            <a:noFill/>
            <a:ln w="76200">
              <a:solidFill>
                <a:srgbClr val="000000"/>
              </a:solidFill>
              <a:round/>
              <a:headEnd type="triangle" w="med" len="med"/>
              <a:tailEnd type="triangle" w="med" len="med"/>
            </a:ln>
            <a:effectLst/>
          </p:spPr>
          <p:txBody>
            <a:bodyPr/>
            <a:lstStyle/>
            <a:p>
              <a:pPr algn="ctr" defTabSz="1219139" fontAlgn="base">
                <a:spcBef>
                  <a:spcPct val="50000"/>
                </a:spcBef>
                <a:spcAft>
                  <a:spcPct val="0"/>
                </a:spcAft>
                <a:defRPr/>
              </a:pPr>
              <a:endParaRPr lang="ar-SA" sz="4267" i="1" kern="0">
                <a:solidFill>
                  <a:srgbClr val="0070C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sym typeface="Arial"/>
              </a:endParaRPr>
            </a:p>
          </p:txBody>
        </p:sp>
        <p:sp>
          <p:nvSpPr>
            <p:cNvPr id="12" name="Rectangle 11">
              <a:extLst>
                <a:ext uri="{FF2B5EF4-FFF2-40B4-BE49-F238E27FC236}">
                  <a16:creationId xmlns:a16="http://schemas.microsoft.com/office/drawing/2014/main" id="{049A27F8-289D-D36D-E2BA-CFAF44288AD0}"/>
                </a:ext>
              </a:extLst>
            </p:cNvPr>
            <p:cNvSpPr>
              <a:spLocks noChangeAspect="1" noChangeArrowheads="1"/>
            </p:cNvSpPr>
            <p:nvPr/>
          </p:nvSpPr>
          <p:spPr bwMode="auto">
            <a:xfrm rot="16200000">
              <a:off x="-326" y="1944"/>
              <a:ext cx="1272" cy="351"/>
            </a:xfrm>
            <a:prstGeom prst="rect">
              <a:avLst/>
            </a:prstGeom>
            <a:solidFill>
              <a:srgbClr val="61FFE1"/>
            </a:solidFill>
            <a:ln w="9525">
              <a:solidFill>
                <a:srgbClr val="000000"/>
              </a:solidFill>
              <a:miter lim="800000"/>
              <a:headEnd/>
              <a:tailEnd/>
            </a:ln>
          </p:spPr>
          <p:txBody>
            <a:bodyPr wrap="none" anchor="ctr"/>
            <a:lstStyle>
              <a:lvl1pPr eaLnBrk="0" hangingPunct="0">
                <a:defRPr sz="2400" i="1">
                  <a:solidFill>
                    <a:schemeClr val="tx1"/>
                  </a:solidFill>
                  <a:latin typeface="Futura Bk" pitchFamily="34" charset="0"/>
                </a:defRPr>
              </a:lvl1pPr>
              <a:lvl2pPr marL="742950" indent="-285750" eaLnBrk="0" hangingPunct="0">
                <a:defRPr sz="2400" i="1">
                  <a:solidFill>
                    <a:schemeClr val="tx1"/>
                  </a:solidFill>
                  <a:latin typeface="Futura Bk" pitchFamily="34" charset="0"/>
                </a:defRPr>
              </a:lvl2pPr>
              <a:lvl3pPr marL="1143000" indent="-228600" eaLnBrk="0" hangingPunct="0">
                <a:defRPr sz="2400" i="1">
                  <a:solidFill>
                    <a:schemeClr val="tx1"/>
                  </a:solidFill>
                  <a:latin typeface="Futura Bk" pitchFamily="34" charset="0"/>
                </a:defRPr>
              </a:lvl3pPr>
              <a:lvl4pPr marL="1600200" indent="-228600" eaLnBrk="0" hangingPunct="0">
                <a:defRPr sz="2400" i="1">
                  <a:solidFill>
                    <a:schemeClr val="tx1"/>
                  </a:solidFill>
                  <a:latin typeface="Futura Bk" pitchFamily="34" charset="0"/>
                </a:defRPr>
              </a:lvl4pPr>
              <a:lvl5pPr marL="2057400" indent="-228600" eaLnBrk="0" hangingPunct="0">
                <a:defRPr sz="2400" i="1">
                  <a:solidFill>
                    <a:schemeClr val="tx1"/>
                  </a:solidFill>
                  <a:latin typeface="Futura Bk" pitchFamily="34" charset="0"/>
                </a:defRPr>
              </a:lvl5pPr>
              <a:lvl6pPr marL="2514600" indent="-228600" algn="ctr" rtl="0" eaLnBrk="0" fontAlgn="base" hangingPunct="0">
                <a:spcBef>
                  <a:spcPct val="50000"/>
                </a:spcBef>
                <a:spcAft>
                  <a:spcPct val="0"/>
                </a:spcAft>
                <a:defRPr sz="2400" i="1">
                  <a:solidFill>
                    <a:schemeClr val="tx1"/>
                  </a:solidFill>
                  <a:latin typeface="Futura Bk" pitchFamily="34" charset="0"/>
                </a:defRPr>
              </a:lvl6pPr>
              <a:lvl7pPr marL="2971800" indent="-228600" algn="ctr" rtl="0" eaLnBrk="0" fontAlgn="base" hangingPunct="0">
                <a:spcBef>
                  <a:spcPct val="50000"/>
                </a:spcBef>
                <a:spcAft>
                  <a:spcPct val="0"/>
                </a:spcAft>
                <a:defRPr sz="2400" i="1">
                  <a:solidFill>
                    <a:schemeClr val="tx1"/>
                  </a:solidFill>
                  <a:latin typeface="Futura Bk" pitchFamily="34" charset="0"/>
                </a:defRPr>
              </a:lvl7pPr>
              <a:lvl8pPr marL="3429000" indent="-228600" algn="ctr" rtl="0" eaLnBrk="0" fontAlgn="base" hangingPunct="0">
                <a:spcBef>
                  <a:spcPct val="50000"/>
                </a:spcBef>
                <a:spcAft>
                  <a:spcPct val="0"/>
                </a:spcAft>
                <a:defRPr sz="2400" i="1">
                  <a:solidFill>
                    <a:schemeClr val="tx1"/>
                  </a:solidFill>
                  <a:latin typeface="Futura Bk" pitchFamily="34" charset="0"/>
                </a:defRPr>
              </a:lvl8pPr>
              <a:lvl9pPr marL="3886200" indent="-228600" algn="ctr" rtl="0" eaLnBrk="0" fontAlgn="base" hangingPunct="0">
                <a:spcBef>
                  <a:spcPct val="50000"/>
                </a:spcBef>
                <a:spcAft>
                  <a:spcPct val="0"/>
                </a:spcAft>
                <a:defRPr sz="2400" i="1">
                  <a:solidFill>
                    <a:schemeClr val="tx1"/>
                  </a:solidFill>
                  <a:latin typeface="Futura Bk" pitchFamily="34" charset="0"/>
                </a:defRPr>
              </a:lvl9pPr>
            </a:lstStyle>
            <a:p>
              <a:pPr algn="ctr" defTabSz="1219139" eaLnBrk="1" fontAlgn="base" hangingPunct="1">
                <a:spcBef>
                  <a:spcPct val="0"/>
                </a:spcBef>
                <a:spcAft>
                  <a:spcPct val="0"/>
                </a:spcAft>
                <a:defRPr/>
              </a:pPr>
              <a:r>
                <a:rPr lang="ar-SA" altLang="ar-SA" sz="4267" b="1" i="0" kern="0" dirty="0">
                  <a:solidFill>
                    <a:srgbClr val="28324A"/>
                  </a:solidFill>
                  <a:latin typeface="Sakkal Majalla" panose="02000000000000000000" pitchFamily="2" charset="-78"/>
                  <a:cs typeface="Sakkal Majalla" panose="02000000000000000000" pitchFamily="2" charset="-78"/>
                  <a:sym typeface="Arial"/>
                </a:rPr>
                <a:t>التقييم خارجي</a:t>
              </a:r>
              <a:endParaRPr lang="en-US" altLang="ar-SA" sz="4267" b="1" i="0" kern="0" dirty="0">
                <a:solidFill>
                  <a:srgbClr val="28324A"/>
                </a:solidFill>
                <a:latin typeface="Sakkal Majalla" panose="02000000000000000000" pitchFamily="2" charset="-78"/>
                <a:cs typeface="Sakkal Majalla" panose="02000000000000000000" pitchFamily="2" charset="-78"/>
                <a:sym typeface="Arial"/>
              </a:endParaRPr>
            </a:p>
          </p:txBody>
        </p:sp>
        <p:sp>
          <p:nvSpPr>
            <p:cNvPr id="13" name="Rectangle 12">
              <a:extLst>
                <a:ext uri="{FF2B5EF4-FFF2-40B4-BE49-F238E27FC236}">
                  <a16:creationId xmlns:a16="http://schemas.microsoft.com/office/drawing/2014/main" id="{AB0511DA-FDEC-6610-60C7-3695BE52FA0E}"/>
                </a:ext>
              </a:extLst>
            </p:cNvPr>
            <p:cNvSpPr>
              <a:spLocks noChangeAspect="1" noChangeArrowheads="1"/>
            </p:cNvSpPr>
            <p:nvPr/>
          </p:nvSpPr>
          <p:spPr bwMode="auto">
            <a:xfrm rot="16200000">
              <a:off x="4784" y="1938"/>
              <a:ext cx="1284" cy="351"/>
            </a:xfrm>
            <a:prstGeom prst="rect">
              <a:avLst/>
            </a:prstGeom>
            <a:solidFill>
              <a:srgbClr val="61FFE1"/>
            </a:solidFill>
            <a:ln w="9525">
              <a:solidFill>
                <a:srgbClr val="000000"/>
              </a:solidFill>
              <a:miter lim="800000"/>
              <a:headEnd/>
              <a:tailEnd/>
            </a:ln>
          </p:spPr>
          <p:txBody>
            <a:bodyPr wrap="none" anchor="ctr"/>
            <a:lstStyle>
              <a:lvl1pPr eaLnBrk="0" hangingPunct="0">
                <a:defRPr sz="2400" i="1">
                  <a:solidFill>
                    <a:schemeClr val="tx1"/>
                  </a:solidFill>
                  <a:latin typeface="Futura Bk" pitchFamily="34" charset="0"/>
                </a:defRPr>
              </a:lvl1pPr>
              <a:lvl2pPr marL="742950" indent="-285750" eaLnBrk="0" hangingPunct="0">
                <a:defRPr sz="2400" i="1">
                  <a:solidFill>
                    <a:schemeClr val="tx1"/>
                  </a:solidFill>
                  <a:latin typeface="Futura Bk" pitchFamily="34" charset="0"/>
                </a:defRPr>
              </a:lvl2pPr>
              <a:lvl3pPr marL="1143000" indent="-228600" eaLnBrk="0" hangingPunct="0">
                <a:defRPr sz="2400" i="1">
                  <a:solidFill>
                    <a:schemeClr val="tx1"/>
                  </a:solidFill>
                  <a:latin typeface="Futura Bk" pitchFamily="34" charset="0"/>
                </a:defRPr>
              </a:lvl3pPr>
              <a:lvl4pPr marL="1600200" indent="-228600" eaLnBrk="0" hangingPunct="0">
                <a:defRPr sz="2400" i="1">
                  <a:solidFill>
                    <a:schemeClr val="tx1"/>
                  </a:solidFill>
                  <a:latin typeface="Futura Bk" pitchFamily="34" charset="0"/>
                </a:defRPr>
              </a:lvl4pPr>
              <a:lvl5pPr marL="2057400" indent="-228600" eaLnBrk="0" hangingPunct="0">
                <a:defRPr sz="2400" i="1">
                  <a:solidFill>
                    <a:schemeClr val="tx1"/>
                  </a:solidFill>
                  <a:latin typeface="Futura Bk" pitchFamily="34" charset="0"/>
                </a:defRPr>
              </a:lvl5pPr>
              <a:lvl6pPr marL="2514600" indent="-228600" algn="ctr" rtl="0" eaLnBrk="0" fontAlgn="base" hangingPunct="0">
                <a:spcBef>
                  <a:spcPct val="50000"/>
                </a:spcBef>
                <a:spcAft>
                  <a:spcPct val="0"/>
                </a:spcAft>
                <a:defRPr sz="2400" i="1">
                  <a:solidFill>
                    <a:schemeClr val="tx1"/>
                  </a:solidFill>
                  <a:latin typeface="Futura Bk" pitchFamily="34" charset="0"/>
                </a:defRPr>
              </a:lvl6pPr>
              <a:lvl7pPr marL="2971800" indent="-228600" algn="ctr" rtl="0" eaLnBrk="0" fontAlgn="base" hangingPunct="0">
                <a:spcBef>
                  <a:spcPct val="50000"/>
                </a:spcBef>
                <a:spcAft>
                  <a:spcPct val="0"/>
                </a:spcAft>
                <a:defRPr sz="2400" i="1">
                  <a:solidFill>
                    <a:schemeClr val="tx1"/>
                  </a:solidFill>
                  <a:latin typeface="Futura Bk" pitchFamily="34" charset="0"/>
                </a:defRPr>
              </a:lvl7pPr>
              <a:lvl8pPr marL="3429000" indent="-228600" algn="ctr" rtl="0" eaLnBrk="0" fontAlgn="base" hangingPunct="0">
                <a:spcBef>
                  <a:spcPct val="50000"/>
                </a:spcBef>
                <a:spcAft>
                  <a:spcPct val="0"/>
                </a:spcAft>
                <a:defRPr sz="2400" i="1">
                  <a:solidFill>
                    <a:schemeClr val="tx1"/>
                  </a:solidFill>
                  <a:latin typeface="Futura Bk" pitchFamily="34" charset="0"/>
                </a:defRPr>
              </a:lvl8pPr>
              <a:lvl9pPr marL="3886200" indent="-228600" algn="ctr" rtl="0" eaLnBrk="0" fontAlgn="base" hangingPunct="0">
                <a:spcBef>
                  <a:spcPct val="50000"/>
                </a:spcBef>
                <a:spcAft>
                  <a:spcPct val="0"/>
                </a:spcAft>
                <a:defRPr sz="2400" i="1">
                  <a:solidFill>
                    <a:schemeClr val="tx1"/>
                  </a:solidFill>
                  <a:latin typeface="Futura Bk" pitchFamily="34" charset="0"/>
                </a:defRPr>
              </a:lvl9pPr>
            </a:lstStyle>
            <a:p>
              <a:pPr algn="ctr" defTabSz="1219139" eaLnBrk="1" fontAlgn="base" hangingPunct="1">
                <a:spcBef>
                  <a:spcPct val="0"/>
                </a:spcBef>
                <a:spcAft>
                  <a:spcPct val="0"/>
                </a:spcAft>
                <a:defRPr/>
              </a:pPr>
              <a:r>
                <a:rPr lang="ar-SA" altLang="ar-SA" sz="4800" b="1" i="0" kern="0" dirty="0">
                  <a:solidFill>
                    <a:srgbClr val="28324A"/>
                  </a:solidFill>
                  <a:latin typeface="Sakkal Majalla" panose="02000000000000000000" pitchFamily="2" charset="-78"/>
                  <a:cs typeface="Sakkal Majalla" panose="02000000000000000000" pitchFamily="2" charset="-78"/>
                  <a:sym typeface="Arial"/>
                </a:rPr>
                <a:t>المعايير</a:t>
              </a:r>
              <a:endParaRPr lang="en-US" altLang="ar-SA" sz="4800" b="1" i="0" kern="0" dirty="0">
                <a:solidFill>
                  <a:srgbClr val="28324A"/>
                </a:solidFill>
                <a:latin typeface="Sakkal Majalla" panose="02000000000000000000" pitchFamily="2" charset="-78"/>
                <a:cs typeface="Sakkal Majalla" panose="02000000000000000000" pitchFamily="2" charset="-78"/>
                <a:sym typeface="Arial"/>
              </a:endParaRPr>
            </a:p>
          </p:txBody>
        </p:sp>
      </p:grpSp>
      <p:sp>
        <p:nvSpPr>
          <p:cNvPr id="16" name="Rectangle 9">
            <a:extLst>
              <a:ext uri="{FF2B5EF4-FFF2-40B4-BE49-F238E27FC236}">
                <a16:creationId xmlns:a16="http://schemas.microsoft.com/office/drawing/2014/main" id="{1EE30B54-40C1-A911-5ABE-1BB04ED84572}"/>
              </a:ext>
            </a:extLst>
          </p:cNvPr>
          <p:cNvSpPr>
            <a:spLocks noChangeArrowheads="1"/>
          </p:cNvSpPr>
          <p:nvPr/>
        </p:nvSpPr>
        <p:spPr bwMode="auto">
          <a:xfrm>
            <a:off x="2717034" y="4297594"/>
            <a:ext cx="6624735" cy="1598988"/>
          </a:xfrm>
          <a:prstGeom prst="rect">
            <a:avLst/>
          </a:prstGeom>
          <a:noFill/>
          <a:ln w="9525">
            <a:noFill/>
            <a:miter lim="800000"/>
            <a:headEnd/>
            <a:tailEnd/>
          </a:ln>
        </p:spPr>
        <p:txBody>
          <a:bodyPr/>
          <a:lstStyle/>
          <a:p>
            <a:pPr defTabSz="1219139" fontAlgn="base">
              <a:lnSpc>
                <a:spcPct val="125000"/>
              </a:lnSpc>
              <a:buClr>
                <a:srgbClr val="32AEB8"/>
              </a:buClr>
              <a:buSzPct val="100000"/>
              <a:buFont typeface="Source Sans Pro"/>
              <a:buChar char="◉"/>
            </a:pPr>
            <a:r>
              <a:rPr lang="ar-SA" sz="2267" b="1" kern="0" dirty="0">
                <a:solidFill>
                  <a:srgbClr val="3C78D8">
                    <a:lumMod val="75000"/>
                  </a:srgbClr>
                </a:solidFill>
                <a:latin typeface="Sakkal Majalla" panose="02000000000000000000" pitchFamily="2" charset="-78"/>
                <a:cs typeface="Sakkal Majalla" panose="02000000000000000000" pitchFamily="2" charset="-78"/>
                <a:sym typeface="Arial"/>
              </a:rPr>
              <a:t> هيئة تقويم التعليم – برنامج التقويم الوطني للمدارس </a:t>
            </a:r>
            <a:r>
              <a:rPr lang="en-US" sz="2267" b="1" kern="0" dirty="0">
                <a:solidFill>
                  <a:srgbClr val="3C78D8">
                    <a:lumMod val="75000"/>
                  </a:srgbClr>
                </a:solidFill>
                <a:latin typeface="Sakkal Majalla" panose="02000000000000000000" pitchFamily="2" charset="-78"/>
                <a:cs typeface="Sakkal Majalla" panose="02000000000000000000" pitchFamily="2" charset="-78"/>
                <a:sym typeface="Arial"/>
              </a:rPr>
              <a:t>NAFS</a:t>
            </a:r>
            <a:endParaRPr lang="ar-SA" sz="2267" b="1" kern="0" dirty="0">
              <a:solidFill>
                <a:srgbClr val="3C78D8">
                  <a:lumMod val="75000"/>
                </a:srgbClr>
              </a:solidFill>
              <a:latin typeface="Sakkal Majalla" panose="02000000000000000000" pitchFamily="2" charset="-78"/>
              <a:cs typeface="Sakkal Majalla" panose="02000000000000000000" pitchFamily="2" charset="-78"/>
              <a:sym typeface="Arial"/>
            </a:endParaRPr>
          </a:p>
          <a:p>
            <a:pPr defTabSz="1219139" fontAlgn="base">
              <a:lnSpc>
                <a:spcPct val="125000"/>
              </a:lnSpc>
              <a:buClr>
                <a:srgbClr val="32AEB8"/>
              </a:buClr>
              <a:buSzPct val="100000"/>
              <a:buFont typeface="Source Sans Pro"/>
              <a:buChar char="◉"/>
            </a:pPr>
            <a:r>
              <a:rPr lang="ar-SA" sz="2267" b="1" kern="0" dirty="0">
                <a:solidFill>
                  <a:srgbClr val="3C78D8">
                    <a:lumMod val="75000"/>
                  </a:srgbClr>
                </a:solidFill>
                <a:latin typeface="Sakkal Majalla" panose="02000000000000000000" pitchFamily="2" charset="-78"/>
                <a:cs typeface="Sakkal Majalla" panose="02000000000000000000" pitchFamily="2" charset="-78"/>
                <a:sym typeface="Arial"/>
              </a:rPr>
              <a:t> منظمة التعاون الاقتصادي والتنمية </a:t>
            </a:r>
            <a:r>
              <a:rPr lang="en-US" sz="2267" b="1" kern="0" dirty="0">
                <a:solidFill>
                  <a:srgbClr val="3C78D8">
                    <a:lumMod val="75000"/>
                  </a:srgbClr>
                </a:solidFill>
                <a:latin typeface="Sakkal Majalla" panose="02000000000000000000" pitchFamily="2" charset="-78"/>
                <a:cs typeface="Sakkal Majalla" panose="02000000000000000000" pitchFamily="2" charset="-78"/>
                <a:sym typeface="Arial"/>
              </a:rPr>
              <a:t>OECD</a:t>
            </a:r>
            <a:r>
              <a:rPr lang="ar-SA" sz="2267" b="1" kern="0" dirty="0">
                <a:solidFill>
                  <a:srgbClr val="3C78D8">
                    <a:lumMod val="75000"/>
                  </a:srgbClr>
                </a:solidFill>
                <a:latin typeface="Sakkal Majalla" panose="02000000000000000000" pitchFamily="2" charset="-78"/>
                <a:cs typeface="Sakkal Majalla" panose="02000000000000000000" pitchFamily="2" charset="-78"/>
                <a:sym typeface="Arial"/>
              </a:rPr>
              <a:t> – برنامج </a:t>
            </a:r>
            <a:r>
              <a:rPr lang="en-US" sz="2267" b="1" kern="0" dirty="0">
                <a:solidFill>
                  <a:srgbClr val="3C78D8">
                    <a:lumMod val="75000"/>
                  </a:srgbClr>
                </a:solidFill>
                <a:latin typeface="Sakkal Majalla" panose="02000000000000000000" pitchFamily="2" charset="-78"/>
                <a:cs typeface="Sakkal Majalla" panose="02000000000000000000" pitchFamily="2" charset="-78"/>
                <a:sym typeface="Arial"/>
              </a:rPr>
              <a:t>PISA</a:t>
            </a:r>
            <a:endParaRPr lang="ar-SA" sz="2267" b="1" kern="0" dirty="0">
              <a:solidFill>
                <a:srgbClr val="3C78D8">
                  <a:lumMod val="75000"/>
                </a:srgbClr>
              </a:solidFill>
              <a:latin typeface="Sakkal Majalla" panose="02000000000000000000" pitchFamily="2" charset="-78"/>
              <a:cs typeface="Sakkal Majalla" panose="02000000000000000000" pitchFamily="2" charset="-78"/>
              <a:sym typeface="Arial"/>
            </a:endParaRPr>
          </a:p>
          <a:p>
            <a:pPr defTabSz="1219139" fontAlgn="base">
              <a:lnSpc>
                <a:spcPct val="125000"/>
              </a:lnSpc>
              <a:buClr>
                <a:srgbClr val="32AEB8"/>
              </a:buClr>
              <a:buSzPct val="100000"/>
              <a:buFont typeface="Source Sans Pro"/>
              <a:buChar char="◉"/>
            </a:pPr>
            <a:r>
              <a:rPr lang="ar-SA" sz="2267" b="1" kern="0" dirty="0">
                <a:solidFill>
                  <a:srgbClr val="3C78D8">
                    <a:lumMod val="75000"/>
                  </a:srgbClr>
                </a:solidFill>
                <a:latin typeface="Sakkal Majalla" panose="02000000000000000000" pitchFamily="2" charset="-78"/>
                <a:cs typeface="Sakkal Majalla" panose="02000000000000000000" pitchFamily="2" charset="-78"/>
                <a:sym typeface="Arial"/>
              </a:rPr>
              <a:t>المنظمة الدولية لقياس التحصيل التربوي </a:t>
            </a:r>
            <a:r>
              <a:rPr lang="en-US" sz="2267" b="1" kern="0" dirty="0">
                <a:solidFill>
                  <a:srgbClr val="3C78D8">
                    <a:lumMod val="75000"/>
                  </a:srgbClr>
                </a:solidFill>
                <a:latin typeface="Sakkal Majalla" panose="02000000000000000000" pitchFamily="2" charset="-78"/>
                <a:cs typeface="Sakkal Majalla" panose="02000000000000000000" pitchFamily="2" charset="-78"/>
                <a:sym typeface="Arial"/>
              </a:rPr>
              <a:t>IEA</a:t>
            </a:r>
            <a:r>
              <a:rPr lang="ar-SA" sz="2267" b="1" kern="0" dirty="0">
                <a:solidFill>
                  <a:srgbClr val="3C78D8">
                    <a:lumMod val="75000"/>
                  </a:srgbClr>
                </a:solidFill>
                <a:latin typeface="Sakkal Majalla" panose="02000000000000000000" pitchFamily="2" charset="-78"/>
                <a:cs typeface="Sakkal Majalla" panose="02000000000000000000" pitchFamily="2" charset="-78"/>
                <a:sym typeface="Arial"/>
              </a:rPr>
              <a:t> - دراسات ( </a:t>
            </a:r>
            <a:r>
              <a:rPr lang="en-US" sz="2267" b="1" kern="0" dirty="0">
                <a:solidFill>
                  <a:srgbClr val="3C78D8">
                    <a:lumMod val="75000"/>
                  </a:srgbClr>
                </a:solidFill>
                <a:latin typeface="Sakkal Majalla" panose="02000000000000000000" pitchFamily="2" charset="-78"/>
                <a:cs typeface="Sakkal Majalla" panose="02000000000000000000" pitchFamily="2" charset="-78"/>
                <a:sym typeface="Arial"/>
              </a:rPr>
              <a:t>TIMSS</a:t>
            </a:r>
            <a:r>
              <a:rPr lang="ar-SA" sz="2267" b="1" kern="0" dirty="0">
                <a:solidFill>
                  <a:srgbClr val="3C78D8">
                    <a:lumMod val="75000"/>
                  </a:srgbClr>
                </a:solidFill>
                <a:latin typeface="Sakkal Majalla" panose="02000000000000000000" pitchFamily="2" charset="-78"/>
                <a:cs typeface="Sakkal Majalla" panose="02000000000000000000" pitchFamily="2" charset="-78"/>
                <a:sym typeface="Arial"/>
              </a:rPr>
              <a:t> )</a:t>
            </a:r>
          </a:p>
        </p:txBody>
      </p:sp>
    </p:spTree>
    <p:extLst>
      <p:ext uri="{BB962C8B-B14F-4D97-AF65-F5344CB8AC3E}">
        <p14:creationId xmlns:p14="http://schemas.microsoft.com/office/powerpoint/2010/main" val="17038860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8" presetClass="entr" presetSubtype="12" fill="hold" nodeType="click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animEffect transition="in" filter="strips(downLeft)">
                                      <p:cBhvr>
                                        <p:cTn id="7" dur="500"/>
                                        <p:tgtEl>
                                          <p:spTgt spid="4">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4" presetClass="entr" presetSubtype="16"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box(in)">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47" presetClass="entr" presetSubtype="0" fill="hold" nodeType="clickEffect">
                                  <p:stCondLst>
                                    <p:cond delay="0"/>
                                  </p:stCondLst>
                                  <p:childTnLst>
                                    <p:set>
                                      <p:cBhvr>
                                        <p:cTn id="16" dur="1" fill="hold">
                                          <p:stCondLst>
                                            <p:cond delay="0"/>
                                          </p:stCondLst>
                                        </p:cTn>
                                        <p:tgtEl>
                                          <p:spTgt spid="16">
                                            <p:txEl>
                                              <p:pRg st="0" end="0"/>
                                            </p:txEl>
                                          </p:spTgt>
                                        </p:tgtEl>
                                        <p:attrNameLst>
                                          <p:attrName>style.visibility</p:attrName>
                                        </p:attrNameLst>
                                      </p:cBhvr>
                                      <p:to>
                                        <p:strVal val="visible"/>
                                      </p:to>
                                    </p:set>
                                    <p:animEffect transition="in" filter="fade">
                                      <p:cBhvr>
                                        <p:cTn id="17" dur="1000"/>
                                        <p:tgtEl>
                                          <p:spTgt spid="16">
                                            <p:txEl>
                                              <p:pRg st="0" end="0"/>
                                            </p:txEl>
                                          </p:spTgt>
                                        </p:tgtEl>
                                      </p:cBhvr>
                                    </p:animEffect>
                                    <p:anim calcmode="lin" valueType="num">
                                      <p:cBhvr>
                                        <p:cTn id="18" dur="1000" fill="hold"/>
                                        <p:tgtEl>
                                          <p:spTgt spid="16">
                                            <p:txEl>
                                              <p:pRg st="0" end="0"/>
                                            </p:txEl>
                                          </p:spTgt>
                                        </p:tgtEl>
                                        <p:attrNameLst>
                                          <p:attrName>ppt_x</p:attrName>
                                        </p:attrNameLst>
                                      </p:cBhvr>
                                      <p:tavLst>
                                        <p:tav tm="0">
                                          <p:val>
                                            <p:strVal val="#ppt_x"/>
                                          </p:val>
                                        </p:tav>
                                        <p:tav tm="100000">
                                          <p:val>
                                            <p:strVal val="#ppt_x"/>
                                          </p:val>
                                        </p:tav>
                                      </p:tavLst>
                                    </p:anim>
                                    <p:anim calcmode="lin" valueType="num">
                                      <p:cBhvr>
                                        <p:cTn id="19" dur="1000" fill="hold"/>
                                        <p:tgtEl>
                                          <p:spTgt spid="16">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47" presetClass="entr" presetSubtype="0" fill="hold" nodeType="clickEffect">
                                  <p:stCondLst>
                                    <p:cond delay="0"/>
                                  </p:stCondLst>
                                  <p:childTnLst>
                                    <p:set>
                                      <p:cBhvr>
                                        <p:cTn id="23" dur="1" fill="hold">
                                          <p:stCondLst>
                                            <p:cond delay="0"/>
                                          </p:stCondLst>
                                        </p:cTn>
                                        <p:tgtEl>
                                          <p:spTgt spid="16">
                                            <p:txEl>
                                              <p:pRg st="1" end="1"/>
                                            </p:txEl>
                                          </p:spTgt>
                                        </p:tgtEl>
                                        <p:attrNameLst>
                                          <p:attrName>style.visibility</p:attrName>
                                        </p:attrNameLst>
                                      </p:cBhvr>
                                      <p:to>
                                        <p:strVal val="visible"/>
                                      </p:to>
                                    </p:set>
                                    <p:animEffect transition="in" filter="fade">
                                      <p:cBhvr>
                                        <p:cTn id="24" dur="1000"/>
                                        <p:tgtEl>
                                          <p:spTgt spid="16">
                                            <p:txEl>
                                              <p:pRg st="1" end="1"/>
                                            </p:txEl>
                                          </p:spTgt>
                                        </p:tgtEl>
                                      </p:cBhvr>
                                    </p:animEffect>
                                    <p:anim calcmode="lin" valueType="num">
                                      <p:cBhvr>
                                        <p:cTn id="25" dur="1000" fill="hold"/>
                                        <p:tgtEl>
                                          <p:spTgt spid="16">
                                            <p:txEl>
                                              <p:pRg st="1" end="1"/>
                                            </p:txEl>
                                          </p:spTgt>
                                        </p:tgtEl>
                                        <p:attrNameLst>
                                          <p:attrName>ppt_x</p:attrName>
                                        </p:attrNameLst>
                                      </p:cBhvr>
                                      <p:tavLst>
                                        <p:tav tm="0">
                                          <p:val>
                                            <p:strVal val="#ppt_x"/>
                                          </p:val>
                                        </p:tav>
                                        <p:tav tm="100000">
                                          <p:val>
                                            <p:strVal val="#ppt_x"/>
                                          </p:val>
                                        </p:tav>
                                      </p:tavLst>
                                    </p:anim>
                                    <p:anim calcmode="lin" valueType="num">
                                      <p:cBhvr>
                                        <p:cTn id="26" dur="1000" fill="hold"/>
                                        <p:tgtEl>
                                          <p:spTgt spid="16">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47" presetClass="entr" presetSubtype="0" fill="hold" nodeType="clickEffect">
                                  <p:stCondLst>
                                    <p:cond delay="0"/>
                                  </p:stCondLst>
                                  <p:childTnLst>
                                    <p:set>
                                      <p:cBhvr>
                                        <p:cTn id="30" dur="1" fill="hold">
                                          <p:stCondLst>
                                            <p:cond delay="0"/>
                                          </p:stCondLst>
                                        </p:cTn>
                                        <p:tgtEl>
                                          <p:spTgt spid="16">
                                            <p:txEl>
                                              <p:pRg st="2" end="2"/>
                                            </p:txEl>
                                          </p:spTgt>
                                        </p:tgtEl>
                                        <p:attrNameLst>
                                          <p:attrName>style.visibility</p:attrName>
                                        </p:attrNameLst>
                                      </p:cBhvr>
                                      <p:to>
                                        <p:strVal val="visible"/>
                                      </p:to>
                                    </p:set>
                                    <p:animEffect transition="in" filter="fade">
                                      <p:cBhvr>
                                        <p:cTn id="31" dur="1000"/>
                                        <p:tgtEl>
                                          <p:spTgt spid="16">
                                            <p:txEl>
                                              <p:pRg st="2" end="2"/>
                                            </p:txEl>
                                          </p:spTgt>
                                        </p:tgtEl>
                                      </p:cBhvr>
                                    </p:animEffect>
                                    <p:anim calcmode="lin" valueType="num">
                                      <p:cBhvr>
                                        <p:cTn id="32" dur="1000" fill="hold"/>
                                        <p:tgtEl>
                                          <p:spTgt spid="16">
                                            <p:txEl>
                                              <p:pRg st="2" end="2"/>
                                            </p:txEl>
                                          </p:spTgt>
                                        </p:tgtEl>
                                        <p:attrNameLst>
                                          <p:attrName>ppt_x</p:attrName>
                                        </p:attrNameLst>
                                      </p:cBhvr>
                                      <p:tavLst>
                                        <p:tav tm="0">
                                          <p:val>
                                            <p:strVal val="#ppt_x"/>
                                          </p:val>
                                        </p:tav>
                                        <p:tav tm="100000">
                                          <p:val>
                                            <p:strVal val="#ppt_x"/>
                                          </p:val>
                                        </p:tav>
                                      </p:tavLst>
                                    </p:anim>
                                    <p:anim calcmode="lin" valueType="num">
                                      <p:cBhvr>
                                        <p:cTn id="33" dur="1000" fill="hold"/>
                                        <p:tgtEl>
                                          <p:spTgt spid="16">
                                            <p:txEl>
                                              <p:pRg st="2" end="2"/>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عنوان 2">
            <a:extLst>
              <a:ext uri="{FF2B5EF4-FFF2-40B4-BE49-F238E27FC236}">
                <a16:creationId xmlns:a16="http://schemas.microsoft.com/office/drawing/2014/main" id="{9F303EBB-AB37-B8C5-289E-A88243C24C00}"/>
              </a:ext>
            </a:extLst>
          </p:cNvPr>
          <p:cNvSpPr txBox="1">
            <a:spLocks/>
          </p:cNvSpPr>
          <p:nvPr/>
        </p:nvSpPr>
        <p:spPr bwMode="auto">
          <a:xfrm>
            <a:off x="1571321" y="136852"/>
            <a:ext cx="8737600" cy="4300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21920" tIns="60960" rIns="121920" bIns="60960" numCol="1" anchor="ctr" anchorCtr="0" compatLnSpc="1">
            <a:prstTxWarp prst="textNoShape">
              <a:avLst/>
            </a:prstTxWarp>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fontAlgn="base">
              <a:spcBef>
                <a:spcPct val="0"/>
              </a:spcBef>
              <a:spcAft>
                <a:spcPct val="0"/>
              </a:spcAft>
              <a:defRPr sz="4400">
                <a:solidFill>
                  <a:schemeClr val="tx2"/>
                </a:solidFill>
                <a:latin typeface="Arial" pitchFamily="34" charset="0"/>
              </a:defRPr>
            </a:lvl6pPr>
            <a:lvl7pPr marL="914400" algn="ctr" rtl="0" fontAlgn="base">
              <a:spcBef>
                <a:spcPct val="0"/>
              </a:spcBef>
              <a:spcAft>
                <a:spcPct val="0"/>
              </a:spcAft>
              <a:defRPr sz="4400">
                <a:solidFill>
                  <a:schemeClr val="tx2"/>
                </a:solidFill>
                <a:latin typeface="Arial" pitchFamily="34" charset="0"/>
              </a:defRPr>
            </a:lvl7pPr>
            <a:lvl8pPr marL="1371600" algn="ctr" rtl="0" fontAlgn="base">
              <a:spcBef>
                <a:spcPct val="0"/>
              </a:spcBef>
              <a:spcAft>
                <a:spcPct val="0"/>
              </a:spcAft>
              <a:defRPr sz="4400">
                <a:solidFill>
                  <a:schemeClr val="tx2"/>
                </a:solidFill>
                <a:latin typeface="Arial" pitchFamily="34" charset="0"/>
              </a:defRPr>
            </a:lvl8pPr>
            <a:lvl9pPr marL="1828800" algn="ctr" rtl="0" fontAlgn="base">
              <a:spcBef>
                <a:spcPct val="0"/>
              </a:spcBef>
              <a:spcAft>
                <a:spcPct val="0"/>
              </a:spcAft>
              <a:defRPr sz="4400">
                <a:solidFill>
                  <a:schemeClr val="tx2"/>
                </a:solidFill>
                <a:latin typeface="Arial" pitchFamily="34" charset="0"/>
              </a:defRPr>
            </a:lvl9pPr>
          </a:lstStyle>
          <a:p>
            <a:pPr>
              <a:buClrTx/>
              <a:buFontTx/>
              <a:buNone/>
            </a:pPr>
            <a:r>
              <a:rPr lang="ar-SA" altLang="ar-SA" sz="2667" b="1" dirty="0">
                <a:solidFill>
                  <a:srgbClr val="002060"/>
                </a:solidFill>
                <a:latin typeface="Sakkal Majalla" panose="02000000000000000000" pitchFamily="2" charset="-78"/>
                <a:cs typeface="Sakkal Majalla" panose="02000000000000000000" pitchFamily="2" charset="-78"/>
              </a:rPr>
              <a:t>التصميم العكسي للتعليم</a:t>
            </a:r>
          </a:p>
        </p:txBody>
      </p:sp>
      <p:sp>
        <p:nvSpPr>
          <p:cNvPr id="5" name="Line 7">
            <a:extLst>
              <a:ext uri="{FF2B5EF4-FFF2-40B4-BE49-F238E27FC236}">
                <a16:creationId xmlns:a16="http://schemas.microsoft.com/office/drawing/2014/main" id="{9113739E-3D1B-CEE5-59BF-43E03E3437F8}"/>
              </a:ext>
            </a:extLst>
          </p:cNvPr>
          <p:cNvSpPr>
            <a:spLocks noChangeShapeType="1"/>
          </p:cNvSpPr>
          <p:nvPr/>
        </p:nvSpPr>
        <p:spPr bwMode="auto">
          <a:xfrm>
            <a:off x="6287255" y="-3663671"/>
            <a:ext cx="0" cy="0"/>
          </a:xfrm>
          <a:prstGeom prst="line">
            <a:avLst/>
          </a:prstGeom>
          <a:noFill/>
          <a:ln w="9525">
            <a:solidFill>
              <a:sysClr val="windowText" lastClr="00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lgn="r" rtl="1" fontAlgn="base">
              <a:spcBef>
                <a:spcPct val="0"/>
              </a:spcBef>
              <a:spcAft>
                <a:spcPct val="0"/>
              </a:spcAft>
              <a:buClrTx/>
              <a:buFontTx/>
              <a:buNone/>
              <a:defRPr/>
            </a:pPr>
            <a:endParaRPr lang="ar-SA" sz="2667" dirty="0">
              <a:solidFill>
                <a:prstClr val="black"/>
              </a:solidFill>
              <a:latin typeface="Sakkal Majalla" panose="02000000000000000000" pitchFamily="2" charset="-78"/>
              <a:cs typeface="Sakkal Majalla" panose="02000000000000000000" pitchFamily="2" charset="-78"/>
            </a:endParaRPr>
          </a:p>
        </p:txBody>
      </p:sp>
      <p:sp>
        <p:nvSpPr>
          <p:cNvPr id="6" name="Rounded Rectangle 5">
            <a:extLst>
              <a:ext uri="{FF2B5EF4-FFF2-40B4-BE49-F238E27FC236}">
                <a16:creationId xmlns:a16="http://schemas.microsoft.com/office/drawing/2014/main" id="{70F1B4D5-F1E8-A1A5-6004-31659B08D835}"/>
              </a:ext>
            </a:extLst>
          </p:cNvPr>
          <p:cNvSpPr/>
          <p:nvPr/>
        </p:nvSpPr>
        <p:spPr>
          <a:xfrm>
            <a:off x="8058907" y="1712664"/>
            <a:ext cx="3558723" cy="2148416"/>
          </a:xfrm>
          <a:prstGeom prst="roundRect">
            <a:avLst/>
          </a:prstGeom>
          <a:solidFill>
            <a:sysClr val="window" lastClr="FFFFFF"/>
          </a:solidFill>
          <a:ln w="12700" cap="flat" cmpd="sng" algn="ctr">
            <a:solidFill>
              <a:srgbClr val="70AD47"/>
            </a:solidFill>
            <a:prstDash val="solid"/>
            <a:miter lim="800000"/>
          </a:ln>
          <a:effectLst/>
        </p:spPr>
        <p:txBody>
          <a:bodyPr lIns="106680" tIns="53340" rIns="106680" bIns="53340" rtlCol="1" anchor="ctr"/>
          <a:lstStyle/>
          <a:p>
            <a:pPr algn="ctr" defTabSz="1066773">
              <a:defRPr/>
            </a:pPr>
            <a:r>
              <a:rPr lang="ar-SA" sz="2667" b="1" dirty="0">
                <a:solidFill>
                  <a:srgbClr val="C00000"/>
                </a:solidFill>
                <a:latin typeface="Sakkal Majalla" panose="02000000000000000000" pitchFamily="2" charset="-78"/>
                <a:cs typeface="Sakkal Majalla" panose="02000000000000000000" pitchFamily="2" charset="-78"/>
              </a:rPr>
              <a:t>معايير الأداء المتوقع</a:t>
            </a:r>
          </a:p>
          <a:p>
            <a:pPr algn="ctr" defTabSz="1066773">
              <a:defRPr/>
            </a:pPr>
            <a:r>
              <a:rPr lang="ar-SA" sz="2667" b="1" dirty="0">
                <a:solidFill>
                  <a:srgbClr val="C00000"/>
                </a:solidFill>
                <a:latin typeface="Sakkal Majalla" panose="02000000000000000000" pitchFamily="2" charset="-78"/>
                <a:cs typeface="Sakkal Majalla" panose="02000000000000000000" pitchFamily="2" charset="-78"/>
              </a:rPr>
              <a:t>( </a:t>
            </a:r>
            <a:r>
              <a:rPr lang="en-US" sz="2667" b="1" dirty="0">
                <a:solidFill>
                  <a:srgbClr val="C00000"/>
                </a:solidFill>
                <a:latin typeface="Sakkal Majalla" panose="02000000000000000000" pitchFamily="2" charset="-78"/>
                <a:cs typeface="Sakkal Majalla" panose="02000000000000000000" pitchFamily="2" charset="-78"/>
              </a:rPr>
              <a:t>PE</a:t>
            </a:r>
            <a:r>
              <a:rPr lang="ar-SA" sz="2667" b="1" dirty="0">
                <a:solidFill>
                  <a:srgbClr val="C00000"/>
                </a:solidFill>
                <a:latin typeface="Sakkal Majalla" panose="02000000000000000000" pitchFamily="2" charset="-78"/>
                <a:cs typeface="Sakkal Majalla" panose="02000000000000000000" pitchFamily="2" charset="-78"/>
              </a:rPr>
              <a:t> )</a:t>
            </a:r>
          </a:p>
        </p:txBody>
      </p:sp>
      <p:sp>
        <p:nvSpPr>
          <p:cNvPr id="7" name="Rounded Rectangle 5">
            <a:extLst>
              <a:ext uri="{FF2B5EF4-FFF2-40B4-BE49-F238E27FC236}">
                <a16:creationId xmlns:a16="http://schemas.microsoft.com/office/drawing/2014/main" id="{692B17BA-8B9D-CFF5-A806-325ADE5547AB}"/>
              </a:ext>
            </a:extLst>
          </p:cNvPr>
          <p:cNvSpPr/>
          <p:nvPr/>
        </p:nvSpPr>
        <p:spPr>
          <a:xfrm>
            <a:off x="574373" y="1826964"/>
            <a:ext cx="2880783" cy="1727200"/>
          </a:xfrm>
          <a:prstGeom prst="roundRect">
            <a:avLst/>
          </a:prstGeom>
          <a:solidFill>
            <a:sysClr val="window" lastClr="FFFFFF"/>
          </a:solidFill>
          <a:ln w="12700" cap="flat" cmpd="sng" algn="ctr">
            <a:solidFill>
              <a:srgbClr val="70AD47"/>
            </a:solidFill>
            <a:prstDash val="solid"/>
            <a:miter lim="800000"/>
          </a:ln>
          <a:effectLst/>
        </p:spPr>
        <p:txBody>
          <a:bodyPr lIns="106680" tIns="53340" rIns="106680" bIns="53340" rtlCol="1" anchor="ctr"/>
          <a:lstStyle/>
          <a:p>
            <a:pPr algn="ctr" defTabSz="1066773">
              <a:defRPr/>
            </a:pPr>
            <a:r>
              <a:rPr lang="ar-SA" sz="2667" b="1" dirty="0">
                <a:solidFill>
                  <a:srgbClr val="C00000"/>
                </a:solidFill>
                <a:latin typeface="Sakkal Majalla" panose="02000000000000000000" pitchFamily="2" charset="-78"/>
                <a:cs typeface="Sakkal Majalla" panose="02000000000000000000" pitchFamily="2" charset="-78"/>
              </a:rPr>
              <a:t>التقويم واسع</a:t>
            </a:r>
          </a:p>
          <a:p>
            <a:pPr algn="ctr" defTabSz="1066773">
              <a:defRPr/>
            </a:pPr>
            <a:r>
              <a:rPr lang="ar-SA" sz="2667" b="1" dirty="0">
                <a:solidFill>
                  <a:srgbClr val="C00000"/>
                </a:solidFill>
                <a:latin typeface="Sakkal Majalla" panose="02000000000000000000" pitchFamily="2" charset="-78"/>
                <a:cs typeface="Sakkal Majalla" panose="02000000000000000000" pitchFamily="2" charset="-78"/>
              </a:rPr>
              <a:t>النطاق</a:t>
            </a:r>
          </a:p>
        </p:txBody>
      </p:sp>
      <p:grpSp>
        <p:nvGrpSpPr>
          <p:cNvPr id="8" name="مجموعة 7">
            <a:extLst>
              <a:ext uri="{FF2B5EF4-FFF2-40B4-BE49-F238E27FC236}">
                <a16:creationId xmlns:a16="http://schemas.microsoft.com/office/drawing/2014/main" id="{6975B355-0BDB-2FC9-FAAA-EF257152E366}"/>
              </a:ext>
            </a:extLst>
          </p:cNvPr>
          <p:cNvGrpSpPr>
            <a:grpSpLocks/>
          </p:cNvGrpSpPr>
          <p:nvPr/>
        </p:nvGrpSpPr>
        <p:grpSpPr bwMode="auto">
          <a:xfrm>
            <a:off x="2244421" y="787680"/>
            <a:ext cx="7391400" cy="1009651"/>
            <a:chOff x="1430948" y="1800112"/>
            <a:chExt cx="5544613" cy="756000"/>
          </a:xfrm>
        </p:grpSpPr>
        <p:cxnSp>
          <p:nvCxnSpPr>
            <p:cNvPr id="9" name="رابط بشكل مرفق 30">
              <a:extLst>
                <a:ext uri="{FF2B5EF4-FFF2-40B4-BE49-F238E27FC236}">
                  <a16:creationId xmlns:a16="http://schemas.microsoft.com/office/drawing/2014/main" id="{0C7F5642-69DE-1D16-0F58-602172FE302A}"/>
                </a:ext>
              </a:extLst>
            </p:cNvPr>
            <p:cNvCxnSpPr>
              <a:cxnSpLocks noChangeShapeType="1"/>
            </p:cNvCxnSpPr>
            <p:nvPr/>
          </p:nvCxnSpPr>
          <p:spPr bwMode="auto">
            <a:xfrm rot="10800000">
              <a:off x="1430948" y="1813760"/>
              <a:ext cx="5544613" cy="648072"/>
            </a:xfrm>
            <a:prstGeom prst="bentConnector3">
              <a:avLst>
                <a:gd name="adj1" fmla="val 32"/>
              </a:avLst>
            </a:prstGeom>
            <a:noFill/>
            <a:ln w="38100" algn="ctr">
              <a:solidFill>
                <a:srgbClr val="C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 name="رابط كسهم مستقيم 4105">
              <a:extLst>
                <a:ext uri="{FF2B5EF4-FFF2-40B4-BE49-F238E27FC236}">
                  <a16:creationId xmlns:a16="http://schemas.microsoft.com/office/drawing/2014/main" id="{BD722DF1-EBD6-0960-6088-C0AE59BBE590}"/>
                </a:ext>
              </a:extLst>
            </p:cNvPr>
            <p:cNvCxnSpPr>
              <a:cxnSpLocks noChangeShapeType="1"/>
            </p:cNvCxnSpPr>
            <p:nvPr/>
          </p:nvCxnSpPr>
          <p:spPr bwMode="auto">
            <a:xfrm>
              <a:off x="1444592" y="1800112"/>
              <a:ext cx="0" cy="756000"/>
            </a:xfrm>
            <a:prstGeom prst="straightConnector1">
              <a:avLst/>
            </a:prstGeom>
            <a:noFill/>
            <a:ln w="38100" algn="ctr">
              <a:solidFill>
                <a:srgbClr val="C00000"/>
              </a:solidFill>
              <a:round/>
              <a:headEnd/>
              <a:tailEnd type="arrow"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11" name="مجموعة 10">
            <a:extLst>
              <a:ext uri="{FF2B5EF4-FFF2-40B4-BE49-F238E27FC236}">
                <a16:creationId xmlns:a16="http://schemas.microsoft.com/office/drawing/2014/main" id="{F55B0471-441E-BB7C-A67B-6907ACB37BCB}"/>
              </a:ext>
            </a:extLst>
          </p:cNvPr>
          <p:cNvGrpSpPr>
            <a:grpSpLocks/>
          </p:cNvGrpSpPr>
          <p:nvPr/>
        </p:nvGrpSpPr>
        <p:grpSpPr bwMode="auto">
          <a:xfrm flipH="1" flipV="1">
            <a:off x="2244421" y="3568981"/>
            <a:ext cx="7391400" cy="1358900"/>
            <a:chOff x="1430948" y="1785431"/>
            <a:chExt cx="5404243" cy="822725"/>
          </a:xfrm>
        </p:grpSpPr>
        <p:cxnSp>
          <p:nvCxnSpPr>
            <p:cNvPr id="12" name="رابط بشكل مرفق 57">
              <a:extLst>
                <a:ext uri="{FF2B5EF4-FFF2-40B4-BE49-F238E27FC236}">
                  <a16:creationId xmlns:a16="http://schemas.microsoft.com/office/drawing/2014/main" id="{18068779-1762-D7D8-7B5B-CFC74B4C6F7E}"/>
                </a:ext>
              </a:extLst>
            </p:cNvPr>
            <p:cNvCxnSpPr>
              <a:cxnSpLocks noChangeShapeType="1"/>
            </p:cNvCxnSpPr>
            <p:nvPr/>
          </p:nvCxnSpPr>
          <p:spPr bwMode="auto">
            <a:xfrm flipH="1" flipV="1">
              <a:off x="1430948" y="1794359"/>
              <a:ext cx="5404243" cy="813797"/>
            </a:xfrm>
            <a:prstGeom prst="bentConnector3">
              <a:avLst>
                <a:gd name="adj1" fmla="val 32"/>
              </a:avLst>
            </a:prstGeom>
            <a:noFill/>
            <a:ln w="38100" algn="ctr">
              <a:solidFill>
                <a:srgbClr val="C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3" name="رابط كسهم مستقيم 58">
              <a:extLst>
                <a:ext uri="{FF2B5EF4-FFF2-40B4-BE49-F238E27FC236}">
                  <a16:creationId xmlns:a16="http://schemas.microsoft.com/office/drawing/2014/main" id="{D6062BCA-E5CD-C43E-4B8A-B189AAA1442D}"/>
                </a:ext>
              </a:extLst>
            </p:cNvPr>
            <p:cNvCxnSpPr>
              <a:cxnSpLocks noChangeShapeType="1"/>
            </p:cNvCxnSpPr>
            <p:nvPr/>
          </p:nvCxnSpPr>
          <p:spPr bwMode="auto">
            <a:xfrm>
              <a:off x="1434622" y="1785431"/>
              <a:ext cx="0" cy="639342"/>
            </a:xfrm>
            <a:prstGeom prst="straightConnector1">
              <a:avLst/>
            </a:prstGeom>
            <a:noFill/>
            <a:ln w="38100" algn="ctr">
              <a:solidFill>
                <a:srgbClr val="C00000"/>
              </a:solidFill>
              <a:round/>
              <a:headEnd/>
              <a:tailEnd type="arrow"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14" name="Rectangular Callout 16">
            <a:extLst>
              <a:ext uri="{FF2B5EF4-FFF2-40B4-BE49-F238E27FC236}">
                <a16:creationId xmlns:a16="http://schemas.microsoft.com/office/drawing/2014/main" id="{446D4F3C-9221-852C-56BE-00FB82E2C65E}"/>
              </a:ext>
            </a:extLst>
          </p:cNvPr>
          <p:cNvSpPr/>
          <p:nvPr/>
        </p:nvSpPr>
        <p:spPr>
          <a:xfrm>
            <a:off x="4145479" y="1101329"/>
            <a:ext cx="3264363" cy="3516000"/>
          </a:xfrm>
          <a:prstGeom prst="wedgeRectCallout">
            <a:avLst>
              <a:gd name="adj1" fmla="val -19627"/>
              <a:gd name="adj2" fmla="val 48732"/>
            </a:avLst>
          </a:prstGeom>
          <a:solidFill>
            <a:schemeClr val="accent1"/>
          </a:solidFill>
          <a:ln w="28575" cap="flat" cmpd="sng" algn="ctr">
            <a:solidFill>
              <a:sysClr val="windowText" lastClr="000000"/>
            </a:solidFill>
            <a:prstDash val="solid"/>
          </a:ln>
          <a:effectLst/>
        </p:spPr>
        <p:txBody>
          <a:bodyPr anchor="ctr"/>
          <a:lstStyle/>
          <a:p>
            <a:pPr algn="ctr">
              <a:buClrTx/>
              <a:buFontTx/>
              <a:buNone/>
              <a:defRPr/>
            </a:pPr>
            <a:r>
              <a:rPr lang="ar-SA" sz="2667" b="1" dirty="0">
                <a:solidFill>
                  <a:schemeClr val="bg1"/>
                </a:solidFill>
                <a:latin typeface="Sakkal Majalla" panose="02000000000000000000" pitchFamily="2" charset="-78"/>
                <a:cs typeface="Sakkal Majalla" panose="02000000000000000000" pitchFamily="2" charset="-78"/>
              </a:rPr>
              <a:t>المؤسسة التعليمية</a:t>
            </a:r>
          </a:p>
          <a:p>
            <a:pPr algn="ctr">
              <a:buClrTx/>
              <a:buFontTx/>
              <a:buNone/>
              <a:defRPr/>
            </a:pPr>
            <a:r>
              <a:rPr lang="ar-SA" sz="2667" b="1" dirty="0">
                <a:solidFill>
                  <a:schemeClr val="bg1"/>
                </a:solidFill>
                <a:latin typeface="Sakkal Majalla" panose="02000000000000000000" pitchFamily="2" charset="-78"/>
                <a:cs typeface="Sakkal Majalla" panose="02000000000000000000" pitchFamily="2" charset="-78"/>
              </a:rPr>
              <a:t>( وزارة ، إدارات ، ومدارس )</a:t>
            </a:r>
            <a:endParaRPr lang="en-US" sz="2667" b="1" dirty="0">
              <a:solidFill>
                <a:schemeClr val="bg1"/>
              </a:solidFill>
              <a:latin typeface="Sakkal Majalla" panose="02000000000000000000" pitchFamily="2" charset="-78"/>
              <a:cs typeface="Sakkal Majalla" panose="02000000000000000000" pitchFamily="2" charset="-78"/>
            </a:endParaRPr>
          </a:p>
        </p:txBody>
      </p:sp>
      <p:cxnSp>
        <p:nvCxnSpPr>
          <p:cNvPr id="15" name="رابط كسهم مستقيم 14">
            <a:extLst>
              <a:ext uri="{FF2B5EF4-FFF2-40B4-BE49-F238E27FC236}">
                <a16:creationId xmlns:a16="http://schemas.microsoft.com/office/drawing/2014/main" id="{D2B5AFE8-0A8E-4C99-5B97-266766A5315B}"/>
              </a:ext>
            </a:extLst>
          </p:cNvPr>
          <p:cNvCxnSpPr>
            <a:cxnSpLocks noChangeShapeType="1"/>
          </p:cNvCxnSpPr>
          <p:nvPr/>
        </p:nvCxnSpPr>
        <p:spPr bwMode="auto">
          <a:xfrm flipH="1">
            <a:off x="7385806" y="2785813"/>
            <a:ext cx="673100" cy="0"/>
          </a:xfrm>
          <a:prstGeom prst="straightConnector1">
            <a:avLst/>
          </a:prstGeom>
          <a:noFill/>
          <a:ln w="38100" algn="ctr">
            <a:solidFill>
              <a:srgbClr val="0070C0"/>
            </a:solidFill>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6" name="رابط كسهم مستقيم 15">
            <a:extLst>
              <a:ext uri="{FF2B5EF4-FFF2-40B4-BE49-F238E27FC236}">
                <a16:creationId xmlns:a16="http://schemas.microsoft.com/office/drawing/2014/main" id="{FADA14A8-0AB0-9F72-1333-8788FAF94196}"/>
              </a:ext>
            </a:extLst>
          </p:cNvPr>
          <p:cNvCxnSpPr>
            <a:cxnSpLocks noChangeShapeType="1"/>
          </p:cNvCxnSpPr>
          <p:nvPr/>
        </p:nvCxnSpPr>
        <p:spPr bwMode="auto">
          <a:xfrm flipH="1">
            <a:off x="3455155" y="2735013"/>
            <a:ext cx="673100" cy="0"/>
          </a:xfrm>
          <a:prstGeom prst="straightConnector1">
            <a:avLst/>
          </a:prstGeom>
          <a:noFill/>
          <a:ln w="38100" algn="ctr">
            <a:solidFill>
              <a:srgbClr val="0070C0"/>
            </a:solidFill>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Content Placeholder 2">
            <a:extLst>
              <a:ext uri="{FF2B5EF4-FFF2-40B4-BE49-F238E27FC236}">
                <a16:creationId xmlns:a16="http://schemas.microsoft.com/office/drawing/2014/main" id="{60C3C46D-D0F7-BE77-3F98-FB18BAE91BEF}"/>
              </a:ext>
            </a:extLst>
          </p:cNvPr>
          <p:cNvSpPr txBox="1">
            <a:spLocks/>
          </p:cNvSpPr>
          <p:nvPr/>
        </p:nvSpPr>
        <p:spPr>
          <a:xfrm>
            <a:off x="2486317" y="5611988"/>
            <a:ext cx="8890267" cy="899689"/>
          </a:xfrm>
          <a:prstGeom prst="rect">
            <a:avLst/>
          </a:prstGeom>
          <a:solidFill>
            <a:srgbClr val="FFFFFF"/>
          </a:solidFill>
          <a:ln w="28575">
            <a:solidFill>
              <a:srgbClr val="002060"/>
            </a:solidFill>
          </a:ln>
        </p:spPr>
        <p:txBody>
          <a:bodyPr/>
          <a:lstStyle>
            <a:lvl1pPr marL="365760" indent="-256032" algn="r" rtl="1" eaLnBrk="1" latinLnBrk="0" hangingPunct="1">
              <a:spcBef>
                <a:spcPts val="400"/>
              </a:spcBef>
              <a:spcAft>
                <a:spcPts val="0"/>
              </a:spcAft>
              <a:buClr>
                <a:schemeClr val="accent1"/>
              </a:buClr>
              <a:buSzPct val="68000"/>
              <a:buFont typeface="Wingdings 3"/>
              <a:buChar char=""/>
              <a:defRPr kumimoji="0" sz="2700" kern="1200">
                <a:solidFill>
                  <a:schemeClr val="tx1"/>
                </a:solidFill>
                <a:latin typeface="+mn-lt"/>
                <a:ea typeface="+mn-ea"/>
                <a:cs typeface="+mn-cs"/>
              </a:defRPr>
            </a:lvl1pPr>
            <a:lvl2pPr marL="621792" indent="-228600" algn="r" rtl="1" eaLnBrk="1" latinLnBrk="0" hangingPunct="1">
              <a:spcBef>
                <a:spcPts val="324"/>
              </a:spcBef>
              <a:buClr>
                <a:schemeClr val="accent1"/>
              </a:buClr>
              <a:buFont typeface="Verdana"/>
              <a:buChar char="◦"/>
              <a:defRPr kumimoji="0" sz="2300" kern="1200">
                <a:solidFill>
                  <a:schemeClr val="tx1"/>
                </a:solidFill>
                <a:latin typeface="+mn-lt"/>
                <a:ea typeface="+mn-ea"/>
                <a:cs typeface="+mn-cs"/>
              </a:defRPr>
            </a:lvl2pPr>
            <a:lvl3pPr marL="859536" indent="-228600" algn="r" rtl="1" eaLnBrk="1" latinLnBrk="0" hangingPunct="1">
              <a:spcBef>
                <a:spcPts val="350"/>
              </a:spcBef>
              <a:buClr>
                <a:schemeClr val="accent2"/>
              </a:buClr>
              <a:buSzPct val="100000"/>
              <a:buFont typeface="Wingdings 2"/>
              <a:buChar char=""/>
              <a:defRPr kumimoji="0" sz="2100" kern="1200">
                <a:solidFill>
                  <a:schemeClr val="tx1"/>
                </a:solidFill>
                <a:latin typeface="+mn-lt"/>
                <a:ea typeface="+mn-ea"/>
                <a:cs typeface="+mn-cs"/>
              </a:defRPr>
            </a:lvl3pPr>
            <a:lvl4pPr marL="1143000" indent="-228600" algn="r" rtl="1" eaLnBrk="1" latinLnBrk="0" hangingPunct="1">
              <a:spcBef>
                <a:spcPts val="350"/>
              </a:spcBef>
              <a:buClr>
                <a:schemeClr val="accent2"/>
              </a:buClr>
              <a:buFont typeface="Wingdings 2"/>
              <a:buChar char=""/>
              <a:defRPr kumimoji="0" sz="1900" kern="1200">
                <a:solidFill>
                  <a:schemeClr val="tx1"/>
                </a:solidFill>
                <a:latin typeface="+mn-lt"/>
                <a:ea typeface="+mn-ea"/>
                <a:cs typeface="+mn-cs"/>
              </a:defRPr>
            </a:lvl4pPr>
            <a:lvl5pPr marL="1371600" indent="-228600" algn="r" rtl="1" eaLnBrk="1" latinLnBrk="0" hangingPunct="1">
              <a:spcBef>
                <a:spcPts val="350"/>
              </a:spcBef>
              <a:buClr>
                <a:schemeClr val="accent2"/>
              </a:buClr>
              <a:buFont typeface="Wingdings 2"/>
              <a:buChar char=""/>
              <a:defRPr kumimoji="0" sz="1800" kern="1200">
                <a:solidFill>
                  <a:schemeClr val="tx1"/>
                </a:solidFill>
                <a:latin typeface="+mn-lt"/>
                <a:ea typeface="+mn-ea"/>
                <a:cs typeface="+mn-cs"/>
              </a:defRPr>
            </a:lvl5pPr>
            <a:lvl6pPr marL="1600200" indent="-228600" algn="r" rtl="1" eaLnBrk="1" latinLnBrk="0" hangingPunct="1">
              <a:spcBef>
                <a:spcPts val="350"/>
              </a:spcBef>
              <a:buClr>
                <a:schemeClr val="accent3"/>
              </a:buClr>
              <a:buFont typeface="Wingdings 2"/>
              <a:buChar char=""/>
              <a:defRPr kumimoji="0" sz="1800" kern="1200">
                <a:solidFill>
                  <a:schemeClr val="tx1"/>
                </a:solidFill>
                <a:latin typeface="+mn-lt"/>
                <a:ea typeface="+mn-ea"/>
                <a:cs typeface="+mn-cs"/>
              </a:defRPr>
            </a:lvl6pPr>
            <a:lvl7pPr marL="1828800" indent="-228600" algn="r" rtl="1" eaLnBrk="1" latinLnBrk="0" hangingPunct="1">
              <a:spcBef>
                <a:spcPts val="350"/>
              </a:spcBef>
              <a:buClr>
                <a:schemeClr val="accent3"/>
              </a:buClr>
              <a:buFont typeface="Wingdings 2"/>
              <a:buChar char=""/>
              <a:defRPr kumimoji="0" sz="1600" kern="1200">
                <a:solidFill>
                  <a:schemeClr val="tx1"/>
                </a:solidFill>
                <a:latin typeface="+mn-lt"/>
                <a:ea typeface="+mn-ea"/>
                <a:cs typeface="+mn-cs"/>
              </a:defRPr>
            </a:lvl7pPr>
            <a:lvl8pPr marL="2057400" indent="-228600" algn="r" rtl="1" eaLnBrk="1" latinLnBrk="0" hangingPunct="1">
              <a:spcBef>
                <a:spcPts val="350"/>
              </a:spcBef>
              <a:buClr>
                <a:schemeClr val="accent3"/>
              </a:buClr>
              <a:buFont typeface="Wingdings 2"/>
              <a:buChar char=""/>
              <a:defRPr kumimoji="0" sz="1600" kern="1200">
                <a:solidFill>
                  <a:schemeClr val="tx1"/>
                </a:solidFill>
                <a:latin typeface="+mn-lt"/>
                <a:ea typeface="+mn-ea"/>
                <a:cs typeface="+mn-cs"/>
              </a:defRPr>
            </a:lvl8pPr>
            <a:lvl9pPr marL="2286000" indent="-228600" algn="r" rtl="1" eaLnBrk="1" latinLnBrk="0" hangingPunct="1">
              <a:spcBef>
                <a:spcPts val="350"/>
              </a:spcBef>
              <a:buClr>
                <a:schemeClr val="accent3"/>
              </a:buClr>
              <a:buFont typeface="Wingdings 2"/>
              <a:buChar char=""/>
              <a:defRPr kumimoji="0" sz="1600" kern="1200" baseline="0">
                <a:solidFill>
                  <a:schemeClr val="tx1"/>
                </a:solidFill>
                <a:latin typeface="+mn-lt"/>
                <a:ea typeface="+mn-ea"/>
                <a:cs typeface="+mn-cs"/>
              </a:defRPr>
            </a:lvl9pPr>
            <a:extLst/>
          </a:lstStyle>
          <a:p>
            <a:pPr marL="0" lvl="1" indent="0" algn="justLow" defTabSz="1211811">
              <a:spcBef>
                <a:spcPts val="0"/>
              </a:spcBef>
              <a:buClr>
                <a:srgbClr val="5B9BD5"/>
              </a:buClr>
              <a:buNone/>
              <a:defRPr/>
            </a:pPr>
            <a:r>
              <a:rPr lang="ar-SA" altLang="ar-SA" sz="2667" b="1" kern="0" dirty="0">
                <a:solidFill>
                  <a:srgbClr val="000000"/>
                </a:solidFill>
                <a:latin typeface="Sakkal Majalla" panose="02000000000000000000" pitchFamily="2" charset="-78"/>
                <a:cs typeface="Sakkal Majalla" panose="02000000000000000000" pitchFamily="2" charset="-78"/>
              </a:rPr>
              <a:t>هي وصف لما ينبغي أن يعرفه الطلاب ويكونوا قادرين على أدائه نهاية كل مقرر وكل صف ومرحلة تعليمية.</a:t>
            </a:r>
          </a:p>
          <a:p>
            <a:pPr marL="0" lvl="1" indent="0" algn="justLow" defTabSz="1211811">
              <a:spcBef>
                <a:spcPts val="0"/>
              </a:spcBef>
              <a:buClr>
                <a:srgbClr val="5B9BD5"/>
              </a:buClr>
              <a:buNone/>
              <a:defRPr/>
            </a:pPr>
            <a:endParaRPr lang="ar-SA" altLang="ar-SA" sz="2667" b="1" kern="0" dirty="0">
              <a:solidFill>
                <a:srgbClr val="000000"/>
              </a:solidFill>
              <a:latin typeface="Sakkal Majalla" panose="02000000000000000000" pitchFamily="2" charset="-78"/>
              <a:cs typeface="Sakkal Majalla" panose="02000000000000000000" pitchFamily="2" charset="-78"/>
            </a:endParaRPr>
          </a:p>
        </p:txBody>
      </p:sp>
      <p:cxnSp>
        <p:nvCxnSpPr>
          <p:cNvPr id="18" name="رابط كسهم مستقيم 17">
            <a:extLst>
              <a:ext uri="{FF2B5EF4-FFF2-40B4-BE49-F238E27FC236}">
                <a16:creationId xmlns:a16="http://schemas.microsoft.com/office/drawing/2014/main" id="{37859BA0-5A65-7392-E33A-3983B5271519}"/>
              </a:ext>
            </a:extLst>
          </p:cNvPr>
          <p:cNvCxnSpPr>
            <a:cxnSpLocks noChangeShapeType="1"/>
          </p:cNvCxnSpPr>
          <p:nvPr/>
        </p:nvCxnSpPr>
        <p:spPr bwMode="auto">
          <a:xfrm>
            <a:off x="10992544" y="3871875"/>
            <a:ext cx="0" cy="1729317"/>
          </a:xfrm>
          <a:prstGeom prst="straightConnector1">
            <a:avLst/>
          </a:prstGeom>
          <a:noFill/>
          <a:ln w="38100" algn="ctr">
            <a:solidFill>
              <a:srgbClr val="0070C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12215378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arn(inVertical)">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dissolve">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6" presetClass="entr" presetSubtype="16" fill="hold"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circle(in)">
                                      <p:cBhvr>
                                        <p:cTn id="17" dur="2000"/>
                                        <p:tgtEl>
                                          <p:spTgt spid="8"/>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grpId="0" nodeType="click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dissolve">
                                      <p:cBhvr>
                                        <p:cTn id="22" dur="500"/>
                                        <p:tgtEl>
                                          <p:spTgt spid="7"/>
                                        </p:tgtEl>
                                      </p:cBhvr>
                                    </p:animEffect>
                                  </p:childTnLst>
                                </p:cTn>
                              </p:par>
                            </p:childTnLst>
                          </p:cTn>
                        </p:par>
                      </p:childTnLst>
                    </p:cTn>
                  </p:par>
                  <p:par>
                    <p:cTn id="23" fill="hold">
                      <p:stCondLst>
                        <p:cond delay="indefinite"/>
                      </p:stCondLst>
                      <p:childTnLst>
                        <p:par>
                          <p:cTn id="24" fill="hold">
                            <p:stCondLst>
                              <p:cond delay="0"/>
                            </p:stCondLst>
                            <p:childTnLst>
                              <p:par>
                                <p:cTn id="25" presetID="6" presetClass="entr" presetSubtype="16" fill="hold" nodeType="click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circle(in)">
                                      <p:cBhvr>
                                        <p:cTn id="27" dur="2000"/>
                                        <p:tgtEl>
                                          <p:spTgt spid="11"/>
                                        </p:tgtEl>
                                      </p:cBhvr>
                                    </p:animEffect>
                                  </p:childTnLst>
                                </p:cTn>
                              </p:par>
                            </p:childTnLst>
                          </p:cTn>
                        </p:par>
                      </p:childTnLst>
                    </p:cTn>
                  </p:par>
                  <p:par>
                    <p:cTn id="28" fill="hold">
                      <p:stCondLst>
                        <p:cond delay="indefinite"/>
                      </p:stCondLst>
                      <p:childTnLst>
                        <p:par>
                          <p:cTn id="29" fill="hold">
                            <p:stCondLst>
                              <p:cond delay="0"/>
                            </p:stCondLst>
                            <p:childTnLst>
                              <p:par>
                                <p:cTn id="30" presetID="6" presetClass="entr" presetSubtype="16" fill="hold" nodeType="clickEffect">
                                  <p:stCondLst>
                                    <p:cond delay="0"/>
                                  </p:stCondLst>
                                  <p:childTnLst>
                                    <p:set>
                                      <p:cBhvr>
                                        <p:cTn id="31" dur="1" fill="hold">
                                          <p:stCondLst>
                                            <p:cond delay="0"/>
                                          </p:stCondLst>
                                        </p:cTn>
                                        <p:tgtEl>
                                          <p:spTgt spid="18"/>
                                        </p:tgtEl>
                                        <p:attrNameLst>
                                          <p:attrName>style.visibility</p:attrName>
                                        </p:attrNameLst>
                                      </p:cBhvr>
                                      <p:to>
                                        <p:strVal val="visible"/>
                                      </p:to>
                                    </p:set>
                                    <p:animEffect transition="in" filter="circle(in)">
                                      <p:cBhvr>
                                        <p:cTn id="32" dur="2000"/>
                                        <p:tgtEl>
                                          <p:spTgt spid="18"/>
                                        </p:tgtEl>
                                      </p:cBhvr>
                                    </p:animEffect>
                                  </p:childTnLst>
                                </p:cTn>
                              </p:par>
                            </p:childTnLst>
                          </p:cTn>
                        </p:par>
                      </p:childTnLst>
                    </p:cTn>
                  </p:par>
                  <p:par>
                    <p:cTn id="33" fill="hold">
                      <p:stCondLst>
                        <p:cond delay="indefinite"/>
                      </p:stCondLst>
                      <p:childTnLst>
                        <p:par>
                          <p:cTn id="34" fill="hold">
                            <p:stCondLst>
                              <p:cond delay="0"/>
                            </p:stCondLst>
                            <p:childTnLst>
                              <p:par>
                                <p:cTn id="35" presetID="16" presetClass="entr" presetSubtype="21" fill="hold" grpId="0" nodeType="clickEffect">
                                  <p:stCondLst>
                                    <p:cond delay="0"/>
                                  </p:stCondLst>
                                  <p:childTnLst>
                                    <p:set>
                                      <p:cBhvr>
                                        <p:cTn id="36" dur="1" fill="hold">
                                          <p:stCondLst>
                                            <p:cond delay="0"/>
                                          </p:stCondLst>
                                        </p:cTn>
                                        <p:tgtEl>
                                          <p:spTgt spid="17"/>
                                        </p:tgtEl>
                                        <p:attrNameLst>
                                          <p:attrName>style.visibility</p:attrName>
                                        </p:attrNameLst>
                                      </p:cBhvr>
                                      <p:to>
                                        <p:strVal val="visible"/>
                                      </p:to>
                                    </p:set>
                                    <p:animEffect transition="in" filter="barn(inVertical)">
                                      <p:cBhvr>
                                        <p:cTn id="37" dur="500"/>
                                        <p:tgtEl>
                                          <p:spTgt spid="17"/>
                                        </p:tgtEl>
                                      </p:cBhvr>
                                    </p:animEffect>
                                  </p:childTnLst>
                                </p:cTn>
                              </p:par>
                            </p:childTnLst>
                          </p:cTn>
                        </p:par>
                      </p:childTnLst>
                    </p:cTn>
                  </p:par>
                  <p:par>
                    <p:cTn id="38" fill="hold">
                      <p:stCondLst>
                        <p:cond delay="indefinite"/>
                      </p:stCondLst>
                      <p:childTnLst>
                        <p:par>
                          <p:cTn id="39" fill="hold">
                            <p:stCondLst>
                              <p:cond delay="0"/>
                            </p:stCondLst>
                            <p:childTnLst>
                              <p:par>
                                <p:cTn id="40" presetID="6" presetClass="entr" presetSubtype="16" fill="hold" nodeType="clickEffect">
                                  <p:stCondLst>
                                    <p:cond delay="0"/>
                                  </p:stCondLst>
                                  <p:childTnLst>
                                    <p:set>
                                      <p:cBhvr>
                                        <p:cTn id="41" dur="1" fill="hold">
                                          <p:stCondLst>
                                            <p:cond delay="0"/>
                                          </p:stCondLst>
                                        </p:cTn>
                                        <p:tgtEl>
                                          <p:spTgt spid="14"/>
                                        </p:tgtEl>
                                        <p:attrNameLst>
                                          <p:attrName>style.visibility</p:attrName>
                                        </p:attrNameLst>
                                      </p:cBhvr>
                                      <p:to>
                                        <p:strVal val="visible"/>
                                      </p:to>
                                    </p:set>
                                    <p:animEffect transition="in" filter="circle(in)">
                                      <p:cBhvr>
                                        <p:cTn id="42" dur="2000"/>
                                        <p:tgtEl>
                                          <p:spTgt spid="14"/>
                                        </p:tgtEl>
                                      </p:cBhvr>
                                    </p:animEffect>
                                  </p:childTnLst>
                                </p:cTn>
                              </p:par>
                            </p:childTnLst>
                          </p:cTn>
                        </p:par>
                      </p:childTnLst>
                    </p:cTn>
                  </p:par>
                  <p:par>
                    <p:cTn id="43" fill="hold">
                      <p:stCondLst>
                        <p:cond delay="indefinite"/>
                      </p:stCondLst>
                      <p:childTnLst>
                        <p:par>
                          <p:cTn id="44" fill="hold">
                            <p:stCondLst>
                              <p:cond delay="0"/>
                            </p:stCondLst>
                            <p:childTnLst>
                              <p:par>
                                <p:cTn id="45" presetID="6" presetClass="entr" presetSubtype="16" fill="hold" nodeType="clickEffect">
                                  <p:stCondLst>
                                    <p:cond delay="0"/>
                                  </p:stCondLst>
                                  <p:childTnLst>
                                    <p:set>
                                      <p:cBhvr>
                                        <p:cTn id="46" dur="1" fill="hold">
                                          <p:stCondLst>
                                            <p:cond delay="0"/>
                                          </p:stCondLst>
                                        </p:cTn>
                                        <p:tgtEl>
                                          <p:spTgt spid="15"/>
                                        </p:tgtEl>
                                        <p:attrNameLst>
                                          <p:attrName>style.visibility</p:attrName>
                                        </p:attrNameLst>
                                      </p:cBhvr>
                                      <p:to>
                                        <p:strVal val="visible"/>
                                      </p:to>
                                    </p:set>
                                    <p:animEffect transition="in" filter="circle(in)">
                                      <p:cBhvr>
                                        <p:cTn id="47" dur="2000"/>
                                        <p:tgtEl>
                                          <p:spTgt spid="15"/>
                                        </p:tgtEl>
                                      </p:cBhvr>
                                    </p:animEffect>
                                  </p:childTnLst>
                                </p:cTn>
                              </p:par>
                            </p:childTnLst>
                          </p:cTn>
                        </p:par>
                      </p:childTnLst>
                    </p:cTn>
                  </p:par>
                  <p:par>
                    <p:cTn id="48" fill="hold">
                      <p:stCondLst>
                        <p:cond delay="indefinite"/>
                      </p:stCondLst>
                      <p:childTnLst>
                        <p:par>
                          <p:cTn id="49" fill="hold">
                            <p:stCondLst>
                              <p:cond delay="0"/>
                            </p:stCondLst>
                            <p:childTnLst>
                              <p:par>
                                <p:cTn id="50" presetID="6" presetClass="entr" presetSubtype="16" fill="hold" nodeType="clickEffect">
                                  <p:stCondLst>
                                    <p:cond delay="0"/>
                                  </p:stCondLst>
                                  <p:childTnLst>
                                    <p:set>
                                      <p:cBhvr>
                                        <p:cTn id="51" dur="1" fill="hold">
                                          <p:stCondLst>
                                            <p:cond delay="0"/>
                                          </p:stCondLst>
                                        </p:cTn>
                                        <p:tgtEl>
                                          <p:spTgt spid="16"/>
                                        </p:tgtEl>
                                        <p:attrNameLst>
                                          <p:attrName>style.visibility</p:attrName>
                                        </p:attrNameLst>
                                      </p:cBhvr>
                                      <p:to>
                                        <p:strVal val="visible"/>
                                      </p:to>
                                    </p:set>
                                    <p:animEffect transition="in" filter="circle(in)">
                                      <p:cBhvr>
                                        <p:cTn id="52" dur="20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6" grpId="0" animBg="1"/>
      <p:bldP spid="7" grpId="0" animBg="1"/>
      <p:bldP spid="17"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17">
            <a:extLst>
              <a:ext uri="{FF2B5EF4-FFF2-40B4-BE49-F238E27FC236}">
                <a16:creationId xmlns:a16="http://schemas.microsoft.com/office/drawing/2014/main" id="{2E2C8E85-DD39-0597-DAB7-7F5B542EC09C}"/>
              </a:ext>
            </a:extLst>
          </p:cNvPr>
          <p:cNvSpPr/>
          <p:nvPr/>
        </p:nvSpPr>
        <p:spPr>
          <a:xfrm>
            <a:off x="3484439" y="1745011"/>
            <a:ext cx="1190276" cy="570011"/>
          </a:xfrm>
          <a:custGeom>
            <a:avLst/>
            <a:gdLst>
              <a:gd name="connsiteX0" fmla="*/ 607257 w 1214566"/>
              <a:gd name="connsiteY0" fmla="*/ 0 h 570011"/>
              <a:gd name="connsiteX1" fmla="*/ 1067499 w 1214566"/>
              <a:gd name="connsiteY1" fmla="*/ 74613 h 570011"/>
              <a:gd name="connsiteX2" fmla="*/ 1214566 w 1214566"/>
              <a:gd name="connsiteY2" fmla="*/ 132686 h 570011"/>
              <a:gd name="connsiteX3" fmla="*/ 1015550 w 1214566"/>
              <a:gd name="connsiteY3" fmla="*/ 566174 h 570011"/>
              <a:gd name="connsiteX4" fmla="*/ 993058 w 1214566"/>
              <a:gd name="connsiteY4" fmla="*/ 555339 h 570011"/>
              <a:gd name="connsiteX5" fmla="*/ 612195 w 1214566"/>
              <a:gd name="connsiteY5" fmla="*/ 478446 h 570011"/>
              <a:gd name="connsiteX6" fmla="*/ 231332 w 1214566"/>
              <a:gd name="connsiteY6" fmla="*/ 555339 h 570011"/>
              <a:gd name="connsiteX7" fmla="*/ 200876 w 1214566"/>
              <a:gd name="connsiteY7" fmla="*/ 570011 h 570011"/>
              <a:gd name="connsiteX8" fmla="*/ 0 w 1214566"/>
              <a:gd name="connsiteY8" fmla="*/ 132924 h 570011"/>
              <a:gd name="connsiteX9" fmla="*/ 147045 w 1214566"/>
              <a:gd name="connsiteY9" fmla="*/ 74793 h 570011"/>
              <a:gd name="connsiteX10" fmla="*/ 607257 w 1214566"/>
              <a:gd name="connsiteY10" fmla="*/ 0 h 570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4566" h="570011">
                <a:moveTo>
                  <a:pt x="607257" y="0"/>
                </a:moveTo>
                <a:cubicBezTo>
                  <a:pt x="762708" y="-31"/>
                  <a:pt x="918164" y="24840"/>
                  <a:pt x="1067499" y="74613"/>
                </a:cubicBezTo>
                <a:lnTo>
                  <a:pt x="1214566" y="132686"/>
                </a:lnTo>
                <a:lnTo>
                  <a:pt x="1015550" y="566174"/>
                </a:lnTo>
                <a:lnTo>
                  <a:pt x="993058" y="555339"/>
                </a:lnTo>
                <a:cubicBezTo>
                  <a:pt x="875996" y="505826"/>
                  <a:pt x="747293" y="478446"/>
                  <a:pt x="612195" y="478446"/>
                </a:cubicBezTo>
                <a:cubicBezTo>
                  <a:pt x="477097" y="478446"/>
                  <a:pt x="348394" y="505826"/>
                  <a:pt x="231332" y="555339"/>
                </a:cubicBezTo>
                <a:lnTo>
                  <a:pt x="200876" y="570011"/>
                </a:lnTo>
                <a:lnTo>
                  <a:pt x="0" y="132924"/>
                </a:lnTo>
                <a:lnTo>
                  <a:pt x="147045" y="74793"/>
                </a:lnTo>
                <a:cubicBezTo>
                  <a:pt x="296360" y="24962"/>
                  <a:pt x="451806" y="30"/>
                  <a:pt x="607257" y="0"/>
                </a:cubicBezTo>
                <a:close/>
              </a:path>
            </a:pathLst>
          </a:custGeom>
          <a:solidFill>
            <a:srgbClr val="FF7F0E"/>
          </a:solidFill>
          <a:ln w="25400" cap="flat" cmpd="sng" algn="ctr">
            <a:noFill/>
            <a:prstDash val="solid"/>
          </a:ln>
          <a:effectLst/>
        </p:spPr>
        <p:txBody>
          <a:bodyPr rtlCol="0" anchor="ctr"/>
          <a:lstStyle/>
          <a:p>
            <a:pPr algn="ctr" defTabSz="914377">
              <a:defRPr/>
            </a:pPr>
            <a:endParaRPr lang="en-US" dirty="0">
              <a:solidFill>
                <a:prstClr val="white"/>
              </a:solidFill>
              <a:latin typeface="Calibri" panose="020F0502020204030204"/>
              <a:cs typeface="Sakkal Majalla"/>
            </a:endParaRPr>
          </a:p>
        </p:txBody>
      </p:sp>
      <p:sp>
        <p:nvSpPr>
          <p:cNvPr id="5" name="Freeform 14">
            <a:extLst>
              <a:ext uri="{FF2B5EF4-FFF2-40B4-BE49-F238E27FC236}">
                <a16:creationId xmlns:a16="http://schemas.microsoft.com/office/drawing/2014/main" id="{EB05E4D8-3EFF-50AE-B005-CA9B69223771}"/>
              </a:ext>
            </a:extLst>
          </p:cNvPr>
          <p:cNvSpPr/>
          <p:nvPr/>
        </p:nvSpPr>
        <p:spPr>
          <a:xfrm>
            <a:off x="2988078" y="506869"/>
            <a:ext cx="2203231" cy="1371064"/>
          </a:xfrm>
          <a:custGeom>
            <a:avLst/>
            <a:gdLst>
              <a:gd name="connsiteX0" fmla="*/ 1124048 w 2248193"/>
              <a:gd name="connsiteY0" fmla="*/ 0 h 1371064"/>
              <a:gd name="connsiteX1" fmla="*/ 2248193 w 2248193"/>
              <a:gd name="connsiteY1" fmla="*/ 245604 h 1371064"/>
              <a:gd name="connsiteX2" fmla="*/ 2076595 w 2248193"/>
              <a:gd name="connsiteY2" fmla="*/ 619371 h 1371064"/>
              <a:gd name="connsiteX3" fmla="*/ 2046636 w 2248193"/>
              <a:gd name="connsiteY3" fmla="*/ 616351 h 1371064"/>
              <a:gd name="connsiteX4" fmla="*/ 1820462 w 2248193"/>
              <a:gd name="connsiteY4" fmla="*/ 842525 h 1371064"/>
              <a:gd name="connsiteX5" fmla="*/ 1886707 w 2248193"/>
              <a:gd name="connsiteY5" fmla="*/ 1002454 h 1371064"/>
              <a:gd name="connsiteX6" fmla="*/ 1896871 w 2248193"/>
              <a:gd name="connsiteY6" fmla="*/ 1010840 h 1371064"/>
              <a:gd name="connsiteX7" fmla="*/ 1731600 w 2248193"/>
              <a:gd name="connsiteY7" fmla="*/ 1370826 h 1371064"/>
              <a:gd name="connsiteX8" fmla="*/ 1584533 w 2248193"/>
              <a:gd name="connsiteY8" fmla="*/ 1312753 h 1371064"/>
              <a:gd name="connsiteX9" fmla="*/ 664079 w 2248193"/>
              <a:gd name="connsiteY9" fmla="*/ 1312933 h 1371064"/>
              <a:gd name="connsiteX10" fmla="*/ 517034 w 2248193"/>
              <a:gd name="connsiteY10" fmla="*/ 1371064 h 1371064"/>
              <a:gd name="connsiteX11" fmla="*/ 361366 w 2248193"/>
              <a:gd name="connsiteY11" fmla="*/ 1032344 h 1371064"/>
              <a:gd name="connsiteX12" fmla="*/ 365552 w 2248193"/>
              <a:gd name="connsiteY12" fmla="*/ 1030072 h 1371064"/>
              <a:gd name="connsiteX13" fmla="*/ 465270 w 2248193"/>
              <a:gd name="connsiteY13" fmla="*/ 842525 h 1371064"/>
              <a:gd name="connsiteX14" fmla="*/ 239096 w 2248193"/>
              <a:gd name="connsiteY14" fmla="*/ 616351 h 1371064"/>
              <a:gd name="connsiteX15" fmla="*/ 193514 w 2248193"/>
              <a:gd name="connsiteY15" fmla="*/ 620946 h 1371064"/>
              <a:gd name="connsiteX16" fmla="*/ 174946 w 2248193"/>
              <a:gd name="connsiteY16" fmla="*/ 626710 h 1371064"/>
              <a:gd name="connsiteX17" fmla="*/ 0 w 2248193"/>
              <a:gd name="connsiteY17" fmla="*/ 246045 h 1371064"/>
              <a:gd name="connsiteX18" fmla="*/ 1124048 w 2248193"/>
              <a:gd name="connsiteY18" fmla="*/ 0 h 1371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48193" h="1371064">
                <a:moveTo>
                  <a:pt x="1124048" y="0"/>
                </a:moveTo>
                <a:cubicBezTo>
                  <a:pt x="1507707" y="-75"/>
                  <a:pt x="1891382" y="81791"/>
                  <a:pt x="2248193" y="245604"/>
                </a:cubicBezTo>
                <a:lnTo>
                  <a:pt x="2076595" y="619371"/>
                </a:lnTo>
                <a:lnTo>
                  <a:pt x="2046636" y="616351"/>
                </a:lnTo>
                <a:cubicBezTo>
                  <a:pt x="1921724" y="616351"/>
                  <a:pt x="1820462" y="717613"/>
                  <a:pt x="1820462" y="842525"/>
                </a:cubicBezTo>
                <a:cubicBezTo>
                  <a:pt x="1820462" y="904981"/>
                  <a:pt x="1845778" y="961524"/>
                  <a:pt x="1886707" y="1002454"/>
                </a:cubicBezTo>
                <a:lnTo>
                  <a:pt x="1896871" y="1010840"/>
                </a:lnTo>
                <a:lnTo>
                  <a:pt x="1731600" y="1370826"/>
                </a:lnTo>
                <a:lnTo>
                  <a:pt x="1584533" y="1312753"/>
                </a:lnTo>
                <a:cubicBezTo>
                  <a:pt x="1285864" y="1213207"/>
                  <a:pt x="962709" y="1213271"/>
                  <a:pt x="664079" y="1312933"/>
                </a:cubicBezTo>
                <a:lnTo>
                  <a:pt x="517034" y="1371064"/>
                </a:lnTo>
                <a:lnTo>
                  <a:pt x="361366" y="1032344"/>
                </a:lnTo>
                <a:lnTo>
                  <a:pt x="365552" y="1030072"/>
                </a:lnTo>
                <a:cubicBezTo>
                  <a:pt x="425715" y="989427"/>
                  <a:pt x="465270" y="920595"/>
                  <a:pt x="465270" y="842525"/>
                </a:cubicBezTo>
                <a:cubicBezTo>
                  <a:pt x="465270" y="717613"/>
                  <a:pt x="364008" y="616351"/>
                  <a:pt x="239096" y="616351"/>
                </a:cubicBezTo>
                <a:cubicBezTo>
                  <a:pt x="223482" y="616351"/>
                  <a:pt x="208238" y="617933"/>
                  <a:pt x="193514" y="620946"/>
                </a:cubicBezTo>
                <a:lnTo>
                  <a:pt x="174946" y="626710"/>
                </a:lnTo>
                <a:lnTo>
                  <a:pt x="0" y="246045"/>
                </a:lnTo>
                <a:cubicBezTo>
                  <a:pt x="356747" y="82092"/>
                  <a:pt x="740390" y="75"/>
                  <a:pt x="1124048" y="0"/>
                </a:cubicBezTo>
                <a:close/>
              </a:path>
            </a:pathLst>
          </a:custGeom>
          <a:solidFill>
            <a:srgbClr val="FFA015"/>
          </a:solidFill>
          <a:ln w="25400" cap="flat" cmpd="sng" algn="ctr">
            <a:noFill/>
            <a:prstDash val="solid"/>
          </a:ln>
          <a:effectLst>
            <a:outerShdw blurRad="63500" sx="102000" sy="102000" algn="ctr" rotWithShape="0">
              <a:prstClr val="black">
                <a:alpha val="40000"/>
              </a:prstClr>
            </a:outerShdw>
          </a:effectLst>
        </p:spPr>
        <p:txBody>
          <a:bodyPr rtlCol="0" anchor="ctr"/>
          <a:lstStyle/>
          <a:p>
            <a:pPr algn="ctr" defTabSz="914377">
              <a:defRPr/>
            </a:pPr>
            <a:endParaRPr lang="en-US" dirty="0">
              <a:solidFill>
                <a:prstClr val="white"/>
              </a:solidFill>
              <a:latin typeface="Calibri" panose="020F0502020204030204"/>
              <a:cs typeface="Sakkal Majalla"/>
            </a:endParaRPr>
          </a:p>
        </p:txBody>
      </p:sp>
      <p:sp>
        <p:nvSpPr>
          <p:cNvPr id="6" name="Freeform 25">
            <a:extLst>
              <a:ext uri="{FF2B5EF4-FFF2-40B4-BE49-F238E27FC236}">
                <a16:creationId xmlns:a16="http://schemas.microsoft.com/office/drawing/2014/main" id="{9094A5D5-6869-6E0C-782D-6792FC3E8DD2}"/>
              </a:ext>
            </a:extLst>
          </p:cNvPr>
          <p:cNvSpPr/>
          <p:nvPr/>
        </p:nvSpPr>
        <p:spPr>
          <a:xfrm rot="4321078">
            <a:off x="4814153" y="1224934"/>
            <a:ext cx="215337" cy="202173"/>
          </a:xfrm>
          <a:custGeom>
            <a:avLst/>
            <a:gdLst>
              <a:gd name="connsiteX0" fmla="*/ 1636602 w 1721346"/>
              <a:gd name="connsiteY0" fmla="*/ 0 h 1649096"/>
              <a:gd name="connsiteX1" fmla="*/ 1636602 w 1721346"/>
              <a:gd name="connsiteY1" fmla="*/ 478 h 1649096"/>
              <a:gd name="connsiteX2" fmla="*/ 1637079 w 1721346"/>
              <a:gd name="connsiteY2" fmla="*/ 453 h 1649096"/>
              <a:gd name="connsiteX3" fmla="*/ 1721346 w 1721346"/>
              <a:gd name="connsiteY3" fmla="*/ 1634884 h 1649096"/>
              <a:gd name="connsiteX4" fmla="*/ 1445695 w 1721346"/>
              <a:gd name="connsiteY4" fmla="*/ 1649096 h 1649096"/>
              <a:gd name="connsiteX5" fmla="*/ 1376095 w 1721346"/>
              <a:gd name="connsiteY5" fmla="*/ 299142 h 1649096"/>
              <a:gd name="connsiteX6" fmla="*/ 0 w 1721346"/>
              <a:gd name="connsiteY6" fmla="*/ 299142 h 1649096"/>
              <a:gd name="connsiteX7" fmla="*/ 0 w 1721346"/>
              <a:gd name="connsiteY7" fmla="*/ 0 h 1649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21346" h="1649096">
                <a:moveTo>
                  <a:pt x="1636602" y="0"/>
                </a:moveTo>
                <a:lnTo>
                  <a:pt x="1636602" y="478"/>
                </a:lnTo>
                <a:lnTo>
                  <a:pt x="1637079" y="453"/>
                </a:lnTo>
                <a:lnTo>
                  <a:pt x="1721346" y="1634884"/>
                </a:lnTo>
                <a:lnTo>
                  <a:pt x="1445695" y="1649096"/>
                </a:lnTo>
                <a:lnTo>
                  <a:pt x="1376095" y="299142"/>
                </a:lnTo>
                <a:lnTo>
                  <a:pt x="0" y="299142"/>
                </a:lnTo>
                <a:lnTo>
                  <a:pt x="0" y="0"/>
                </a:lnTo>
                <a:close/>
              </a:path>
            </a:pathLst>
          </a:custGeom>
          <a:solidFill>
            <a:srgbClr val="FEA211"/>
          </a:solidFill>
          <a:ln w="25400" cap="flat" cmpd="sng" algn="ctr">
            <a:noFill/>
            <a:prstDash val="solid"/>
          </a:ln>
          <a:effectLst/>
        </p:spPr>
        <p:txBody>
          <a:bodyPr rtlCol="0" anchor="ctr"/>
          <a:lstStyle/>
          <a:p>
            <a:pPr algn="ctr" defTabSz="914377">
              <a:defRPr/>
            </a:pPr>
            <a:endParaRPr lang="en-US" dirty="0">
              <a:solidFill>
                <a:prstClr val="white"/>
              </a:solidFill>
              <a:latin typeface="Calibri" panose="020F0502020204030204"/>
              <a:cs typeface="Sakkal Majalla"/>
            </a:endParaRPr>
          </a:p>
        </p:txBody>
      </p:sp>
      <p:sp>
        <p:nvSpPr>
          <p:cNvPr id="7" name="Freeform 31">
            <a:extLst>
              <a:ext uri="{FF2B5EF4-FFF2-40B4-BE49-F238E27FC236}">
                <a16:creationId xmlns:a16="http://schemas.microsoft.com/office/drawing/2014/main" id="{28ED7867-2B9E-7887-0756-CE87E7EA1C9F}"/>
              </a:ext>
            </a:extLst>
          </p:cNvPr>
          <p:cNvSpPr/>
          <p:nvPr/>
        </p:nvSpPr>
        <p:spPr>
          <a:xfrm rot="7479145">
            <a:off x="5957498" y="2621158"/>
            <a:ext cx="215337" cy="202173"/>
          </a:xfrm>
          <a:custGeom>
            <a:avLst/>
            <a:gdLst>
              <a:gd name="connsiteX0" fmla="*/ 1636602 w 1721346"/>
              <a:gd name="connsiteY0" fmla="*/ 0 h 1649096"/>
              <a:gd name="connsiteX1" fmla="*/ 1636602 w 1721346"/>
              <a:gd name="connsiteY1" fmla="*/ 478 h 1649096"/>
              <a:gd name="connsiteX2" fmla="*/ 1637079 w 1721346"/>
              <a:gd name="connsiteY2" fmla="*/ 453 h 1649096"/>
              <a:gd name="connsiteX3" fmla="*/ 1721346 w 1721346"/>
              <a:gd name="connsiteY3" fmla="*/ 1634884 h 1649096"/>
              <a:gd name="connsiteX4" fmla="*/ 1445695 w 1721346"/>
              <a:gd name="connsiteY4" fmla="*/ 1649096 h 1649096"/>
              <a:gd name="connsiteX5" fmla="*/ 1376095 w 1721346"/>
              <a:gd name="connsiteY5" fmla="*/ 299142 h 1649096"/>
              <a:gd name="connsiteX6" fmla="*/ 0 w 1721346"/>
              <a:gd name="connsiteY6" fmla="*/ 299142 h 1649096"/>
              <a:gd name="connsiteX7" fmla="*/ 0 w 1721346"/>
              <a:gd name="connsiteY7" fmla="*/ 0 h 1649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21346" h="1649096">
                <a:moveTo>
                  <a:pt x="1636602" y="0"/>
                </a:moveTo>
                <a:lnTo>
                  <a:pt x="1636602" y="478"/>
                </a:lnTo>
                <a:lnTo>
                  <a:pt x="1637079" y="453"/>
                </a:lnTo>
                <a:lnTo>
                  <a:pt x="1721346" y="1634884"/>
                </a:lnTo>
                <a:lnTo>
                  <a:pt x="1445695" y="1649096"/>
                </a:lnTo>
                <a:lnTo>
                  <a:pt x="1376095" y="299142"/>
                </a:lnTo>
                <a:lnTo>
                  <a:pt x="0" y="299142"/>
                </a:lnTo>
                <a:lnTo>
                  <a:pt x="0" y="0"/>
                </a:lnTo>
                <a:close/>
              </a:path>
            </a:pathLst>
          </a:custGeom>
          <a:solidFill>
            <a:srgbClr val="6D3154"/>
          </a:solidFill>
          <a:ln w="25400" cap="flat" cmpd="sng" algn="ctr">
            <a:noFill/>
            <a:prstDash val="solid"/>
          </a:ln>
          <a:effectLst/>
        </p:spPr>
        <p:txBody>
          <a:bodyPr rtlCol="0" anchor="ctr"/>
          <a:lstStyle/>
          <a:p>
            <a:pPr algn="ctr" defTabSz="914377">
              <a:defRPr/>
            </a:pPr>
            <a:endParaRPr lang="en-US" dirty="0">
              <a:solidFill>
                <a:prstClr val="white"/>
              </a:solidFill>
              <a:latin typeface="Calibri" panose="020F0502020204030204"/>
              <a:cs typeface="Sakkal Majalla"/>
            </a:endParaRPr>
          </a:p>
        </p:txBody>
      </p:sp>
      <p:sp>
        <p:nvSpPr>
          <p:cNvPr id="8" name="Freeform 37">
            <a:extLst>
              <a:ext uri="{FF2B5EF4-FFF2-40B4-BE49-F238E27FC236}">
                <a16:creationId xmlns:a16="http://schemas.microsoft.com/office/drawing/2014/main" id="{28EA028A-3733-BC9B-3E9A-6CA535D8A393}"/>
              </a:ext>
            </a:extLst>
          </p:cNvPr>
          <p:cNvSpPr/>
          <p:nvPr/>
        </p:nvSpPr>
        <p:spPr>
          <a:xfrm rot="6169819">
            <a:off x="4604885" y="3188248"/>
            <a:ext cx="1214567" cy="558611"/>
          </a:xfrm>
          <a:custGeom>
            <a:avLst/>
            <a:gdLst>
              <a:gd name="connsiteX0" fmla="*/ 607257 w 1214566"/>
              <a:gd name="connsiteY0" fmla="*/ 0 h 570011"/>
              <a:gd name="connsiteX1" fmla="*/ 1067499 w 1214566"/>
              <a:gd name="connsiteY1" fmla="*/ 74613 h 570011"/>
              <a:gd name="connsiteX2" fmla="*/ 1214566 w 1214566"/>
              <a:gd name="connsiteY2" fmla="*/ 132686 h 570011"/>
              <a:gd name="connsiteX3" fmla="*/ 1015550 w 1214566"/>
              <a:gd name="connsiteY3" fmla="*/ 566174 h 570011"/>
              <a:gd name="connsiteX4" fmla="*/ 993058 w 1214566"/>
              <a:gd name="connsiteY4" fmla="*/ 555339 h 570011"/>
              <a:gd name="connsiteX5" fmla="*/ 612195 w 1214566"/>
              <a:gd name="connsiteY5" fmla="*/ 478446 h 570011"/>
              <a:gd name="connsiteX6" fmla="*/ 231332 w 1214566"/>
              <a:gd name="connsiteY6" fmla="*/ 555339 h 570011"/>
              <a:gd name="connsiteX7" fmla="*/ 200876 w 1214566"/>
              <a:gd name="connsiteY7" fmla="*/ 570011 h 570011"/>
              <a:gd name="connsiteX8" fmla="*/ 0 w 1214566"/>
              <a:gd name="connsiteY8" fmla="*/ 132924 h 570011"/>
              <a:gd name="connsiteX9" fmla="*/ 147045 w 1214566"/>
              <a:gd name="connsiteY9" fmla="*/ 74793 h 570011"/>
              <a:gd name="connsiteX10" fmla="*/ 607257 w 1214566"/>
              <a:gd name="connsiteY10" fmla="*/ 0 h 570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4566" h="570011">
                <a:moveTo>
                  <a:pt x="607257" y="0"/>
                </a:moveTo>
                <a:cubicBezTo>
                  <a:pt x="762708" y="-31"/>
                  <a:pt x="918164" y="24840"/>
                  <a:pt x="1067499" y="74613"/>
                </a:cubicBezTo>
                <a:lnTo>
                  <a:pt x="1214566" y="132686"/>
                </a:lnTo>
                <a:lnTo>
                  <a:pt x="1015550" y="566174"/>
                </a:lnTo>
                <a:lnTo>
                  <a:pt x="993058" y="555339"/>
                </a:lnTo>
                <a:cubicBezTo>
                  <a:pt x="875996" y="505826"/>
                  <a:pt x="747293" y="478446"/>
                  <a:pt x="612195" y="478446"/>
                </a:cubicBezTo>
                <a:cubicBezTo>
                  <a:pt x="477097" y="478446"/>
                  <a:pt x="348394" y="505826"/>
                  <a:pt x="231332" y="555339"/>
                </a:cubicBezTo>
                <a:lnTo>
                  <a:pt x="200876" y="570011"/>
                </a:lnTo>
                <a:lnTo>
                  <a:pt x="0" y="132924"/>
                </a:lnTo>
                <a:lnTo>
                  <a:pt x="147045" y="74793"/>
                </a:lnTo>
                <a:cubicBezTo>
                  <a:pt x="296360" y="24962"/>
                  <a:pt x="451806" y="30"/>
                  <a:pt x="607257" y="0"/>
                </a:cubicBezTo>
                <a:close/>
              </a:path>
            </a:pathLst>
          </a:custGeom>
          <a:solidFill>
            <a:srgbClr val="7B2145"/>
          </a:solidFill>
          <a:ln w="25400" cap="flat" cmpd="sng" algn="ctr">
            <a:noFill/>
            <a:prstDash val="solid"/>
          </a:ln>
          <a:effectLst/>
        </p:spPr>
        <p:txBody>
          <a:bodyPr rtlCol="0" anchor="ctr"/>
          <a:lstStyle/>
          <a:p>
            <a:pPr algn="ctr" defTabSz="914377">
              <a:defRPr/>
            </a:pPr>
            <a:endParaRPr lang="en-US" dirty="0">
              <a:solidFill>
                <a:prstClr val="white"/>
              </a:solidFill>
              <a:latin typeface="Calibri" panose="020F0502020204030204"/>
              <a:cs typeface="Sakkal Majalla"/>
            </a:endParaRPr>
          </a:p>
        </p:txBody>
      </p:sp>
      <p:sp>
        <p:nvSpPr>
          <p:cNvPr id="9" name="Freeform 38">
            <a:extLst>
              <a:ext uri="{FF2B5EF4-FFF2-40B4-BE49-F238E27FC236}">
                <a16:creationId xmlns:a16="http://schemas.microsoft.com/office/drawing/2014/main" id="{CF8047E5-229C-D135-DB76-5E94FE918398}"/>
              </a:ext>
            </a:extLst>
          </p:cNvPr>
          <p:cNvSpPr/>
          <p:nvPr/>
        </p:nvSpPr>
        <p:spPr>
          <a:xfrm rot="6169819">
            <a:off x="4912633" y="2983299"/>
            <a:ext cx="2248193" cy="1343643"/>
          </a:xfrm>
          <a:custGeom>
            <a:avLst/>
            <a:gdLst>
              <a:gd name="connsiteX0" fmla="*/ 1124048 w 2248193"/>
              <a:gd name="connsiteY0" fmla="*/ 0 h 1371064"/>
              <a:gd name="connsiteX1" fmla="*/ 2248193 w 2248193"/>
              <a:gd name="connsiteY1" fmla="*/ 245604 h 1371064"/>
              <a:gd name="connsiteX2" fmla="*/ 2076595 w 2248193"/>
              <a:gd name="connsiteY2" fmla="*/ 619371 h 1371064"/>
              <a:gd name="connsiteX3" fmla="*/ 2046636 w 2248193"/>
              <a:gd name="connsiteY3" fmla="*/ 616351 h 1371064"/>
              <a:gd name="connsiteX4" fmla="*/ 1820462 w 2248193"/>
              <a:gd name="connsiteY4" fmla="*/ 842525 h 1371064"/>
              <a:gd name="connsiteX5" fmla="*/ 1886707 w 2248193"/>
              <a:gd name="connsiteY5" fmla="*/ 1002454 h 1371064"/>
              <a:gd name="connsiteX6" fmla="*/ 1896871 w 2248193"/>
              <a:gd name="connsiteY6" fmla="*/ 1010840 h 1371064"/>
              <a:gd name="connsiteX7" fmla="*/ 1731600 w 2248193"/>
              <a:gd name="connsiteY7" fmla="*/ 1370826 h 1371064"/>
              <a:gd name="connsiteX8" fmla="*/ 1584533 w 2248193"/>
              <a:gd name="connsiteY8" fmla="*/ 1312753 h 1371064"/>
              <a:gd name="connsiteX9" fmla="*/ 664079 w 2248193"/>
              <a:gd name="connsiteY9" fmla="*/ 1312933 h 1371064"/>
              <a:gd name="connsiteX10" fmla="*/ 517034 w 2248193"/>
              <a:gd name="connsiteY10" fmla="*/ 1371064 h 1371064"/>
              <a:gd name="connsiteX11" fmla="*/ 361366 w 2248193"/>
              <a:gd name="connsiteY11" fmla="*/ 1032344 h 1371064"/>
              <a:gd name="connsiteX12" fmla="*/ 365552 w 2248193"/>
              <a:gd name="connsiteY12" fmla="*/ 1030072 h 1371064"/>
              <a:gd name="connsiteX13" fmla="*/ 465270 w 2248193"/>
              <a:gd name="connsiteY13" fmla="*/ 842525 h 1371064"/>
              <a:gd name="connsiteX14" fmla="*/ 239096 w 2248193"/>
              <a:gd name="connsiteY14" fmla="*/ 616351 h 1371064"/>
              <a:gd name="connsiteX15" fmla="*/ 193514 w 2248193"/>
              <a:gd name="connsiteY15" fmla="*/ 620946 h 1371064"/>
              <a:gd name="connsiteX16" fmla="*/ 174946 w 2248193"/>
              <a:gd name="connsiteY16" fmla="*/ 626710 h 1371064"/>
              <a:gd name="connsiteX17" fmla="*/ 0 w 2248193"/>
              <a:gd name="connsiteY17" fmla="*/ 246045 h 1371064"/>
              <a:gd name="connsiteX18" fmla="*/ 1124048 w 2248193"/>
              <a:gd name="connsiteY18" fmla="*/ 0 h 1371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48193" h="1371064">
                <a:moveTo>
                  <a:pt x="1124048" y="0"/>
                </a:moveTo>
                <a:cubicBezTo>
                  <a:pt x="1507707" y="-75"/>
                  <a:pt x="1891382" y="81791"/>
                  <a:pt x="2248193" y="245604"/>
                </a:cubicBezTo>
                <a:lnTo>
                  <a:pt x="2076595" y="619371"/>
                </a:lnTo>
                <a:lnTo>
                  <a:pt x="2046636" y="616351"/>
                </a:lnTo>
                <a:cubicBezTo>
                  <a:pt x="1921724" y="616351"/>
                  <a:pt x="1820462" y="717613"/>
                  <a:pt x="1820462" y="842525"/>
                </a:cubicBezTo>
                <a:cubicBezTo>
                  <a:pt x="1820462" y="904981"/>
                  <a:pt x="1845778" y="961524"/>
                  <a:pt x="1886707" y="1002454"/>
                </a:cubicBezTo>
                <a:lnTo>
                  <a:pt x="1896871" y="1010840"/>
                </a:lnTo>
                <a:lnTo>
                  <a:pt x="1731600" y="1370826"/>
                </a:lnTo>
                <a:lnTo>
                  <a:pt x="1584533" y="1312753"/>
                </a:lnTo>
                <a:cubicBezTo>
                  <a:pt x="1285864" y="1213207"/>
                  <a:pt x="962709" y="1213271"/>
                  <a:pt x="664079" y="1312933"/>
                </a:cubicBezTo>
                <a:lnTo>
                  <a:pt x="517034" y="1371064"/>
                </a:lnTo>
                <a:lnTo>
                  <a:pt x="361366" y="1032344"/>
                </a:lnTo>
                <a:lnTo>
                  <a:pt x="365552" y="1030072"/>
                </a:lnTo>
                <a:cubicBezTo>
                  <a:pt x="425715" y="989427"/>
                  <a:pt x="465270" y="920595"/>
                  <a:pt x="465270" y="842525"/>
                </a:cubicBezTo>
                <a:cubicBezTo>
                  <a:pt x="465270" y="717613"/>
                  <a:pt x="364008" y="616351"/>
                  <a:pt x="239096" y="616351"/>
                </a:cubicBezTo>
                <a:cubicBezTo>
                  <a:pt x="223482" y="616351"/>
                  <a:pt x="208238" y="617933"/>
                  <a:pt x="193514" y="620946"/>
                </a:cubicBezTo>
                <a:lnTo>
                  <a:pt x="174946" y="626710"/>
                </a:lnTo>
                <a:lnTo>
                  <a:pt x="0" y="246045"/>
                </a:lnTo>
                <a:cubicBezTo>
                  <a:pt x="356747" y="82092"/>
                  <a:pt x="740390" y="75"/>
                  <a:pt x="1124048" y="0"/>
                </a:cubicBezTo>
                <a:close/>
              </a:path>
            </a:pathLst>
          </a:custGeom>
          <a:solidFill>
            <a:srgbClr val="9C3A6A"/>
          </a:solidFill>
          <a:ln w="25400" cap="flat" cmpd="sng" algn="ctr">
            <a:noFill/>
            <a:prstDash val="solid"/>
          </a:ln>
          <a:effectLst>
            <a:outerShdw blurRad="63500" sx="102000" sy="102000" algn="ctr" rotWithShape="0">
              <a:prstClr val="black">
                <a:alpha val="40000"/>
              </a:prstClr>
            </a:outerShdw>
          </a:effectLst>
        </p:spPr>
        <p:txBody>
          <a:bodyPr rtlCol="0" anchor="ctr"/>
          <a:lstStyle/>
          <a:p>
            <a:pPr algn="ctr" defTabSz="914377">
              <a:defRPr/>
            </a:pPr>
            <a:endParaRPr lang="en-US" dirty="0">
              <a:solidFill>
                <a:prstClr val="white"/>
              </a:solidFill>
              <a:latin typeface="Calibri" panose="020F0502020204030204"/>
              <a:cs typeface="Sakkal Majalla"/>
            </a:endParaRPr>
          </a:p>
        </p:txBody>
      </p:sp>
      <p:sp>
        <p:nvSpPr>
          <p:cNvPr id="10" name="Freeform 39">
            <a:extLst>
              <a:ext uri="{FF2B5EF4-FFF2-40B4-BE49-F238E27FC236}">
                <a16:creationId xmlns:a16="http://schemas.microsoft.com/office/drawing/2014/main" id="{9D8B2BDC-16AB-E023-5773-BE77706B68DA}"/>
              </a:ext>
            </a:extLst>
          </p:cNvPr>
          <p:cNvSpPr/>
          <p:nvPr/>
        </p:nvSpPr>
        <p:spPr>
          <a:xfrm rot="10490897">
            <a:off x="5599745" y="4350280"/>
            <a:ext cx="211031" cy="206299"/>
          </a:xfrm>
          <a:custGeom>
            <a:avLst/>
            <a:gdLst>
              <a:gd name="connsiteX0" fmla="*/ 1636602 w 1721346"/>
              <a:gd name="connsiteY0" fmla="*/ 0 h 1649096"/>
              <a:gd name="connsiteX1" fmla="*/ 1636602 w 1721346"/>
              <a:gd name="connsiteY1" fmla="*/ 478 h 1649096"/>
              <a:gd name="connsiteX2" fmla="*/ 1637079 w 1721346"/>
              <a:gd name="connsiteY2" fmla="*/ 453 h 1649096"/>
              <a:gd name="connsiteX3" fmla="*/ 1721346 w 1721346"/>
              <a:gd name="connsiteY3" fmla="*/ 1634884 h 1649096"/>
              <a:gd name="connsiteX4" fmla="*/ 1445695 w 1721346"/>
              <a:gd name="connsiteY4" fmla="*/ 1649096 h 1649096"/>
              <a:gd name="connsiteX5" fmla="*/ 1376095 w 1721346"/>
              <a:gd name="connsiteY5" fmla="*/ 299142 h 1649096"/>
              <a:gd name="connsiteX6" fmla="*/ 0 w 1721346"/>
              <a:gd name="connsiteY6" fmla="*/ 299142 h 1649096"/>
              <a:gd name="connsiteX7" fmla="*/ 0 w 1721346"/>
              <a:gd name="connsiteY7" fmla="*/ 0 h 1649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21346" h="1649096">
                <a:moveTo>
                  <a:pt x="1636602" y="0"/>
                </a:moveTo>
                <a:lnTo>
                  <a:pt x="1636602" y="478"/>
                </a:lnTo>
                <a:lnTo>
                  <a:pt x="1637079" y="453"/>
                </a:lnTo>
                <a:lnTo>
                  <a:pt x="1721346" y="1634884"/>
                </a:lnTo>
                <a:lnTo>
                  <a:pt x="1445695" y="1649096"/>
                </a:lnTo>
                <a:lnTo>
                  <a:pt x="1376095" y="299142"/>
                </a:lnTo>
                <a:lnTo>
                  <a:pt x="0" y="299142"/>
                </a:lnTo>
                <a:lnTo>
                  <a:pt x="0" y="0"/>
                </a:lnTo>
                <a:close/>
              </a:path>
            </a:pathLst>
          </a:custGeom>
          <a:solidFill>
            <a:srgbClr val="9D3968"/>
          </a:solidFill>
          <a:ln w="25400" cap="flat" cmpd="sng" algn="ctr">
            <a:noFill/>
            <a:prstDash val="solid"/>
          </a:ln>
          <a:effectLst/>
        </p:spPr>
        <p:txBody>
          <a:bodyPr rtlCol="0" anchor="ctr"/>
          <a:lstStyle/>
          <a:p>
            <a:pPr algn="ctr" defTabSz="914377">
              <a:defRPr/>
            </a:pPr>
            <a:endParaRPr lang="en-US" dirty="0">
              <a:solidFill>
                <a:prstClr val="white"/>
              </a:solidFill>
              <a:latin typeface="Calibri" panose="020F0502020204030204"/>
              <a:cs typeface="Sakkal Majalla"/>
            </a:endParaRPr>
          </a:p>
        </p:txBody>
      </p:sp>
      <p:sp>
        <p:nvSpPr>
          <p:cNvPr id="11" name="Freeform 59">
            <a:extLst>
              <a:ext uri="{FF2B5EF4-FFF2-40B4-BE49-F238E27FC236}">
                <a16:creationId xmlns:a16="http://schemas.microsoft.com/office/drawing/2014/main" id="{D492805D-47DF-005F-EE8F-7EAC85D4EE51}"/>
              </a:ext>
            </a:extLst>
          </p:cNvPr>
          <p:cNvSpPr/>
          <p:nvPr/>
        </p:nvSpPr>
        <p:spPr>
          <a:xfrm rot="16726332">
            <a:off x="2385766" y="4393646"/>
            <a:ext cx="215337" cy="202173"/>
          </a:xfrm>
          <a:custGeom>
            <a:avLst/>
            <a:gdLst>
              <a:gd name="connsiteX0" fmla="*/ 1636602 w 1721346"/>
              <a:gd name="connsiteY0" fmla="*/ 0 h 1649096"/>
              <a:gd name="connsiteX1" fmla="*/ 1636602 w 1721346"/>
              <a:gd name="connsiteY1" fmla="*/ 478 h 1649096"/>
              <a:gd name="connsiteX2" fmla="*/ 1637079 w 1721346"/>
              <a:gd name="connsiteY2" fmla="*/ 453 h 1649096"/>
              <a:gd name="connsiteX3" fmla="*/ 1721346 w 1721346"/>
              <a:gd name="connsiteY3" fmla="*/ 1634884 h 1649096"/>
              <a:gd name="connsiteX4" fmla="*/ 1445695 w 1721346"/>
              <a:gd name="connsiteY4" fmla="*/ 1649096 h 1649096"/>
              <a:gd name="connsiteX5" fmla="*/ 1376095 w 1721346"/>
              <a:gd name="connsiteY5" fmla="*/ 299142 h 1649096"/>
              <a:gd name="connsiteX6" fmla="*/ 0 w 1721346"/>
              <a:gd name="connsiteY6" fmla="*/ 299142 h 1649096"/>
              <a:gd name="connsiteX7" fmla="*/ 0 w 1721346"/>
              <a:gd name="connsiteY7" fmla="*/ 0 h 1649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21346" h="1649096">
                <a:moveTo>
                  <a:pt x="1636602" y="0"/>
                </a:moveTo>
                <a:lnTo>
                  <a:pt x="1636602" y="478"/>
                </a:lnTo>
                <a:lnTo>
                  <a:pt x="1637079" y="453"/>
                </a:lnTo>
                <a:lnTo>
                  <a:pt x="1721346" y="1634884"/>
                </a:lnTo>
                <a:lnTo>
                  <a:pt x="1445695" y="1649096"/>
                </a:lnTo>
                <a:lnTo>
                  <a:pt x="1376095" y="299142"/>
                </a:lnTo>
                <a:lnTo>
                  <a:pt x="0" y="299142"/>
                </a:lnTo>
                <a:lnTo>
                  <a:pt x="0" y="0"/>
                </a:lnTo>
                <a:close/>
              </a:path>
            </a:pathLst>
          </a:custGeom>
          <a:solidFill>
            <a:srgbClr val="E13E5A"/>
          </a:solidFill>
          <a:ln w="25400" cap="flat" cmpd="sng" algn="ctr">
            <a:noFill/>
            <a:prstDash val="solid"/>
          </a:ln>
          <a:effectLst/>
        </p:spPr>
        <p:txBody>
          <a:bodyPr rtlCol="0" anchor="ctr"/>
          <a:lstStyle/>
          <a:p>
            <a:pPr algn="ctr" defTabSz="914377">
              <a:defRPr/>
            </a:pPr>
            <a:endParaRPr lang="en-US" dirty="0">
              <a:solidFill>
                <a:prstClr val="white"/>
              </a:solidFill>
              <a:latin typeface="Calibri" panose="020F0502020204030204"/>
              <a:cs typeface="Sakkal Majalla"/>
            </a:endParaRPr>
          </a:p>
        </p:txBody>
      </p:sp>
      <p:sp>
        <p:nvSpPr>
          <p:cNvPr id="12" name="Freeform 54">
            <a:extLst>
              <a:ext uri="{FF2B5EF4-FFF2-40B4-BE49-F238E27FC236}">
                <a16:creationId xmlns:a16="http://schemas.microsoft.com/office/drawing/2014/main" id="{D137B6A2-2036-6C67-58B4-BD648B5B1F4E}"/>
              </a:ext>
            </a:extLst>
          </p:cNvPr>
          <p:cNvSpPr/>
          <p:nvPr/>
        </p:nvSpPr>
        <p:spPr>
          <a:xfrm rot="15417006">
            <a:off x="2335306" y="3169336"/>
            <a:ext cx="1214567" cy="558611"/>
          </a:xfrm>
          <a:custGeom>
            <a:avLst/>
            <a:gdLst>
              <a:gd name="connsiteX0" fmla="*/ 607257 w 1214566"/>
              <a:gd name="connsiteY0" fmla="*/ 0 h 570011"/>
              <a:gd name="connsiteX1" fmla="*/ 1067499 w 1214566"/>
              <a:gd name="connsiteY1" fmla="*/ 74613 h 570011"/>
              <a:gd name="connsiteX2" fmla="*/ 1214566 w 1214566"/>
              <a:gd name="connsiteY2" fmla="*/ 132686 h 570011"/>
              <a:gd name="connsiteX3" fmla="*/ 1015550 w 1214566"/>
              <a:gd name="connsiteY3" fmla="*/ 566174 h 570011"/>
              <a:gd name="connsiteX4" fmla="*/ 993058 w 1214566"/>
              <a:gd name="connsiteY4" fmla="*/ 555339 h 570011"/>
              <a:gd name="connsiteX5" fmla="*/ 612195 w 1214566"/>
              <a:gd name="connsiteY5" fmla="*/ 478446 h 570011"/>
              <a:gd name="connsiteX6" fmla="*/ 231332 w 1214566"/>
              <a:gd name="connsiteY6" fmla="*/ 555339 h 570011"/>
              <a:gd name="connsiteX7" fmla="*/ 200876 w 1214566"/>
              <a:gd name="connsiteY7" fmla="*/ 570011 h 570011"/>
              <a:gd name="connsiteX8" fmla="*/ 0 w 1214566"/>
              <a:gd name="connsiteY8" fmla="*/ 132924 h 570011"/>
              <a:gd name="connsiteX9" fmla="*/ 147045 w 1214566"/>
              <a:gd name="connsiteY9" fmla="*/ 74793 h 570011"/>
              <a:gd name="connsiteX10" fmla="*/ 607257 w 1214566"/>
              <a:gd name="connsiteY10" fmla="*/ 0 h 570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4566" h="570011">
                <a:moveTo>
                  <a:pt x="607257" y="0"/>
                </a:moveTo>
                <a:cubicBezTo>
                  <a:pt x="762708" y="-31"/>
                  <a:pt x="918164" y="24840"/>
                  <a:pt x="1067499" y="74613"/>
                </a:cubicBezTo>
                <a:lnTo>
                  <a:pt x="1214566" y="132686"/>
                </a:lnTo>
                <a:lnTo>
                  <a:pt x="1015550" y="566174"/>
                </a:lnTo>
                <a:lnTo>
                  <a:pt x="993058" y="555339"/>
                </a:lnTo>
                <a:cubicBezTo>
                  <a:pt x="875996" y="505826"/>
                  <a:pt x="747293" y="478446"/>
                  <a:pt x="612195" y="478446"/>
                </a:cubicBezTo>
                <a:cubicBezTo>
                  <a:pt x="477097" y="478446"/>
                  <a:pt x="348394" y="505826"/>
                  <a:pt x="231332" y="555339"/>
                </a:cubicBezTo>
                <a:lnTo>
                  <a:pt x="200876" y="570011"/>
                </a:lnTo>
                <a:lnTo>
                  <a:pt x="0" y="132924"/>
                </a:lnTo>
                <a:lnTo>
                  <a:pt x="147045" y="74793"/>
                </a:lnTo>
                <a:cubicBezTo>
                  <a:pt x="296360" y="24962"/>
                  <a:pt x="451806" y="30"/>
                  <a:pt x="607257" y="0"/>
                </a:cubicBezTo>
                <a:close/>
              </a:path>
            </a:pathLst>
          </a:custGeom>
          <a:solidFill>
            <a:srgbClr val="EC3C23"/>
          </a:solidFill>
          <a:ln w="25400" cap="flat" cmpd="sng" algn="ctr">
            <a:noFill/>
            <a:prstDash val="solid"/>
          </a:ln>
          <a:effectLst/>
        </p:spPr>
        <p:txBody>
          <a:bodyPr rtlCol="0" anchor="ctr"/>
          <a:lstStyle/>
          <a:p>
            <a:pPr algn="ctr" defTabSz="914377">
              <a:defRPr/>
            </a:pPr>
            <a:endParaRPr lang="en-US" dirty="0">
              <a:solidFill>
                <a:prstClr val="white"/>
              </a:solidFill>
              <a:latin typeface="Calibri" panose="020F0502020204030204"/>
              <a:cs typeface="Sakkal Majalla"/>
            </a:endParaRPr>
          </a:p>
        </p:txBody>
      </p:sp>
      <p:sp>
        <p:nvSpPr>
          <p:cNvPr id="13" name="Freeform 55">
            <a:extLst>
              <a:ext uri="{FF2B5EF4-FFF2-40B4-BE49-F238E27FC236}">
                <a16:creationId xmlns:a16="http://schemas.microsoft.com/office/drawing/2014/main" id="{820B1937-04DC-4EEA-29E3-1E1679C98C52}"/>
              </a:ext>
            </a:extLst>
          </p:cNvPr>
          <p:cNvSpPr/>
          <p:nvPr/>
        </p:nvSpPr>
        <p:spPr>
          <a:xfrm rot="15417006">
            <a:off x="1010365" y="2964359"/>
            <a:ext cx="2248193" cy="1343643"/>
          </a:xfrm>
          <a:custGeom>
            <a:avLst/>
            <a:gdLst>
              <a:gd name="connsiteX0" fmla="*/ 1124048 w 2248193"/>
              <a:gd name="connsiteY0" fmla="*/ 0 h 1371064"/>
              <a:gd name="connsiteX1" fmla="*/ 2248193 w 2248193"/>
              <a:gd name="connsiteY1" fmla="*/ 245604 h 1371064"/>
              <a:gd name="connsiteX2" fmla="*/ 2076595 w 2248193"/>
              <a:gd name="connsiteY2" fmla="*/ 619371 h 1371064"/>
              <a:gd name="connsiteX3" fmla="*/ 2046636 w 2248193"/>
              <a:gd name="connsiteY3" fmla="*/ 616351 h 1371064"/>
              <a:gd name="connsiteX4" fmla="*/ 1820462 w 2248193"/>
              <a:gd name="connsiteY4" fmla="*/ 842525 h 1371064"/>
              <a:gd name="connsiteX5" fmla="*/ 1886707 w 2248193"/>
              <a:gd name="connsiteY5" fmla="*/ 1002454 h 1371064"/>
              <a:gd name="connsiteX6" fmla="*/ 1896871 w 2248193"/>
              <a:gd name="connsiteY6" fmla="*/ 1010840 h 1371064"/>
              <a:gd name="connsiteX7" fmla="*/ 1731600 w 2248193"/>
              <a:gd name="connsiteY7" fmla="*/ 1370826 h 1371064"/>
              <a:gd name="connsiteX8" fmla="*/ 1584533 w 2248193"/>
              <a:gd name="connsiteY8" fmla="*/ 1312753 h 1371064"/>
              <a:gd name="connsiteX9" fmla="*/ 664079 w 2248193"/>
              <a:gd name="connsiteY9" fmla="*/ 1312933 h 1371064"/>
              <a:gd name="connsiteX10" fmla="*/ 517034 w 2248193"/>
              <a:gd name="connsiteY10" fmla="*/ 1371064 h 1371064"/>
              <a:gd name="connsiteX11" fmla="*/ 361366 w 2248193"/>
              <a:gd name="connsiteY11" fmla="*/ 1032344 h 1371064"/>
              <a:gd name="connsiteX12" fmla="*/ 365552 w 2248193"/>
              <a:gd name="connsiteY12" fmla="*/ 1030072 h 1371064"/>
              <a:gd name="connsiteX13" fmla="*/ 465270 w 2248193"/>
              <a:gd name="connsiteY13" fmla="*/ 842525 h 1371064"/>
              <a:gd name="connsiteX14" fmla="*/ 239096 w 2248193"/>
              <a:gd name="connsiteY14" fmla="*/ 616351 h 1371064"/>
              <a:gd name="connsiteX15" fmla="*/ 193514 w 2248193"/>
              <a:gd name="connsiteY15" fmla="*/ 620946 h 1371064"/>
              <a:gd name="connsiteX16" fmla="*/ 174946 w 2248193"/>
              <a:gd name="connsiteY16" fmla="*/ 626710 h 1371064"/>
              <a:gd name="connsiteX17" fmla="*/ 0 w 2248193"/>
              <a:gd name="connsiteY17" fmla="*/ 246045 h 1371064"/>
              <a:gd name="connsiteX18" fmla="*/ 1124048 w 2248193"/>
              <a:gd name="connsiteY18" fmla="*/ 0 h 1371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48193" h="1371064">
                <a:moveTo>
                  <a:pt x="1124048" y="0"/>
                </a:moveTo>
                <a:cubicBezTo>
                  <a:pt x="1507707" y="-75"/>
                  <a:pt x="1891382" y="81791"/>
                  <a:pt x="2248193" y="245604"/>
                </a:cubicBezTo>
                <a:lnTo>
                  <a:pt x="2076595" y="619371"/>
                </a:lnTo>
                <a:lnTo>
                  <a:pt x="2046636" y="616351"/>
                </a:lnTo>
                <a:cubicBezTo>
                  <a:pt x="1921724" y="616351"/>
                  <a:pt x="1820462" y="717613"/>
                  <a:pt x="1820462" y="842525"/>
                </a:cubicBezTo>
                <a:cubicBezTo>
                  <a:pt x="1820462" y="904981"/>
                  <a:pt x="1845778" y="961524"/>
                  <a:pt x="1886707" y="1002454"/>
                </a:cubicBezTo>
                <a:lnTo>
                  <a:pt x="1896871" y="1010840"/>
                </a:lnTo>
                <a:lnTo>
                  <a:pt x="1731600" y="1370826"/>
                </a:lnTo>
                <a:lnTo>
                  <a:pt x="1584533" y="1312753"/>
                </a:lnTo>
                <a:cubicBezTo>
                  <a:pt x="1285864" y="1213207"/>
                  <a:pt x="962709" y="1213271"/>
                  <a:pt x="664079" y="1312933"/>
                </a:cubicBezTo>
                <a:lnTo>
                  <a:pt x="517034" y="1371064"/>
                </a:lnTo>
                <a:lnTo>
                  <a:pt x="361366" y="1032344"/>
                </a:lnTo>
                <a:lnTo>
                  <a:pt x="365552" y="1030072"/>
                </a:lnTo>
                <a:cubicBezTo>
                  <a:pt x="425715" y="989427"/>
                  <a:pt x="465270" y="920595"/>
                  <a:pt x="465270" y="842525"/>
                </a:cubicBezTo>
                <a:cubicBezTo>
                  <a:pt x="465270" y="717613"/>
                  <a:pt x="364008" y="616351"/>
                  <a:pt x="239096" y="616351"/>
                </a:cubicBezTo>
                <a:cubicBezTo>
                  <a:pt x="223482" y="616351"/>
                  <a:pt x="208238" y="617933"/>
                  <a:pt x="193514" y="620946"/>
                </a:cubicBezTo>
                <a:lnTo>
                  <a:pt x="174946" y="626710"/>
                </a:lnTo>
                <a:lnTo>
                  <a:pt x="0" y="246045"/>
                </a:lnTo>
                <a:cubicBezTo>
                  <a:pt x="356747" y="82092"/>
                  <a:pt x="740390" y="75"/>
                  <a:pt x="1124048" y="0"/>
                </a:cubicBezTo>
                <a:close/>
              </a:path>
            </a:pathLst>
          </a:custGeom>
          <a:solidFill>
            <a:srgbClr val="F25C3C"/>
          </a:solidFill>
          <a:ln w="25400" cap="flat" cmpd="sng" algn="ctr">
            <a:noFill/>
            <a:prstDash val="solid"/>
          </a:ln>
          <a:effectLst>
            <a:outerShdw blurRad="63500" sx="102000" sy="102000" algn="ctr" rotWithShape="0">
              <a:prstClr val="black">
                <a:alpha val="40000"/>
              </a:prstClr>
            </a:outerShdw>
          </a:effectLst>
        </p:spPr>
        <p:txBody>
          <a:bodyPr rtlCol="0" anchor="ctr"/>
          <a:lstStyle/>
          <a:p>
            <a:pPr algn="ctr" defTabSz="914377">
              <a:defRPr/>
            </a:pPr>
            <a:endParaRPr lang="en-US" dirty="0">
              <a:solidFill>
                <a:prstClr val="white"/>
              </a:solidFill>
              <a:latin typeface="Calibri" panose="020F0502020204030204"/>
              <a:cs typeface="Sakkal Majalla"/>
            </a:endParaRPr>
          </a:p>
        </p:txBody>
      </p:sp>
      <p:sp>
        <p:nvSpPr>
          <p:cNvPr id="14" name="Freeform 56">
            <a:extLst>
              <a:ext uri="{FF2B5EF4-FFF2-40B4-BE49-F238E27FC236}">
                <a16:creationId xmlns:a16="http://schemas.microsoft.com/office/drawing/2014/main" id="{82ECBE55-09E7-F97C-AF37-486B2E12DC4C}"/>
              </a:ext>
            </a:extLst>
          </p:cNvPr>
          <p:cNvSpPr/>
          <p:nvPr/>
        </p:nvSpPr>
        <p:spPr>
          <a:xfrm rot="19738084">
            <a:off x="1955697" y="2674076"/>
            <a:ext cx="211031" cy="206299"/>
          </a:xfrm>
          <a:custGeom>
            <a:avLst/>
            <a:gdLst>
              <a:gd name="connsiteX0" fmla="*/ 1636602 w 1721346"/>
              <a:gd name="connsiteY0" fmla="*/ 0 h 1649096"/>
              <a:gd name="connsiteX1" fmla="*/ 1636602 w 1721346"/>
              <a:gd name="connsiteY1" fmla="*/ 478 h 1649096"/>
              <a:gd name="connsiteX2" fmla="*/ 1637079 w 1721346"/>
              <a:gd name="connsiteY2" fmla="*/ 453 h 1649096"/>
              <a:gd name="connsiteX3" fmla="*/ 1721346 w 1721346"/>
              <a:gd name="connsiteY3" fmla="*/ 1634884 h 1649096"/>
              <a:gd name="connsiteX4" fmla="*/ 1445695 w 1721346"/>
              <a:gd name="connsiteY4" fmla="*/ 1649096 h 1649096"/>
              <a:gd name="connsiteX5" fmla="*/ 1376095 w 1721346"/>
              <a:gd name="connsiteY5" fmla="*/ 299142 h 1649096"/>
              <a:gd name="connsiteX6" fmla="*/ 0 w 1721346"/>
              <a:gd name="connsiteY6" fmla="*/ 299142 h 1649096"/>
              <a:gd name="connsiteX7" fmla="*/ 0 w 1721346"/>
              <a:gd name="connsiteY7" fmla="*/ 0 h 1649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21346" h="1649096">
                <a:moveTo>
                  <a:pt x="1636602" y="0"/>
                </a:moveTo>
                <a:lnTo>
                  <a:pt x="1636602" y="478"/>
                </a:lnTo>
                <a:lnTo>
                  <a:pt x="1637079" y="453"/>
                </a:lnTo>
                <a:lnTo>
                  <a:pt x="1721346" y="1634884"/>
                </a:lnTo>
                <a:lnTo>
                  <a:pt x="1445695" y="1649096"/>
                </a:lnTo>
                <a:lnTo>
                  <a:pt x="1376095" y="299142"/>
                </a:lnTo>
                <a:lnTo>
                  <a:pt x="0" y="299142"/>
                </a:lnTo>
                <a:lnTo>
                  <a:pt x="0" y="0"/>
                </a:lnTo>
                <a:close/>
              </a:path>
            </a:pathLst>
          </a:custGeom>
          <a:solidFill>
            <a:srgbClr val="F25C3C"/>
          </a:solidFill>
          <a:ln w="25400" cap="flat" cmpd="sng" algn="ctr">
            <a:noFill/>
            <a:prstDash val="solid"/>
          </a:ln>
          <a:effectLst/>
        </p:spPr>
        <p:txBody>
          <a:bodyPr rtlCol="0" anchor="ctr"/>
          <a:lstStyle/>
          <a:p>
            <a:pPr algn="ctr" defTabSz="914377">
              <a:defRPr/>
            </a:pPr>
            <a:endParaRPr lang="en-US" dirty="0">
              <a:solidFill>
                <a:prstClr val="white"/>
              </a:solidFill>
              <a:latin typeface="Calibri" panose="020F0502020204030204"/>
              <a:cs typeface="Sakkal Majalla"/>
            </a:endParaRPr>
          </a:p>
        </p:txBody>
      </p:sp>
      <p:sp>
        <p:nvSpPr>
          <p:cNvPr id="15" name="Freeform 53">
            <a:extLst>
              <a:ext uri="{FF2B5EF4-FFF2-40B4-BE49-F238E27FC236}">
                <a16:creationId xmlns:a16="http://schemas.microsoft.com/office/drawing/2014/main" id="{DD1A9A4B-11A5-1685-E96F-28E851099874}"/>
              </a:ext>
            </a:extLst>
          </p:cNvPr>
          <p:cNvSpPr/>
          <p:nvPr/>
        </p:nvSpPr>
        <p:spPr>
          <a:xfrm rot="1241926">
            <a:off x="3036147" y="1264152"/>
            <a:ext cx="211031" cy="206299"/>
          </a:xfrm>
          <a:custGeom>
            <a:avLst/>
            <a:gdLst>
              <a:gd name="connsiteX0" fmla="*/ 1636602 w 1721346"/>
              <a:gd name="connsiteY0" fmla="*/ 0 h 1649096"/>
              <a:gd name="connsiteX1" fmla="*/ 1636602 w 1721346"/>
              <a:gd name="connsiteY1" fmla="*/ 478 h 1649096"/>
              <a:gd name="connsiteX2" fmla="*/ 1637079 w 1721346"/>
              <a:gd name="connsiteY2" fmla="*/ 453 h 1649096"/>
              <a:gd name="connsiteX3" fmla="*/ 1721346 w 1721346"/>
              <a:gd name="connsiteY3" fmla="*/ 1634884 h 1649096"/>
              <a:gd name="connsiteX4" fmla="*/ 1445695 w 1721346"/>
              <a:gd name="connsiteY4" fmla="*/ 1649096 h 1649096"/>
              <a:gd name="connsiteX5" fmla="*/ 1376095 w 1721346"/>
              <a:gd name="connsiteY5" fmla="*/ 299142 h 1649096"/>
              <a:gd name="connsiteX6" fmla="*/ 0 w 1721346"/>
              <a:gd name="connsiteY6" fmla="*/ 299142 h 1649096"/>
              <a:gd name="connsiteX7" fmla="*/ 0 w 1721346"/>
              <a:gd name="connsiteY7" fmla="*/ 0 h 1649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21346" h="1649096">
                <a:moveTo>
                  <a:pt x="1636602" y="0"/>
                </a:moveTo>
                <a:lnTo>
                  <a:pt x="1636602" y="478"/>
                </a:lnTo>
                <a:lnTo>
                  <a:pt x="1637079" y="453"/>
                </a:lnTo>
                <a:lnTo>
                  <a:pt x="1721346" y="1634884"/>
                </a:lnTo>
                <a:lnTo>
                  <a:pt x="1445695" y="1649096"/>
                </a:lnTo>
                <a:lnTo>
                  <a:pt x="1376095" y="299142"/>
                </a:lnTo>
                <a:lnTo>
                  <a:pt x="0" y="299142"/>
                </a:lnTo>
                <a:lnTo>
                  <a:pt x="0" y="0"/>
                </a:lnTo>
                <a:close/>
              </a:path>
            </a:pathLst>
          </a:custGeom>
          <a:solidFill>
            <a:srgbClr val="FF7340"/>
          </a:solidFill>
          <a:ln w="25400" cap="flat" cmpd="sng" algn="ctr">
            <a:noFill/>
            <a:prstDash val="solid"/>
          </a:ln>
          <a:effectLst/>
        </p:spPr>
        <p:txBody>
          <a:bodyPr rtlCol="0" anchor="ctr"/>
          <a:lstStyle/>
          <a:p>
            <a:pPr algn="ctr" defTabSz="914377">
              <a:defRPr/>
            </a:pPr>
            <a:endParaRPr lang="en-US" dirty="0">
              <a:solidFill>
                <a:prstClr val="white"/>
              </a:solidFill>
              <a:latin typeface="Calibri" panose="020F0502020204030204"/>
              <a:cs typeface="Sakkal Majalla"/>
            </a:endParaRPr>
          </a:p>
        </p:txBody>
      </p:sp>
      <p:sp>
        <p:nvSpPr>
          <p:cNvPr id="16" name="Freeform 62">
            <a:extLst>
              <a:ext uri="{FF2B5EF4-FFF2-40B4-BE49-F238E27FC236}">
                <a16:creationId xmlns:a16="http://schemas.microsoft.com/office/drawing/2014/main" id="{D3F0E5BC-B786-5949-04C5-7BFA8534FF4B}"/>
              </a:ext>
            </a:extLst>
          </p:cNvPr>
          <p:cNvSpPr/>
          <p:nvPr/>
        </p:nvSpPr>
        <p:spPr>
          <a:xfrm>
            <a:off x="3048074" y="2382234"/>
            <a:ext cx="1028077" cy="838767"/>
          </a:xfrm>
          <a:custGeom>
            <a:avLst/>
            <a:gdLst>
              <a:gd name="connsiteX0" fmla="*/ 0 w 1049058"/>
              <a:gd name="connsiteY0" fmla="*/ 0 h 838766"/>
              <a:gd name="connsiteX1" fmla="*/ 1049058 w 1049058"/>
              <a:gd name="connsiteY1" fmla="*/ 838766 h 838766"/>
              <a:gd name="connsiteX2" fmla="*/ 0 w 1049058"/>
              <a:gd name="connsiteY2" fmla="*/ 0 h 838766"/>
              <a:gd name="connsiteX3" fmla="*/ 0 w 1049058"/>
              <a:gd name="connsiteY3" fmla="*/ 0 h 838766"/>
            </a:gdLst>
            <a:ahLst/>
            <a:cxnLst>
              <a:cxn ang="0">
                <a:pos x="connsiteX0" y="connsiteY0"/>
              </a:cxn>
              <a:cxn ang="0">
                <a:pos x="connsiteX1" y="connsiteY1"/>
              </a:cxn>
              <a:cxn ang="0">
                <a:pos x="connsiteX2" y="connsiteY2"/>
              </a:cxn>
              <a:cxn ang="0">
                <a:pos x="connsiteX3" y="connsiteY3"/>
              </a:cxn>
            </a:cxnLst>
            <a:rect l="l" t="t" r="r" b="b"/>
            <a:pathLst>
              <a:path w="1049058" h="838766">
                <a:moveTo>
                  <a:pt x="0" y="0"/>
                </a:moveTo>
                <a:lnTo>
                  <a:pt x="1049058" y="838766"/>
                </a:lnTo>
                <a:lnTo>
                  <a:pt x="0" y="0"/>
                </a:lnTo>
                <a:lnTo>
                  <a:pt x="0" y="0"/>
                </a:lnTo>
                <a:close/>
              </a:path>
            </a:pathLst>
          </a:custGeom>
          <a:solidFill>
            <a:srgbClr val="72A376">
              <a:alpha val="66000"/>
            </a:srgbClr>
          </a:solidFill>
          <a:ln w="25400" cap="flat" cmpd="sng" algn="ctr">
            <a:noFill/>
            <a:prstDash val="solid"/>
          </a:ln>
          <a:effectLst/>
        </p:spPr>
        <p:txBody>
          <a:bodyPr rtlCol="0" anchor="ctr"/>
          <a:lstStyle/>
          <a:p>
            <a:pPr algn="ctr" defTabSz="914377">
              <a:defRPr/>
            </a:pPr>
            <a:endParaRPr lang="en-US" dirty="0">
              <a:solidFill>
                <a:prstClr val="black"/>
              </a:solidFill>
              <a:latin typeface="Calibri" panose="020F0502020204030204"/>
              <a:cs typeface="Sakkal Majalla"/>
            </a:endParaRPr>
          </a:p>
        </p:txBody>
      </p:sp>
      <p:pic>
        <p:nvPicPr>
          <p:cNvPr id="17" name="Picture 63">
            <a:extLst>
              <a:ext uri="{FF2B5EF4-FFF2-40B4-BE49-F238E27FC236}">
                <a16:creationId xmlns:a16="http://schemas.microsoft.com/office/drawing/2014/main" id="{D30EF658-4C4D-2F88-BB76-82038918A2E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998789" y="2355308"/>
            <a:ext cx="226825" cy="211704"/>
          </a:xfrm>
          <a:prstGeom prst="rect">
            <a:avLst/>
          </a:prstGeom>
        </p:spPr>
      </p:pic>
      <p:pic>
        <p:nvPicPr>
          <p:cNvPr id="18" name="Picture 66">
            <a:extLst>
              <a:ext uri="{FF2B5EF4-FFF2-40B4-BE49-F238E27FC236}">
                <a16:creationId xmlns:a16="http://schemas.microsoft.com/office/drawing/2014/main" id="{14699707-0B16-23E1-ED3F-B135600F4F9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32915" y="1889547"/>
            <a:ext cx="277479" cy="265755"/>
          </a:xfrm>
          <a:prstGeom prst="rect">
            <a:avLst/>
          </a:prstGeom>
        </p:spPr>
      </p:pic>
      <p:sp>
        <p:nvSpPr>
          <p:cNvPr id="19" name="TextBox 68">
            <a:extLst>
              <a:ext uri="{FF2B5EF4-FFF2-40B4-BE49-F238E27FC236}">
                <a16:creationId xmlns:a16="http://schemas.microsoft.com/office/drawing/2014/main" id="{81EC4DED-B580-C8F2-75EA-0E39E7007410}"/>
              </a:ext>
            </a:extLst>
          </p:cNvPr>
          <p:cNvSpPr txBox="1"/>
          <p:nvPr/>
        </p:nvSpPr>
        <p:spPr>
          <a:xfrm>
            <a:off x="3379285" y="751749"/>
            <a:ext cx="1410535" cy="666786"/>
          </a:xfrm>
          <a:prstGeom prst="rect">
            <a:avLst/>
          </a:prstGeom>
          <a:noFill/>
        </p:spPr>
        <p:txBody>
          <a:bodyPr wrap="square" rtlCol="0">
            <a:spAutoFit/>
          </a:bodyPr>
          <a:lstStyle/>
          <a:p>
            <a:pPr algn="ctr" defTabSz="914377">
              <a:defRPr/>
            </a:pPr>
            <a:r>
              <a:rPr lang="ar-SA" sz="3733" b="1" dirty="0">
                <a:solidFill>
                  <a:prstClr val="white"/>
                </a:solidFill>
                <a:latin typeface="Avenir Next" panose="020B0503020202020204" pitchFamily="34" charset="0"/>
                <a:cs typeface="Sakkal Majalla"/>
              </a:rPr>
              <a:t>المعايير </a:t>
            </a:r>
            <a:endParaRPr lang="en-US" sz="3733" b="1" dirty="0">
              <a:solidFill>
                <a:prstClr val="white"/>
              </a:solidFill>
              <a:latin typeface="Avenir Next" panose="020B0503020202020204" pitchFamily="34" charset="0"/>
              <a:cs typeface="Sakkal Majalla"/>
            </a:endParaRPr>
          </a:p>
        </p:txBody>
      </p:sp>
      <p:pic>
        <p:nvPicPr>
          <p:cNvPr id="20" name="Picture 69">
            <a:extLst>
              <a:ext uri="{FF2B5EF4-FFF2-40B4-BE49-F238E27FC236}">
                <a16:creationId xmlns:a16="http://schemas.microsoft.com/office/drawing/2014/main" id="{73089E07-0F79-D982-401F-A8CEFC7C5D4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70049" y="2337557"/>
            <a:ext cx="261903" cy="265755"/>
          </a:xfrm>
          <a:prstGeom prst="rect">
            <a:avLst/>
          </a:prstGeom>
        </p:spPr>
      </p:pic>
      <p:pic>
        <p:nvPicPr>
          <p:cNvPr id="21" name="Picture 72">
            <a:extLst>
              <a:ext uri="{FF2B5EF4-FFF2-40B4-BE49-F238E27FC236}">
                <a16:creationId xmlns:a16="http://schemas.microsoft.com/office/drawing/2014/main" id="{19456041-E41C-5340-C04A-CAE84B53058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090317" y="3339869"/>
            <a:ext cx="284737" cy="239992"/>
          </a:xfrm>
          <a:prstGeom prst="rect">
            <a:avLst/>
          </a:prstGeom>
        </p:spPr>
      </p:pic>
      <p:sp>
        <p:nvSpPr>
          <p:cNvPr id="22" name="TextBox 74">
            <a:extLst>
              <a:ext uri="{FF2B5EF4-FFF2-40B4-BE49-F238E27FC236}">
                <a16:creationId xmlns:a16="http://schemas.microsoft.com/office/drawing/2014/main" id="{2EF36E21-1935-F832-86F7-6F9A510D84EE}"/>
              </a:ext>
            </a:extLst>
          </p:cNvPr>
          <p:cNvSpPr txBox="1"/>
          <p:nvPr/>
        </p:nvSpPr>
        <p:spPr>
          <a:xfrm>
            <a:off x="5401641" y="3134003"/>
            <a:ext cx="1302735" cy="1077218"/>
          </a:xfrm>
          <a:prstGeom prst="rect">
            <a:avLst/>
          </a:prstGeom>
          <a:noFill/>
        </p:spPr>
        <p:txBody>
          <a:bodyPr wrap="square" rtlCol="0">
            <a:spAutoFit/>
          </a:bodyPr>
          <a:lstStyle/>
          <a:p>
            <a:pPr algn="ctr" defTabSz="914377">
              <a:defRPr/>
            </a:pPr>
            <a:r>
              <a:rPr lang="ar-SA" sz="3200" b="1" dirty="0">
                <a:solidFill>
                  <a:prstClr val="white"/>
                </a:solidFill>
                <a:latin typeface="Avenir Next" panose="020B0503020202020204" pitchFamily="34" charset="0"/>
                <a:cs typeface="Sakkal Majalla"/>
              </a:rPr>
              <a:t>التدريس</a:t>
            </a:r>
          </a:p>
          <a:p>
            <a:pPr algn="ctr" defTabSz="914377">
              <a:defRPr/>
            </a:pPr>
            <a:r>
              <a:rPr lang="ar-SA" sz="3200" b="1" dirty="0">
                <a:solidFill>
                  <a:prstClr val="white"/>
                </a:solidFill>
                <a:latin typeface="Avenir Next" panose="020B0503020202020204" pitchFamily="34" charset="0"/>
                <a:cs typeface="Sakkal Majalla"/>
              </a:rPr>
              <a:t>والتعلم</a:t>
            </a:r>
            <a:endParaRPr lang="en-US" sz="3200" b="1" dirty="0">
              <a:solidFill>
                <a:prstClr val="white"/>
              </a:solidFill>
              <a:latin typeface="Avenir Next" panose="020B0503020202020204" pitchFamily="34" charset="0"/>
              <a:cs typeface="Sakkal Majalla"/>
            </a:endParaRPr>
          </a:p>
        </p:txBody>
      </p:sp>
      <p:pic>
        <p:nvPicPr>
          <p:cNvPr id="23" name="Picture 75">
            <a:extLst>
              <a:ext uri="{FF2B5EF4-FFF2-40B4-BE49-F238E27FC236}">
                <a16:creationId xmlns:a16="http://schemas.microsoft.com/office/drawing/2014/main" id="{B6E39054-85D6-0095-6433-9726099E31C4}"/>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496226" y="4165372"/>
            <a:ext cx="207837" cy="207837"/>
          </a:xfrm>
          <a:prstGeom prst="rect">
            <a:avLst/>
          </a:prstGeom>
        </p:spPr>
      </p:pic>
      <p:pic>
        <p:nvPicPr>
          <p:cNvPr id="24" name="Picture 78">
            <a:extLst>
              <a:ext uri="{FF2B5EF4-FFF2-40B4-BE49-F238E27FC236}">
                <a16:creationId xmlns:a16="http://schemas.microsoft.com/office/drawing/2014/main" id="{2724F4EF-E532-E5CD-A865-56FFB561B557}"/>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399980" y="4155859"/>
            <a:ext cx="202203" cy="190971"/>
          </a:xfrm>
          <a:prstGeom prst="rect">
            <a:avLst/>
          </a:prstGeom>
        </p:spPr>
      </p:pic>
      <p:pic>
        <p:nvPicPr>
          <p:cNvPr id="25" name="Picture 81">
            <a:extLst>
              <a:ext uri="{FF2B5EF4-FFF2-40B4-BE49-F238E27FC236}">
                <a16:creationId xmlns:a16="http://schemas.microsoft.com/office/drawing/2014/main" id="{271DEA9A-C360-9027-1729-B743CBB72199}"/>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790526" y="3317531"/>
            <a:ext cx="216743" cy="177608"/>
          </a:xfrm>
          <a:prstGeom prst="rect">
            <a:avLst/>
          </a:prstGeom>
        </p:spPr>
      </p:pic>
      <p:sp>
        <p:nvSpPr>
          <p:cNvPr id="26" name="TextBox 83">
            <a:extLst>
              <a:ext uri="{FF2B5EF4-FFF2-40B4-BE49-F238E27FC236}">
                <a16:creationId xmlns:a16="http://schemas.microsoft.com/office/drawing/2014/main" id="{D5936E4E-11A0-D01A-C8DF-3756EB7AFBC4}"/>
              </a:ext>
            </a:extLst>
          </p:cNvPr>
          <p:cNvSpPr txBox="1"/>
          <p:nvPr/>
        </p:nvSpPr>
        <p:spPr>
          <a:xfrm>
            <a:off x="1411240" y="3281144"/>
            <a:ext cx="1197971" cy="584775"/>
          </a:xfrm>
          <a:prstGeom prst="rect">
            <a:avLst/>
          </a:prstGeom>
          <a:noFill/>
        </p:spPr>
        <p:txBody>
          <a:bodyPr wrap="square" rtlCol="0">
            <a:spAutoFit/>
          </a:bodyPr>
          <a:lstStyle/>
          <a:p>
            <a:pPr algn="ctr" defTabSz="914377">
              <a:defRPr/>
            </a:pPr>
            <a:r>
              <a:rPr lang="ar-SA" sz="3200" b="1" dirty="0">
                <a:solidFill>
                  <a:prstClr val="white"/>
                </a:solidFill>
                <a:latin typeface="Avenir Next" panose="020B0503020202020204" pitchFamily="34" charset="0"/>
                <a:cs typeface="Sakkal Majalla"/>
              </a:rPr>
              <a:t>التقويم</a:t>
            </a:r>
            <a:endParaRPr lang="en-US" sz="3200" b="1" dirty="0">
              <a:solidFill>
                <a:prstClr val="white"/>
              </a:solidFill>
              <a:latin typeface="Avenir Next" panose="020B0503020202020204" pitchFamily="34" charset="0"/>
              <a:cs typeface="Sakkal Majalla"/>
            </a:endParaRPr>
          </a:p>
        </p:txBody>
      </p:sp>
      <p:pic>
        <p:nvPicPr>
          <p:cNvPr id="27" name="Picture 84">
            <a:extLst>
              <a:ext uri="{FF2B5EF4-FFF2-40B4-BE49-F238E27FC236}">
                <a16:creationId xmlns:a16="http://schemas.microsoft.com/office/drawing/2014/main" id="{E0E7505A-E73B-8BA3-1536-670D18756F85}"/>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900573" y="2098990"/>
            <a:ext cx="2325571" cy="2252191"/>
          </a:xfrm>
          <a:prstGeom prst="rect">
            <a:avLst/>
          </a:prstGeom>
        </p:spPr>
      </p:pic>
      <p:sp>
        <p:nvSpPr>
          <p:cNvPr id="28" name="سهم إلى اليسار 26">
            <a:extLst>
              <a:ext uri="{FF2B5EF4-FFF2-40B4-BE49-F238E27FC236}">
                <a16:creationId xmlns:a16="http://schemas.microsoft.com/office/drawing/2014/main" id="{A21F2CE6-5E11-6BA8-CC6B-D24A0059825A}"/>
              </a:ext>
            </a:extLst>
          </p:cNvPr>
          <p:cNvSpPr/>
          <p:nvPr/>
        </p:nvSpPr>
        <p:spPr>
          <a:xfrm rot="2816834">
            <a:off x="4918017" y="1684141"/>
            <a:ext cx="1253436" cy="633252"/>
          </a:xfrm>
          <a:prstGeom prst="leftArrow">
            <a:avLst/>
          </a:prstGeom>
          <a:solidFill>
            <a:srgbClr val="72A376"/>
          </a:solidFill>
          <a:ln w="25400" cap="flat" cmpd="sng" algn="ctr">
            <a:solidFill>
              <a:srgbClr val="72A376">
                <a:shade val="50000"/>
              </a:srgbClr>
            </a:solidFill>
            <a:prstDash val="solid"/>
          </a:ln>
          <a:effectLst/>
        </p:spPr>
        <p:txBody>
          <a:bodyPr rtlCol="0" anchor="ctr"/>
          <a:lstStyle/>
          <a:p>
            <a:pPr algn="ctr">
              <a:buClrTx/>
              <a:buFontTx/>
              <a:buNone/>
              <a:defRPr/>
            </a:pPr>
            <a:endParaRPr lang="en-US" sz="2400" dirty="0">
              <a:solidFill>
                <a:prstClr val="white"/>
              </a:solidFill>
              <a:latin typeface="Sakkal Majalla"/>
              <a:cs typeface="Sakkal Majalla"/>
            </a:endParaRPr>
          </a:p>
        </p:txBody>
      </p:sp>
      <p:sp>
        <p:nvSpPr>
          <p:cNvPr id="29" name="سهم إلى اليسار 27">
            <a:extLst>
              <a:ext uri="{FF2B5EF4-FFF2-40B4-BE49-F238E27FC236}">
                <a16:creationId xmlns:a16="http://schemas.microsoft.com/office/drawing/2014/main" id="{9BA493FC-9EE8-4495-AB5F-FDFCCA6B470E}"/>
              </a:ext>
            </a:extLst>
          </p:cNvPr>
          <p:cNvSpPr/>
          <p:nvPr/>
        </p:nvSpPr>
        <p:spPr>
          <a:xfrm rot="10800000">
            <a:off x="3526148" y="4418392"/>
            <a:ext cx="1228368" cy="646176"/>
          </a:xfrm>
          <a:prstGeom prst="leftArrow">
            <a:avLst/>
          </a:prstGeom>
          <a:solidFill>
            <a:srgbClr val="72A376"/>
          </a:solidFill>
          <a:ln w="25400" cap="flat" cmpd="sng" algn="ctr">
            <a:solidFill>
              <a:srgbClr val="72A376">
                <a:shade val="50000"/>
              </a:srgbClr>
            </a:solidFill>
            <a:prstDash val="solid"/>
          </a:ln>
          <a:effectLst/>
        </p:spPr>
        <p:txBody>
          <a:bodyPr rtlCol="0" anchor="ctr"/>
          <a:lstStyle/>
          <a:p>
            <a:pPr algn="ctr">
              <a:buClrTx/>
              <a:buFontTx/>
              <a:buNone/>
              <a:defRPr/>
            </a:pPr>
            <a:endParaRPr lang="en-US" sz="2400" dirty="0">
              <a:solidFill>
                <a:prstClr val="white"/>
              </a:solidFill>
              <a:latin typeface="Sakkal Majalla"/>
              <a:cs typeface="Sakkal Majalla"/>
            </a:endParaRPr>
          </a:p>
        </p:txBody>
      </p:sp>
      <p:sp>
        <p:nvSpPr>
          <p:cNvPr id="30" name="سهم إلى اليسار 28">
            <a:extLst>
              <a:ext uri="{FF2B5EF4-FFF2-40B4-BE49-F238E27FC236}">
                <a16:creationId xmlns:a16="http://schemas.microsoft.com/office/drawing/2014/main" id="{C45F8289-CAAF-0B89-334E-D37EF130FAF5}"/>
              </a:ext>
            </a:extLst>
          </p:cNvPr>
          <p:cNvSpPr/>
          <p:nvPr/>
        </p:nvSpPr>
        <p:spPr>
          <a:xfrm rot="18571287">
            <a:off x="1844950" y="1595038"/>
            <a:ext cx="1253436" cy="633252"/>
          </a:xfrm>
          <a:prstGeom prst="leftArrow">
            <a:avLst/>
          </a:prstGeom>
          <a:solidFill>
            <a:srgbClr val="72A376"/>
          </a:solidFill>
          <a:ln w="25400" cap="flat" cmpd="sng" algn="ctr">
            <a:solidFill>
              <a:srgbClr val="72A376">
                <a:shade val="50000"/>
              </a:srgbClr>
            </a:solidFill>
            <a:prstDash val="solid"/>
          </a:ln>
          <a:effectLst/>
        </p:spPr>
        <p:txBody>
          <a:bodyPr rtlCol="0" anchor="ctr"/>
          <a:lstStyle/>
          <a:p>
            <a:pPr algn="ctr">
              <a:buClrTx/>
              <a:buFontTx/>
              <a:buNone/>
              <a:defRPr/>
            </a:pPr>
            <a:endParaRPr lang="en-US" sz="2400" dirty="0">
              <a:solidFill>
                <a:prstClr val="white"/>
              </a:solidFill>
              <a:latin typeface="Sakkal Majalla"/>
              <a:cs typeface="Sakkal Majalla"/>
            </a:endParaRPr>
          </a:p>
        </p:txBody>
      </p:sp>
      <p:sp>
        <p:nvSpPr>
          <p:cNvPr id="31" name="مستطيل 30">
            <a:extLst>
              <a:ext uri="{FF2B5EF4-FFF2-40B4-BE49-F238E27FC236}">
                <a16:creationId xmlns:a16="http://schemas.microsoft.com/office/drawing/2014/main" id="{7733C2E8-DCF3-B8E2-9877-3EFA98932A61}"/>
              </a:ext>
            </a:extLst>
          </p:cNvPr>
          <p:cNvSpPr/>
          <p:nvPr/>
        </p:nvSpPr>
        <p:spPr>
          <a:xfrm>
            <a:off x="6864086" y="1796820"/>
            <a:ext cx="4704524" cy="2554354"/>
          </a:xfrm>
          <a:prstGeom prst="rect">
            <a:avLst/>
          </a:prstGeom>
        </p:spPr>
        <p:txBody>
          <a:bodyPr wrap="square">
            <a:spAutoFit/>
          </a:bodyPr>
          <a:lstStyle/>
          <a:p>
            <a:pPr algn="ctr" rtl="1">
              <a:buClrTx/>
              <a:buFontTx/>
              <a:buNone/>
            </a:pPr>
            <a:r>
              <a:rPr lang="ar-SA" sz="5333" dirty="0">
                <a:solidFill>
                  <a:prstClr val="black"/>
                </a:solidFill>
                <a:latin typeface="Sakkal Majalla"/>
                <a:cs typeface="Sakkal Majalla"/>
              </a:rPr>
              <a:t>المعايير تقود التقويم</a:t>
            </a:r>
          </a:p>
          <a:p>
            <a:pPr algn="ctr" rtl="1">
              <a:buClrTx/>
              <a:buFontTx/>
              <a:buNone/>
            </a:pPr>
            <a:r>
              <a:rPr lang="ar-SA" sz="5333" dirty="0">
                <a:solidFill>
                  <a:prstClr val="black"/>
                </a:solidFill>
                <a:latin typeface="Sakkal Majalla"/>
                <a:cs typeface="Sakkal Majalla"/>
              </a:rPr>
              <a:t> والتقويم يقود التدريس </a:t>
            </a:r>
          </a:p>
          <a:p>
            <a:pPr algn="ctr" rtl="1">
              <a:buClrTx/>
              <a:buFontTx/>
              <a:buNone/>
            </a:pPr>
            <a:r>
              <a:rPr lang="ar-SA" sz="5333" dirty="0">
                <a:solidFill>
                  <a:prstClr val="black"/>
                </a:solidFill>
                <a:latin typeface="Sakkal Majalla"/>
                <a:cs typeface="Sakkal Majalla"/>
              </a:rPr>
              <a:t>والتدريس يقود التعلم</a:t>
            </a:r>
          </a:p>
        </p:txBody>
      </p:sp>
    </p:spTree>
    <p:extLst>
      <p:ext uri="{BB962C8B-B14F-4D97-AF65-F5344CB8AC3E}">
        <p14:creationId xmlns:p14="http://schemas.microsoft.com/office/powerpoint/2010/main" val="19605796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grpId="0" nodeType="click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circle(in)">
                                      <p:cBhvr>
                                        <p:cTn id="7" dur="2000"/>
                                        <p:tgtEl>
                                          <p:spTgt spid="31"/>
                                        </p:tgtEl>
                                      </p:cBhvr>
                                    </p:animEffect>
                                  </p:childTnLst>
                                </p:cTn>
                              </p:par>
                            </p:childTnLst>
                          </p:cTn>
                        </p:par>
                      </p:childTnLst>
                    </p:cTn>
                  </p:par>
                  <p:par>
                    <p:cTn id="8" fill="hold">
                      <p:stCondLst>
                        <p:cond delay="indefinite"/>
                      </p:stCondLst>
                      <p:childTnLst>
                        <p:par>
                          <p:cTn id="9" fill="hold">
                            <p:stCondLst>
                              <p:cond delay="0"/>
                            </p:stCondLst>
                            <p:childTnLst>
                              <p:par>
                                <p:cTn id="10" presetID="6" presetClass="entr" presetSubtype="16" fill="hold"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circle(in)">
                                      <p:cBhvr>
                                        <p:cTn id="12" dur="2000"/>
                                        <p:tgtEl>
                                          <p:spTgt spid="27"/>
                                        </p:tgtEl>
                                      </p:cBhvr>
                                    </p:animEffect>
                                  </p:childTnLst>
                                </p:cTn>
                              </p:par>
                            </p:childTnLst>
                          </p:cTn>
                        </p:par>
                      </p:childTnLst>
                    </p:cTn>
                  </p:par>
                  <p:par>
                    <p:cTn id="13" fill="hold">
                      <p:stCondLst>
                        <p:cond delay="indefinite"/>
                      </p:stCondLst>
                      <p:childTnLst>
                        <p:par>
                          <p:cTn id="14" fill="hold">
                            <p:stCondLst>
                              <p:cond delay="0"/>
                            </p:stCondLst>
                            <p:childTnLst>
                              <p:par>
                                <p:cTn id="15" presetID="53" presetClass="entr" presetSubtype="16" fill="hold" grpId="0" nodeType="clickEffect">
                                  <p:stCondLst>
                                    <p:cond delay="0"/>
                                  </p:stCondLst>
                                  <p:childTnLst>
                                    <p:set>
                                      <p:cBhvr>
                                        <p:cTn id="16" dur="1" fill="hold">
                                          <p:stCondLst>
                                            <p:cond delay="0"/>
                                          </p:stCondLst>
                                        </p:cTn>
                                        <p:tgtEl>
                                          <p:spTgt spid="4"/>
                                        </p:tgtEl>
                                        <p:attrNameLst>
                                          <p:attrName>style.visibility</p:attrName>
                                        </p:attrNameLst>
                                      </p:cBhvr>
                                      <p:to>
                                        <p:strVal val="visible"/>
                                      </p:to>
                                    </p:set>
                                    <p:anim calcmode="lin" valueType="num">
                                      <p:cBhvr>
                                        <p:cTn id="17" dur="500" fill="hold"/>
                                        <p:tgtEl>
                                          <p:spTgt spid="4"/>
                                        </p:tgtEl>
                                        <p:attrNameLst>
                                          <p:attrName>ppt_w</p:attrName>
                                        </p:attrNameLst>
                                      </p:cBhvr>
                                      <p:tavLst>
                                        <p:tav tm="0">
                                          <p:val>
                                            <p:fltVal val="0"/>
                                          </p:val>
                                        </p:tav>
                                        <p:tav tm="100000">
                                          <p:val>
                                            <p:strVal val="#ppt_w"/>
                                          </p:val>
                                        </p:tav>
                                      </p:tavLst>
                                    </p:anim>
                                    <p:anim calcmode="lin" valueType="num">
                                      <p:cBhvr>
                                        <p:cTn id="18" dur="500" fill="hold"/>
                                        <p:tgtEl>
                                          <p:spTgt spid="4"/>
                                        </p:tgtEl>
                                        <p:attrNameLst>
                                          <p:attrName>ppt_h</p:attrName>
                                        </p:attrNameLst>
                                      </p:cBhvr>
                                      <p:tavLst>
                                        <p:tav tm="0">
                                          <p:val>
                                            <p:fltVal val="0"/>
                                          </p:val>
                                        </p:tav>
                                        <p:tav tm="100000">
                                          <p:val>
                                            <p:strVal val="#ppt_h"/>
                                          </p:val>
                                        </p:tav>
                                      </p:tavLst>
                                    </p:anim>
                                    <p:animEffect transition="in" filter="fade">
                                      <p:cBhvr>
                                        <p:cTn id="19" dur="500"/>
                                        <p:tgtEl>
                                          <p:spTgt spid="4"/>
                                        </p:tgtEl>
                                      </p:cBhvr>
                                    </p:animEffect>
                                  </p:childTnLst>
                                </p:cTn>
                              </p:par>
                            </p:childTnLst>
                          </p:cTn>
                        </p:par>
                        <p:par>
                          <p:cTn id="20" fill="hold">
                            <p:stCondLst>
                              <p:cond delay="500"/>
                            </p:stCondLst>
                            <p:childTnLst>
                              <p:par>
                                <p:cTn id="21" presetID="53" presetClass="entr" presetSubtype="16" fill="hold" grpId="0" nodeType="afterEffect">
                                  <p:stCondLst>
                                    <p:cond delay="0"/>
                                  </p:stCondLst>
                                  <p:childTnLst>
                                    <p:set>
                                      <p:cBhvr>
                                        <p:cTn id="22" dur="1" fill="hold">
                                          <p:stCondLst>
                                            <p:cond delay="0"/>
                                          </p:stCondLst>
                                        </p:cTn>
                                        <p:tgtEl>
                                          <p:spTgt spid="5"/>
                                        </p:tgtEl>
                                        <p:attrNameLst>
                                          <p:attrName>style.visibility</p:attrName>
                                        </p:attrNameLst>
                                      </p:cBhvr>
                                      <p:to>
                                        <p:strVal val="visible"/>
                                      </p:to>
                                    </p:set>
                                    <p:anim calcmode="lin" valueType="num">
                                      <p:cBhvr>
                                        <p:cTn id="23" dur="500" fill="hold"/>
                                        <p:tgtEl>
                                          <p:spTgt spid="5"/>
                                        </p:tgtEl>
                                        <p:attrNameLst>
                                          <p:attrName>ppt_w</p:attrName>
                                        </p:attrNameLst>
                                      </p:cBhvr>
                                      <p:tavLst>
                                        <p:tav tm="0">
                                          <p:val>
                                            <p:fltVal val="0"/>
                                          </p:val>
                                        </p:tav>
                                        <p:tav tm="100000">
                                          <p:val>
                                            <p:strVal val="#ppt_w"/>
                                          </p:val>
                                        </p:tav>
                                      </p:tavLst>
                                    </p:anim>
                                    <p:anim calcmode="lin" valueType="num">
                                      <p:cBhvr>
                                        <p:cTn id="24" dur="500" fill="hold"/>
                                        <p:tgtEl>
                                          <p:spTgt spid="5"/>
                                        </p:tgtEl>
                                        <p:attrNameLst>
                                          <p:attrName>ppt_h</p:attrName>
                                        </p:attrNameLst>
                                      </p:cBhvr>
                                      <p:tavLst>
                                        <p:tav tm="0">
                                          <p:val>
                                            <p:fltVal val="0"/>
                                          </p:val>
                                        </p:tav>
                                        <p:tav tm="100000">
                                          <p:val>
                                            <p:strVal val="#ppt_h"/>
                                          </p:val>
                                        </p:tav>
                                      </p:tavLst>
                                    </p:anim>
                                    <p:animEffect transition="in" filter="fade">
                                      <p:cBhvr>
                                        <p:cTn id="25" dur="500"/>
                                        <p:tgtEl>
                                          <p:spTgt spid="5"/>
                                        </p:tgtEl>
                                      </p:cBhvr>
                                    </p:animEffect>
                                  </p:childTnLst>
                                </p:cTn>
                              </p:par>
                            </p:childTnLst>
                          </p:cTn>
                        </p:par>
                        <p:par>
                          <p:cTn id="26" fill="hold">
                            <p:stCondLst>
                              <p:cond delay="1000"/>
                            </p:stCondLst>
                            <p:childTnLst>
                              <p:par>
                                <p:cTn id="27" presetID="53" presetClass="entr" presetSubtype="16" fill="hold" nodeType="afterEffect">
                                  <p:stCondLst>
                                    <p:cond delay="0"/>
                                  </p:stCondLst>
                                  <p:childTnLst>
                                    <p:set>
                                      <p:cBhvr>
                                        <p:cTn id="28" dur="1" fill="hold">
                                          <p:stCondLst>
                                            <p:cond delay="0"/>
                                          </p:stCondLst>
                                        </p:cTn>
                                        <p:tgtEl>
                                          <p:spTgt spid="18"/>
                                        </p:tgtEl>
                                        <p:attrNameLst>
                                          <p:attrName>style.visibility</p:attrName>
                                        </p:attrNameLst>
                                      </p:cBhvr>
                                      <p:to>
                                        <p:strVal val="visible"/>
                                      </p:to>
                                    </p:set>
                                    <p:anim calcmode="lin" valueType="num">
                                      <p:cBhvr>
                                        <p:cTn id="29" dur="500" fill="hold"/>
                                        <p:tgtEl>
                                          <p:spTgt spid="18"/>
                                        </p:tgtEl>
                                        <p:attrNameLst>
                                          <p:attrName>ppt_w</p:attrName>
                                        </p:attrNameLst>
                                      </p:cBhvr>
                                      <p:tavLst>
                                        <p:tav tm="0">
                                          <p:val>
                                            <p:fltVal val="0"/>
                                          </p:val>
                                        </p:tav>
                                        <p:tav tm="100000">
                                          <p:val>
                                            <p:strVal val="#ppt_w"/>
                                          </p:val>
                                        </p:tav>
                                      </p:tavLst>
                                    </p:anim>
                                    <p:anim calcmode="lin" valueType="num">
                                      <p:cBhvr>
                                        <p:cTn id="30" dur="500" fill="hold"/>
                                        <p:tgtEl>
                                          <p:spTgt spid="18"/>
                                        </p:tgtEl>
                                        <p:attrNameLst>
                                          <p:attrName>ppt_h</p:attrName>
                                        </p:attrNameLst>
                                      </p:cBhvr>
                                      <p:tavLst>
                                        <p:tav tm="0">
                                          <p:val>
                                            <p:fltVal val="0"/>
                                          </p:val>
                                        </p:tav>
                                        <p:tav tm="100000">
                                          <p:val>
                                            <p:strVal val="#ppt_h"/>
                                          </p:val>
                                        </p:tav>
                                      </p:tavLst>
                                    </p:anim>
                                    <p:animEffect transition="in" filter="fade">
                                      <p:cBhvr>
                                        <p:cTn id="31" dur="500"/>
                                        <p:tgtEl>
                                          <p:spTgt spid="18"/>
                                        </p:tgtEl>
                                      </p:cBhvr>
                                    </p:animEffect>
                                  </p:childTnLst>
                                </p:cTn>
                              </p:par>
                            </p:childTnLst>
                          </p:cTn>
                        </p:par>
                        <p:par>
                          <p:cTn id="32" fill="hold">
                            <p:stCondLst>
                              <p:cond delay="1500"/>
                            </p:stCondLst>
                            <p:childTnLst>
                              <p:par>
                                <p:cTn id="33" presetID="53" presetClass="entr" presetSubtype="16" fill="hold" grpId="0" nodeType="afterEffect">
                                  <p:stCondLst>
                                    <p:cond delay="0"/>
                                  </p:stCondLst>
                                  <p:childTnLst>
                                    <p:set>
                                      <p:cBhvr>
                                        <p:cTn id="34" dur="1" fill="hold">
                                          <p:stCondLst>
                                            <p:cond delay="0"/>
                                          </p:stCondLst>
                                        </p:cTn>
                                        <p:tgtEl>
                                          <p:spTgt spid="19"/>
                                        </p:tgtEl>
                                        <p:attrNameLst>
                                          <p:attrName>style.visibility</p:attrName>
                                        </p:attrNameLst>
                                      </p:cBhvr>
                                      <p:to>
                                        <p:strVal val="visible"/>
                                      </p:to>
                                    </p:set>
                                    <p:anim calcmode="lin" valueType="num">
                                      <p:cBhvr>
                                        <p:cTn id="35" dur="500" fill="hold"/>
                                        <p:tgtEl>
                                          <p:spTgt spid="19"/>
                                        </p:tgtEl>
                                        <p:attrNameLst>
                                          <p:attrName>ppt_w</p:attrName>
                                        </p:attrNameLst>
                                      </p:cBhvr>
                                      <p:tavLst>
                                        <p:tav tm="0">
                                          <p:val>
                                            <p:fltVal val="0"/>
                                          </p:val>
                                        </p:tav>
                                        <p:tav tm="100000">
                                          <p:val>
                                            <p:strVal val="#ppt_w"/>
                                          </p:val>
                                        </p:tav>
                                      </p:tavLst>
                                    </p:anim>
                                    <p:anim calcmode="lin" valueType="num">
                                      <p:cBhvr>
                                        <p:cTn id="36" dur="500" fill="hold"/>
                                        <p:tgtEl>
                                          <p:spTgt spid="19"/>
                                        </p:tgtEl>
                                        <p:attrNameLst>
                                          <p:attrName>ppt_h</p:attrName>
                                        </p:attrNameLst>
                                      </p:cBhvr>
                                      <p:tavLst>
                                        <p:tav tm="0">
                                          <p:val>
                                            <p:fltVal val="0"/>
                                          </p:val>
                                        </p:tav>
                                        <p:tav tm="100000">
                                          <p:val>
                                            <p:strVal val="#ppt_h"/>
                                          </p:val>
                                        </p:tav>
                                      </p:tavLst>
                                    </p:anim>
                                    <p:animEffect transition="in" filter="fade">
                                      <p:cBhvr>
                                        <p:cTn id="37" dur="500"/>
                                        <p:tgtEl>
                                          <p:spTgt spid="19"/>
                                        </p:tgtEl>
                                      </p:cBhvr>
                                    </p:animEffect>
                                  </p:childTnLst>
                                </p:cTn>
                              </p:par>
                            </p:childTnLst>
                          </p:cTn>
                        </p:par>
                      </p:childTnLst>
                    </p:cTn>
                  </p:par>
                  <p:par>
                    <p:cTn id="38" fill="hold">
                      <p:stCondLst>
                        <p:cond delay="indefinite"/>
                      </p:stCondLst>
                      <p:childTnLst>
                        <p:par>
                          <p:cTn id="39" fill="hold">
                            <p:stCondLst>
                              <p:cond delay="0"/>
                            </p:stCondLst>
                            <p:childTnLst>
                              <p:par>
                                <p:cTn id="40" presetID="53" presetClass="entr" presetSubtype="16" fill="hold" grpId="0" nodeType="clickEffect">
                                  <p:stCondLst>
                                    <p:cond delay="0"/>
                                  </p:stCondLst>
                                  <p:childTnLst>
                                    <p:set>
                                      <p:cBhvr>
                                        <p:cTn id="41" dur="1" fill="hold">
                                          <p:stCondLst>
                                            <p:cond delay="0"/>
                                          </p:stCondLst>
                                        </p:cTn>
                                        <p:tgtEl>
                                          <p:spTgt spid="6"/>
                                        </p:tgtEl>
                                        <p:attrNameLst>
                                          <p:attrName>style.visibility</p:attrName>
                                        </p:attrNameLst>
                                      </p:cBhvr>
                                      <p:to>
                                        <p:strVal val="visible"/>
                                      </p:to>
                                    </p:set>
                                    <p:anim calcmode="lin" valueType="num">
                                      <p:cBhvr>
                                        <p:cTn id="42" dur="500" fill="hold"/>
                                        <p:tgtEl>
                                          <p:spTgt spid="6"/>
                                        </p:tgtEl>
                                        <p:attrNameLst>
                                          <p:attrName>ppt_w</p:attrName>
                                        </p:attrNameLst>
                                      </p:cBhvr>
                                      <p:tavLst>
                                        <p:tav tm="0">
                                          <p:val>
                                            <p:fltVal val="0"/>
                                          </p:val>
                                        </p:tav>
                                        <p:tav tm="100000">
                                          <p:val>
                                            <p:strVal val="#ppt_w"/>
                                          </p:val>
                                        </p:tav>
                                      </p:tavLst>
                                    </p:anim>
                                    <p:anim calcmode="lin" valueType="num">
                                      <p:cBhvr>
                                        <p:cTn id="43" dur="500" fill="hold"/>
                                        <p:tgtEl>
                                          <p:spTgt spid="6"/>
                                        </p:tgtEl>
                                        <p:attrNameLst>
                                          <p:attrName>ppt_h</p:attrName>
                                        </p:attrNameLst>
                                      </p:cBhvr>
                                      <p:tavLst>
                                        <p:tav tm="0">
                                          <p:val>
                                            <p:fltVal val="0"/>
                                          </p:val>
                                        </p:tav>
                                        <p:tav tm="100000">
                                          <p:val>
                                            <p:strVal val="#ppt_h"/>
                                          </p:val>
                                        </p:tav>
                                      </p:tavLst>
                                    </p:anim>
                                    <p:animEffect transition="in" filter="fade">
                                      <p:cBhvr>
                                        <p:cTn id="44" dur="500"/>
                                        <p:tgtEl>
                                          <p:spTgt spid="6"/>
                                        </p:tgtEl>
                                      </p:cBhvr>
                                    </p:animEffect>
                                  </p:childTnLst>
                                </p:cTn>
                              </p:par>
                            </p:childTnLst>
                          </p:cTn>
                        </p:par>
                        <p:par>
                          <p:cTn id="45" fill="hold">
                            <p:stCondLst>
                              <p:cond delay="500"/>
                            </p:stCondLst>
                            <p:childTnLst>
                              <p:par>
                                <p:cTn id="46" presetID="53" presetClass="entr" presetSubtype="16" fill="hold" nodeType="afterEffect">
                                  <p:stCondLst>
                                    <p:cond delay="0"/>
                                  </p:stCondLst>
                                  <p:childTnLst>
                                    <p:set>
                                      <p:cBhvr>
                                        <p:cTn id="47" dur="1" fill="hold">
                                          <p:stCondLst>
                                            <p:cond delay="0"/>
                                          </p:stCondLst>
                                        </p:cTn>
                                        <p:tgtEl>
                                          <p:spTgt spid="20"/>
                                        </p:tgtEl>
                                        <p:attrNameLst>
                                          <p:attrName>style.visibility</p:attrName>
                                        </p:attrNameLst>
                                      </p:cBhvr>
                                      <p:to>
                                        <p:strVal val="visible"/>
                                      </p:to>
                                    </p:set>
                                    <p:anim calcmode="lin" valueType="num">
                                      <p:cBhvr>
                                        <p:cTn id="48" dur="500" fill="hold"/>
                                        <p:tgtEl>
                                          <p:spTgt spid="20"/>
                                        </p:tgtEl>
                                        <p:attrNameLst>
                                          <p:attrName>ppt_w</p:attrName>
                                        </p:attrNameLst>
                                      </p:cBhvr>
                                      <p:tavLst>
                                        <p:tav tm="0">
                                          <p:val>
                                            <p:fltVal val="0"/>
                                          </p:val>
                                        </p:tav>
                                        <p:tav tm="100000">
                                          <p:val>
                                            <p:strVal val="#ppt_w"/>
                                          </p:val>
                                        </p:tav>
                                      </p:tavLst>
                                    </p:anim>
                                    <p:anim calcmode="lin" valueType="num">
                                      <p:cBhvr>
                                        <p:cTn id="49" dur="500" fill="hold"/>
                                        <p:tgtEl>
                                          <p:spTgt spid="20"/>
                                        </p:tgtEl>
                                        <p:attrNameLst>
                                          <p:attrName>ppt_h</p:attrName>
                                        </p:attrNameLst>
                                      </p:cBhvr>
                                      <p:tavLst>
                                        <p:tav tm="0">
                                          <p:val>
                                            <p:fltVal val="0"/>
                                          </p:val>
                                        </p:tav>
                                        <p:tav tm="100000">
                                          <p:val>
                                            <p:strVal val="#ppt_h"/>
                                          </p:val>
                                        </p:tav>
                                      </p:tavLst>
                                    </p:anim>
                                    <p:animEffect transition="in" filter="fade">
                                      <p:cBhvr>
                                        <p:cTn id="50" dur="500"/>
                                        <p:tgtEl>
                                          <p:spTgt spid="20"/>
                                        </p:tgtEl>
                                      </p:cBhvr>
                                    </p:animEffect>
                                  </p:childTnLst>
                                </p:cTn>
                              </p:par>
                            </p:childTnLst>
                          </p:cTn>
                        </p:par>
                      </p:childTnLst>
                    </p:cTn>
                  </p:par>
                  <p:par>
                    <p:cTn id="51" fill="hold">
                      <p:stCondLst>
                        <p:cond delay="indefinite"/>
                      </p:stCondLst>
                      <p:childTnLst>
                        <p:par>
                          <p:cTn id="52" fill="hold">
                            <p:stCondLst>
                              <p:cond delay="0"/>
                            </p:stCondLst>
                            <p:childTnLst>
                              <p:par>
                                <p:cTn id="53" presetID="53" presetClass="entr" presetSubtype="16" fill="hold" grpId="0" nodeType="clickEffect">
                                  <p:stCondLst>
                                    <p:cond delay="0"/>
                                  </p:stCondLst>
                                  <p:childTnLst>
                                    <p:set>
                                      <p:cBhvr>
                                        <p:cTn id="54" dur="1" fill="hold">
                                          <p:stCondLst>
                                            <p:cond delay="0"/>
                                          </p:stCondLst>
                                        </p:cTn>
                                        <p:tgtEl>
                                          <p:spTgt spid="7"/>
                                        </p:tgtEl>
                                        <p:attrNameLst>
                                          <p:attrName>style.visibility</p:attrName>
                                        </p:attrNameLst>
                                      </p:cBhvr>
                                      <p:to>
                                        <p:strVal val="visible"/>
                                      </p:to>
                                    </p:set>
                                    <p:anim calcmode="lin" valueType="num">
                                      <p:cBhvr>
                                        <p:cTn id="55" dur="500" fill="hold"/>
                                        <p:tgtEl>
                                          <p:spTgt spid="7"/>
                                        </p:tgtEl>
                                        <p:attrNameLst>
                                          <p:attrName>ppt_w</p:attrName>
                                        </p:attrNameLst>
                                      </p:cBhvr>
                                      <p:tavLst>
                                        <p:tav tm="0">
                                          <p:val>
                                            <p:fltVal val="0"/>
                                          </p:val>
                                        </p:tav>
                                        <p:tav tm="100000">
                                          <p:val>
                                            <p:strVal val="#ppt_w"/>
                                          </p:val>
                                        </p:tav>
                                      </p:tavLst>
                                    </p:anim>
                                    <p:anim calcmode="lin" valueType="num">
                                      <p:cBhvr>
                                        <p:cTn id="56" dur="500" fill="hold"/>
                                        <p:tgtEl>
                                          <p:spTgt spid="7"/>
                                        </p:tgtEl>
                                        <p:attrNameLst>
                                          <p:attrName>ppt_h</p:attrName>
                                        </p:attrNameLst>
                                      </p:cBhvr>
                                      <p:tavLst>
                                        <p:tav tm="0">
                                          <p:val>
                                            <p:fltVal val="0"/>
                                          </p:val>
                                        </p:tav>
                                        <p:tav tm="100000">
                                          <p:val>
                                            <p:strVal val="#ppt_h"/>
                                          </p:val>
                                        </p:tav>
                                      </p:tavLst>
                                    </p:anim>
                                    <p:animEffect transition="in" filter="fade">
                                      <p:cBhvr>
                                        <p:cTn id="57" dur="500"/>
                                        <p:tgtEl>
                                          <p:spTgt spid="7"/>
                                        </p:tgtEl>
                                      </p:cBhvr>
                                    </p:animEffect>
                                  </p:childTnLst>
                                </p:cTn>
                              </p:par>
                            </p:childTnLst>
                          </p:cTn>
                        </p:par>
                        <p:par>
                          <p:cTn id="58" fill="hold">
                            <p:stCondLst>
                              <p:cond delay="500"/>
                            </p:stCondLst>
                            <p:childTnLst>
                              <p:par>
                                <p:cTn id="59" presetID="53" presetClass="entr" presetSubtype="16" fill="hold" grpId="0" nodeType="afterEffect">
                                  <p:stCondLst>
                                    <p:cond delay="0"/>
                                  </p:stCondLst>
                                  <p:childTnLst>
                                    <p:set>
                                      <p:cBhvr>
                                        <p:cTn id="60" dur="1" fill="hold">
                                          <p:stCondLst>
                                            <p:cond delay="0"/>
                                          </p:stCondLst>
                                        </p:cTn>
                                        <p:tgtEl>
                                          <p:spTgt spid="8"/>
                                        </p:tgtEl>
                                        <p:attrNameLst>
                                          <p:attrName>style.visibility</p:attrName>
                                        </p:attrNameLst>
                                      </p:cBhvr>
                                      <p:to>
                                        <p:strVal val="visible"/>
                                      </p:to>
                                    </p:set>
                                    <p:anim calcmode="lin" valueType="num">
                                      <p:cBhvr>
                                        <p:cTn id="61" dur="500" fill="hold"/>
                                        <p:tgtEl>
                                          <p:spTgt spid="8"/>
                                        </p:tgtEl>
                                        <p:attrNameLst>
                                          <p:attrName>ppt_w</p:attrName>
                                        </p:attrNameLst>
                                      </p:cBhvr>
                                      <p:tavLst>
                                        <p:tav tm="0">
                                          <p:val>
                                            <p:fltVal val="0"/>
                                          </p:val>
                                        </p:tav>
                                        <p:tav tm="100000">
                                          <p:val>
                                            <p:strVal val="#ppt_w"/>
                                          </p:val>
                                        </p:tav>
                                      </p:tavLst>
                                    </p:anim>
                                    <p:anim calcmode="lin" valueType="num">
                                      <p:cBhvr>
                                        <p:cTn id="62" dur="500" fill="hold"/>
                                        <p:tgtEl>
                                          <p:spTgt spid="8"/>
                                        </p:tgtEl>
                                        <p:attrNameLst>
                                          <p:attrName>ppt_h</p:attrName>
                                        </p:attrNameLst>
                                      </p:cBhvr>
                                      <p:tavLst>
                                        <p:tav tm="0">
                                          <p:val>
                                            <p:fltVal val="0"/>
                                          </p:val>
                                        </p:tav>
                                        <p:tav tm="100000">
                                          <p:val>
                                            <p:strVal val="#ppt_h"/>
                                          </p:val>
                                        </p:tav>
                                      </p:tavLst>
                                    </p:anim>
                                    <p:animEffect transition="in" filter="fade">
                                      <p:cBhvr>
                                        <p:cTn id="63" dur="500"/>
                                        <p:tgtEl>
                                          <p:spTgt spid="8"/>
                                        </p:tgtEl>
                                      </p:cBhvr>
                                    </p:animEffect>
                                  </p:childTnLst>
                                </p:cTn>
                              </p:par>
                            </p:childTnLst>
                          </p:cTn>
                        </p:par>
                        <p:par>
                          <p:cTn id="64" fill="hold">
                            <p:stCondLst>
                              <p:cond delay="1000"/>
                            </p:stCondLst>
                            <p:childTnLst>
                              <p:par>
                                <p:cTn id="65" presetID="53" presetClass="entr" presetSubtype="16" fill="hold" grpId="0" nodeType="afterEffect">
                                  <p:stCondLst>
                                    <p:cond delay="0"/>
                                  </p:stCondLst>
                                  <p:childTnLst>
                                    <p:set>
                                      <p:cBhvr>
                                        <p:cTn id="66" dur="1" fill="hold">
                                          <p:stCondLst>
                                            <p:cond delay="0"/>
                                          </p:stCondLst>
                                        </p:cTn>
                                        <p:tgtEl>
                                          <p:spTgt spid="9"/>
                                        </p:tgtEl>
                                        <p:attrNameLst>
                                          <p:attrName>style.visibility</p:attrName>
                                        </p:attrNameLst>
                                      </p:cBhvr>
                                      <p:to>
                                        <p:strVal val="visible"/>
                                      </p:to>
                                    </p:set>
                                    <p:anim calcmode="lin" valueType="num">
                                      <p:cBhvr>
                                        <p:cTn id="67" dur="500" fill="hold"/>
                                        <p:tgtEl>
                                          <p:spTgt spid="9"/>
                                        </p:tgtEl>
                                        <p:attrNameLst>
                                          <p:attrName>ppt_w</p:attrName>
                                        </p:attrNameLst>
                                      </p:cBhvr>
                                      <p:tavLst>
                                        <p:tav tm="0">
                                          <p:val>
                                            <p:fltVal val="0"/>
                                          </p:val>
                                        </p:tav>
                                        <p:tav tm="100000">
                                          <p:val>
                                            <p:strVal val="#ppt_w"/>
                                          </p:val>
                                        </p:tav>
                                      </p:tavLst>
                                    </p:anim>
                                    <p:anim calcmode="lin" valueType="num">
                                      <p:cBhvr>
                                        <p:cTn id="68" dur="500" fill="hold"/>
                                        <p:tgtEl>
                                          <p:spTgt spid="9"/>
                                        </p:tgtEl>
                                        <p:attrNameLst>
                                          <p:attrName>ppt_h</p:attrName>
                                        </p:attrNameLst>
                                      </p:cBhvr>
                                      <p:tavLst>
                                        <p:tav tm="0">
                                          <p:val>
                                            <p:fltVal val="0"/>
                                          </p:val>
                                        </p:tav>
                                        <p:tav tm="100000">
                                          <p:val>
                                            <p:strVal val="#ppt_h"/>
                                          </p:val>
                                        </p:tav>
                                      </p:tavLst>
                                    </p:anim>
                                    <p:animEffect transition="in" filter="fade">
                                      <p:cBhvr>
                                        <p:cTn id="69" dur="500"/>
                                        <p:tgtEl>
                                          <p:spTgt spid="9"/>
                                        </p:tgtEl>
                                      </p:cBhvr>
                                    </p:animEffect>
                                  </p:childTnLst>
                                </p:cTn>
                              </p:par>
                            </p:childTnLst>
                          </p:cTn>
                        </p:par>
                        <p:par>
                          <p:cTn id="70" fill="hold">
                            <p:stCondLst>
                              <p:cond delay="1500"/>
                            </p:stCondLst>
                            <p:childTnLst>
                              <p:par>
                                <p:cTn id="71" presetID="53" presetClass="entr" presetSubtype="16" fill="hold" nodeType="afterEffect">
                                  <p:stCondLst>
                                    <p:cond delay="0"/>
                                  </p:stCondLst>
                                  <p:childTnLst>
                                    <p:set>
                                      <p:cBhvr>
                                        <p:cTn id="72" dur="1" fill="hold">
                                          <p:stCondLst>
                                            <p:cond delay="0"/>
                                          </p:stCondLst>
                                        </p:cTn>
                                        <p:tgtEl>
                                          <p:spTgt spid="21"/>
                                        </p:tgtEl>
                                        <p:attrNameLst>
                                          <p:attrName>style.visibility</p:attrName>
                                        </p:attrNameLst>
                                      </p:cBhvr>
                                      <p:to>
                                        <p:strVal val="visible"/>
                                      </p:to>
                                    </p:set>
                                    <p:anim calcmode="lin" valueType="num">
                                      <p:cBhvr>
                                        <p:cTn id="73" dur="500" fill="hold"/>
                                        <p:tgtEl>
                                          <p:spTgt spid="21"/>
                                        </p:tgtEl>
                                        <p:attrNameLst>
                                          <p:attrName>ppt_w</p:attrName>
                                        </p:attrNameLst>
                                      </p:cBhvr>
                                      <p:tavLst>
                                        <p:tav tm="0">
                                          <p:val>
                                            <p:fltVal val="0"/>
                                          </p:val>
                                        </p:tav>
                                        <p:tav tm="100000">
                                          <p:val>
                                            <p:strVal val="#ppt_w"/>
                                          </p:val>
                                        </p:tav>
                                      </p:tavLst>
                                    </p:anim>
                                    <p:anim calcmode="lin" valueType="num">
                                      <p:cBhvr>
                                        <p:cTn id="74" dur="500" fill="hold"/>
                                        <p:tgtEl>
                                          <p:spTgt spid="21"/>
                                        </p:tgtEl>
                                        <p:attrNameLst>
                                          <p:attrName>ppt_h</p:attrName>
                                        </p:attrNameLst>
                                      </p:cBhvr>
                                      <p:tavLst>
                                        <p:tav tm="0">
                                          <p:val>
                                            <p:fltVal val="0"/>
                                          </p:val>
                                        </p:tav>
                                        <p:tav tm="100000">
                                          <p:val>
                                            <p:strVal val="#ppt_h"/>
                                          </p:val>
                                        </p:tav>
                                      </p:tavLst>
                                    </p:anim>
                                    <p:animEffect transition="in" filter="fade">
                                      <p:cBhvr>
                                        <p:cTn id="75" dur="500"/>
                                        <p:tgtEl>
                                          <p:spTgt spid="21"/>
                                        </p:tgtEl>
                                      </p:cBhvr>
                                    </p:animEffect>
                                  </p:childTnLst>
                                </p:cTn>
                              </p:par>
                            </p:childTnLst>
                          </p:cTn>
                        </p:par>
                        <p:par>
                          <p:cTn id="76" fill="hold">
                            <p:stCondLst>
                              <p:cond delay="2000"/>
                            </p:stCondLst>
                            <p:childTnLst>
                              <p:par>
                                <p:cTn id="77" presetID="53" presetClass="entr" presetSubtype="16" fill="hold" grpId="0" nodeType="afterEffect">
                                  <p:stCondLst>
                                    <p:cond delay="0"/>
                                  </p:stCondLst>
                                  <p:childTnLst>
                                    <p:set>
                                      <p:cBhvr>
                                        <p:cTn id="78" dur="1" fill="hold">
                                          <p:stCondLst>
                                            <p:cond delay="0"/>
                                          </p:stCondLst>
                                        </p:cTn>
                                        <p:tgtEl>
                                          <p:spTgt spid="22"/>
                                        </p:tgtEl>
                                        <p:attrNameLst>
                                          <p:attrName>style.visibility</p:attrName>
                                        </p:attrNameLst>
                                      </p:cBhvr>
                                      <p:to>
                                        <p:strVal val="visible"/>
                                      </p:to>
                                    </p:set>
                                    <p:anim calcmode="lin" valueType="num">
                                      <p:cBhvr>
                                        <p:cTn id="79" dur="500" fill="hold"/>
                                        <p:tgtEl>
                                          <p:spTgt spid="22"/>
                                        </p:tgtEl>
                                        <p:attrNameLst>
                                          <p:attrName>ppt_w</p:attrName>
                                        </p:attrNameLst>
                                      </p:cBhvr>
                                      <p:tavLst>
                                        <p:tav tm="0">
                                          <p:val>
                                            <p:fltVal val="0"/>
                                          </p:val>
                                        </p:tav>
                                        <p:tav tm="100000">
                                          <p:val>
                                            <p:strVal val="#ppt_w"/>
                                          </p:val>
                                        </p:tav>
                                      </p:tavLst>
                                    </p:anim>
                                    <p:anim calcmode="lin" valueType="num">
                                      <p:cBhvr>
                                        <p:cTn id="80" dur="500" fill="hold"/>
                                        <p:tgtEl>
                                          <p:spTgt spid="22"/>
                                        </p:tgtEl>
                                        <p:attrNameLst>
                                          <p:attrName>ppt_h</p:attrName>
                                        </p:attrNameLst>
                                      </p:cBhvr>
                                      <p:tavLst>
                                        <p:tav tm="0">
                                          <p:val>
                                            <p:fltVal val="0"/>
                                          </p:val>
                                        </p:tav>
                                        <p:tav tm="100000">
                                          <p:val>
                                            <p:strVal val="#ppt_h"/>
                                          </p:val>
                                        </p:tav>
                                      </p:tavLst>
                                    </p:anim>
                                    <p:animEffect transition="in" filter="fade">
                                      <p:cBhvr>
                                        <p:cTn id="81" dur="500"/>
                                        <p:tgtEl>
                                          <p:spTgt spid="22"/>
                                        </p:tgtEl>
                                      </p:cBhvr>
                                    </p:animEffect>
                                  </p:childTnLst>
                                </p:cTn>
                              </p:par>
                            </p:childTnLst>
                          </p:cTn>
                        </p:par>
                      </p:childTnLst>
                    </p:cTn>
                  </p:par>
                  <p:par>
                    <p:cTn id="82" fill="hold">
                      <p:stCondLst>
                        <p:cond delay="indefinite"/>
                      </p:stCondLst>
                      <p:childTnLst>
                        <p:par>
                          <p:cTn id="83" fill="hold">
                            <p:stCondLst>
                              <p:cond delay="0"/>
                            </p:stCondLst>
                            <p:childTnLst>
                              <p:par>
                                <p:cTn id="84" presetID="53" presetClass="entr" presetSubtype="16" fill="hold" grpId="0" nodeType="clickEffect">
                                  <p:stCondLst>
                                    <p:cond delay="0"/>
                                  </p:stCondLst>
                                  <p:childTnLst>
                                    <p:set>
                                      <p:cBhvr>
                                        <p:cTn id="85" dur="1" fill="hold">
                                          <p:stCondLst>
                                            <p:cond delay="0"/>
                                          </p:stCondLst>
                                        </p:cTn>
                                        <p:tgtEl>
                                          <p:spTgt spid="10"/>
                                        </p:tgtEl>
                                        <p:attrNameLst>
                                          <p:attrName>style.visibility</p:attrName>
                                        </p:attrNameLst>
                                      </p:cBhvr>
                                      <p:to>
                                        <p:strVal val="visible"/>
                                      </p:to>
                                    </p:set>
                                    <p:anim calcmode="lin" valueType="num">
                                      <p:cBhvr>
                                        <p:cTn id="86" dur="500" fill="hold"/>
                                        <p:tgtEl>
                                          <p:spTgt spid="10"/>
                                        </p:tgtEl>
                                        <p:attrNameLst>
                                          <p:attrName>ppt_w</p:attrName>
                                        </p:attrNameLst>
                                      </p:cBhvr>
                                      <p:tavLst>
                                        <p:tav tm="0">
                                          <p:val>
                                            <p:fltVal val="0"/>
                                          </p:val>
                                        </p:tav>
                                        <p:tav tm="100000">
                                          <p:val>
                                            <p:strVal val="#ppt_w"/>
                                          </p:val>
                                        </p:tav>
                                      </p:tavLst>
                                    </p:anim>
                                    <p:anim calcmode="lin" valueType="num">
                                      <p:cBhvr>
                                        <p:cTn id="87" dur="500" fill="hold"/>
                                        <p:tgtEl>
                                          <p:spTgt spid="10"/>
                                        </p:tgtEl>
                                        <p:attrNameLst>
                                          <p:attrName>ppt_h</p:attrName>
                                        </p:attrNameLst>
                                      </p:cBhvr>
                                      <p:tavLst>
                                        <p:tav tm="0">
                                          <p:val>
                                            <p:fltVal val="0"/>
                                          </p:val>
                                        </p:tav>
                                        <p:tav tm="100000">
                                          <p:val>
                                            <p:strVal val="#ppt_h"/>
                                          </p:val>
                                        </p:tav>
                                      </p:tavLst>
                                    </p:anim>
                                    <p:animEffect transition="in" filter="fade">
                                      <p:cBhvr>
                                        <p:cTn id="88" dur="500"/>
                                        <p:tgtEl>
                                          <p:spTgt spid="10"/>
                                        </p:tgtEl>
                                      </p:cBhvr>
                                    </p:animEffect>
                                  </p:childTnLst>
                                </p:cTn>
                              </p:par>
                            </p:childTnLst>
                          </p:cTn>
                        </p:par>
                        <p:par>
                          <p:cTn id="89" fill="hold">
                            <p:stCondLst>
                              <p:cond delay="500"/>
                            </p:stCondLst>
                            <p:childTnLst>
                              <p:par>
                                <p:cTn id="90" presetID="53" presetClass="entr" presetSubtype="16" fill="hold" nodeType="afterEffect">
                                  <p:stCondLst>
                                    <p:cond delay="0"/>
                                  </p:stCondLst>
                                  <p:childTnLst>
                                    <p:set>
                                      <p:cBhvr>
                                        <p:cTn id="91" dur="1" fill="hold">
                                          <p:stCondLst>
                                            <p:cond delay="0"/>
                                          </p:stCondLst>
                                        </p:cTn>
                                        <p:tgtEl>
                                          <p:spTgt spid="23"/>
                                        </p:tgtEl>
                                        <p:attrNameLst>
                                          <p:attrName>style.visibility</p:attrName>
                                        </p:attrNameLst>
                                      </p:cBhvr>
                                      <p:to>
                                        <p:strVal val="visible"/>
                                      </p:to>
                                    </p:set>
                                    <p:anim calcmode="lin" valueType="num">
                                      <p:cBhvr>
                                        <p:cTn id="92" dur="500" fill="hold"/>
                                        <p:tgtEl>
                                          <p:spTgt spid="23"/>
                                        </p:tgtEl>
                                        <p:attrNameLst>
                                          <p:attrName>ppt_w</p:attrName>
                                        </p:attrNameLst>
                                      </p:cBhvr>
                                      <p:tavLst>
                                        <p:tav tm="0">
                                          <p:val>
                                            <p:fltVal val="0"/>
                                          </p:val>
                                        </p:tav>
                                        <p:tav tm="100000">
                                          <p:val>
                                            <p:strVal val="#ppt_w"/>
                                          </p:val>
                                        </p:tav>
                                      </p:tavLst>
                                    </p:anim>
                                    <p:anim calcmode="lin" valueType="num">
                                      <p:cBhvr>
                                        <p:cTn id="93" dur="500" fill="hold"/>
                                        <p:tgtEl>
                                          <p:spTgt spid="23"/>
                                        </p:tgtEl>
                                        <p:attrNameLst>
                                          <p:attrName>ppt_h</p:attrName>
                                        </p:attrNameLst>
                                      </p:cBhvr>
                                      <p:tavLst>
                                        <p:tav tm="0">
                                          <p:val>
                                            <p:fltVal val="0"/>
                                          </p:val>
                                        </p:tav>
                                        <p:tav tm="100000">
                                          <p:val>
                                            <p:strVal val="#ppt_h"/>
                                          </p:val>
                                        </p:tav>
                                      </p:tavLst>
                                    </p:anim>
                                    <p:animEffect transition="in" filter="fade">
                                      <p:cBhvr>
                                        <p:cTn id="94" dur="500"/>
                                        <p:tgtEl>
                                          <p:spTgt spid="23"/>
                                        </p:tgtEl>
                                      </p:cBhvr>
                                    </p:animEffect>
                                  </p:childTnLst>
                                </p:cTn>
                              </p:par>
                            </p:childTnLst>
                          </p:cTn>
                        </p:par>
                        <p:par>
                          <p:cTn id="95" fill="hold">
                            <p:stCondLst>
                              <p:cond delay="1000"/>
                            </p:stCondLst>
                            <p:childTnLst>
                              <p:par>
                                <p:cTn id="96" presetID="53" presetClass="entr" presetSubtype="16" fill="hold" nodeType="afterEffect">
                                  <p:stCondLst>
                                    <p:cond delay="0"/>
                                  </p:stCondLst>
                                  <p:childTnLst>
                                    <p:set>
                                      <p:cBhvr>
                                        <p:cTn id="97" dur="1" fill="hold">
                                          <p:stCondLst>
                                            <p:cond delay="0"/>
                                          </p:stCondLst>
                                        </p:cTn>
                                        <p:tgtEl>
                                          <p:spTgt spid="24"/>
                                        </p:tgtEl>
                                        <p:attrNameLst>
                                          <p:attrName>style.visibility</p:attrName>
                                        </p:attrNameLst>
                                      </p:cBhvr>
                                      <p:to>
                                        <p:strVal val="visible"/>
                                      </p:to>
                                    </p:set>
                                    <p:anim calcmode="lin" valueType="num">
                                      <p:cBhvr>
                                        <p:cTn id="98" dur="500" fill="hold"/>
                                        <p:tgtEl>
                                          <p:spTgt spid="24"/>
                                        </p:tgtEl>
                                        <p:attrNameLst>
                                          <p:attrName>ppt_w</p:attrName>
                                        </p:attrNameLst>
                                      </p:cBhvr>
                                      <p:tavLst>
                                        <p:tav tm="0">
                                          <p:val>
                                            <p:fltVal val="0"/>
                                          </p:val>
                                        </p:tav>
                                        <p:tav tm="100000">
                                          <p:val>
                                            <p:strVal val="#ppt_w"/>
                                          </p:val>
                                        </p:tav>
                                      </p:tavLst>
                                    </p:anim>
                                    <p:anim calcmode="lin" valueType="num">
                                      <p:cBhvr>
                                        <p:cTn id="99" dur="500" fill="hold"/>
                                        <p:tgtEl>
                                          <p:spTgt spid="24"/>
                                        </p:tgtEl>
                                        <p:attrNameLst>
                                          <p:attrName>ppt_h</p:attrName>
                                        </p:attrNameLst>
                                      </p:cBhvr>
                                      <p:tavLst>
                                        <p:tav tm="0">
                                          <p:val>
                                            <p:fltVal val="0"/>
                                          </p:val>
                                        </p:tav>
                                        <p:tav tm="100000">
                                          <p:val>
                                            <p:strVal val="#ppt_h"/>
                                          </p:val>
                                        </p:tav>
                                      </p:tavLst>
                                    </p:anim>
                                    <p:animEffect transition="in" filter="fade">
                                      <p:cBhvr>
                                        <p:cTn id="100" dur="500"/>
                                        <p:tgtEl>
                                          <p:spTgt spid="24"/>
                                        </p:tgtEl>
                                      </p:cBhvr>
                                    </p:animEffect>
                                  </p:childTnLst>
                                </p:cTn>
                              </p:par>
                            </p:childTnLst>
                          </p:cTn>
                        </p:par>
                      </p:childTnLst>
                    </p:cTn>
                  </p:par>
                  <p:par>
                    <p:cTn id="101" fill="hold">
                      <p:stCondLst>
                        <p:cond delay="indefinite"/>
                      </p:stCondLst>
                      <p:childTnLst>
                        <p:par>
                          <p:cTn id="102" fill="hold">
                            <p:stCondLst>
                              <p:cond delay="0"/>
                            </p:stCondLst>
                            <p:childTnLst>
                              <p:par>
                                <p:cTn id="103" presetID="53" presetClass="entr" presetSubtype="16" fill="hold" grpId="0" nodeType="clickEffect">
                                  <p:stCondLst>
                                    <p:cond delay="0"/>
                                  </p:stCondLst>
                                  <p:childTnLst>
                                    <p:set>
                                      <p:cBhvr>
                                        <p:cTn id="104" dur="1" fill="hold">
                                          <p:stCondLst>
                                            <p:cond delay="0"/>
                                          </p:stCondLst>
                                        </p:cTn>
                                        <p:tgtEl>
                                          <p:spTgt spid="11"/>
                                        </p:tgtEl>
                                        <p:attrNameLst>
                                          <p:attrName>style.visibility</p:attrName>
                                        </p:attrNameLst>
                                      </p:cBhvr>
                                      <p:to>
                                        <p:strVal val="visible"/>
                                      </p:to>
                                    </p:set>
                                    <p:anim calcmode="lin" valueType="num">
                                      <p:cBhvr>
                                        <p:cTn id="105" dur="500" fill="hold"/>
                                        <p:tgtEl>
                                          <p:spTgt spid="11"/>
                                        </p:tgtEl>
                                        <p:attrNameLst>
                                          <p:attrName>ppt_w</p:attrName>
                                        </p:attrNameLst>
                                      </p:cBhvr>
                                      <p:tavLst>
                                        <p:tav tm="0">
                                          <p:val>
                                            <p:fltVal val="0"/>
                                          </p:val>
                                        </p:tav>
                                        <p:tav tm="100000">
                                          <p:val>
                                            <p:strVal val="#ppt_w"/>
                                          </p:val>
                                        </p:tav>
                                      </p:tavLst>
                                    </p:anim>
                                    <p:anim calcmode="lin" valueType="num">
                                      <p:cBhvr>
                                        <p:cTn id="106" dur="500" fill="hold"/>
                                        <p:tgtEl>
                                          <p:spTgt spid="11"/>
                                        </p:tgtEl>
                                        <p:attrNameLst>
                                          <p:attrName>ppt_h</p:attrName>
                                        </p:attrNameLst>
                                      </p:cBhvr>
                                      <p:tavLst>
                                        <p:tav tm="0">
                                          <p:val>
                                            <p:fltVal val="0"/>
                                          </p:val>
                                        </p:tav>
                                        <p:tav tm="100000">
                                          <p:val>
                                            <p:strVal val="#ppt_h"/>
                                          </p:val>
                                        </p:tav>
                                      </p:tavLst>
                                    </p:anim>
                                    <p:animEffect transition="in" filter="fade">
                                      <p:cBhvr>
                                        <p:cTn id="107" dur="500"/>
                                        <p:tgtEl>
                                          <p:spTgt spid="11"/>
                                        </p:tgtEl>
                                      </p:cBhvr>
                                    </p:animEffect>
                                  </p:childTnLst>
                                </p:cTn>
                              </p:par>
                            </p:childTnLst>
                          </p:cTn>
                        </p:par>
                        <p:par>
                          <p:cTn id="108" fill="hold">
                            <p:stCondLst>
                              <p:cond delay="500"/>
                            </p:stCondLst>
                            <p:childTnLst>
                              <p:par>
                                <p:cTn id="109" presetID="53" presetClass="entr" presetSubtype="16" fill="hold" grpId="0" nodeType="afterEffect">
                                  <p:stCondLst>
                                    <p:cond delay="0"/>
                                  </p:stCondLst>
                                  <p:childTnLst>
                                    <p:set>
                                      <p:cBhvr>
                                        <p:cTn id="110" dur="1" fill="hold">
                                          <p:stCondLst>
                                            <p:cond delay="0"/>
                                          </p:stCondLst>
                                        </p:cTn>
                                        <p:tgtEl>
                                          <p:spTgt spid="12"/>
                                        </p:tgtEl>
                                        <p:attrNameLst>
                                          <p:attrName>style.visibility</p:attrName>
                                        </p:attrNameLst>
                                      </p:cBhvr>
                                      <p:to>
                                        <p:strVal val="visible"/>
                                      </p:to>
                                    </p:set>
                                    <p:anim calcmode="lin" valueType="num">
                                      <p:cBhvr>
                                        <p:cTn id="111" dur="500" fill="hold"/>
                                        <p:tgtEl>
                                          <p:spTgt spid="12"/>
                                        </p:tgtEl>
                                        <p:attrNameLst>
                                          <p:attrName>ppt_w</p:attrName>
                                        </p:attrNameLst>
                                      </p:cBhvr>
                                      <p:tavLst>
                                        <p:tav tm="0">
                                          <p:val>
                                            <p:fltVal val="0"/>
                                          </p:val>
                                        </p:tav>
                                        <p:tav tm="100000">
                                          <p:val>
                                            <p:strVal val="#ppt_w"/>
                                          </p:val>
                                        </p:tav>
                                      </p:tavLst>
                                    </p:anim>
                                    <p:anim calcmode="lin" valueType="num">
                                      <p:cBhvr>
                                        <p:cTn id="112" dur="500" fill="hold"/>
                                        <p:tgtEl>
                                          <p:spTgt spid="12"/>
                                        </p:tgtEl>
                                        <p:attrNameLst>
                                          <p:attrName>ppt_h</p:attrName>
                                        </p:attrNameLst>
                                      </p:cBhvr>
                                      <p:tavLst>
                                        <p:tav tm="0">
                                          <p:val>
                                            <p:fltVal val="0"/>
                                          </p:val>
                                        </p:tav>
                                        <p:tav tm="100000">
                                          <p:val>
                                            <p:strVal val="#ppt_h"/>
                                          </p:val>
                                        </p:tav>
                                      </p:tavLst>
                                    </p:anim>
                                    <p:animEffect transition="in" filter="fade">
                                      <p:cBhvr>
                                        <p:cTn id="113" dur="500"/>
                                        <p:tgtEl>
                                          <p:spTgt spid="12"/>
                                        </p:tgtEl>
                                      </p:cBhvr>
                                    </p:animEffect>
                                  </p:childTnLst>
                                </p:cTn>
                              </p:par>
                            </p:childTnLst>
                          </p:cTn>
                        </p:par>
                        <p:par>
                          <p:cTn id="114" fill="hold">
                            <p:stCondLst>
                              <p:cond delay="1000"/>
                            </p:stCondLst>
                            <p:childTnLst>
                              <p:par>
                                <p:cTn id="115" presetID="53" presetClass="entr" presetSubtype="16" fill="hold" grpId="0" nodeType="afterEffect">
                                  <p:stCondLst>
                                    <p:cond delay="0"/>
                                  </p:stCondLst>
                                  <p:childTnLst>
                                    <p:set>
                                      <p:cBhvr>
                                        <p:cTn id="116" dur="1" fill="hold">
                                          <p:stCondLst>
                                            <p:cond delay="0"/>
                                          </p:stCondLst>
                                        </p:cTn>
                                        <p:tgtEl>
                                          <p:spTgt spid="13"/>
                                        </p:tgtEl>
                                        <p:attrNameLst>
                                          <p:attrName>style.visibility</p:attrName>
                                        </p:attrNameLst>
                                      </p:cBhvr>
                                      <p:to>
                                        <p:strVal val="visible"/>
                                      </p:to>
                                    </p:set>
                                    <p:anim calcmode="lin" valueType="num">
                                      <p:cBhvr>
                                        <p:cTn id="117" dur="500" fill="hold"/>
                                        <p:tgtEl>
                                          <p:spTgt spid="13"/>
                                        </p:tgtEl>
                                        <p:attrNameLst>
                                          <p:attrName>ppt_w</p:attrName>
                                        </p:attrNameLst>
                                      </p:cBhvr>
                                      <p:tavLst>
                                        <p:tav tm="0">
                                          <p:val>
                                            <p:fltVal val="0"/>
                                          </p:val>
                                        </p:tav>
                                        <p:tav tm="100000">
                                          <p:val>
                                            <p:strVal val="#ppt_w"/>
                                          </p:val>
                                        </p:tav>
                                      </p:tavLst>
                                    </p:anim>
                                    <p:anim calcmode="lin" valueType="num">
                                      <p:cBhvr>
                                        <p:cTn id="118" dur="500" fill="hold"/>
                                        <p:tgtEl>
                                          <p:spTgt spid="13"/>
                                        </p:tgtEl>
                                        <p:attrNameLst>
                                          <p:attrName>ppt_h</p:attrName>
                                        </p:attrNameLst>
                                      </p:cBhvr>
                                      <p:tavLst>
                                        <p:tav tm="0">
                                          <p:val>
                                            <p:fltVal val="0"/>
                                          </p:val>
                                        </p:tav>
                                        <p:tav tm="100000">
                                          <p:val>
                                            <p:strVal val="#ppt_h"/>
                                          </p:val>
                                        </p:tav>
                                      </p:tavLst>
                                    </p:anim>
                                    <p:animEffect transition="in" filter="fade">
                                      <p:cBhvr>
                                        <p:cTn id="119" dur="500"/>
                                        <p:tgtEl>
                                          <p:spTgt spid="13"/>
                                        </p:tgtEl>
                                      </p:cBhvr>
                                    </p:animEffect>
                                  </p:childTnLst>
                                </p:cTn>
                              </p:par>
                            </p:childTnLst>
                          </p:cTn>
                        </p:par>
                        <p:par>
                          <p:cTn id="120" fill="hold">
                            <p:stCondLst>
                              <p:cond delay="1500"/>
                            </p:stCondLst>
                            <p:childTnLst>
                              <p:par>
                                <p:cTn id="121" presetID="53" presetClass="entr" presetSubtype="16" fill="hold" nodeType="afterEffect">
                                  <p:stCondLst>
                                    <p:cond delay="0"/>
                                  </p:stCondLst>
                                  <p:childTnLst>
                                    <p:set>
                                      <p:cBhvr>
                                        <p:cTn id="122" dur="1" fill="hold">
                                          <p:stCondLst>
                                            <p:cond delay="0"/>
                                          </p:stCondLst>
                                        </p:cTn>
                                        <p:tgtEl>
                                          <p:spTgt spid="25"/>
                                        </p:tgtEl>
                                        <p:attrNameLst>
                                          <p:attrName>style.visibility</p:attrName>
                                        </p:attrNameLst>
                                      </p:cBhvr>
                                      <p:to>
                                        <p:strVal val="visible"/>
                                      </p:to>
                                    </p:set>
                                    <p:anim calcmode="lin" valueType="num">
                                      <p:cBhvr>
                                        <p:cTn id="123" dur="500" fill="hold"/>
                                        <p:tgtEl>
                                          <p:spTgt spid="25"/>
                                        </p:tgtEl>
                                        <p:attrNameLst>
                                          <p:attrName>ppt_w</p:attrName>
                                        </p:attrNameLst>
                                      </p:cBhvr>
                                      <p:tavLst>
                                        <p:tav tm="0">
                                          <p:val>
                                            <p:fltVal val="0"/>
                                          </p:val>
                                        </p:tav>
                                        <p:tav tm="100000">
                                          <p:val>
                                            <p:strVal val="#ppt_w"/>
                                          </p:val>
                                        </p:tav>
                                      </p:tavLst>
                                    </p:anim>
                                    <p:anim calcmode="lin" valueType="num">
                                      <p:cBhvr>
                                        <p:cTn id="124" dur="500" fill="hold"/>
                                        <p:tgtEl>
                                          <p:spTgt spid="25"/>
                                        </p:tgtEl>
                                        <p:attrNameLst>
                                          <p:attrName>ppt_h</p:attrName>
                                        </p:attrNameLst>
                                      </p:cBhvr>
                                      <p:tavLst>
                                        <p:tav tm="0">
                                          <p:val>
                                            <p:fltVal val="0"/>
                                          </p:val>
                                        </p:tav>
                                        <p:tav tm="100000">
                                          <p:val>
                                            <p:strVal val="#ppt_h"/>
                                          </p:val>
                                        </p:tav>
                                      </p:tavLst>
                                    </p:anim>
                                    <p:animEffect transition="in" filter="fade">
                                      <p:cBhvr>
                                        <p:cTn id="125" dur="500"/>
                                        <p:tgtEl>
                                          <p:spTgt spid="25"/>
                                        </p:tgtEl>
                                      </p:cBhvr>
                                    </p:animEffect>
                                  </p:childTnLst>
                                </p:cTn>
                              </p:par>
                            </p:childTnLst>
                          </p:cTn>
                        </p:par>
                        <p:par>
                          <p:cTn id="126" fill="hold">
                            <p:stCondLst>
                              <p:cond delay="2000"/>
                            </p:stCondLst>
                            <p:childTnLst>
                              <p:par>
                                <p:cTn id="127" presetID="53" presetClass="entr" presetSubtype="16" fill="hold" grpId="0" nodeType="afterEffect">
                                  <p:stCondLst>
                                    <p:cond delay="0"/>
                                  </p:stCondLst>
                                  <p:childTnLst>
                                    <p:set>
                                      <p:cBhvr>
                                        <p:cTn id="128" dur="1" fill="hold">
                                          <p:stCondLst>
                                            <p:cond delay="0"/>
                                          </p:stCondLst>
                                        </p:cTn>
                                        <p:tgtEl>
                                          <p:spTgt spid="26"/>
                                        </p:tgtEl>
                                        <p:attrNameLst>
                                          <p:attrName>style.visibility</p:attrName>
                                        </p:attrNameLst>
                                      </p:cBhvr>
                                      <p:to>
                                        <p:strVal val="visible"/>
                                      </p:to>
                                    </p:set>
                                    <p:anim calcmode="lin" valueType="num">
                                      <p:cBhvr>
                                        <p:cTn id="129" dur="500" fill="hold"/>
                                        <p:tgtEl>
                                          <p:spTgt spid="26"/>
                                        </p:tgtEl>
                                        <p:attrNameLst>
                                          <p:attrName>ppt_w</p:attrName>
                                        </p:attrNameLst>
                                      </p:cBhvr>
                                      <p:tavLst>
                                        <p:tav tm="0">
                                          <p:val>
                                            <p:fltVal val="0"/>
                                          </p:val>
                                        </p:tav>
                                        <p:tav tm="100000">
                                          <p:val>
                                            <p:strVal val="#ppt_w"/>
                                          </p:val>
                                        </p:tav>
                                      </p:tavLst>
                                    </p:anim>
                                    <p:anim calcmode="lin" valueType="num">
                                      <p:cBhvr>
                                        <p:cTn id="130" dur="500" fill="hold"/>
                                        <p:tgtEl>
                                          <p:spTgt spid="26"/>
                                        </p:tgtEl>
                                        <p:attrNameLst>
                                          <p:attrName>ppt_h</p:attrName>
                                        </p:attrNameLst>
                                      </p:cBhvr>
                                      <p:tavLst>
                                        <p:tav tm="0">
                                          <p:val>
                                            <p:fltVal val="0"/>
                                          </p:val>
                                        </p:tav>
                                        <p:tav tm="100000">
                                          <p:val>
                                            <p:strVal val="#ppt_h"/>
                                          </p:val>
                                        </p:tav>
                                      </p:tavLst>
                                    </p:anim>
                                    <p:animEffect transition="in" filter="fade">
                                      <p:cBhvr>
                                        <p:cTn id="131" dur="500"/>
                                        <p:tgtEl>
                                          <p:spTgt spid="26"/>
                                        </p:tgtEl>
                                      </p:cBhvr>
                                    </p:animEffect>
                                  </p:childTnLst>
                                </p:cTn>
                              </p:par>
                            </p:childTnLst>
                          </p:cTn>
                        </p:par>
                      </p:childTnLst>
                    </p:cTn>
                  </p:par>
                  <p:par>
                    <p:cTn id="132" fill="hold">
                      <p:stCondLst>
                        <p:cond delay="indefinite"/>
                      </p:stCondLst>
                      <p:childTnLst>
                        <p:par>
                          <p:cTn id="133" fill="hold">
                            <p:stCondLst>
                              <p:cond delay="0"/>
                            </p:stCondLst>
                            <p:childTnLst>
                              <p:par>
                                <p:cTn id="134" presetID="53" presetClass="entr" presetSubtype="16" fill="hold" grpId="0" nodeType="clickEffect">
                                  <p:stCondLst>
                                    <p:cond delay="0"/>
                                  </p:stCondLst>
                                  <p:childTnLst>
                                    <p:set>
                                      <p:cBhvr>
                                        <p:cTn id="135" dur="1" fill="hold">
                                          <p:stCondLst>
                                            <p:cond delay="0"/>
                                          </p:stCondLst>
                                        </p:cTn>
                                        <p:tgtEl>
                                          <p:spTgt spid="14"/>
                                        </p:tgtEl>
                                        <p:attrNameLst>
                                          <p:attrName>style.visibility</p:attrName>
                                        </p:attrNameLst>
                                      </p:cBhvr>
                                      <p:to>
                                        <p:strVal val="visible"/>
                                      </p:to>
                                    </p:set>
                                    <p:anim calcmode="lin" valueType="num">
                                      <p:cBhvr>
                                        <p:cTn id="136" dur="500" fill="hold"/>
                                        <p:tgtEl>
                                          <p:spTgt spid="14"/>
                                        </p:tgtEl>
                                        <p:attrNameLst>
                                          <p:attrName>ppt_w</p:attrName>
                                        </p:attrNameLst>
                                      </p:cBhvr>
                                      <p:tavLst>
                                        <p:tav tm="0">
                                          <p:val>
                                            <p:fltVal val="0"/>
                                          </p:val>
                                        </p:tav>
                                        <p:tav tm="100000">
                                          <p:val>
                                            <p:strVal val="#ppt_w"/>
                                          </p:val>
                                        </p:tav>
                                      </p:tavLst>
                                    </p:anim>
                                    <p:anim calcmode="lin" valueType="num">
                                      <p:cBhvr>
                                        <p:cTn id="137" dur="500" fill="hold"/>
                                        <p:tgtEl>
                                          <p:spTgt spid="14"/>
                                        </p:tgtEl>
                                        <p:attrNameLst>
                                          <p:attrName>ppt_h</p:attrName>
                                        </p:attrNameLst>
                                      </p:cBhvr>
                                      <p:tavLst>
                                        <p:tav tm="0">
                                          <p:val>
                                            <p:fltVal val="0"/>
                                          </p:val>
                                        </p:tav>
                                        <p:tav tm="100000">
                                          <p:val>
                                            <p:strVal val="#ppt_h"/>
                                          </p:val>
                                        </p:tav>
                                      </p:tavLst>
                                    </p:anim>
                                    <p:animEffect transition="in" filter="fade">
                                      <p:cBhvr>
                                        <p:cTn id="138" dur="500"/>
                                        <p:tgtEl>
                                          <p:spTgt spid="14"/>
                                        </p:tgtEl>
                                      </p:cBhvr>
                                    </p:animEffect>
                                  </p:childTnLst>
                                </p:cTn>
                              </p:par>
                            </p:childTnLst>
                          </p:cTn>
                        </p:par>
                        <p:par>
                          <p:cTn id="139" fill="hold">
                            <p:stCondLst>
                              <p:cond delay="500"/>
                            </p:stCondLst>
                            <p:childTnLst>
                              <p:par>
                                <p:cTn id="140" presetID="53" presetClass="entr" presetSubtype="16" fill="hold" grpId="0" nodeType="afterEffect">
                                  <p:stCondLst>
                                    <p:cond delay="0"/>
                                  </p:stCondLst>
                                  <p:childTnLst>
                                    <p:set>
                                      <p:cBhvr>
                                        <p:cTn id="141" dur="1" fill="hold">
                                          <p:stCondLst>
                                            <p:cond delay="0"/>
                                          </p:stCondLst>
                                        </p:cTn>
                                        <p:tgtEl>
                                          <p:spTgt spid="15"/>
                                        </p:tgtEl>
                                        <p:attrNameLst>
                                          <p:attrName>style.visibility</p:attrName>
                                        </p:attrNameLst>
                                      </p:cBhvr>
                                      <p:to>
                                        <p:strVal val="visible"/>
                                      </p:to>
                                    </p:set>
                                    <p:anim calcmode="lin" valueType="num">
                                      <p:cBhvr>
                                        <p:cTn id="142" dur="500" fill="hold"/>
                                        <p:tgtEl>
                                          <p:spTgt spid="15"/>
                                        </p:tgtEl>
                                        <p:attrNameLst>
                                          <p:attrName>ppt_w</p:attrName>
                                        </p:attrNameLst>
                                      </p:cBhvr>
                                      <p:tavLst>
                                        <p:tav tm="0">
                                          <p:val>
                                            <p:fltVal val="0"/>
                                          </p:val>
                                        </p:tav>
                                        <p:tav tm="100000">
                                          <p:val>
                                            <p:strVal val="#ppt_w"/>
                                          </p:val>
                                        </p:tav>
                                      </p:tavLst>
                                    </p:anim>
                                    <p:anim calcmode="lin" valueType="num">
                                      <p:cBhvr>
                                        <p:cTn id="143" dur="500" fill="hold"/>
                                        <p:tgtEl>
                                          <p:spTgt spid="15"/>
                                        </p:tgtEl>
                                        <p:attrNameLst>
                                          <p:attrName>ppt_h</p:attrName>
                                        </p:attrNameLst>
                                      </p:cBhvr>
                                      <p:tavLst>
                                        <p:tav tm="0">
                                          <p:val>
                                            <p:fltVal val="0"/>
                                          </p:val>
                                        </p:tav>
                                        <p:tav tm="100000">
                                          <p:val>
                                            <p:strVal val="#ppt_h"/>
                                          </p:val>
                                        </p:tav>
                                      </p:tavLst>
                                    </p:anim>
                                    <p:animEffect transition="in" filter="fade">
                                      <p:cBhvr>
                                        <p:cTn id="144" dur="500"/>
                                        <p:tgtEl>
                                          <p:spTgt spid="15"/>
                                        </p:tgtEl>
                                      </p:cBhvr>
                                    </p:animEffect>
                                  </p:childTnLst>
                                </p:cTn>
                              </p:par>
                            </p:childTnLst>
                          </p:cTn>
                        </p:par>
                        <p:par>
                          <p:cTn id="145" fill="hold">
                            <p:stCondLst>
                              <p:cond delay="1000"/>
                            </p:stCondLst>
                            <p:childTnLst>
                              <p:par>
                                <p:cTn id="146" presetID="53" presetClass="entr" presetSubtype="16" fill="hold" nodeType="afterEffect">
                                  <p:stCondLst>
                                    <p:cond delay="0"/>
                                  </p:stCondLst>
                                  <p:childTnLst>
                                    <p:set>
                                      <p:cBhvr>
                                        <p:cTn id="147" dur="1" fill="hold">
                                          <p:stCondLst>
                                            <p:cond delay="0"/>
                                          </p:stCondLst>
                                        </p:cTn>
                                        <p:tgtEl>
                                          <p:spTgt spid="17"/>
                                        </p:tgtEl>
                                        <p:attrNameLst>
                                          <p:attrName>style.visibility</p:attrName>
                                        </p:attrNameLst>
                                      </p:cBhvr>
                                      <p:to>
                                        <p:strVal val="visible"/>
                                      </p:to>
                                    </p:set>
                                    <p:anim calcmode="lin" valueType="num">
                                      <p:cBhvr>
                                        <p:cTn id="148" dur="500" fill="hold"/>
                                        <p:tgtEl>
                                          <p:spTgt spid="17"/>
                                        </p:tgtEl>
                                        <p:attrNameLst>
                                          <p:attrName>ppt_w</p:attrName>
                                        </p:attrNameLst>
                                      </p:cBhvr>
                                      <p:tavLst>
                                        <p:tav tm="0">
                                          <p:val>
                                            <p:fltVal val="0"/>
                                          </p:val>
                                        </p:tav>
                                        <p:tav tm="100000">
                                          <p:val>
                                            <p:strVal val="#ppt_w"/>
                                          </p:val>
                                        </p:tav>
                                      </p:tavLst>
                                    </p:anim>
                                    <p:anim calcmode="lin" valueType="num">
                                      <p:cBhvr>
                                        <p:cTn id="149" dur="500" fill="hold"/>
                                        <p:tgtEl>
                                          <p:spTgt spid="17"/>
                                        </p:tgtEl>
                                        <p:attrNameLst>
                                          <p:attrName>ppt_h</p:attrName>
                                        </p:attrNameLst>
                                      </p:cBhvr>
                                      <p:tavLst>
                                        <p:tav tm="0">
                                          <p:val>
                                            <p:fltVal val="0"/>
                                          </p:val>
                                        </p:tav>
                                        <p:tav tm="100000">
                                          <p:val>
                                            <p:strVal val="#ppt_h"/>
                                          </p:val>
                                        </p:tav>
                                      </p:tavLst>
                                    </p:anim>
                                    <p:animEffect transition="in" filter="fade">
                                      <p:cBhvr>
                                        <p:cTn id="150" dur="500"/>
                                        <p:tgtEl>
                                          <p:spTgt spid="17"/>
                                        </p:tgtEl>
                                      </p:cBhvr>
                                    </p:animEffect>
                                  </p:childTnLst>
                                </p:cTn>
                              </p:par>
                            </p:childTnLst>
                          </p:cTn>
                        </p:par>
                      </p:childTnLst>
                    </p:cTn>
                  </p:par>
                  <p:par>
                    <p:cTn id="151" fill="hold">
                      <p:stCondLst>
                        <p:cond delay="indefinite"/>
                      </p:stCondLst>
                      <p:childTnLst>
                        <p:par>
                          <p:cTn id="152" fill="hold">
                            <p:stCondLst>
                              <p:cond delay="0"/>
                            </p:stCondLst>
                            <p:childTnLst>
                              <p:par>
                                <p:cTn id="153" presetID="6" presetClass="entr" presetSubtype="16" fill="hold" grpId="0" nodeType="clickEffect">
                                  <p:stCondLst>
                                    <p:cond delay="0"/>
                                  </p:stCondLst>
                                  <p:childTnLst>
                                    <p:set>
                                      <p:cBhvr>
                                        <p:cTn id="154" dur="1" fill="hold">
                                          <p:stCondLst>
                                            <p:cond delay="0"/>
                                          </p:stCondLst>
                                        </p:cTn>
                                        <p:tgtEl>
                                          <p:spTgt spid="30"/>
                                        </p:tgtEl>
                                        <p:attrNameLst>
                                          <p:attrName>style.visibility</p:attrName>
                                        </p:attrNameLst>
                                      </p:cBhvr>
                                      <p:to>
                                        <p:strVal val="visible"/>
                                      </p:to>
                                    </p:set>
                                    <p:animEffect transition="in" filter="circle(in)">
                                      <p:cBhvr>
                                        <p:cTn id="155" dur="2000"/>
                                        <p:tgtEl>
                                          <p:spTgt spid="30"/>
                                        </p:tgtEl>
                                      </p:cBhvr>
                                    </p:animEffect>
                                  </p:childTnLst>
                                </p:cTn>
                              </p:par>
                            </p:childTnLst>
                          </p:cTn>
                        </p:par>
                      </p:childTnLst>
                    </p:cTn>
                  </p:par>
                  <p:par>
                    <p:cTn id="156" fill="hold">
                      <p:stCondLst>
                        <p:cond delay="indefinite"/>
                      </p:stCondLst>
                      <p:childTnLst>
                        <p:par>
                          <p:cTn id="157" fill="hold">
                            <p:stCondLst>
                              <p:cond delay="0"/>
                            </p:stCondLst>
                            <p:childTnLst>
                              <p:par>
                                <p:cTn id="158" presetID="6" presetClass="entr" presetSubtype="16" fill="hold" grpId="0" nodeType="clickEffect">
                                  <p:stCondLst>
                                    <p:cond delay="0"/>
                                  </p:stCondLst>
                                  <p:childTnLst>
                                    <p:set>
                                      <p:cBhvr>
                                        <p:cTn id="159" dur="1" fill="hold">
                                          <p:stCondLst>
                                            <p:cond delay="0"/>
                                          </p:stCondLst>
                                        </p:cTn>
                                        <p:tgtEl>
                                          <p:spTgt spid="29"/>
                                        </p:tgtEl>
                                        <p:attrNameLst>
                                          <p:attrName>style.visibility</p:attrName>
                                        </p:attrNameLst>
                                      </p:cBhvr>
                                      <p:to>
                                        <p:strVal val="visible"/>
                                      </p:to>
                                    </p:set>
                                    <p:animEffect transition="in" filter="circle(in)">
                                      <p:cBhvr>
                                        <p:cTn id="160" dur="2000"/>
                                        <p:tgtEl>
                                          <p:spTgt spid="29"/>
                                        </p:tgtEl>
                                      </p:cBhvr>
                                    </p:animEffect>
                                  </p:childTnLst>
                                </p:cTn>
                              </p:par>
                            </p:childTnLst>
                          </p:cTn>
                        </p:par>
                      </p:childTnLst>
                    </p:cTn>
                  </p:par>
                  <p:par>
                    <p:cTn id="161" fill="hold">
                      <p:stCondLst>
                        <p:cond delay="indefinite"/>
                      </p:stCondLst>
                      <p:childTnLst>
                        <p:par>
                          <p:cTn id="162" fill="hold">
                            <p:stCondLst>
                              <p:cond delay="0"/>
                            </p:stCondLst>
                            <p:childTnLst>
                              <p:par>
                                <p:cTn id="163" presetID="6" presetClass="entr" presetSubtype="16" fill="hold" grpId="0" nodeType="clickEffect">
                                  <p:stCondLst>
                                    <p:cond delay="0"/>
                                  </p:stCondLst>
                                  <p:childTnLst>
                                    <p:set>
                                      <p:cBhvr>
                                        <p:cTn id="164" dur="1" fill="hold">
                                          <p:stCondLst>
                                            <p:cond delay="0"/>
                                          </p:stCondLst>
                                        </p:cTn>
                                        <p:tgtEl>
                                          <p:spTgt spid="28"/>
                                        </p:tgtEl>
                                        <p:attrNameLst>
                                          <p:attrName>style.visibility</p:attrName>
                                        </p:attrNameLst>
                                      </p:cBhvr>
                                      <p:to>
                                        <p:strVal val="visible"/>
                                      </p:to>
                                    </p:set>
                                    <p:animEffect transition="in" filter="circle(in)">
                                      <p:cBhvr>
                                        <p:cTn id="165" dur="20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8" grpId="0" animBg="1"/>
      <p:bldP spid="9" grpId="0" animBg="1"/>
      <p:bldP spid="10" grpId="0" animBg="1"/>
      <p:bldP spid="11" grpId="0" animBg="1"/>
      <p:bldP spid="12" grpId="0" animBg="1"/>
      <p:bldP spid="13" grpId="0" animBg="1"/>
      <p:bldP spid="14" grpId="0" animBg="1"/>
      <p:bldP spid="15" grpId="0" animBg="1"/>
      <p:bldP spid="19" grpId="0"/>
      <p:bldP spid="22" grpId="0"/>
      <p:bldP spid="26" grpId="0"/>
      <p:bldP spid="28" grpId="0" animBg="1"/>
      <p:bldP spid="29" grpId="0" animBg="1"/>
      <p:bldP spid="30" grpId="0" animBg="1"/>
      <p:bldP spid="31"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L-Shape 4">
            <a:extLst>
              <a:ext uri="{FF2B5EF4-FFF2-40B4-BE49-F238E27FC236}">
                <a16:creationId xmlns:a16="http://schemas.microsoft.com/office/drawing/2014/main" id="{FADCE71B-66BA-D2A7-2262-74CC01CB37C6}"/>
              </a:ext>
            </a:extLst>
          </p:cNvPr>
          <p:cNvSpPr/>
          <p:nvPr/>
        </p:nvSpPr>
        <p:spPr>
          <a:xfrm rot="5400000">
            <a:off x="1500090" y="4219795"/>
            <a:ext cx="1260446" cy="1224132"/>
          </a:xfrm>
          <a:prstGeom prst="corner">
            <a:avLst>
              <a:gd name="adj1" fmla="val 16120"/>
              <a:gd name="adj2" fmla="val 16110"/>
            </a:avLst>
          </a:prstGeom>
          <a:solidFill>
            <a:srgbClr val="5ECCF3"/>
          </a:solidFill>
          <a:ln w="15875" cap="flat" cmpd="sng" algn="ctr">
            <a:noFill/>
            <a:prstDash val="soli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ar-SA" sz="1800" b="0" i="0" u="none" strike="noStrike" kern="0" cap="none" spc="0" normalizeH="0" baseline="0" noProof="0">
              <a:ln>
                <a:noFill/>
              </a:ln>
              <a:solidFill>
                <a:prstClr val="white"/>
              </a:solidFill>
              <a:effectLst/>
              <a:uLnTx/>
              <a:uFillTx/>
              <a:latin typeface="Trebuchet MS"/>
              <a:ea typeface="+mn-ea"/>
              <a:cs typeface="Tahoma" panose="020B0604030504040204" pitchFamily="34" charset="0"/>
            </a:endParaRPr>
          </a:p>
        </p:txBody>
      </p:sp>
      <p:sp>
        <p:nvSpPr>
          <p:cNvPr id="52" name="Freeform 5">
            <a:extLst>
              <a:ext uri="{FF2B5EF4-FFF2-40B4-BE49-F238E27FC236}">
                <a16:creationId xmlns:a16="http://schemas.microsoft.com/office/drawing/2014/main" id="{51CBC39B-C1A9-685C-220B-DBB38E666A46}"/>
              </a:ext>
            </a:extLst>
          </p:cNvPr>
          <p:cNvSpPr/>
          <p:nvPr/>
        </p:nvSpPr>
        <p:spPr>
          <a:xfrm>
            <a:off x="1925563" y="4382693"/>
            <a:ext cx="1276109" cy="1443353"/>
          </a:xfrm>
          <a:custGeom>
            <a:avLst/>
            <a:gdLst>
              <a:gd name="connsiteX0" fmla="*/ 0 w 1711813"/>
              <a:gd name="connsiteY0" fmla="*/ 0 h 1500505"/>
              <a:gd name="connsiteX1" fmla="*/ 1711813 w 1711813"/>
              <a:gd name="connsiteY1" fmla="*/ 0 h 1500505"/>
              <a:gd name="connsiteX2" fmla="*/ 1711813 w 1711813"/>
              <a:gd name="connsiteY2" fmla="*/ 1500505 h 1500505"/>
              <a:gd name="connsiteX3" fmla="*/ 0 w 1711813"/>
              <a:gd name="connsiteY3" fmla="*/ 1500505 h 1500505"/>
              <a:gd name="connsiteX4" fmla="*/ 0 w 1711813"/>
              <a:gd name="connsiteY4" fmla="*/ 0 h 15005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1813" h="1500505">
                <a:moveTo>
                  <a:pt x="0" y="0"/>
                </a:moveTo>
                <a:lnTo>
                  <a:pt x="1711813" y="0"/>
                </a:lnTo>
                <a:lnTo>
                  <a:pt x="1711813" y="1500505"/>
                </a:lnTo>
                <a:lnTo>
                  <a:pt x="0" y="1500505"/>
                </a:lnTo>
                <a:lnTo>
                  <a:pt x="0" y="0"/>
                </a:lnTo>
                <a:close/>
              </a:path>
            </a:pathLst>
          </a:custGeom>
          <a:noFill/>
          <a:ln>
            <a:noFill/>
          </a:ln>
          <a:effectLst/>
        </p:spPr>
        <p:txBody>
          <a:bodyPr spcFirstLastPara="0" vert="horz" wrap="square" lIns="190500" tIns="190500" rIns="190500" bIns="190500" numCol="1" spcCol="1270" anchor="t" anchorCtr="0">
            <a:noAutofit/>
          </a:bodyPr>
          <a:lstStyle/>
          <a:p>
            <a:pPr marL="0" marR="0" lvl="0" indent="0" algn="l" defTabSz="2222500" rtl="0" eaLnBrk="1" fontAlgn="auto" latinLnBrk="1" hangingPunct="1">
              <a:lnSpc>
                <a:spcPct val="90000"/>
              </a:lnSpc>
              <a:spcBef>
                <a:spcPct val="0"/>
              </a:spcBef>
              <a:spcAft>
                <a:spcPct val="35000"/>
              </a:spcAft>
              <a:buClrTx/>
              <a:buSzTx/>
              <a:buFontTx/>
              <a:buNone/>
              <a:tabLst/>
              <a:defRPr/>
            </a:pPr>
            <a:endParaRPr kumimoji="0" lang="ko-KR" altLang="en-US" sz="5000" b="0" i="0" u="none" strike="noStrike" kern="0" cap="none" spc="0" normalizeH="0" baseline="0" noProof="0">
              <a:ln>
                <a:noFill/>
              </a:ln>
              <a:solidFill>
                <a:prstClr val="black">
                  <a:hueOff val="0"/>
                  <a:satOff val="0"/>
                  <a:lumOff val="0"/>
                  <a:alphaOff val="0"/>
                </a:prstClr>
              </a:solidFill>
              <a:effectLst/>
              <a:uLnTx/>
              <a:uFillTx/>
              <a:latin typeface="Arial"/>
              <a:cs typeface="+mn-cs"/>
            </a:endParaRPr>
          </a:p>
        </p:txBody>
      </p:sp>
      <p:sp>
        <p:nvSpPr>
          <p:cNvPr id="53" name="Isosceles Triangle 6">
            <a:extLst>
              <a:ext uri="{FF2B5EF4-FFF2-40B4-BE49-F238E27FC236}">
                <a16:creationId xmlns:a16="http://schemas.microsoft.com/office/drawing/2014/main" id="{35C32E06-D9BE-8DBD-41DA-07949AD8DC9B}"/>
              </a:ext>
            </a:extLst>
          </p:cNvPr>
          <p:cNvSpPr/>
          <p:nvPr/>
        </p:nvSpPr>
        <p:spPr>
          <a:xfrm>
            <a:off x="2456046" y="3728718"/>
            <a:ext cx="240775" cy="310681"/>
          </a:xfrm>
          <a:prstGeom prst="triangle">
            <a:avLst>
              <a:gd name="adj" fmla="val 100000"/>
            </a:avLst>
          </a:prstGeom>
          <a:solidFill>
            <a:srgbClr val="5ECCF3"/>
          </a:solidFill>
          <a:ln w="15875" cap="flat" cmpd="sng" algn="ctr">
            <a:noFill/>
            <a:prstDash val="soli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ar-SA" sz="1800" b="0" i="0" u="none" strike="noStrike" kern="0" cap="none" spc="0" normalizeH="0" baseline="0" noProof="0">
              <a:ln>
                <a:noFill/>
              </a:ln>
              <a:solidFill>
                <a:prstClr val="white"/>
              </a:solidFill>
              <a:effectLst/>
              <a:uLnTx/>
              <a:uFillTx/>
              <a:latin typeface="Trebuchet MS"/>
              <a:ea typeface="+mn-ea"/>
              <a:cs typeface="Tahoma" panose="020B0604030504040204" pitchFamily="34" charset="0"/>
            </a:endParaRPr>
          </a:p>
        </p:txBody>
      </p:sp>
      <p:sp>
        <p:nvSpPr>
          <p:cNvPr id="54" name="L-Shape 7">
            <a:extLst>
              <a:ext uri="{FF2B5EF4-FFF2-40B4-BE49-F238E27FC236}">
                <a16:creationId xmlns:a16="http://schemas.microsoft.com/office/drawing/2014/main" id="{9B09BEB5-20AF-1762-02A9-F24877A5374F}"/>
              </a:ext>
            </a:extLst>
          </p:cNvPr>
          <p:cNvSpPr/>
          <p:nvPr/>
        </p:nvSpPr>
        <p:spPr>
          <a:xfrm rot="5400000">
            <a:off x="2751912" y="3711163"/>
            <a:ext cx="1260444" cy="1276110"/>
          </a:xfrm>
          <a:prstGeom prst="corner">
            <a:avLst>
              <a:gd name="adj1" fmla="val 16120"/>
              <a:gd name="adj2" fmla="val 16110"/>
            </a:avLst>
          </a:prstGeom>
          <a:solidFill>
            <a:srgbClr val="A7EA52"/>
          </a:solidFill>
          <a:ln w="15875" cap="flat" cmpd="sng" algn="ctr">
            <a:noFill/>
            <a:prstDash val="soli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ar-SA" sz="1800" b="0" i="0" u="none" strike="noStrike" kern="0" cap="none" spc="0" normalizeH="0" baseline="0" noProof="0">
              <a:ln>
                <a:noFill/>
              </a:ln>
              <a:solidFill>
                <a:prstClr val="white"/>
              </a:solidFill>
              <a:effectLst/>
              <a:uLnTx/>
              <a:uFillTx/>
              <a:latin typeface="Trebuchet MS"/>
              <a:ea typeface="+mn-ea"/>
              <a:cs typeface="Tahoma" panose="020B0604030504040204" pitchFamily="34" charset="0"/>
            </a:endParaRPr>
          </a:p>
        </p:txBody>
      </p:sp>
      <p:sp>
        <p:nvSpPr>
          <p:cNvPr id="55" name="Freeform 8">
            <a:extLst>
              <a:ext uri="{FF2B5EF4-FFF2-40B4-BE49-F238E27FC236}">
                <a16:creationId xmlns:a16="http://schemas.microsoft.com/office/drawing/2014/main" id="{4631BC16-3BD9-2CB4-7388-32717318344F}"/>
              </a:ext>
            </a:extLst>
          </p:cNvPr>
          <p:cNvSpPr/>
          <p:nvPr/>
        </p:nvSpPr>
        <p:spPr>
          <a:xfrm>
            <a:off x="3487771" y="3883888"/>
            <a:ext cx="1276109" cy="1443353"/>
          </a:xfrm>
          <a:custGeom>
            <a:avLst/>
            <a:gdLst>
              <a:gd name="connsiteX0" fmla="*/ 0 w 1711813"/>
              <a:gd name="connsiteY0" fmla="*/ 0 h 1500505"/>
              <a:gd name="connsiteX1" fmla="*/ 1711813 w 1711813"/>
              <a:gd name="connsiteY1" fmla="*/ 0 h 1500505"/>
              <a:gd name="connsiteX2" fmla="*/ 1711813 w 1711813"/>
              <a:gd name="connsiteY2" fmla="*/ 1500505 h 1500505"/>
              <a:gd name="connsiteX3" fmla="*/ 0 w 1711813"/>
              <a:gd name="connsiteY3" fmla="*/ 1500505 h 1500505"/>
              <a:gd name="connsiteX4" fmla="*/ 0 w 1711813"/>
              <a:gd name="connsiteY4" fmla="*/ 0 h 15005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1813" h="1500505">
                <a:moveTo>
                  <a:pt x="0" y="0"/>
                </a:moveTo>
                <a:lnTo>
                  <a:pt x="1711813" y="0"/>
                </a:lnTo>
                <a:lnTo>
                  <a:pt x="1711813" y="1500505"/>
                </a:lnTo>
                <a:lnTo>
                  <a:pt x="0" y="1500505"/>
                </a:lnTo>
                <a:lnTo>
                  <a:pt x="0" y="0"/>
                </a:lnTo>
                <a:close/>
              </a:path>
            </a:pathLst>
          </a:custGeom>
          <a:noFill/>
          <a:ln>
            <a:noFill/>
          </a:ln>
          <a:effectLst/>
        </p:spPr>
        <p:txBody>
          <a:bodyPr spcFirstLastPara="0" vert="horz" wrap="square" lIns="190500" tIns="190500" rIns="190500" bIns="190500" numCol="1" spcCol="1270" anchor="t" anchorCtr="0">
            <a:noAutofit/>
          </a:bodyPr>
          <a:lstStyle/>
          <a:p>
            <a:pPr marL="0" marR="0" lvl="0" indent="0" algn="l" defTabSz="2222500" rtl="0" eaLnBrk="1" fontAlgn="auto" latinLnBrk="1" hangingPunct="1">
              <a:lnSpc>
                <a:spcPct val="90000"/>
              </a:lnSpc>
              <a:spcBef>
                <a:spcPct val="0"/>
              </a:spcBef>
              <a:spcAft>
                <a:spcPct val="35000"/>
              </a:spcAft>
              <a:buClrTx/>
              <a:buSzTx/>
              <a:buFontTx/>
              <a:buNone/>
              <a:tabLst/>
              <a:defRPr/>
            </a:pPr>
            <a:endParaRPr kumimoji="0" lang="ko-KR" altLang="en-US" sz="5000" b="0" i="0" u="none" strike="noStrike" kern="0" cap="none" spc="0" normalizeH="0" baseline="0" noProof="0">
              <a:ln>
                <a:noFill/>
              </a:ln>
              <a:solidFill>
                <a:prstClr val="black">
                  <a:hueOff val="0"/>
                  <a:satOff val="0"/>
                  <a:lumOff val="0"/>
                  <a:alphaOff val="0"/>
                </a:prstClr>
              </a:solidFill>
              <a:effectLst/>
              <a:uLnTx/>
              <a:uFillTx/>
              <a:latin typeface="Arial"/>
              <a:cs typeface="+mn-cs"/>
            </a:endParaRPr>
          </a:p>
        </p:txBody>
      </p:sp>
      <p:sp>
        <p:nvSpPr>
          <p:cNvPr id="56" name="Isosceles Triangle 9">
            <a:extLst>
              <a:ext uri="{FF2B5EF4-FFF2-40B4-BE49-F238E27FC236}">
                <a16:creationId xmlns:a16="http://schemas.microsoft.com/office/drawing/2014/main" id="{5C8FE112-11E4-907B-41F3-44BB89EBEA25}"/>
              </a:ext>
            </a:extLst>
          </p:cNvPr>
          <p:cNvSpPr/>
          <p:nvPr/>
        </p:nvSpPr>
        <p:spPr>
          <a:xfrm>
            <a:off x="3752190" y="3233847"/>
            <a:ext cx="240775" cy="310681"/>
          </a:xfrm>
          <a:prstGeom prst="triangle">
            <a:avLst>
              <a:gd name="adj" fmla="val 100000"/>
            </a:avLst>
          </a:prstGeom>
          <a:solidFill>
            <a:srgbClr val="A7EA52"/>
          </a:solidFill>
          <a:ln w="15875" cap="flat" cmpd="sng" algn="ctr">
            <a:noFill/>
            <a:prstDash val="soli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ar-SA" sz="1800" b="0" i="0" u="none" strike="noStrike" kern="0" cap="none" spc="0" normalizeH="0" baseline="0" noProof="0">
              <a:ln>
                <a:noFill/>
              </a:ln>
              <a:solidFill>
                <a:prstClr val="white"/>
              </a:solidFill>
              <a:effectLst/>
              <a:uLnTx/>
              <a:uFillTx/>
              <a:latin typeface="Trebuchet MS"/>
              <a:ea typeface="+mn-ea"/>
              <a:cs typeface="Tahoma" panose="020B0604030504040204" pitchFamily="34" charset="0"/>
            </a:endParaRPr>
          </a:p>
        </p:txBody>
      </p:sp>
      <p:sp>
        <p:nvSpPr>
          <p:cNvPr id="57" name="L-Shape 10">
            <a:extLst>
              <a:ext uri="{FF2B5EF4-FFF2-40B4-BE49-F238E27FC236}">
                <a16:creationId xmlns:a16="http://schemas.microsoft.com/office/drawing/2014/main" id="{3631ABBC-77B2-943C-22DD-7E4F21DA782F}"/>
              </a:ext>
            </a:extLst>
          </p:cNvPr>
          <p:cNvSpPr/>
          <p:nvPr/>
        </p:nvSpPr>
        <p:spPr>
          <a:xfrm rot="5400000">
            <a:off x="4018871" y="3228518"/>
            <a:ext cx="1260446" cy="1276110"/>
          </a:xfrm>
          <a:prstGeom prst="corner">
            <a:avLst>
              <a:gd name="adj1" fmla="val 16120"/>
              <a:gd name="adj2" fmla="val 16110"/>
            </a:avLst>
          </a:prstGeom>
          <a:solidFill>
            <a:srgbClr val="5DCEAF"/>
          </a:solidFill>
          <a:ln w="15875" cap="flat" cmpd="sng" algn="ctr">
            <a:noFill/>
            <a:prstDash val="soli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ar-SA" sz="1800" b="0" i="0" u="none" strike="noStrike" kern="0" cap="none" spc="0" normalizeH="0" baseline="0" noProof="0">
              <a:ln>
                <a:noFill/>
              </a:ln>
              <a:solidFill>
                <a:prstClr val="white"/>
              </a:solidFill>
              <a:effectLst/>
              <a:uLnTx/>
              <a:uFillTx/>
              <a:latin typeface="Trebuchet MS"/>
              <a:ea typeface="+mn-ea"/>
              <a:cs typeface="Tahoma" panose="020B0604030504040204" pitchFamily="34" charset="0"/>
            </a:endParaRPr>
          </a:p>
        </p:txBody>
      </p:sp>
      <p:sp>
        <p:nvSpPr>
          <p:cNvPr id="58" name="Isosceles Triangle 12">
            <a:extLst>
              <a:ext uri="{FF2B5EF4-FFF2-40B4-BE49-F238E27FC236}">
                <a16:creationId xmlns:a16="http://schemas.microsoft.com/office/drawing/2014/main" id="{2C314640-9811-68AE-210A-9546F7B40D17}"/>
              </a:ext>
            </a:extLst>
          </p:cNvPr>
          <p:cNvSpPr/>
          <p:nvPr/>
        </p:nvSpPr>
        <p:spPr>
          <a:xfrm>
            <a:off x="4976326" y="2754345"/>
            <a:ext cx="240775" cy="310681"/>
          </a:xfrm>
          <a:prstGeom prst="triangle">
            <a:avLst>
              <a:gd name="adj" fmla="val 100000"/>
            </a:avLst>
          </a:prstGeom>
          <a:solidFill>
            <a:srgbClr val="5DCEAF"/>
          </a:solidFill>
          <a:ln w="15875" cap="flat" cmpd="sng" algn="ctr">
            <a:noFill/>
            <a:prstDash val="soli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ar-SA" sz="1800" b="0" i="0" u="none" strike="noStrike" kern="0" cap="none" spc="0" normalizeH="0" baseline="0" noProof="0">
              <a:ln>
                <a:noFill/>
              </a:ln>
              <a:solidFill>
                <a:prstClr val="white"/>
              </a:solidFill>
              <a:effectLst/>
              <a:uLnTx/>
              <a:uFillTx/>
              <a:latin typeface="Trebuchet MS"/>
              <a:ea typeface="+mn-ea"/>
              <a:cs typeface="Tahoma" panose="020B0604030504040204" pitchFamily="34" charset="0"/>
            </a:endParaRPr>
          </a:p>
        </p:txBody>
      </p:sp>
      <p:sp>
        <p:nvSpPr>
          <p:cNvPr id="59" name="L-Shape 13">
            <a:extLst>
              <a:ext uri="{FF2B5EF4-FFF2-40B4-BE49-F238E27FC236}">
                <a16:creationId xmlns:a16="http://schemas.microsoft.com/office/drawing/2014/main" id="{C33DE048-C7D2-F27D-E55E-9E02787CC7F4}"/>
              </a:ext>
            </a:extLst>
          </p:cNvPr>
          <p:cNvSpPr/>
          <p:nvPr/>
        </p:nvSpPr>
        <p:spPr>
          <a:xfrm rot="5400000">
            <a:off x="5272190" y="2745875"/>
            <a:ext cx="1260446" cy="1276110"/>
          </a:xfrm>
          <a:prstGeom prst="corner">
            <a:avLst>
              <a:gd name="adj1" fmla="val 16120"/>
              <a:gd name="adj2" fmla="val 16110"/>
            </a:avLst>
          </a:prstGeom>
          <a:solidFill>
            <a:srgbClr val="4E67C8"/>
          </a:solidFill>
          <a:ln w="15875" cap="flat" cmpd="sng" algn="ctr">
            <a:noFill/>
            <a:prstDash val="soli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ar-SA" sz="1800" b="0" i="0" u="none" strike="noStrike" kern="0" cap="none" spc="0" normalizeH="0" baseline="0" noProof="0">
              <a:ln>
                <a:noFill/>
              </a:ln>
              <a:solidFill>
                <a:prstClr val="white"/>
              </a:solidFill>
              <a:effectLst/>
              <a:uLnTx/>
              <a:uFillTx/>
              <a:latin typeface="Trebuchet MS"/>
              <a:ea typeface="+mn-ea"/>
              <a:cs typeface="Tahoma" panose="020B0604030504040204" pitchFamily="34" charset="0"/>
            </a:endParaRPr>
          </a:p>
        </p:txBody>
      </p:sp>
      <p:sp>
        <p:nvSpPr>
          <p:cNvPr id="60" name="TextBox 18">
            <a:extLst>
              <a:ext uri="{FF2B5EF4-FFF2-40B4-BE49-F238E27FC236}">
                <a16:creationId xmlns:a16="http://schemas.microsoft.com/office/drawing/2014/main" id="{00EA12B1-4C61-FE8A-92AC-81FF10807CFF}"/>
              </a:ext>
            </a:extLst>
          </p:cNvPr>
          <p:cNvSpPr txBox="1"/>
          <p:nvPr/>
        </p:nvSpPr>
        <p:spPr>
          <a:xfrm>
            <a:off x="1591950" y="4443395"/>
            <a:ext cx="1224131" cy="830997"/>
          </a:xfrm>
          <a:prstGeom prst="rect">
            <a:avLst/>
          </a:prstGeom>
          <a:noFill/>
        </p:spPr>
        <p:txBody>
          <a:bodyPr wrap="square" rtlCol="0">
            <a:spAutoFit/>
          </a:bodyPr>
          <a:lstStyle/>
          <a:p>
            <a:pPr algn="ctr" latinLnBrk="1">
              <a:defRPr/>
            </a:pPr>
            <a:r>
              <a:rPr lang="ar-SA" altLang="ko-KR" sz="2400" b="1" dirty="0">
                <a:solidFill>
                  <a:prstClr val="black">
                    <a:lumMod val="75000"/>
                    <a:lumOff val="25000"/>
                  </a:prstClr>
                </a:solidFill>
                <a:latin typeface="Sakkal Majalla" panose="02000000000000000000" pitchFamily="2" charset="-78"/>
                <a:cs typeface="Sakkal Majalla" panose="02000000000000000000" pitchFamily="2" charset="-78"/>
              </a:rPr>
              <a:t>الصف</a:t>
            </a:r>
          </a:p>
          <a:p>
            <a:pPr algn="ctr" latinLnBrk="1">
              <a:defRPr/>
            </a:pPr>
            <a:r>
              <a:rPr lang="ar-SA" altLang="ko-KR" sz="2400" b="1" dirty="0">
                <a:solidFill>
                  <a:prstClr val="black">
                    <a:lumMod val="75000"/>
                    <a:lumOff val="25000"/>
                  </a:prstClr>
                </a:solidFill>
                <a:latin typeface="Sakkal Majalla" panose="02000000000000000000" pitchFamily="2" charset="-78"/>
                <a:cs typeface="Sakkal Majalla" panose="02000000000000000000" pitchFamily="2" charset="-78"/>
              </a:rPr>
              <a:t>الثالث</a:t>
            </a:r>
            <a:endParaRPr lang="ko-KR" altLang="en-US" sz="2400" b="1" dirty="0">
              <a:solidFill>
                <a:prstClr val="black">
                  <a:lumMod val="75000"/>
                  <a:lumOff val="25000"/>
                </a:prstClr>
              </a:solidFill>
              <a:latin typeface="Sakkal Majalla" panose="02000000000000000000" pitchFamily="2" charset="-78"/>
              <a:cs typeface="Sakkal Majalla" panose="02000000000000000000" pitchFamily="2" charset="-78"/>
            </a:endParaRPr>
          </a:p>
        </p:txBody>
      </p:sp>
      <p:sp>
        <p:nvSpPr>
          <p:cNvPr id="61" name="Isosceles Triangle 9">
            <a:extLst>
              <a:ext uri="{FF2B5EF4-FFF2-40B4-BE49-F238E27FC236}">
                <a16:creationId xmlns:a16="http://schemas.microsoft.com/office/drawing/2014/main" id="{835F53E9-ABC3-8F9D-973F-229587C8B4F8}"/>
              </a:ext>
            </a:extLst>
          </p:cNvPr>
          <p:cNvSpPr/>
          <p:nvPr/>
        </p:nvSpPr>
        <p:spPr>
          <a:xfrm>
            <a:off x="6282198" y="2267336"/>
            <a:ext cx="236959" cy="310681"/>
          </a:xfrm>
          <a:prstGeom prst="triangle">
            <a:avLst>
              <a:gd name="adj" fmla="val 100000"/>
            </a:avLst>
          </a:prstGeom>
          <a:solidFill>
            <a:srgbClr val="FFC000"/>
          </a:solidFill>
          <a:ln w="15875" cap="flat" cmpd="sng" algn="ctr">
            <a:noFill/>
            <a:prstDash val="soli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ar-SA" sz="1800" b="0" i="0" u="none" strike="noStrike" kern="0" cap="none" spc="0" normalizeH="0" baseline="0" noProof="0">
              <a:ln>
                <a:noFill/>
              </a:ln>
              <a:solidFill>
                <a:prstClr val="white"/>
              </a:solidFill>
              <a:effectLst/>
              <a:uLnTx/>
              <a:uFillTx/>
              <a:latin typeface="Trebuchet MS"/>
              <a:ea typeface="+mn-ea"/>
              <a:cs typeface="Tahoma" panose="020B0604030504040204" pitchFamily="34" charset="0"/>
            </a:endParaRPr>
          </a:p>
        </p:txBody>
      </p:sp>
      <p:sp>
        <p:nvSpPr>
          <p:cNvPr id="62" name="L-Shape 10">
            <a:extLst>
              <a:ext uri="{FF2B5EF4-FFF2-40B4-BE49-F238E27FC236}">
                <a16:creationId xmlns:a16="http://schemas.microsoft.com/office/drawing/2014/main" id="{65F311F4-0977-A167-E3CD-7619DF12F5B7}"/>
              </a:ext>
            </a:extLst>
          </p:cNvPr>
          <p:cNvSpPr/>
          <p:nvPr/>
        </p:nvSpPr>
        <p:spPr>
          <a:xfrm rot="5400000">
            <a:off x="6542347" y="2279499"/>
            <a:ext cx="1260447" cy="1224135"/>
          </a:xfrm>
          <a:prstGeom prst="corner">
            <a:avLst>
              <a:gd name="adj1" fmla="val 16120"/>
              <a:gd name="adj2" fmla="val 16110"/>
            </a:avLst>
          </a:prstGeom>
          <a:solidFill>
            <a:srgbClr val="FFC000"/>
          </a:solidFill>
          <a:ln w="15875" cap="flat" cmpd="sng" algn="ctr">
            <a:noFill/>
            <a:prstDash val="soli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ar-SA" sz="1800" b="0" i="0" u="none" strike="noStrike" kern="0" cap="none" spc="0" normalizeH="0" baseline="0" noProof="0">
              <a:ln>
                <a:noFill/>
              </a:ln>
              <a:solidFill>
                <a:prstClr val="white"/>
              </a:solidFill>
              <a:effectLst/>
              <a:uLnTx/>
              <a:uFillTx/>
              <a:latin typeface="Trebuchet MS"/>
              <a:ea typeface="+mn-ea"/>
              <a:cs typeface="Tahoma" panose="020B0604030504040204" pitchFamily="34" charset="0"/>
            </a:endParaRPr>
          </a:p>
        </p:txBody>
      </p:sp>
      <p:sp>
        <p:nvSpPr>
          <p:cNvPr id="63" name="TextBox 18">
            <a:extLst>
              <a:ext uri="{FF2B5EF4-FFF2-40B4-BE49-F238E27FC236}">
                <a16:creationId xmlns:a16="http://schemas.microsoft.com/office/drawing/2014/main" id="{72B5D4AC-47AB-B3B0-222D-09890F336DA9}"/>
              </a:ext>
            </a:extLst>
          </p:cNvPr>
          <p:cNvSpPr txBox="1"/>
          <p:nvPr/>
        </p:nvSpPr>
        <p:spPr>
          <a:xfrm>
            <a:off x="2888094" y="3951840"/>
            <a:ext cx="1119545" cy="830997"/>
          </a:xfrm>
          <a:prstGeom prst="rect">
            <a:avLst/>
          </a:prstGeom>
          <a:noFill/>
        </p:spPr>
        <p:txBody>
          <a:bodyPr wrap="square" rtlCol="0">
            <a:spAutoFit/>
          </a:bodyPr>
          <a:lstStyle/>
          <a:p>
            <a:pPr algn="ctr" latinLnBrk="1">
              <a:defRPr/>
            </a:pPr>
            <a:r>
              <a:rPr lang="ar-SA" altLang="ko-KR" sz="2400" b="1" dirty="0">
                <a:solidFill>
                  <a:prstClr val="black">
                    <a:lumMod val="75000"/>
                    <a:lumOff val="25000"/>
                  </a:prstClr>
                </a:solidFill>
                <a:latin typeface="Sakkal Majalla" panose="02000000000000000000" pitchFamily="2" charset="-78"/>
                <a:cs typeface="Sakkal Majalla" panose="02000000000000000000" pitchFamily="2" charset="-78"/>
              </a:rPr>
              <a:t>الصف</a:t>
            </a:r>
          </a:p>
          <a:p>
            <a:pPr algn="ctr" latinLnBrk="1">
              <a:defRPr/>
            </a:pPr>
            <a:r>
              <a:rPr lang="ar-SA" altLang="ko-KR" sz="2400" b="1" dirty="0">
                <a:solidFill>
                  <a:prstClr val="black">
                    <a:lumMod val="75000"/>
                    <a:lumOff val="25000"/>
                  </a:prstClr>
                </a:solidFill>
                <a:latin typeface="Sakkal Majalla" panose="02000000000000000000" pitchFamily="2" charset="-78"/>
                <a:cs typeface="Sakkal Majalla" panose="02000000000000000000" pitchFamily="2" charset="-78"/>
              </a:rPr>
              <a:t>الرابع</a:t>
            </a:r>
            <a:endParaRPr lang="ko-KR" altLang="en-US" sz="2400" b="1" dirty="0">
              <a:solidFill>
                <a:prstClr val="black">
                  <a:lumMod val="75000"/>
                  <a:lumOff val="25000"/>
                </a:prstClr>
              </a:solidFill>
              <a:latin typeface="Sakkal Majalla" panose="02000000000000000000" pitchFamily="2" charset="-78"/>
              <a:cs typeface="Sakkal Majalla" panose="02000000000000000000" pitchFamily="2" charset="-78"/>
            </a:endParaRPr>
          </a:p>
        </p:txBody>
      </p:sp>
      <p:sp>
        <p:nvSpPr>
          <p:cNvPr id="64" name="TextBox 18">
            <a:extLst>
              <a:ext uri="{FF2B5EF4-FFF2-40B4-BE49-F238E27FC236}">
                <a16:creationId xmlns:a16="http://schemas.microsoft.com/office/drawing/2014/main" id="{B3F02597-7D09-3097-AA6F-BBC74411C3AC}"/>
              </a:ext>
            </a:extLst>
          </p:cNvPr>
          <p:cNvSpPr txBox="1"/>
          <p:nvPr/>
        </p:nvSpPr>
        <p:spPr>
          <a:xfrm>
            <a:off x="4112230" y="3448784"/>
            <a:ext cx="1212415" cy="830997"/>
          </a:xfrm>
          <a:prstGeom prst="rect">
            <a:avLst/>
          </a:prstGeom>
          <a:noFill/>
        </p:spPr>
        <p:txBody>
          <a:bodyPr wrap="square" rtlCol="0">
            <a:spAutoFit/>
          </a:bodyPr>
          <a:lstStyle/>
          <a:p>
            <a:pPr algn="ctr" latinLnBrk="1">
              <a:defRPr/>
            </a:pPr>
            <a:r>
              <a:rPr lang="ar-SA" altLang="ko-KR" sz="2400" b="1" dirty="0">
                <a:solidFill>
                  <a:prstClr val="black">
                    <a:lumMod val="75000"/>
                    <a:lumOff val="25000"/>
                  </a:prstClr>
                </a:solidFill>
                <a:latin typeface="Sakkal Majalla" panose="02000000000000000000" pitchFamily="2" charset="-78"/>
                <a:cs typeface="Sakkal Majalla" panose="02000000000000000000" pitchFamily="2" charset="-78"/>
              </a:rPr>
              <a:t>الصف </a:t>
            </a:r>
          </a:p>
          <a:p>
            <a:pPr algn="ctr" latinLnBrk="1">
              <a:defRPr/>
            </a:pPr>
            <a:r>
              <a:rPr lang="ar-SA" altLang="ko-KR" sz="2400" b="1" dirty="0">
                <a:solidFill>
                  <a:prstClr val="black">
                    <a:lumMod val="75000"/>
                    <a:lumOff val="25000"/>
                  </a:prstClr>
                </a:solidFill>
                <a:latin typeface="Sakkal Majalla" panose="02000000000000000000" pitchFamily="2" charset="-78"/>
                <a:cs typeface="Sakkal Majalla" panose="02000000000000000000" pitchFamily="2" charset="-78"/>
              </a:rPr>
              <a:t>السادس</a:t>
            </a:r>
            <a:endParaRPr lang="ko-KR" altLang="en-US" sz="2400" b="1" dirty="0">
              <a:solidFill>
                <a:prstClr val="black">
                  <a:lumMod val="75000"/>
                  <a:lumOff val="25000"/>
                </a:prstClr>
              </a:solidFill>
              <a:latin typeface="Sakkal Majalla" panose="02000000000000000000" pitchFamily="2" charset="-78"/>
              <a:cs typeface="Sakkal Majalla" panose="02000000000000000000" pitchFamily="2" charset="-78"/>
            </a:endParaRPr>
          </a:p>
        </p:txBody>
      </p:sp>
      <p:sp>
        <p:nvSpPr>
          <p:cNvPr id="65" name="TextBox 18">
            <a:extLst>
              <a:ext uri="{FF2B5EF4-FFF2-40B4-BE49-F238E27FC236}">
                <a16:creationId xmlns:a16="http://schemas.microsoft.com/office/drawing/2014/main" id="{146F55C2-5ABC-D0AF-EFC9-78201060C57A}"/>
              </a:ext>
            </a:extLst>
          </p:cNvPr>
          <p:cNvSpPr txBox="1"/>
          <p:nvPr/>
        </p:nvSpPr>
        <p:spPr>
          <a:xfrm>
            <a:off x="5408374" y="2897718"/>
            <a:ext cx="1224136" cy="1200329"/>
          </a:xfrm>
          <a:prstGeom prst="rect">
            <a:avLst/>
          </a:prstGeom>
          <a:noFill/>
        </p:spPr>
        <p:txBody>
          <a:bodyPr wrap="square" rtlCol="0">
            <a:spAutoFit/>
          </a:bodyPr>
          <a:lstStyle/>
          <a:p>
            <a:pPr algn="ctr" latinLnBrk="1">
              <a:defRPr/>
            </a:pPr>
            <a:r>
              <a:rPr lang="ar-SA" altLang="ko-KR" sz="2400" b="1" dirty="0">
                <a:solidFill>
                  <a:prstClr val="black">
                    <a:lumMod val="75000"/>
                    <a:lumOff val="25000"/>
                  </a:prstClr>
                </a:solidFill>
                <a:latin typeface="Sakkal Majalla" panose="02000000000000000000" pitchFamily="2" charset="-78"/>
                <a:cs typeface="Sakkal Majalla" panose="02000000000000000000" pitchFamily="2" charset="-78"/>
              </a:rPr>
              <a:t>الصف الثاني متوسط</a:t>
            </a:r>
            <a:endParaRPr lang="ko-KR" altLang="en-US" sz="2400" b="1" dirty="0">
              <a:solidFill>
                <a:prstClr val="black">
                  <a:lumMod val="75000"/>
                  <a:lumOff val="25000"/>
                </a:prstClr>
              </a:solidFill>
              <a:latin typeface="Sakkal Majalla" panose="02000000000000000000" pitchFamily="2" charset="-78"/>
              <a:cs typeface="Sakkal Majalla" panose="02000000000000000000" pitchFamily="2" charset="-78"/>
            </a:endParaRPr>
          </a:p>
        </p:txBody>
      </p:sp>
      <p:sp>
        <p:nvSpPr>
          <p:cNvPr id="66" name="TextBox 18">
            <a:extLst>
              <a:ext uri="{FF2B5EF4-FFF2-40B4-BE49-F238E27FC236}">
                <a16:creationId xmlns:a16="http://schemas.microsoft.com/office/drawing/2014/main" id="{6935B365-5549-2E4C-230A-38B857165C0C}"/>
              </a:ext>
            </a:extLst>
          </p:cNvPr>
          <p:cNvSpPr txBox="1"/>
          <p:nvPr/>
        </p:nvSpPr>
        <p:spPr>
          <a:xfrm>
            <a:off x="6632510" y="2393662"/>
            <a:ext cx="1080125" cy="1200329"/>
          </a:xfrm>
          <a:prstGeom prst="rect">
            <a:avLst/>
          </a:prstGeom>
          <a:noFill/>
        </p:spPr>
        <p:txBody>
          <a:bodyPr wrap="square" rtlCol="0">
            <a:spAutoFit/>
          </a:bodyPr>
          <a:lstStyle/>
          <a:p>
            <a:pPr algn="ctr" latinLnBrk="1">
              <a:defRPr/>
            </a:pPr>
            <a:r>
              <a:rPr lang="ar-SA" altLang="ko-KR" sz="2400" b="1" dirty="0">
                <a:solidFill>
                  <a:prstClr val="black">
                    <a:lumMod val="75000"/>
                    <a:lumOff val="25000"/>
                  </a:prstClr>
                </a:solidFill>
                <a:latin typeface="Sakkal Majalla" panose="02000000000000000000" pitchFamily="2" charset="-78"/>
                <a:cs typeface="Sakkal Majalla" panose="02000000000000000000" pitchFamily="2" charset="-78"/>
              </a:rPr>
              <a:t>الصف الثالث متوسط</a:t>
            </a:r>
            <a:endParaRPr lang="ko-KR" altLang="en-US" sz="2400" b="1" dirty="0">
              <a:solidFill>
                <a:prstClr val="black">
                  <a:lumMod val="75000"/>
                  <a:lumOff val="25000"/>
                </a:prstClr>
              </a:solidFill>
              <a:latin typeface="Sakkal Majalla" panose="02000000000000000000" pitchFamily="2" charset="-78"/>
              <a:cs typeface="Sakkal Majalla" panose="02000000000000000000" pitchFamily="2" charset="-78"/>
            </a:endParaRPr>
          </a:p>
        </p:txBody>
      </p:sp>
      <p:sp>
        <p:nvSpPr>
          <p:cNvPr id="67" name="Isosceles Triangle 9">
            <a:extLst>
              <a:ext uri="{FF2B5EF4-FFF2-40B4-BE49-F238E27FC236}">
                <a16:creationId xmlns:a16="http://schemas.microsoft.com/office/drawing/2014/main" id="{9D08D7B1-F872-AC1F-019A-CE926CE7F58F}"/>
              </a:ext>
            </a:extLst>
          </p:cNvPr>
          <p:cNvSpPr/>
          <p:nvPr/>
        </p:nvSpPr>
        <p:spPr>
          <a:xfrm>
            <a:off x="7506334" y="1778250"/>
            <a:ext cx="236959" cy="310681"/>
          </a:xfrm>
          <a:prstGeom prst="triangle">
            <a:avLst>
              <a:gd name="adj" fmla="val 100000"/>
            </a:avLst>
          </a:prstGeom>
          <a:solidFill>
            <a:srgbClr val="5DCEAF">
              <a:lumMod val="75000"/>
            </a:srgbClr>
          </a:solidFill>
          <a:ln w="15875" cap="flat" cmpd="sng" algn="ctr">
            <a:noFill/>
            <a:prstDash val="soli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ar-SA" sz="1800" b="0" i="0" u="none" strike="noStrike" kern="0" cap="none" spc="0" normalizeH="0" baseline="0" noProof="0">
              <a:ln>
                <a:noFill/>
              </a:ln>
              <a:solidFill>
                <a:prstClr val="white"/>
              </a:solidFill>
              <a:effectLst/>
              <a:uLnTx/>
              <a:uFillTx/>
              <a:latin typeface="Trebuchet MS"/>
              <a:ea typeface="+mn-ea"/>
              <a:cs typeface="Tahoma" panose="020B0604030504040204" pitchFamily="34" charset="0"/>
            </a:endParaRPr>
          </a:p>
        </p:txBody>
      </p:sp>
      <p:sp>
        <p:nvSpPr>
          <p:cNvPr id="68" name="L-Shape 10">
            <a:extLst>
              <a:ext uri="{FF2B5EF4-FFF2-40B4-BE49-F238E27FC236}">
                <a16:creationId xmlns:a16="http://schemas.microsoft.com/office/drawing/2014/main" id="{DC641E80-DF11-8506-7001-3C5EC29C782A}"/>
              </a:ext>
            </a:extLst>
          </p:cNvPr>
          <p:cNvSpPr/>
          <p:nvPr/>
        </p:nvSpPr>
        <p:spPr>
          <a:xfrm rot="5400000">
            <a:off x="7759175" y="1796486"/>
            <a:ext cx="1275062" cy="1224135"/>
          </a:xfrm>
          <a:prstGeom prst="corner">
            <a:avLst>
              <a:gd name="adj1" fmla="val 16120"/>
              <a:gd name="adj2" fmla="val 16110"/>
            </a:avLst>
          </a:prstGeom>
          <a:solidFill>
            <a:srgbClr val="5DCEAF">
              <a:lumMod val="75000"/>
            </a:srgbClr>
          </a:solidFill>
          <a:ln w="15875" cap="flat" cmpd="sng" algn="ctr">
            <a:noFill/>
            <a:prstDash val="soli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ar-SA" sz="1800" b="0" i="0" u="none" strike="noStrike" kern="0" cap="none" spc="0" normalizeH="0" baseline="0" noProof="0">
              <a:ln>
                <a:noFill/>
              </a:ln>
              <a:solidFill>
                <a:prstClr val="white"/>
              </a:solidFill>
              <a:effectLst/>
              <a:uLnTx/>
              <a:uFillTx/>
              <a:latin typeface="Trebuchet MS"/>
              <a:ea typeface="+mn-ea"/>
              <a:cs typeface="Tahoma" panose="020B0604030504040204" pitchFamily="34" charset="0"/>
            </a:endParaRPr>
          </a:p>
        </p:txBody>
      </p:sp>
      <p:sp>
        <p:nvSpPr>
          <p:cNvPr id="69" name="TextBox 18">
            <a:extLst>
              <a:ext uri="{FF2B5EF4-FFF2-40B4-BE49-F238E27FC236}">
                <a16:creationId xmlns:a16="http://schemas.microsoft.com/office/drawing/2014/main" id="{691ED07F-E992-C1CA-4B9D-2BB0E1DF0A51}"/>
              </a:ext>
            </a:extLst>
          </p:cNvPr>
          <p:cNvSpPr txBox="1"/>
          <p:nvPr/>
        </p:nvSpPr>
        <p:spPr>
          <a:xfrm>
            <a:off x="8000662" y="1889606"/>
            <a:ext cx="987183" cy="1200329"/>
          </a:xfrm>
          <a:prstGeom prst="rect">
            <a:avLst/>
          </a:prstGeom>
          <a:noFill/>
        </p:spPr>
        <p:txBody>
          <a:bodyPr wrap="square" rtlCol="0">
            <a:spAutoFit/>
          </a:bodyPr>
          <a:lstStyle/>
          <a:p>
            <a:pPr algn="ctr" latinLnBrk="1">
              <a:defRPr/>
            </a:pPr>
            <a:r>
              <a:rPr lang="ar-SA" altLang="ko-KR" sz="2400" b="1" dirty="0">
                <a:solidFill>
                  <a:prstClr val="black">
                    <a:lumMod val="75000"/>
                    <a:lumOff val="25000"/>
                  </a:prstClr>
                </a:solidFill>
                <a:latin typeface="Sakkal Majalla" panose="02000000000000000000" pitchFamily="2" charset="-78"/>
                <a:cs typeface="Sakkal Majalla" panose="02000000000000000000" pitchFamily="2" charset="-78"/>
              </a:rPr>
              <a:t>الصف الأول الثانوي</a:t>
            </a:r>
            <a:endParaRPr lang="ko-KR" altLang="en-US" sz="2400" b="1" dirty="0">
              <a:solidFill>
                <a:prstClr val="black">
                  <a:lumMod val="75000"/>
                  <a:lumOff val="25000"/>
                </a:prstClr>
              </a:solidFill>
              <a:latin typeface="Sakkal Majalla" panose="02000000000000000000" pitchFamily="2" charset="-78"/>
              <a:cs typeface="Sakkal Majalla" panose="02000000000000000000" pitchFamily="2" charset="-78"/>
            </a:endParaRPr>
          </a:p>
        </p:txBody>
      </p:sp>
      <p:sp>
        <p:nvSpPr>
          <p:cNvPr id="70" name="Isosceles Triangle 9">
            <a:extLst>
              <a:ext uri="{FF2B5EF4-FFF2-40B4-BE49-F238E27FC236}">
                <a16:creationId xmlns:a16="http://schemas.microsoft.com/office/drawing/2014/main" id="{8D52A7EA-0558-9627-7C25-BD7DF39E83D4}"/>
              </a:ext>
            </a:extLst>
          </p:cNvPr>
          <p:cNvSpPr/>
          <p:nvPr/>
        </p:nvSpPr>
        <p:spPr>
          <a:xfrm>
            <a:off x="8740198" y="1298001"/>
            <a:ext cx="236959" cy="310681"/>
          </a:xfrm>
          <a:prstGeom prst="triangle">
            <a:avLst>
              <a:gd name="adj" fmla="val 100000"/>
            </a:avLst>
          </a:prstGeom>
          <a:solidFill>
            <a:srgbClr val="A7EA52">
              <a:lumMod val="75000"/>
            </a:srgbClr>
          </a:solidFill>
          <a:ln w="15875" cap="flat" cmpd="sng" algn="ctr">
            <a:noFill/>
            <a:prstDash val="soli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ar-SA" sz="1800" b="0" i="0" u="none" strike="noStrike" kern="0" cap="none" spc="0" normalizeH="0" baseline="0" noProof="0">
              <a:ln>
                <a:noFill/>
              </a:ln>
              <a:solidFill>
                <a:prstClr val="white"/>
              </a:solidFill>
              <a:effectLst/>
              <a:uLnTx/>
              <a:uFillTx/>
              <a:latin typeface="Trebuchet MS"/>
              <a:ea typeface="+mn-ea"/>
              <a:cs typeface="Tahoma" panose="020B0604030504040204" pitchFamily="34" charset="0"/>
            </a:endParaRPr>
          </a:p>
        </p:txBody>
      </p:sp>
      <p:sp>
        <p:nvSpPr>
          <p:cNvPr id="71" name="L-Shape 10">
            <a:extLst>
              <a:ext uri="{FF2B5EF4-FFF2-40B4-BE49-F238E27FC236}">
                <a16:creationId xmlns:a16="http://schemas.microsoft.com/office/drawing/2014/main" id="{531FE9E7-85F1-5418-9C53-EB002CF1F057}"/>
              </a:ext>
            </a:extLst>
          </p:cNvPr>
          <p:cNvSpPr/>
          <p:nvPr/>
        </p:nvSpPr>
        <p:spPr>
          <a:xfrm rot="5400000">
            <a:off x="8990619" y="1308929"/>
            <a:ext cx="1260447" cy="1224135"/>
          </a:xfrm>
          <a:prstGeom prst="corner">
            <a:avLst>
              <a:gd name="adj1" fmla="val 16120"/>
              <a:gd name="adj2" fmla="val 16110"/>
            </a:avLst>
          </a:prstGeom>
          <a:solidFill>
            <a:srgbClr val="A7EA52">
              <a:lumMod val="75000"/>
            </a:srgbClr>
          </a:solidFill>
          <a:ln w="15875" cap="flat" cmpd="sng" algn="ctr">
            <a:noFill/>
            <a:prstDash val="soli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ar-SA" sz="1800" b="0" i="0" u="none" strike="noStrike" kern="0" cap="none" spc="0" normalizeH="0" baseline="0" noProof="0">
              <a:ln>
                <a:noFill/>
              </a:ln>
              <a:solidFill>
                <a:prstClr val="white"/>
              </a:solidFill>
              <a:effectLst/>
              <a:uLnTx/>
              <a:uFillTx/>
              <a:latin typeface="Trebuchet MS"/>
              <a:ea typeface="+mn-ea"/>
              <a:cs typeface="Tahoma" panose="020B0604030504040204" pitchFamily="34" charset="0"/>
            </a:endParaRPr>
          </a:p>
        </p:txBody>
      </p:sp>
      <p:sp>
        <p:nvSpPr>
          <p:cNvPr id="72" name="TextBox 18">
            <a:extLst>
              <a:ext uri="{FF2B5EF4-FFF2-40B4-BE49-F238E27FC236}">
                <a16:creationId xmlns:a16="http://schemas.microsoft.com/office/drawing/2014/main" id="{6F492700-E9F1-76B7-C94D-1525D9F7785B}"/>
              </a:ext>
            </a:extLst>
          </p:cNvPr>
          <p:cNvSpPr txBox="1"/>
          <p:nvPr/>
        </p:nvSpPr>
        <p:spPr>
          <a:xfrm>
            <a:off x="9224798" y="1505566"/>
            <a:ext cx="987183" cy="1200329"/>
          </a:xfrm>
          <a:prstGeom prst="rect">
            <a:avLst/>
          </a:prstGeom>
          <a:noFill/>
        </p:spPr>
        <p:txBody>
          <a:bodyPr wrap="square" rtlCol="0">
            <a:spAutoFit/>
          </a:bodyPr>
          <a:lstStyle/>
          <a:p>
            <a:pPr algn="ctr" latinLnBrk="1">
              <a:defRPr/>
            </a:pPr>
            <a:r>
              <a:rPr lang="ar-SA" altLang="ko-KR" sz="2400" b="1" dirty="0">
                <a:solidFill>
                  <a:prstClr val="black">
                    <a:lumMod val="75000"/>
                    <a:lumOff val="25000"/>
                  </a:prstClr>
                </a:solidFill>
                <a:latin typeface="Sakkal Majalla" panose="02000000000000000000" pitchFamily="2" charset="-78"/>
                <a:cs typeface="Sakkal Majalla" panose="02000000000000000000" pitchFamily="2" charset="-78"/>
              </a:rPr>
              <a:t>الصف الثالث الثانوي</a:t>
            </a:r>
            <a:endParaRPr lang="ko-KR" altLang="en-US" sz="2400" b="1" dirty="0">
              <a:solidFill>
                <a:prstClr val="black">
                  <a:lumMod val="75000"/>
                  <a:lumOff val="25000"/>
                </a:prstClr>
              </a:solidFill>
              <a:latin typeface="Sakkal Majalla" panose="02000000000000000000" pitchFamily="2" charset="-78"/>
              <a:cs typeface="Sakkal Majalla" panose="02000000000000000000" pitchFamily="2" charset="-78"/>
            </a:endParaRPr>
          </a:p>
        </p:txBody>
      </p:sp>
      <p:sp>
        <p:nvSpPr>
          <p:cNvPr id="73" name="TextBox 18">
            <a:extLst>
              <a:ext uri="{FF2B5EF4-FFF2-40B4-BE49-F238E27FC236}">
                <a16:creationId xmlns:a16="http://schemas.microsoft.com/office/drawing/2014/main" id="{BFC23793-B1A2-8ED6-8F4F-2DF918EE1A29}"/>
              </a:ext>
            </a:extLst>
          </p:cNvPr>
          <p:cNvSpPr txBox="1"/>
          <p:nvPr/>
        </p:nvSpPr>
        <p:spPr>
          <a:xfrm>
            <a:off x="1804214" y="5177974"/>
            <a:ext cx="1155889" cy="954107"/>
          </a:xfrm>
          <a:prstGeom prst="rect">
            <a:avLst/>
          </a:prstGeom>
          <a:noFill/>
        </p:spPr>
        <p:txBody>
          <a:bodyPr wrap="square" rtlCol="0">
            <a:spAutoFit/>
          </a:bodyPr>
          <a:lstStyle/>
          <a:p>
            <a:pPr algn="ctr" latinLnBrk="1">
              <a:defRPr/>
            </a:pPr>
            <a:r>
              <a:rPr lang="ar-SA" altLang="ko-KR" sz="2800" b="1" dirty="0">
                <a:solidFill>
                  <a:srgbClr val="FF0000"/>
                </a:solidFill>
                <a:latin typeface="Sakkal Majalla" panose="02000000000000000000" pitchFamily="2" charset="-78"/>
                <a:cs typeface="Sakkal Majalla" panose="02000000000000000000" pitchFamily="2" charset="-78"/>
              </a:rPr>
              <a:t>اختبارات وطنية</a:t>
            </a:r>
            <a:endParaRPr lang="ko-KR" altLang="en-US" sz="2800" b="1" dirty="0">
              <a:solidFill>
                <a:srgbClr val="FF0000"/>
              </a:solidFill>
              <a:latin typeface="Sakkal Majalla" panose="02000000000000000000" pitchFamily="2" charset="-78"/>
              <a:cs typeface="Sakkal Majalla" panose="02000000000000000000" pitchFamily="2" charset="-78"/>
            </a:endParaRPr>
          </a:p>
        </p:txBody>
      </p:sp>
      <p:sp>
        <p:nvSpPr>
          <p:cNvPr id="74" name="سهم: مخطط إلى اليمين 73">
            <a:extLst>
              <a:ext uri="{FF2B5EF4-FFF2-40B4-BE49-F238E27FC236}">
                <a16:creationId xmlns:a16="http://schemas.microsoft.com/office/drawing/2014/main" id="{B224A84C-D5E8-F12F-B565-DEF23E35D4A6}"/>
              </a:ext>
            </a:extLst>
          </p:cNvPr>
          <p:cNvSpPr/>
          <p:nvPr/>
        </p:nvSpPr>
        <p:spPr>
          <a:xfrm>
            <a:off x="1469962" y="133005"/>
            <a:ext cx="2187309" cy="1260447"/>
          </a:xfrm>
          <a:prstGeom prst="stripedRightArrow">
            <a:avLst/>
          </a:prstGeom>
          <a:solidFill>
            <a:srgbClr val="00B0F0"/>
          </a:solidFill>
          <a:ln w="15875" cap="flat" cmpd="sng" algn="ctr">
            <a:noFill/>
            <a:prstDash val="solid"/>
          </a:ln>
          <a:effectLst/>
        </p:spPr>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ar-SA" sz="2400" b="1" i="0" u="none" strike="noStrike" kern="0" cap="none" spc="0" normalizeH="0" baseline="0" noProof="0" dirty="0">
                <a:ln>
                  <a:noFill/>
                </a:ln>
                <a:solidFill>
                  <a:schemeClr val="bg1"/>
                </a:solidFill>
                <a:effectLst/>
                <a:uLnTx/>
                <a:uFillTx/>
                <a:latin typeface="Sakkal Majalla" panose="02000000000000000000" pitchFamily="2" charset="-78"/>
                <a:ea typeface="+mn-ea"/>
                <a:cs typeface="Sakkal Majalla" panose="02000000000000000000" pitchFamily="2" charset="-78"/>
              </a:rPr>
              <a:t>التقويم الدولي</a:t>
            </a:r>
          </a:p>
        </p:txBody>
      </p:sp>
      <p:sp>
        <p:nvSpPr>
          <p:cNvPr id="75" name="سهم: مخطط إلى اليمين 74">
            <a:extLst>
              <a:ext uri="{FF2B5EF4-FFF2-40B4-BE49-F238E27FC236}">
                <a16:creationId xmlns:a16="http://schemas.microsoft.com/office/drawing/2014/main" id="{45925AAB-118D-D3F9-69C1-7AE5AFC3C033}"/>
              </a:ext>
            </a:extLst>
          </p:cNvPr>
          <p:cNvSpPr/>
          <p:nvPr/>
        </p:nvSpPr>
        <p:spPr>
          <a:xfrm>
            <a:off x="9355280" y="5462084"/>
            <a:ext cx="2187309" cy="1260447"/>
          </a:xfrm>
          <a:prstGeom prst="stripedRightArrow">
            <a:avLst/>
          </a:prstGeom>
          <a:solidFill>
            <a:srgbClr val="00B050"/>
          </a:solidFill>
          <a:ln w="15875" cap="flat" cmpd="sng" algn="ctr">
            <a:noFill/>
            <a:prstDash val="solid"/>
          </a:ln>
          <a:effectLst/>
        </p:spPr>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ar-SA" sz="2400" b="1" i="0" u="none" strike="noStrike" kern="0" cap="none" spc="0" normalizeH="0" baseline="0" noProof="0" dirty="0">
                <a:ln>
                  <a:noFill/>
                </a:ln>
                <a:solidFill>
                  <a:schemeClr val="bg1"/>
                </a:solidFill>
                <a:effectLst/>
                <a:uLnTx/>
                <a:uFillTx/>
                <a:latin typeface="Sakkal Majalla" panose="02000000000000000000" pitchFamily="2" charset="-78"/>
                <a:ea typeface="+mn-ea"/>
                <a:cs typeface="Sakkal Majalla" panose="02000000000000000000" pitchFamily="2" charset="-78"/>
              </a:rPr>
              <a:t>التقويم الوطني</a:t>
            </a:r>
          </a:p>
        </p:txBody>
      </p:sp>
      <p:sp>
        <p:nvSpPr>
          <p:cNvPr id="76" name="TextBox 18">
            <a:extLst>
              <a:ext uri="{FF2B5EF4-FFF2-40B4-BE49-F238E27FC236}">
                <a16:creationId xmlns:a16="http://schemas.microsoft.com/office/drawing/2014/main" id="{FAE02CAD-CEA4-29A6-FB95-29322F3B880E}"/>
              </a:ext>
            </a:extLst>
          </p:cNvPr>
          <p:cNvSpPr txBox="1"/>
          <p:nvPr/>
        </p:nvSpPr>
        <p:spPr>
          <a:xfrm>
            <a:off x="4184239" y="4410839"/>
            <a:ext cx="1155889" cy="954107"/>
          </a:xfrm>
          <a:prstGeom prst="rect">
            <a:avLst/>
          </a:prstGeom>
          <a:noFill/>
        </p:spPr>
        <p:txBody>
          <a:bodyPr wrap="square" rtlCol="0">
            <a:spAutoFit/>
          </a:bodyPr>
          <a:lstStyle/>
          <a:p>
            <a:pPr algn="ctr" latinLnBrk="1">
              <a:defRPr/>
            </a:pPr>
            <a:r>
              <a:rPr lang="ar-SA" altLang="ko-KR" sz="2800" b="1" dirty="0">
                <a:solidFill>
                  <a:srgbClr val="FF0000"/>
                </a:solidFill>
                <a:latin typeface="Sakkal Majalla" panose="02000000000000000000" pitchFamily="2" charset="-78"/>
                <a:cs typeface="Sakkal Majalla" panose="02000000000000000000" pitchFamily="2" charset="-78"/>
              </a:rPr>
              <a:t>اختبارات وطنية</a:t>
            </a:r>
            <a:endParaRPr lang="ko-KR" altLang="en-US" sz="2800" b="1" dirty="0">
              <a:solidFill>
                <a:srgbClr val="FF0000"/>
              </a:solidFill>
              <a:latin typeface="Sakkal Majalla" panose="02000000000000000000" pitchFamily="2" charset="-78"/>
              <a:cs typeface="Sakkal Majalla" panose="02000000000000000000" pitchFamily="2" charset="-78"/>
            </a:endParaRPr>
          </a:p>
        </p:txBody>
      </p:sp>
      <p:sp>
        <p:nvSpPr>
          <p:cNvPr id="77" name="TextBox 18">
            <a:extLst>
              <a:ext uri="{FF2B5EF4-FFF2-40B4-BE49-F238E27FC236}">
                <a16:creationId xmlns:a16="http://schemas.microsoft.com/office/drawing/2014/main" id="{902418CF-B41F-C755-D44A-92611D4D6001}"/>
              </a:ext>
            </a:extLst>
          </p:cNvPr>
          <p:cNvSpPr txBox="1"/>
          <p:nvPr/>
        </p:nvSpPr>
        <p:spPr>
          <a:xfrm>
            <a:off x="9126583" y="2873718"/>
            <a:ext cx="1322352" cy="954107"/>
          </a:xfrm>
          <a:prstGeom prst="rect">
            <a:avLst/>
          </a:prstGeom>
          <a:noFill/>
        </p:spPr>
        <p:txBody>
          <a:bodyPr wrap="square" rtlCol="0">
            <a:spAutoFit/>
          </a:bodyPr>
          <a:lstStyle/>
          <a:p>
            <a:pPr algn="ctr" latinLnBrk="1">
              <a:defRPr/>
            </a:pPr>
            <a:r>
              <a:rPr lang="ar-SA" altLang="ko-KR" sz="2800" b="1" dirty="0">
                <a:solidFill>
                  <a:srgbClr val="FF0000"/>
                </a:solidFill>
                <a:latin typeface="Sakkal Majalla" panose="02000000000000000000" pitchFamily="2" charset="-78"/>
                <a:cs typeface="Sakkal Majalla" panose="02000000000000000000" pitchFamily="2" charset="-78"/>
              </a:rPr>
              <a:t>الاختبارات التحصيلية</a:t>
            </a:r>
            <a:endParaRPr lang="ko-KR" altLang="en-US" sz="2800" b="1" dirty="0">
              <a:solidFill>
                <a:srgbClr val="FF0000"/>
              </a:solidFill>
              <a:latin typeface="Sakkal Majalla" panose="02000000000000000000" pitchFamily="2" charset="-78"/>
              <a:cs typeface="Sakkal Majalla" panose="02000000000000000000" pitchFamily="2" charset="-78"/>
            </a:endParaRPr>
          </a:p>
        </p:txBody>
      </p:sp>
      <p:sp>
        <p:nvSpPr>
          <p:cNvPr id="78" name="TextBox 18">
            <a:extLst>
              <a:ext uri="{FF2B5EF4-FFF2-40B4-BE49-F238E27FC236}">
                <a16:creationId xmlns:a16="http://schemas.microsoft.com/office/drawing/2014/main" id="{B73FF069-BD7D-3350-2850-12428D303F00}"/>
              </a:ext>
            </a:extLst>
          </p:cNvPr>
          <p:cNvSpPr txBox="1"/>
          <p:nvPr/>
        </p:nvSpPr>
        <p:spPr>
          <a:xfrm>
            <a:off x="6728273" y="3737814"/>
            <a:ext cx="1155889" cy="954107"/>
          </a:xfrm>
          <a:prstGeom prst="rect">
            <a:avLst/>
          </a:prstGeom>
          <a:noFill/>
        </p:spPr>
        <p:txBody>
          <a:bodyPr wrap="square" rtlCol="0">
            <a:spAutoFit/>
          </a:bodyPr>
          <a:lstStyle/>
          <a:p>
            <a:pPr algn="ctr" latinLnBrk="1">
              <a:defRPr/>
            </a:pPr>
            <a:r>
              <a:rPr lang="ar-SA" altLang="ko-KR" sz="2800" b="1" dirty="0">
                <a:solidFill>
                  <a:srgbClr val="FF0000"/>
                </a:solidFill>
                <a:latin typeface="Sakkal Majalla" panose="02000000000000000000" pitchFamily="2" charset="-78"/>
                <a:cs typeface="Sakkal Majalla" panose="02000000000000000000" pitchFamily="2" charset="-78"/>
              </a:rPr>
              <a:t>اختبارات وطنية</a:t>
            </a:r>
            <a:endParaRPr lang="ko-KR" altLang="en-US" sz="2800" b="1" dirty="0">
              <a:solidFill>
                <a:srgbClr val="FF0000"/>
              </a:solidFill>
              <a:latin typeface="Sakkal Majalla" panose="02000000000000000000" pitchFamily="2" charset="-78"/>
              <a:cs typeface="Sakkal Majalla" panose="02000000000000000000" pitchFamily="2" charset="-78"/>
            </a:endParaRPr>
          </a:p>
        </p:txBody>
      </p:sp>
      <p:sp>
        <p:nvSpPr>
          <p:cNvPr id="79" name="TextBox 18">
            <a:extLst>
              <a:ext uri="{FF2B5EF4-FFF2-40B4-BE49-F238E27FC236}">
                <a16:creationId xmlns:a16="http://schemas.microsoft.com/office/drawing/2014/main" id="{96909A36-FCE3-39D8-C829-20A25CA3AE12}"/>
              </a:ext>
            </a:extLst>
          </p:cNvPr>
          <p:cNvSpPr txBox="1"/>
          <p:nvPr/>
        </p:nvSpPr>
        <p:spPr>
          <a:xfrm>
            <a:off x="2668310" y="2639691"/>
            <a:ext cx="1155889" cy="954107"/>
          </a:xfrm>
          <a:prstGeom prst="rect">
            <a:avLst/>
          </a:prstGeom>
          <a:noFill/>
        </p:spPr>
        <p:txBody>
          <a:bodyPr wrap="square" rtlCol="0">
            <a:spAutoFit/>
          </a:bodyPr>
          <a:lstStyle/>
          <a:p>
            <a:pPr algn="ctr" latinLnBrk="1">
              <a:defRPr/>
            </a:pPr>
            <a:r>
              <a:rPr lang="en-US" altLang="ko-KR" sz="2800" b="1" dirty="0">
                <a:solidFill>
                  <a:srgbClr val="FF0000"/>
                </a:solidFill>
                <a:latin typeface="Sakkal Majalla" panose="02000000000000000000" pitchFamily="2" charset="-78"/>
                <a:cs typeface="Sakkal Majalla" panose="02000000000000000000" pitchFamily="2" charset="-78"/>
              </a:rPr>
              <a:t>TIMSS</a:t>
            </a:r>
          </a:p>
          <a:p>
            <a:pPr algn="ctr" latinLnBrk="1">
              <a:defRPr/>
            </a:pPr>
            <a:r>
              <a:rPr lang="en-US" altLang="ko-KR" sz="2800" b="1" dirty="0">
                <a:solidFill>
                  <a:srgbClr val="FF0000"/>
                </a:solidFill>
                <a:latin typeface="Sakkal Majalla" panose="02000000000000000000" pitchFamily="2" charset="-78"/>
                <a:cs typeface="Sakkal Majalla" panose="02000000000000000000" pitchFamily="2" charset="-78"/>
              </a:rPr>
              <a:t>PIRLS</a:t>
            </a:r>
            <a:endParaRPr lang="ko-KR" altLang="en-US" sz="2800" b="1" dirty="0">
              <a:solidFill>
                <a:srgbClr val="FF0000"/>
              </a:solidFill>
              <a:latin typeface="Sakkal Majalla" panose="02000000000000000000" pitchFamily="2" charset="-78"/>
              <a:cs typeface="Sakkal Majalla" panose="02000000000000000000" pitchFamily="2" charset="-78"/>
            </a:endParaRPr>
          </a:p>
        </p:txBody>
      </p:sp>
      <p:sp>
        <p:nvSpPr>
          <p:cNvPr id="80" name="TextBox 18">
            <a:extLst>
              <a:ext uri="{FF2B5EF4-FFF2-40B4-BE49-F238E27FC236}">
                <a16:creationId xmlns:a16="http://schemas.microsoft.com/office/drawing/2014/main" id="{FA72AC6D-1792-5036-7797-C60D8EA98329}"/>
              </a:ext>
            </a:extLst>
          </p:cNvPr>
          <p:cNvSpPr txBox="1"/>
          <p:nvPr/>
        </p:nvSpPr>
        <p:spPr>
          <a:xfrm>
            <a:off x="5296602" y="2141805"/>
            <a:ext cx="1155889" cy="523220"/>
          </a:xfrm>
          <a:prstGeom prst="rect">
            <a:avLst/>
          </a:prstGeom>
          <a:noFill/>
        </p:spPr>
        <p:txBody>
          <a:bodyPr wrap="square" rtlCol="0">
            <a:spAutoFit/>
          </a:bodyPr>
          <a:lstStyle/>
          <a:p>
            <a:pPr algn="ctr" latinLnBrk="1">
              <a:defRPr/>
            </a:pPr>
            <a:r>
              <a:rPr lang="en-US" altLang="ko-KR" sz="2800" b="1" dirty="0">
                <a:solidFill>
                  <a:srgbClr val="FF0000"/>
                </a:solidFill>
                <a:latin typeface="Sakkal Majalla" panose="02000000000000000000" pitchFamily="2" charset="-78"/>
                <a:cs typeface="Sakkal Majalla" panose="02000000000000000000" pitchFamily="2" charset="-78"/>
              </a:rPr>
              <a:t>TIMSS</a:t>
            </a:r>
          </a:p>
        </p:txBody>
      </p:sp>
      <p:sp>
        <p:nvSpPr>
          <p:cNvPr id="81" name="TextBox 18">
            <a:extLst>
              <a:ext uri="{FF2B5EF4-FFF2-40B4-BE49-F238E27FC236}">
                <a16:creationId xmlns:a16="http://schemas.microsoft.com/office/drawing/2014/main" id="{8A9F4C34-4D55-3474-9C9A-0D80D00B36E3}"/>
              </a:ext>
            </a:extLst>
          </p:cNvPr>
          <p:cNvSpPr txBox="1"/>
          <p:nvPr/>
        </p:nvSpPr>
        <p:spPr>
          <a:xfrm>
            <a:off x="6632510" y="1658899"/>
            <a:ext cx="1155889" cy="523220"/>
          </a:xfrm>
          <a:prstGeom prst="rect">
            <a:avLst/>
          </a:prstGeom>
          <a:noFill/>
        </p:spPr>
        <p:txBody>
          <a:bodyPr wrap="square" rtlCol="0">
            <a:spAutoFit/>
          </a:bodyPr>
          <a:lstStyle/>
          <a:p>
            <a:pPr algn="ctr" latinLnBrk="1">
              <a:defRPr/>
            </a:pPr>
            <a:r>
              <a:rPr lang="en-US" altLang="ko-KR" sz="2800" b="1" dirty="0">
                <a:solidFill>
                  <a:srgbClr val="FF0000"/>
                </a:solidFill>
                <a:latin typeface="Sakkal Majalla" panose="02000000000000000000" pitchFamily="2" charset="-78"/>
                <a:cs typeface="Sakkal Majalla" panose="02000000000000000000" pitchFamily="2" charset="-78"/>
              </a:rPr>
              <a:t>PISA</a:t>
            </a:r>
          </a:p>
        </p:txBody>
      </p:sp>
      <p:sp>
        <p:nvSpPr>
          <p:cNvPr id="82" name="TextBox 18">
            <a:extLst>
              <a:ext uri="{FF2B5EF4-FFF2-40B4-BE49-F238E27FC236}">
                <a16:creationId xmlns:a16="http://schemas.microsoft.com/office/drawing/2014/main" id="{66E913DC-7821-5230-DF55-4C9625449618}"/>
              </a:ext>
            </a:extLst>
          </p:cNvPr>
          <p:cNvSpPr txBox="1"/>
          <p:nvPr/>
        </p:nvSpPr>
        <p:spPr>
          <a:xfrm>
            <a:off x="5747997" y="318718"/>
            <a:ext cx="1155889" cy="523220"/>
          </a:xfrm>
          <a:prstGeom prst="rect">
            <a:avLst/>
          </a:prstGeom>
          <a:noFill/>
        </p:spPr>
        <p:txBody>
          <a:bodyPr wrap="square" rtlCol="0">
            <a:spAutoFit/>
          </a:bodyPr>
          <a:lstStyle/>
          <a:p>
            <a:pPr algn="ctr" latinLnBrk="1">
              <a:defRPr/>
            </a:pPr>
            <a:r>
              <a:rPr lang="en-US" altLang="ko-KR" sz="2800" b="1" dirty="0">
                <a:solidFill>
                  <a:srgbClr val="FF0000"/>
                </a:solidFill>
                <a:latin typeface="Sakkal Majalla" panose="02000000000000000000" pitchFamily="2" charset="-78"/>
                <a:cs typeface="Sakkal Majalla" panose="02000000000000000000" pitchFamily="2" charset="-78"/>
              </a:rPr>
              <a:t>TALIS</a:t>
            </a:r>
          </a:p>
        </p:txBody>
      </p:sp>
      <p:sp>
        <p:nvSpPr>
          <p:cNvPr id="83" name="TextBox 18">
            <a:extLst>
              <a:ext uri="{FF2B5EF4-FFF2-40B4-BE49-F238E27FC236}">
                <a16:creationId xmlns:a16="http://schemas.microsoft.com/office/drawing/2014/main" id="{DF9B0E38-FA45-04BD-4458-D25BE5C818FF}"/>
              </a:ext>
            </a:extLst>
          </p:cNvPr>
          <p:cNvSpPr txBox="1"/>
          <p:nvPr/>
        </p:nvSpPr>
        <p:spPr>
          <a:xfrm>
            <a:off x="8726999" y="353438"/>
            <a:ext cx="1793944" cy="954107"/>
          </a:xfrm>
          <a:prstGeom prst="rect">
            <a:avLst/>
          </a:prstGeom>
          <a:noFill/>
        </p:spPr>
        <p:txBody>
          <a:bodyPr wrap="square" rtlCol="0">
            <a:spAutoFit/>
          </a:bodyPr>
          <a:lstStyle/>
          <a:p>
            <a:pPr algn="ctr" latinLnBrk="1">
              <a:defRPr/>
            </a:pPr>
            <a:r>
              <a:rPr lang="en-US" altLang="ko-KR" sz="2800" b="1" dirty="0">
                <a:solidFill>
                  <a:srgbClr val="98DFBB">
                    <a:lumMod val="50000"/>
                  </a:srgbClr>
                </a:solidFill>
                <a:latin typeface="Sakkal Majalla" panose="02000000000000000000" pitchFamily="2" charset="-78"/>
                <a:cs typeface="Sakkal Majalla" panose="02000000000000000000" pitchFamily="2" charset="-78"/>
              </a:rPr>
              <a:t>TIMSS Advanced</a:t>
            </a:r>
          </a:p>
        </p:txBody>
      </p:sp>
      <p:cxnSp>
        <p:nvCxnSpPr>
          <p:cNvPr id="85" name="رابط مستقيم 84">
            <a:extLst>
              <a:ext uri="{FF2B5EF4-FFF2-40B4-BE49-F238E27FC236}">
                <a16:creationId xmlns:a16="http://schemas.microsoft.com/office/drawing/2014/main" id="{CA99325E-82C0-D0BC-B61B-EEDC22F3406F}"/>
              </a:ext>
            </a:extLst>
          </p:cNvPr>
          <p:cNvCxnSpPr>
            <a:cxnSpLocks/>
            <a:stCxn id="77" idx="2"/>
          </p:cNvCxnSpPr>
          <p:nvPr/>
        </p:nvCxnSpPr>
        <p:spPr>
          <a:xfrm>
            <a:off x="9787759" y="3827825"/>
            <a:ext cx="0" cy="1634259"/>
          </a:xfrm>
          <a:prstGeom prst="line">
            <a:avLst/>
          </a:prstGeom>
          <a:noFill/>
          <a:ln w="38100" cap="flat" cmpd="sng" algn="ctr">
            <a:solidFill>
              <a:sysClr val="windowText" lastClr="000000"/>
            </a:solidFill>
            <a:prstDash val="solid"/>
          </a:ln>
          <a:effectLst/>
        </p:spPr>
      </p:cxnSp>
      <p:cxnSp>
        <p:nvCxnSpPr>
          <p:cNvPr id="86" name="رابط مستقيم 85">
            <a:extLst>
              <a:ext uri="{FF2B5EF4-FFF2-40B4-BE49-F238E27FC236}">
                <a16:creationId xmlns:a16="http://schemas.microsoft.com/office/drawing/2014/main" id="{675B0ECB-DB12-143C-CF2E-F51C52B70F6D}"/>
              </a:ext>
            </a:extLst>
          </p:cNvPr>
          <p:cNvCxnSpPr/>
          <p:nvPr/>
        </p:nvCxnSpPr>
        <p:spPr>
          <a:xfrm flipH="1">
            <a:off x="7424599" y="5466006"/>
            <a:ext cx="2376264" cy="0"/>
          </a:xfrm>
          <a:prstGeom prst="line">
            <a:avLst/>
          </a:prstGeom>
          <a:noFill/>
          <a:ln w="38100" cap="flat" cmpd="sng" algn="ctr">
            <a:solidFill>
              <a:sysClr val="windowText" lastClr="000000"/>
            </a:solidFill>
            <a:prstDash val="solid"/>
          </a:ln>
          <a:effectLst/>
        </p:spPr>
      </p:cxnSp>
      <p:cxnSp>
        <p:nvCxnSpPr>
          <p:cNvPr id="87" name="رابط مستقيم 86">
            <a:extLst>
              <a:ext uri="{FF2B5EF4-FFF2-40B4-BE49-F238E27FC236}">
                <a16:creationId xmlns:a16="http://schemas.microsoft.com/office/drawing/2014/main" id="{FAD65415-431A-5D81-A7BB-E3ED785B118E}"/>
              </a:ext>
            </a:extLst>
          </p:cNvPr>
          <p:cNvCxnSpPr>
            <a:cxnSpLocks/>
          </p:cNvCxnSpPr>
          <p:nvPr/>
        </p:nvCxnSpPr>
        <p:spPr>
          <a:xfrm flipV="1">
            <a:off x="7424599" y="4691921"/>
            <a:ext cx="0" cy="770163"/>
          </a:xfrm>
          <a:prstGeom prst="line">
            <a:avLst/>
          </a:prstGeom>
          <a:noFill/>
          <a:ln w="38100" cap="flat" cmpd="sng" algn="ctr">
            <a:solidFill>
              <a:sysClr val="windowText" lastClr="000000"/>
            </a:solidFill>
            <a:prstDash val="solid"/>
          </a:ln>
          <a:effectLst/>
        </p:spPr>
      </p:cxnSp>
      <p:cxnSp>
        <p:nvCxnSpPr>
          <p:cNvPr id="88" name="رابط مستقيم 87">
            <a:extLst>
              <a:ext uri="{FF2B5EF4-FFF2-40B4-BE49-F238E27FC236}">
                <a16:creationId xmlns:a16="http://schemas.microsoft.com/office/drawing/2014/main" id="{08729BD2-EF4B-1FAB-70CA-E285ED23A50E}"/>
              </a:ext>
            </a:extLst>
          </p:cNvPr>
          <p:cNvCxnSpPr>
            <a:cxnSpLocks/>
          </p:cNvCxnSpPr>
          <p:nvPr/>
        </p:nvCxnSpPr>
        <p:spPr>
          <a:xfrm flipH="1">
            <a:off x="4773069" y="6245676"/>
            <a:ext cx="2662416" cy="0"/>
          </a:xfrm>
          <a:prstGeom prst="line">
            <a:avLst/>
          </a:prstGeom>
          <a:noFill/>
          <a:ln w="38100" cap="flat" cmpd="sng" algn="ctr">
            <a:solidFill>
              <a:sysClr val="windowText" lastClr="000000"/>
            </a:solidFill>
            <a:prstDash val="solid"/>
          </a:ln>
          <a:effectLst/>
        </p:spPr>
      </p:cxnSp>
      <p:cxnSp>
        <p:nvCxnSpPr>
          <p:cNvPr id="89" name="رابط مستقيم 88">
            <a:extLst>
              <a:ext uri="{FF2B5EF4-FFF2-40B4-BE49-F238E27FC236}">
                <a16:creationId xmlns:a16="http://schemas.microsoft.com/office/drawing/2014/main" id="{A449987C-D37A-C254-1296-5F201FE23A6C}"/>
              </a:ext>
            </a:extLst>
          </p:cNvPr>
          <p:cNvCxnSpPr>
            <a:cxnSpLocks/>
          </p:cNvCxnSpPr>
          <p:nvPr/>
        </p:nvCxnSpPr>
        <p:spPr>
          <a:xfrm flipV="1">
            <a:off x="4762183" y="5364946"/>
            <a:ext cx="0" cy="876808"/>
          </a:xfrm>
          <a:prstGeom prst="line">
            <a:avLst/>
          </a:prstGeom>
          <a:noFill/>
          <a:ln w="28575" cap="flat" cmpd="sng" algn="ctr">
            <a:solidFill>
              <a:sysClr val="windowText" lastClr="000000"/>
            </a:solidFill>
            <a:prstDash val="solid"/>
          </a:ln>
          <a:effectLst/>
        </p:spPr>
      </p:cxnSp>
      <p:cxnSp>
        <p:nvCxnSpPr>
          <p:cNvPr id="90" name="رابط مستقيم 89">
            <a:extLst>
              <a:ext uri="{FF2B5EF4-FFF2-40B4-BE49-F238E27FC236}">
                <a16:creationId xmlns:a16="http://schemas.microsoft.com/office/drawing/2014/main" id="{22C4EF7F-03FC-0CD7-59DB-77AD5BB332C3}"/>
              </a:ext>
            </a:extLst>
          </p:cNvPr>
          <p:cNvCxnSpPr>
            <a:cxnSpLocks/>
          </p:cNvCxnSpPr>
          <p:nvPr/>
        </p:nvCxnSpPr>
        <p:spPr>
          <a:xfrm flipV="1">
            <a:off x="7424599" y="5471591"/>
            <a:ext cx="0" cy="770163"/>
          </a:xfrm>
          <a:prstGeom prst="line">
            <a:avLst/>
          </a:prstGeom>
          <a:noFill/>
          <a:ln w="38100" cap="flat" cmpd="sng" algn="ctr">
            <a:solidFill>
              <a:sysClr val="windowText" lastClr="000000"/>
            </a:solidFill>
            <a:prstDash val="solid"/>
          </a:ln>
          <a:effectLst/>
        </p:spPr>
      </p:cxnSp>
      <p:cxnSp>
        <p:nvCxnSpPr>
          <p:cNvPr id="91" name="رابط مستقيم 90">
            <a:extLst>
              <a:ext uri="{FF2B5EF4-FFF2-40B4-BE49-F238E27FC236}">
                <a16:creationId xmlns:a16="http://schemas.microsoft.com/office/drawing/2014/main" id="{FA514BBA-F519-1FD0-7AA8-225932DD1B3B}"/>
              </a:ext>
            </a:extLst>
          </p:cNvPr>
          <p:cNvCxnSpPr>
            <a:cxnSpLocks/>
          </p:cNvCxnSpPr>
          <p:nvPr/>
        </p:nvCxnSpPr>
        <p:spPr>
          <a:xfrm flipV="1">
            <a:off x="2456046" y="6105736"/>
            <a:ext cx="0" cy="435680"/>
          </a:xfrm>
          <a:prstGeom prst="line">
            <a:avLst/>
          </a:prstGeom>
          <a:noFill/>
          <a:ln w="38100" cap="flat" cmpd="sng" algn="ctr">
            <a:solidFill>
              <a:sysClr val="windowText" lastClr="000000"/>
            </a:solidFill>
            <a:prstDash val="solid"/>
          </a:ln>
          <a:effectLst/>
        </p:spPr>
      </p:cxnSp>
      <p:cxnSp>
        <p:nvCxnSpPr>
          <p:cNvPr id="92" name="رابط مستقيم 91">
            <a:extLst>
              <a:ext uri="{FF2B5EF4-FFF2-40B4-BE49-F238E27FC236}">
                <a16:creationId xmlns:a16="http://schemas.microsoft.com/office/drawing/2014/main" id="{B1FE475D-616E-7DA2-1532-BF1B9A8B94BE}"/>
              </a:ext>
            </a:extLst>
          </p:cNvPr>
          <p:cNvCxnSpPr>
            <a:cxnSpLocks/>
          </p:cNvCxnSpPr>
          <p:nvPr/>
        </p:nvCxnSpPr>
        <p:spPr>
          <a:xfrm flipV="1">
            <a:off x="4762183" y="5667332"/>
            <a:ext cx="0" cy="876808"/>
          </a:xfrm>
          <a:prstGeom prst="line">
            <a:avLst/>
          </a:prstGeom>
          <a:noFill/>
          <a:ln w="38100" cap="flat" cmpd="sng" algn="ctr">
            <a:solidFill>
              <a:sysClr val="windowText" lastClr="000000"/>
            </a:solidFill>
            <a:prstDash val="solid"/>
          </a:ln>
          <a:effectLst/>
        </p:spPr>
      </p:cxnSp>
      <p:cxnSp>
        <p:nvCxnSpPr>
          <p:cNvPr id="93" name="رابط مستقيم 92">
            <a:extLst>
              <a:ext uri="{FF2B5EF4-FFF2-40B4-BE49-F238E27FC236}">
                <a16:creationId xmlns:a16="http://schemas.microsoft.com/office/drawing/2014/main" id="{3EA0FF1E-FE5D-713E-4074-E0BCB2D04FB9}"/>
              </a:ext>
            </a:extLst>
          </p:cNvPr>
          <p:cNvCxnSpPr>
            <a:cxnSpLocks/>
          </p:cNvCxnSpPr>
          <p:nvPr/>
        </p:nvCxnSpPr>
        <p:spPr>
          <a:xfrm flipH="1">
            <a:off x="2456046" y="6541416"/>
            <a:ext cx="2302377" cy="2724"/>
          </a:xfrm>
          <a:prstGeom prst="line">
            <a:avLst/>
          </a:prstGeom>
          <a:noFill/>
          <a:ln w="38100" cap="flat" cmpd="sng" algn="ctr">
            <a:solidFill>
              <a:sysClr val="windowText" lastClr="000000"/>
            </a:solidFill>
            <a:prstDash val="solid"/>
          </a:ln>
          <a:effectLst/>
        </p:spPr>
      </p:cxnSp>
      <p:cxnSp>
        <p:nvCxnSpPr>
          <p:cNvPr id="94" name="رابط مستقيم 93">
            <a:extLst>
              <a:ext uri="{FF2B5EF4-FFF2-40B4-BE49-F238E27FC236}">
                <a16:creationId xmlns:a16="http://schemas.microsoft.com/office/drawing/2014/main" id="{CF78F092-5B78-E6CF-26B2-E7686FD45F81}"/>
              </a:ext>
            </a:extLst>
          </p:cNvPr>
          <p:cNvCxnSpPr>
            <a:cxnSpLocks/>
            <a:stCxn id="79" idx="0"/>
          </p:cNvCxnSpPr>
          <p:nvPr/>
        </p:nvCxnSpPr>
        <p:spPr>
          <a:xfrm flipH="1" flipV="1">
            <a:off x="3201671" y="1841890"/>
            <a:ext cx="0" cy="720000"/>
          </a:xfrm>
          <a:prstGeom prst="line">
            <a:avLst/>
          </a:prstGeom>
          <a:noFill/>
          <a:ln w="38100" cap="flat" cmpd="sng" algn="ctr">
            <a:solidFill>
              <a:sysClr val="windowText" lastClr="000000"/>
            </a:solidFill>
            <a:prstDash val="solid"/>
          </a:ln>
          <a:effectLst/>
        </p:spPr>
      </p:cxnSp>
      <p:cxnSp>
        <p:nvCxnSpPr>
          <p:cNvPr id="95" name="رابط مستقيم 94">
            <a:extLst>
              <a:ext uri="{FF2B5EF4-FFF2-40B4-BE49-F238E27FC236}">
                <a16:creationId xmlns:a16="http://schemas.microsoft.com/office/drawing/2014/main" id="{FF059CFF-7B24-0C11-C5B8-8D74B770C1E1}"/>
              </a:ext>
            </a:extLst>
          </p:cNvPr>
          <p:cNvCxnSpPr>
            <a:cxnSpLocks/>
          </p:cNvCxnSpPr>
          <p:nvPr/>
        </p:nvCxnSpPr>
        <p:spPr>
          <a:xfrm flipV="1">
            <a:off x="5868525" y="1001510"/>
            <a:ext cx="0" cy="1164840"/>
          </a:xfrm>
          <a:prstGeom prst="line">
            <a:avLst/>
          </a:prstGeom>
          <a:noFill/>
          <a:ln w="38100" cap="flat" cmpd="sng" algn="ctr">
            <a:solidFill>
              <a:sysClr val="windowText" lastClr="000000"/>
            </a:solidFill>
            <a:prstDash val="solid"/>
          </a:ln>
          <a:effectLst/>
        </p:spPr>
      </p:cxnSp>
      <p:cxnSp>
        <p:nvCxnSpPr>
          <p:cNvPr id="96" name="رابط مستقيم 95">
            <a:extLst>
              <a:ext uri="{FF2B5EF4-FFF2-40B4-BE49-F238E27FC236}">
                <a16:creationId xmlns:a16="http://schemas.microsoft.com/office/drawing/2014/main" id="{5350C296-7955-098D-3688-C6B344F4BDBB}"/>
              </a:ext>
            </a:extLst>
          </p:cNvPr>
          <p:cNvCxnSpPr>
            <a:cxnSpLocks/>
          </p:cNvCxnSpPr>
          <p:nvPr/>
        </p:nvCxnSpPr>
        <p:spPr>
          <a:xfrm flipH="1">
            <a:off x="3201672" y="1850796"/>
            <a:ext cx="2666852" cy="0"/>
          </a:xfrm>
          <a:prstGeom prst="line">
            <a:avLst/>
          </a:prstGeom>
          <a:noFill/>
          <a:ln w="38100" cap="flat" cmpd="sng" algn="ctr">
            <a:solidFill>
              <a:sysClr val="windowText" lastClr="000000"/>
            </a:solidFill>
            <a:prstDash val="solid"/>
          </a:ln>
          <a:effectLst/>
        </p:spPr>
      </p:cxnSp>
      <p:cxnSp>
        <p:nvCxnSpPr>
          <p:cNvPr id="97" name="رابط مستقيم 96">
            <a:extLst>
              <a:ext uri="{FF2B5EF4-FFF2-40B4-BE49-F238E27FC236}">
                <a16:creationId xmlns:a16="http://schemas.microsoft.com/office/drawing/2014/main" id="{972FD8FE-BB6E-1204-D048-24E3184B0BAB}"/>
              </a:ext>
            </a:extLst>
          </p:cNvPr>
          <p:cNvCxnSpPr>
            <a:cxnSpLocks/>
          </p:cNvCxnSpPr>
          <p:nvPr/>
        </p:nvCxnSpPr>
        <p:spPr>
          <a:xfrm flipH="1" flipV="1">
            <a:off x="7136567" y="1001510"/>
            <a:ext cx="0" cy="720000"/>
          </a:xfrm>
          <a:prstGeom prst="line">
            <a:avLst/>
          </a:prstGeom>
          <a:noFill/>
          <a:ln w="38100" cap="flat" cmpd="sng" algn="ctr">
            <a:solidFill>
              <a:sysClr val="windowText" lastClr="000000"/>
            </a:solidFill>
            <a:prstDash val="solid"/>
          </a:ln>
          <a:effectLst/>
        </p:spPr>
      </p:cxnSp>
      <p:cxnSp>
        <p:nvCxnSpPr>
          <p:cNvPr id="98" name="رابط مستقيم 97">
            <a:extLst>
              <a:ext uri="{FF2B5EF4-FFF2-40B4-BE49-F238E27FC236}">
                <a16:creationId xmlns:a16="http://schemas.microsoft.com/office/drawing/2014/main" id="{6623D1DA-2145-CEA3-27B8-387780412828}"/>
              </a:ext>
            </a:extLst>
          </p:cNvPr>
          <p:cNvCxnSpPr>
            <a:cxnSpLocks/>
          </p:cNvCxnSpPr>
          <p:nvPr/>
        </p:nvCxnSpPr>
        <p:spPr>
          <a:xfrm flipH="1">
            <a:off x="5837867" y="1020582"/>
            <a:ext cx="2666852" cy="0"/>
          </a:xfrm>
          <a:prstGeom prst="line">
            <a:avLst/>
          </a:prstGeom>
          <a:noFill/>
          <a:ln w="38100" cap="flat" cmpd="sng" algn="ctr">
            <a:solidFill>
              <a:sysClr val="windowText" lastClr="000000"/>
            </a:solidFill>
            <a:prstDash val="solid"/>
          </a:ln>
          <a:effectLst/>
        </p:spPr>
      </p:cxnSp>
      <p:cxnSp>
        <p:nvCxnSpPr>
          <p:cNvPr id="99" name="رابط مستقيم 98">
            <a:extLst>
              <a:ext uri="{FF2B5EF4-FFF2-40B4-BE49-F238E27FC236}">
                <a16:creationId xmlns:a16="http://schemas.microsoft.com/office/drawing/2014/main" id="{3D00AA45-AD35-B362-4CD3-63CD8EB0300F}"/>
              </a:ext>
            </a:extLst>
          </p:cNvPr>
          <p:cNvCxnSpPr>
            <a:cxnSpLocks/>
          </p:cNvCxnSpPr>
          <p:nvPr/>
        </p:nvCxnSpPr>
        <p:spPr>
          <a:xfrm flipH="1" flipV="1">
            <a:off x="8504719" y="1001510"/>
            <a:ext cx="0" cy="720000"/>
          </a:xfrm>
          <a:prstGeom prst="line">
            <a:avLst/>
          </a:prstGeom>
          <a:noFill/>
          <a:ln w="38100" cap="flat" cmpd="sng" algn="ctr">
            <a:solidFill>
              <a:sysClr val="windowText" lastClr="000000"/>
            </a:solidFill>
            <a:prstDash val="solid"/>
          </a:ln>
          <a:effectLst/>
        </p:spPr>
      </p:cxnSp>
    </p:spTree>
    <p:extLst>
      <p:ext uri="{BB962C8B-B14F-4D97-AF65-F5344CB8AC3E}">
        <p14:creationId xmlns:p14="http://schemas.microsoft.com/office/powerpoint/2010/main" val="1717847142"/>
      </p:ext>
    </p:extLst>
  </p:cSld>
  <p:clrMapOvr>
    <a:masterClrMapping/>
  </p:clrMapOvr>
  <mc:AlternateContent xmlns:mc="http://schemas.openxmlformats.org/markup-compatibility/2006" xmlns:p14="http://schemas.microsoft.com/office/powerpoint/2010/main">
    <mc:Choice Requires="p14">
      <p:transition spd="slow" p14:dur="1200">
        <p14:prism dir="r"/>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51"/>
                                        </p:tgtEl>
                                        <p:attrNameLst>
                                          <p:attrName>style.visibility</p:attrName>
                                        </p:attrNameLst>
                                      </p:cBhvr>
                                      <p:to>
                                        <p:strVal val="visible"/>
                                      </p:to>
                                    </p:set>
                                    <p:animEffect transition="in" filter="wipe(down)">
                                      <p:cBhvr>
                                        <p:cTn id="7" dur="500"/>
                                        <p:tgtEl>
                                          <p:spTgt spid="51"/>
                                        </p:tgtEl>
                                      </p:cBhvr>
                                    </p:animEffect>
                                  </p:childTnLst>
                                </p:cTn>
                              </p:par>
                            </p:childTnLst>
                          </p:cTn>
                        </p:par>
                      </p:childTnLst>
                    </p:cTn>
                  </p:par>
                  <p:par>
                    <p:cTn id="8" fill="hold">
                      <p:stCondLst>
                        <p:cond delay="indefinite"/>
                      </p:stCondLst>
                      <p:childTnLst>
                        <p:par>
                          <p:cTn id="9" fill="hold">
                            <p:stCondLst>
                              <p:cond delay="0"/>
                            </p:stCondLst>
                            <p:childTnLst>
                              <p:par>
                                <p:cTn id="10" presetID="42" presetClass="entr" presetSubtype="0" fill="hold" grpId="0" nodeType="clickEffect">
                                  <p:stCondLst>
                                    <p:cond delay="0"/>
                                  </p:stCondLst>
                                  <p:childTnLst>
                                    <p:set>
                                      <p:cBhvr>
                                        <p:cTn id="11" dur="1" fill="hold">
                                          <p:stCondLst>
                                            <p:cond delay="0"/>
                                          </p:stCondLst>
                                        </p:cTn>
                                        <p:tgtEl>
                                          <p:spTgt spid="60"/>
                                        </p:tgtEl>
                                        <p:attrNameLst>
                                          <p:attrName>style.visibility</p:attrName>
                                        </p:attrNameLst>
                                      </p:cBhvr>
                                      <p:to>
                                        <p:strVal val="visible"/>
                                      </p:to>
                                    </p:set>
                                    <p:animEffect transition="in" filter="fade">
                                      <p:cBhvr>
                                        <p:cTn id="12" dur="1000"/>
                                        <p:tgtEl>
                                          <p:spTgt spid="60"/>
                                        </p:tgtEl>
                                      </p:cBhvr>
                                    </p:animEffect>
                                    <p:anim calcmode="lin" valueType="num">
                                      <p:cBhvr>
                                        <p:cTn id="13" dur="1000" fill="hold"/>
                                        <p:tgtEl>
                                          <p:spTgt spid="60"/>
                                        </p:tgtEl>
                                        <p:attrNameLst>
                                          <p:attrName>ppt_x</p:attrName>
                                        </p:attrNameLst>
                                      </p:cBhvr>
                                      <p:tavLst>
                                        <p:tav tm="0">
                                          <p:val>
                                            <p:strVal val="#ppt_x"/>
                                          </p:val>
                                        </p:tav>
                                        <p:tav tm="100000">
                                          <p:val>
                                            <p:strVal val="#ppt_x"/>
                                          </p:val>
                                        </p:tav>
                                      </p:tavLst>
                                    </p:anim>
                                    <p:anim calcmode="lin" valueType="num">
                                      <p:cBhvr>
                                        <p:cTn id="14" dur="1000" fill="hold"/>
                                        <p:tgtEl>
                                          <p:spTgt spid="60"/>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2" presetClass="entr" presetSubtype="4" fill="hold" nodeType="clickEffect">
                                  <p:stCondLst>
                                    <p:cond delay="0"/>
                                  </p:stCondLst>
                                  <p:childTnLst>
                                    <p:set>
                                      <p:cBhvr>
                                        <p:cTn id="18" dur="1" fill="hold">
                                          <p:stCondLst>
                                            <p:cond delay="0"/>
                                          </p:stCondLst>
                                        </p:cTn>
                                        <p:tgtEl>
                                          <p:spTgt spid="53"/>
                                        </p:tgtEl>
                                        <p:attrNameLst>
                                          <p:attrName>style.visibility</p:attrName>
                                        </p:attrNameLst>
                                      </p:cBhvr>
                                      <p:to>
                                        <p:strVal val="visible"/>
                                      </p:to>
                                    </p:set>
                                    <p:animEffect transition="in" filter="wipe(down)">
                                      <p:cBhvr>
                                        <p:cTn id="19" dur="500"/>
                                        <p:tgtEl>
                                          <p:spTgt spid="53"/>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4" fill="hold" nodeType="clickEffect">
                                  <p:stCondLst>
                                    <p:cond delay="0"/>
                                  </p:stCondLst>
                                  <p:childTnLst>
                                    <p:set>
                                      <p:cBhvr>
                                        <p:cTn id="23" dur="1" fill="hold">
                                          <p:stCondLst>
                                            <p:cond delay="0"/>
                                          </p:stCondLst>
                                        </p:cTn>
                                        <p:tgtEl>
                                          <p:spTgt spid="54"/>
                                        </p:tgtEl>
                                        <p:attrNameLst>
                                          <p:attrName>style.visibility</p:attrName>
                                        </p:attrNameLst>
                                      </p:cBhvr>
                                      <p:to>
                                        <p:strVal val="visible"/>
                                      </p:to>
                                    </p:set>
                                    <p:animEffect transition="in" filter="wipe(down)">
                                      <p:cBhvr>
                                        <p:cTn id="24" dur="500"/>
                                        <p:tgtEl>
                                          <p:spTgt spid="54"/>
                                        </p:tgtEl>
                                      </p:cBhvr>
                                    </p:animEffect>
                                  </p:childTnLst>
                                </p:cTn>
                              </p:par>
                            </p:childTnLst>
                          </p:cTn>
                        </p:par>
                      </p:childTnLst>
                    </p:cTn>
                  </p:par>
                  <p:par>
                    <p:cTn id="25" fill="hold">
                      <p:stCondLst>
                        <p:cond delay="indefinite"/>
                      </p:stCondLst>
                      <p:childTnLst>
                        <p:par>
                          <p:cTn id="26" fill="hold">
                            <p:stCondLst>
                              <p:cond delay="0"/>
                            </p:stCondLst>
                            <p:childTnLst>
                              <p:par>
                                <p:cTn id="27" presetID="42" presetClass="entr" presetSubtype="0" fill="hold" grpId="0" nodeType="clickEffect">
                                  <p:stCondLst>
                                    <p:cond delay="0"/>
                                  </p:stCondLst>
                                  <p:childTnLst>
                                    <p:set>
                                      <p:cBhvr>
                                        <p:cTn id="28" dur="1" fill="hold">
                                          <p:stCondLst>
                                            <p:cond delay="0"/>
                                          </p:stCondLst>
                                        </p:cTn>
                                        <p:tgtEl>
                                          <p:spTgt spid="63"/>
                                        </p:tgtEl>
                                        <p:attrNameLst>
                                          <p:attrName>style.visibility</p:attrName>
                                        </p:attrNameLst>
                                      </p:cBhvr>
                                      <p:to>
                                        <p:strVal val="visible"/>
                                      </p:to>
                                    </p:set>
                                    <p:animEffect transition="in" filter="fade">
                                      <p:cBhvr>
                                        <p:cTn id="29" dur="1000"/>
                                        <p:tgtEl>
                                          <p:spTgt spid="63"/>
                                        </p:tgtEl>
                                      </p:cBhvr>
                                    </p:animEffect>
                                    <p:anim calcmode="lin" valueType="num">
                                      <p:cBhvr>
                                        <p:cTn id="30" dur="1000" fill="hold"/>
                                        <p:tgtEl>
                                          <p:spTgt spid="63"/>
                                        </p:tgtEl>
                                        <p:attrNameLst>
                                          <p:attrName>ppt_x</p:attrName>
                                        </p:attrNameLst>
                                      </p:cBhvr>
                                      <p:tavLst>
                                        <p:tav tm="0">
                                          <p:val>
                                            <p:strVal val="#ppt_x"/>
                                          </p:val>
                                        </p:tav>
                                        <p:tav tm="100000">
                                          <p:val>
                                            <p:strVal val="#ppt_x"/>
                                          </p:val>
                                        </p:tav>
                                      </p:tavLst>
                                    </p:anim>
                                    <p:anim calcmode="lin" valueType="num">
                                      <p:cBhvr>
                                        <p:cTn id="31" dur="1000" fill="hold"/>
                                        <p:tgtEl>
                                          <p:spTgt spid="63"/>
                                        </p:tgtEl>
                                        <p:attrNameLst>
                                          <p:attrName>ppt_y</p:attrName>
                                        </p:attrNameLst>
                                      </p:cBhvr>
                                      <p:tavLst>
                                        <p:tav tm="0">
                                          <p:val>
                                            <p:strVal val="#ppt_y+.1"/>
                                          </p:val>
                                        </p:tav>
                                        <p:tav tm="100000">
                                          <p:val>
                                            <p:strVal val="#ppt_y"/>
                                          </p:val>
                                        </p:tav>
                                      </p:tavLst>
                                    </p:anim>
                                  </p:childTnLst>
                                </p:cTn>
                              </p:par>
                            </p:childTnLst>
                          </p:cTn>
                        </p:par>
                      </p:childTnLst>
                    </p:cTn>
                  </p:par>
                  <p:par>
                    <p:cTn id="32" fill="hold">
                      <p:stCondLst>
                        <p:cond delay="indefinite"/>
                      </p:stCondLst>
                      <p:childTnLst>
                        <p:par>
                          <p:cTn id="33" fill="hold">
                            <p:stCondLst>
                              <p:cond delay="0"/>
                            </p:stCondLst>
                            <p:childTnLst>
                              <p:par>
                                <p:cTn id="34" presetID="22" presetClass="entr" presetSubtype="4" fill="hold" nodeType="clickEffect">
                                  <p:stCondLst>
                                    <p:cond delay="0"/>
                                  </p:stCondLst>
                                  <p:childTnLst>
                                    <p:set>
                                      <p:cBhvr>
                                        <p:cTn id="35" dur="1" fill="hold">
                                          <p:stCondLst>
                                            <p:cond delay="0"/>
                                          </p:stCondLst>
                                        </p:cTn>
                                        <p:tgtEl>
                                          <p:spTgt spid="56"/>
                                        </p:tgtEl>
                                        <p:attrNameLst>
                                          <p:attrName>style.visibility</p:attrName>
                                        </p:attrNameLst>
                                      </p:cBhvr>
                                      <p:to>
                                        <p:strVal val="visible"/>
                                      </p:to>
                                    </p:set>
                                    <p:animEffect transition="in" filter="wipe(down)">
                                      <p:cBhvr>
                                        <p:cTn id="36" dur="500"/>
                                        <p:tgtEl>
                                          <p:spTgt spid="56"/>
                                        </p:tgtEl>
                                      </p:cBhvr>
                                    </p:animEffect>
                                  </p:childTnLst>
                                </p:cTn>
                              </p:par>
                            </p:childTnLst>
                          </p:cTn>
                        </p:par>
                      </p:childTnLst>
                    </p:cTn>
                  </p:par>
                  <p:par>
                    <p:cTn id="37" fill="hold">
                      <p:stCondLst>
                        <p:cond delay="indefinite"/>
                      </p:stCondLst>
                      <p:childTnLst>
                        <p:par>
                          <p:cTn id="38" fill="hold">
                            <p:stCondLst>
                              <p:cond delay="0"/>
                            </p:stCondLst>
                            <p:childTnLst>
                              <p:par>
                                <p:cTn id="39" presetID="22" presetClass="entr" presetSubtype="4" fill="hold" nodeType="clickEffect">
                                  <p:stCondLst>
                                    <p:cond delay="0"/>
                                  </p:stCondLst>
                                  <p:childTnLst>
                                    <p:set>
                                      <p:cBhvr>
                                        <p:cTn id="40" dur="1" fill="hold">
                                          <p:stCondLst>
                                            <p:cond delay="0"/>
                                          </p:stCondLst>
                                        </p:cTn>
                                        <p:tgtEl>
                                          <p:spTgt spid="57"/>
                                        </p:tgtEl>
                                        <p:attrNameLst>
                                          <p:attrName>style.visibility</p:attrName>
                                        </p:attrNameLst>
                                      </p:cBhvr>
                                      <p:to>
                                        <p:strVal val="visible"/>
                                      </p:to>
                                    </p:set>
                                    <p:animEffect transition="in" filter="wipe(down)">
                                      <p:cBhvr>
                                        <p:cTn id="41" dur="500"/>
                                        <p:tgtEl>
                                          <p:spTgt spid="57"/>
                                        </p:tgtEl>
                                      </p:cBhvr>
                                    </p:animEffect>
                                  </p:childTnLst>
                                </p:cTn>
                              </p:par>
                            </p:childTnLst>
                          </p:cTn>
                        </p:par>
                      </p:childTnLst>
                    </p:cTn>
                  </p:par>
                  <p:par>
                    <p:cTn id="42" fill="hold">
                      <p:stCondLst>
                        <p:cond delay="indefinite"/>
                      </p:stCondLst>
                      <p:childTnLst>
                        <p:par>
                          <p:cTn id="43" fill="hold">
                            <p:stCondLst>
                              <p:cond delay="0"/>
                            </p:stCondLst>
                            <p:childTnLst>
                              <p:par>
                                <p:cTn id="44" presetID="42" presetClass="entr" presetSubtype="0" fill="hold" grpId="0" nodeType="clickEffect">
                                  <p:stCondLst>
                                    <p:cond delay="0"/>
                                  </p:stCondLst>
                                  <p:childTnLst>
                                    <p:set>
                                      <p:cBhvr>
                                        <p:cTn id="45" dur="1" fill="hold">
                                          <p:stCondLst>
                                            <p:cond delay="0"/>
                                          </p:stCondLst>
                                        </p:cTn>
                                        <p:tgtEl>
                                          <p:spTgt spid="64"/>
                                        </p:tgtEl>
                                        <p:attrNameLst>
                                          <p:attrName>style.visibility</p:attrName>
                                        </p:attrNameLst>
                                      </p:cBhvr>
                                      <p:to>
                                        <p:strVal val="visible"/>
                                      </p:to>
                                    </p:set>
                                    <p:animEffect transition="in" filter="fade">
                                      <p:cBhvr>
                                        <p:cTn id="46" dur="1000"/>
                                        <p:tgtEl>
                                          <p:spTgt spid="64"/>
                                        </p:tgtEl>
                                      </p:cBhvr>
                                    </p:animEffect>
                                    <p:anim calcmode="lin" valueType="num">
                                      <p:cBhvr>
                                        <p:cTn id="47" dur="1000" fill="hold"/>
                                        <p:tgtEl>
                                          <p:spTgt spid="64"/>
                                        </p:tgtEl>
                                        <p:attrNameLst>
                                          <p:attrName>ppt_x</p:attrName>
                                        </p:attrNameLst>
                                      </p:cBhvr>
                                      <p:tavLst>
                                        <p:tav tm="0">
                                          <p:val>
                                            <p:strVal val="#ppt_x"/>
                                          </p:val>
                                        </p:tav>
                                        <p:tav tm="100000">
                                          <p:val>
                                            <p:strVal val="#ppt_x"/>
                                          </p:val>
                                        </p:tav>
                                      </p:tavLst>
                                    </p:anim>
                                    <p:anim calcmode="lin" valueType="num">
                                      <p:cBhvr>
                                        <p:cTn id="48" dur="1000" fill="hold"/>
                                        <p:tgtEl>
                                          <p:spTgt spid="64"/>
                                        </p:tgtEl>
                                        <p:attrNameLst>
                                          <p:attrName>ppt_y</p:attrName>
                                        </p:attrNameLst>
                                      </p:cBhvr>
                                      <p:tavLst>
                                        <p:tav tm="0">
                                          <p:val>
                                            <p:strVal val="#ppt_y+.1"/>
                                          </p:val>
                                        </p:tav>
                                        <p:tav tm="100000">
                                          <p:val>
                                            <p:strVal val="#ppt_y"/>
                                          </p:val>
                                        </p:tav>
                                      </p:tavLst>
                                    </p:anim>
                                  </p:childTnLst>
                                </p:cTn>
                              </p:par>
                            </p:childTnLst>
                          </p:cTn>
                        </p:par>
                      </p:childTnLst>
                    </p:cTn>
                  </p:par>
                  <p:par>
                    <p:cTn id="49" fill="hold">
                      <p:stCondLst>
                        <p:cond delay="indefinite"/>
                      </p:stCondLst>
                      <p:childTnLst>
                        <p:par>
                          <p:cTn id="50" fill="hold">
                            <p:stCondLst>
                              <p:cond delay="0"/>
                            </p:stCondLst>
                            <p:childTnLst>
                              <p:par>
                                <p:cTn id="51" presetID="22" presetClass="entr" presetSubtype="4" fill="hold" nodeType="clickEffect">
                                  <p:stCondLst>
                                    <p:cond delay="0"/>
                                  </p:stCondLst>
                                  <p:childTnLst>
                                    <p:set>
                                      <p:cBhvr>
                                        <p:cTn id="52" dur="1" fill="hold">
                                          <p:stCondLst>
                                            <p:cond delay="0"/>
                                          </p:stCondLst>
                                        </p:cTn>
                                        <p:tgtEl>
                                          <p:spTgt spid="58"/>
                                        </p:tgtEl>
                                        <p:attrNameLst>
                                          <p:attrName>style.visibility</p:attrName>
                                        </p:attrNameLst>
                                      </p:cBhvr>
                                      <p:to>
                                        <p:strVal val="visible"/>
                                      </p:to>
                                    </p:set>
                                    <p:animEffect transition="in" filter="wipe(down)">
                                      <p:cBhvr>
                                        <p:cTn id="53" dur="500"/>
                                        <p:tgtEl>
                                          <p:spTgt spid="58"/>
                                        </p:tgtEl>
                                      </p:cBhvr>
                                    </p:animEffect>
                                  </p:childTnLst>
                                </p:cTn>
                              </p:par>
                            </p:childTnLst>
                          </p:cTn>
                        </p:par>
                      </p:childTnLst>
                    </p:cTn>
                  </p:par>
                  <p:par>
                    <p:cTn id="54" fill="hold">
                      <p:stCondLst>
                        <p:cond delay="indefinite"/>
                      </p:stCondLst>
                      <p:childTnLst>
                        <p:par>
                          <p:cTn id="55" fill="hold">
                            <p:stCondLst>
                              <p:cond delay="0"/>
                            </p:stCondLst>
                            <p:childTnLst>
                              <p:par>
                                <p:cTn id="56" presetID="22" presetClass="entr" presetSubtype="4" fill="hold" nodeType="clickEffect">
                                  <p:stCondLst>
                                    <p:cond delay="0"/>
                                  </p:stCondLst>
                                  <p:childTnLst>
                                    <p:set>
                                      <p:cBhvr>
                                        <p:cTn id="57" dur="1" fill="hold">
                                          <p:stCondLst>
                                            <p:cond delay="0"/>
                                          </p:stCondLst>
                                        </p:cTn>
                                        <p:tgtEl>
                                          <p:spTgt spid="59"/>
                                        </p:tgtEl>
                                        <p:attrNameLst>
                                          <p:attrName>style.visibility</p:attrName>
                                        </p:attrNameLst>
                                      </p:cBhvr>
                                      <p:to>
                                        <p:strVal val="visible"/>
                                      </p:to>
                                    </p:set>
                                    <p:animEffect transition="in" filter="wipe(down)">
                                      <p:cBhvr>
                                        <p:cTn id="58" dur="500"/>
                                        <p:tgtEl>
                                          <p:spTgt spid="59"/>
                                        </p:tgtEl>
                                      </p:cBhvr>
                                    </p:animEffect>
                                  </p:childTnLst>
                                </p:cTn>
                              </p:par>
                            </p:childTnLst>
                          </p:cTn>
                        </p:par>
                      </p:childTnLst>
                    </p:cTn>
                  </p:par>
                  <p:par>
                    <p:cTn id="59" fill="hold">
                      <p:stCondLst>
                        <p:cond delay="indefinite"/>
                      </p:stCondLst>
                      <p:childTnLst>
                        <p:par>
                          <p:cTn id="60" fill="hold">
                            <p:stCondLst>
                              <p:cond delay="0"/>
                            </p:stCondLst>
                            <p:childTnLst>
                              <p:par>
                                <p:cTn id="61" presetID="42" presetClass="entr" presetSubtype="0" fill="hold" grpId="0" nodeType="clickEffect">
                                  <p:stCondLst>
                                    <p:cond delay="0"/>
                                  </p:stCondLst>
                                  <p:childTnLst>
                                    <p:set>
                                      <p:cBhvr>
                                        <p:cTn id="62" dur="1" fill="hold">
                                          <p:stCondLst>
                                            <p:cond delay="0"/>
                                          </p:stCondLst>
                                        </p:cTn>
                                        <p:tgtEl>
                                          <p:spTgt spid="65"/>
                                        </p:tgtEl>
                                        <p:attrNameLst>
                                          <p:attrName>style.visibility</p:attrName>
                                        </p:attrNameLst>
                                      </p:cBhvr>
                                      <p:to>
                                        <p:strVal val="visible"/>
                                      </p:to>
                                    </p:set>
                                    <p:animEffect transition="in" filter="fade">
                                      <p:cBhvr>
                                        <p:cTn id="63" dur="1000"/>
                                        <p:tgtEl>
                                          <p:spTgt spid="65"/>
                                        </p:tgtEl>
                                      </p:cBhvr>
                                    </p:animEffect>
                                    <p:anim calcmode="lin" valueType="num">
                                      <p:cBhvr>
                                        <p:cTn id="64" dur="1000" fill="hold"/>
                                        <p:tgtEl>
                                          <p:spTgt spid="65"/>
                                        </p:tgtEl>
                                        <p:attrNameLst>
                                          <p:attrName>ppt_x</p:attrName>
                                        </p:attrNameLst>
                                      </p:cBhvr>
                                      <p:tavLst>
                                        <p:tav tm="0">
                                          <p:val>
                                            <p:strVal val="#ppt_x"/>
                                          </p:val>
                                        </p:tav>
                                        <p:tav tm="100000">
                                          <p:val>
                                            <p:strVal val="#ppt_x"/>
                                          </p:val>
                                        </p:tav>
                                      </p:tavLst>
                                    </p:anim>
                                    <p:anim calcmode="lin" valueType="num">
                                      <p:cBhvr>
                                        <p:cTn id="65" dur="1000" fill="hold"/>
                                        <p:tgtEl>
                                          <p:spTgt spid="65"/>
                                        </p:tgtEl>
                                        <p:attrNameLst>
                                          <p:attrName>ppt_y</p:attrName>
                                        </p:attrNameLst>
                                      </p:cBhvr>
                                      <p:tavLst>
                                        <p:tav tm="0">
                                          <p:val>
                                            <p:strVal val="#ppt_y+.1"/>
                                          </p:val>
                                        </p:tav>
                                        <p:tav tm="100000">
                                          <p:val>
                                            <p:strVal val="#ppt_y"/>
                                          </p:val>
                                        </p:tav>
                                      </p:tavLst>
                                    </p:anim>
                                  </p:childTnLst>
                                </p:cTn>
                              </p:par>
                            </p:childTnLst>
                          </p:cTn>
                        </p:par>
                      </p:childTnLst>
                    </p:cTn>
                  </p:par>
                  <p:par>
                    <p:cTn id="66" fill="hold">
                      <p:stCondLst>
                        <p:cond delay="indefinite"/>
                      </p:stCondLst>
                      <p:childTnLst>
                        <p:par>
                          <p:cTn id="67" fill="hold">
                            <p:stCondLst>
                              <p:cond delay="0"/>
                            </p:stCondLst>
                            <p:childTnLst>
                              <p:par>
                                <p:cTn id="68" presetID="22" presetClass="entr" presetSubtype="4" fill="hold" nodeType="clickEffect">
                                  <p:stCondLst>
                                    <p:cond delay="0"/>
                                  </p:stCondLst>
                                  <p:childTnLst>
                                    <p:set>
                                      <p:cBhvr>
                                        <p:cTn id="69" dur="1" fill="hold">
                                          <p:stCondLst>
                                            <p:cond delay="0"/>
                                          </p:stCondLst>
                                        </p:cTn>
                                        <p:tgtEl>
                                          <p:spTgt spid="61"/>
                                        </p:tgtEl>
                                        <p:attrNameLst>
                                          <p:attrName>style.visibility</p:attrName>
                                        </p:attrNameLst>
                                      </p:cBhvr>
                                      <p:to>
                                        <p:strVal val="visible"/>
                                      </p:to>
                                    </p:set>
                                    <p:animEffect transition="in" filter="wipe(down)">
                                      <p:cBhvr>
                                        <p:cTn id="70" dur="500"/>
                                        <p:tgtEl>
                                          <p:spTgt spid="61"/>
                                        </p:tgtEl>
                                      </p:cBhvr>
                                    </p:animEffect>
                                  </p:childTnLst>
                                </p:cTn>
                              </p:par>
                            </p:childTnLst>
                          </p:cTn>
                        </p:par>
                      </p:childTnLst>
                    </p:cTn>
                  </p:par>
                  <p:par>
                    <p:cTn id="71" fill="hold">
                      <p:stCondLst>
                        <p:cond delay="indefinite"/>
                      </p:stCondLst>
                      <p:childTnLst>
                        <p:par>
                          <p:cTn id="72" fill="hold">
                            <p:stCondLst>
                              <p:cond delay="0"/>
                            </p:stCondLst>
                            <p:childTnLst>
                              <p:par>
                                <p:cTn id="73" presetID="22" presetClass="entr" presetSubtype="4" fill="hold" nodeType="clickEffect">
                                  <p:stCondLst>
                                    <p:cond delay="0"/>
                                  </p:stCondLst>
                                  <p:childTnLst>
                                    <p:set>
                                      <p:cBhvr>
                                        <p:cTn id="74" dur="1" fill="hold">
                                          <p:stCondLst>
                                            <p:cond delay="0"/>
                                          </p:stCondLst>
                                        </p:cTn>
                                        <p:tgtEl>
                                          <p:spTgt spid="62"/>
                                        </p:tgtEl>
                                        <p:attrNameLst>
                                          <p:attrName>style.visibility</p:attrName>
                                        </p:attrNameLst>
                                      </p:cBhvr>
                                      <p:to>
                                        <p:strVal val="visible"/>
                                      </p:to>
                                    </p:set>
                                    <p:animEffect transition="in" filter="wipe(down)">
                                      <p:cBhvr>
                                        <p:cTn id="75" dur="500"/>
                                        <p:tgtEl>
                                          <p:spTgt spid="62"/>
                                        </p:tgtEl>
                                      </p:cBhvr>
                                    </p:animEffect>
                                  </p:childTnLst>
                                </p:cTn>
                              </p:par>
                            </p:childTnLst>
                          </p:cTn>
                        </p:par>
                      </p:childTnLst>
                    </p:cTn>
                  </p:par>
                  <p:par>
                    <p:cTn id="76" fill="hold">
                      <p:stCondLst>
                        <p:cond delay="indefinite"/>
                      </p:stCondLst>
                      <p:childTnLst>
                        <p:par>
                          <p:cTn id="77" fill="hold">
                            <p:stCondLst>
                              <p:cond delay="0"/>
                            </p:stCondLst>
                            <p:childTnLst>
                              <p:par>
                                <p:cTn id="78" presetID="42" presetClass="entr" presetSubtype="0" fill="hold" grpId="0" nodeType="clickEffect">
                                  <p:stCondLst>
                                    <p:cond delay="0"/>
                                  </p:stCondLst>
                                  <p:childTnLst>
                                    <p:set>
                                      <p:cBhvr>
                                        <p:cTn id="79" dur="1" fill="hold">
                                          <p:stCondLst>
                                            <p:cond delay="0"/>
                                          </p:stCondLst>
                                        </p:cTn>
                                        <p:tgtEl>
                                          <p:spTgt spid="66"/>
                                        </p:tgtEl>
                                        <p:attrNameLst>
                                          <p:attrName>style.visibility</p:attrName>
                                        </p:attrNameLst>
                                      </p:cBhvr>
                                      <p:to>
                                        <p:strVal val="visible"/>
                                      </p:to>
                                    </p:set>
                                    <p:animEffect transition="in" filter="fade">
                                      <p:cBhvr>
                                        <p:cTn id="80" dur="1000"/>
                                        <p:tgtEl>
                                          <p:spTgt spid="66"/>
                                        </p:tgtEl>
                                      </p:cBhvr>
                                    </p:animEffect>
                                    <p:anim calcmode="lin" valueType="num">
                                      <p:cBhvr>
                                        <p:cTn id="81" dur="1000" fill="hold"/>
                                        <p:tgtEl>
                                          <p:spTgt spid="66"/>
                                        </p:tgtEl>
                                        <p:attrNameLst>
                                          <p:attrName>ppt_x</p:attrName>
                                        </p:attrNameLst>
                                      </p:cBhvr>
                                      <p:tavLst>
                                        <p:tav tm="0">
                                          <p:val>
                                            <p:strVal val="#ppt_x"/>
                                          </p:val>
                                        </p:tav>
                                        <p:tav tm="100000">
                                          <p:val>
                                            <p:strVal val="#ppt_x"/>
                                          </p:val>
                                        </p:tav>
                                      </p:tavLst>
                                    </p:anim>
                                    <p:anim calcmode="lin" valueType="num">
                                      <p:cBhvr>
                                        <p:cTn id="82" dur="1000" fill="hold"/>
                                        <p:tgtEl>
                                          <p:spTgt spid="66"/>
                                        </p:tgtEl>
                                        <p:attrNameLst>
                                          <p:attrName>ppt_y</p:attrName>
                                        </p:attrNameLst>
                                      </p:cBhvr>
                                      <p:tavLst>
                                        <p:tav tm="0">
                                          <p:val>
                                            <p:strVal val="#ppt_y+.1"/>
                                          </p:val>
                                        </p:tav>
                                        <p:tav tm="100000">
                                          <p:val>
                                            <p:strVal val="#ppt_y"/>
                                          </p:val>
                                        </p:tav>
                                      </p:tavLst>
                                    </p:anim>
                                  </p:childTnLst>
                                </p:cTn>
                              </p:par>
                            </p:childTnLst>
                          </p:cTn>
                        </p:par>
                      </p:childTnLst>
                    </p:cTn>
                  </p:par>
                  <p:par>
                    <p:cTn id="83" fill="hold">
                      <p:stCondLst>
                        <p:cond delay="indefinite"/>
                      </p:stCondLst>
                      <p:childTnLst>
                        <p:par>
                          <p:cTn id="84" fill="hold">
                            <p:stCondLst>
                              <p:cond delay="0"/>
                            </p:stCondLst>
                            <p:childTnLst>
                              <p:par>
                                <p:cTn id="85" presetID="22" presetClass="entr" presetSubtype="4" fill="hold" nodeType="clickEffect">
                                  <p:stCondLst>
                                    <p:cond delay="0"/>
                                  </p:stCondLst>
                                  <p:childTnLst>
                                    <p:set>
                                      <p:cBhvr>
                                        <p:cTn id="86" dur="1" fill="hold">
                                          <p:stCondLst>
                                            <p:cond delay="0"/>
                                          </p:stCondLst>
                                        </p:cTn>
                                        <p:tgtEl>
                                          <p:spTgt spid="67"/>
                                        </p:tgtEl>
                                        <p:attrNameLst>
                                          <p:attrName>style.visibility</p:attrName>
                                        </p:attrNameLst>
                                      </p:cBhvr>
                                      <p:to>
                                        <p:strVal val="visible"/>
                                      </p:to>
                                    </p:set>
                                    <p:animEffect transition="in" filter="wipe(down)">
                                      <p:cBhvr>
                                        <p:cTn id="87" dur="500"/>
                                        <p:tgtEl>
                                          <p:spTgt spid="67"/>
                                        </p:tgtEl>
                                      </p:cBhvr>
                                    </p:animEffect>
                                  </p:childTnLst>
                                </p:cTn>
                              </p:par>
                            </p:childTnLst>
                          </p:cTn>
                        </p:par>
                      </p:childTnLst>
                    </p:cTn>
                  </p:par>
                  <p:par>
                    <p:cTn id="88" fill="hold">
                      <p:stCondLst>
                        <p:cond delay="indefinite"/>
                      </p:stCondLst>
                      <p:childTnLst>
                        <p:par>
                          <p:cTn id="89" fill="hold">
                            <p:stCondLst>
                              <p:cond delay="0"/>
                            </p:stCondLst>
                            <p:childTnLst>
                              <p:par>
                                <p:cTn id="90" presetID="42" presetClass="entr" presetSubtype="0" fill="hold" nodeType="clickEffect">
                                  <p:stCondLst>
                                    <p:cond delay="0"/>
                                  </p:stCondLst>
                                  <p:childTnLst>
                                    <p:set>
                                      <p:cBhvr>
                                        <p:cTn id="91" dur="1" fill="hold">
                                          <p:stCondLst>
                                            <p:cond delay="0"/>
                                          </p:stCondLst>
                                        </p:cTn>
                                        <p:tgtEl>
                                          <p:spTgt spid="68"/>
                                        </p:tgtEl>
                                        <p:attrNameLst>
                                          <p:attrName>style.visibility</p:attrName>
                                        </p:attrNameLst>
                                      </p:cBhvr>
                                      <p:to>
                                        <p:strVal val="visible"/>
                                      </p:to>
                                    </p:set>
                                    <p:animEffect transition="in" filter="fade">
                                      <p:cBhvr>
                                        <p:cTn id="92" dur="1000"/>
                                        <p:tgtEl>
                                          <p:spTgt spid="68"/>
                                        </p:tgtEl>
                                      </p:cBhvr>
                                    </p:animEffect>
                                    <p:anim calcmode="lin" valueType="num">
                                      <p:cBhvr>
                                        <p:cTn id="93" dur="1000" fill="hold"/>
                                        <p:tgtEl>
                                          <p:spTgt spid="68"/>
                                        </p:tgtEl>
                                        <p:attrNameLst>
                                          <p:attrName>ppt_x</p:attrName>
                                        </p:attrNameLst>
                                      </p:cBhvr>
                                      <p:tavLst>
                                        <p:tav tm="0">
                                          <p:val>
                                            <p:strVal val="#ppt_x"/>
                                          </p:val>
                                        </p:tav>
                                        <p:tav tm="100000">
                                          <p:val>
                                            <p:strVal val="#ppt_x"/>
                                          </p:val>
                                        </p:tav>
                                      </p:tavLst>
                                    </p:anim>
                                    <p:anim calcmode="lin" valueType="num">
                                      <p:cBhvr>
                                        <p:cTn id="94" dur="1000" fill="hold"/>
                                        <p:tgtEl>
                                          <p:spTgt spid="68"/>
                                        </p:tgtEl>
                                        <p:attrNameLst>
                                          <p:attrName>ppt_y</p:attrName>
                                        </p:attrNameLst>
                                      </p:cBhvr>
                                      <p:tavLst>
                                        <p:tav tm="0">
                                          <p:val>
                                            <p:strVal val="#ppt_y+.1"/>
                                          </p:val>
                                        </p:tav>
                                        <p:tav tm="100000">
                                          <p:val>
                                            <p:strVal val="#ppt_y"/>
                                          </p:val>
                                        </p:tav>
                                      </p:tavLst>
                                    </p:anim>
                                  </p:childTnLst>
                                </p:cTn>
                              </p:par>
                            </p:childTnLst>
                          </p:cTn>
                        </p:par>
                      </p:childTnLst>
                    </p:cTn>
                  </p:par>
                  <p:par>
                    <p:cTn id="95" fill="hold">
                      <p:stCondLst>
                        <p:cond delay="indefinite"/>
                      </p:stCondLst>
                      <p:childTnLst>
                        <p:par>
                          <p:cTn id="96" fill="hold">
                            <p:stCondLst>
                              <p:cond delay="0"/>
                            </p:stCondLst>
                            <p:childTnLst>
                              <p:par>
                                <p:cTn id="97" presetID="42" presetClass="entr" presetSubtype="0" fill="hold" grpId="0" nodeType="clickEffect">
                                  <p:stCondLst>
                                    <p:cond delay="0"/>
                                  </p:stCondLst>
                                  <p:childTnLst>
                                    <p:set>
                                      <p:cBhvr>
                                        <p:cTn id="98" dur="1" fill="hold">
                                          <p:stCondLst>
                                            <p:cond delay="0"/>
                                          </p:stCondLst>
                                        </p:cTn>
                                        <p:tgtEl>
                                          <p:spTgt spid="69"/>
                                        </p:tgtEl>
                                        <p:attrNameLst>
                                          <p:attrName>style.visibility</p:attrName>
                                        </p:attrNameLst>
                                      </p:cBhvr>
                                      <p:to>
                                        <p:strVal val="visible"/>
                                      </p:to>
                                    </p:set>
                                    <p:animEffect transition="in" filter="fade">
                                      <p:cBhvr>
                                        <p:cTn id="99" dur="1000"/>
                                        <p:tgtEl>
                                          <p:spTgt spid="69"/>
                                        </p:tgtEl>
                                      </p:cBhvr>
                                    </p:animEffect>
                                    <p:anim calcmode="lin" valueType="num">
                                      <p:cBhvr>
                                        <p:cTn id="100" dur="1000" fill="hold"/>
                                        <p:tgtEl>
                                          <p:spTgt spid="69"/>
                                        </p:tgtEl>
                                        <p:attrNameLst>
                                          <p:attrName>ppt_x</p:attrName>
                                        </p:attrNameLst>
                                      </p:cBhvr>
                                      <p:tavLst>
                                        <p:tav tm="0">
                                          <p:val>
                                            <p:strVal val="#ppt_x"/>
                                          </p:val>
                                        </p:tav>
                                        <p:tav tm="100000">
                                          <p:val>
                                            <p:strVal val="#ppt_x"/>
                                          </p:val>
                                        </p:tav>
                                      </p:tavLst>
                                    </p:anim>
                                    <p:anim calcmode="lin" valueType="num">
                                      <p:cBhvr>
                                        <p:cTn id="101" dur="1000" fill="hold"/>
                                        <p:tgtEl>
                                          <p:spTgt spid="69"/>
                                        </p:tgtEl>
                                        <p:attrNameLst>
                                          <p:attrName>ppt_y</p:attrName>
                                        </p:attrNameLst>
                                      </p:cBhvr>
                                      <p:tavLst>
                                        <p:tav tm="0">
                                          <p:val>
                                            <p:strVal val="#ppt_y+.1"/>
                                          </p:val>
                                        </p:tav>
                                        <p:tav tm="100000">
                                          <p:val>
                                            <p:strVal val="#ppt_y"/>
                                          </p:val>
                                        </p:tav>
                                      </p:tavLst>
                                    </p:anim>
                                  </p:childTnLst>
                                </p:cTn>
                              </p:par>
                            </p:childTnLst>
                          </p:cTn>
                        </p:par>
                      </p:childTnLst>
                    </p:cTn>
                  </p:par>
                  <p:par>
                    <p:cTn id="102" fill="hold">
                      <p:stCondLst>
                        <p:cond delay="indefinite"/>
                      </p:stCondLst>
                      <p:childTnLst>
                        <p:par>
                          <p:cTn id="103" fill="hold">
                            <p:stCondLst>
                              <p:cond delay="0"/>
                            </p:stCondLst>
                            <p:childTnLst>
                              <p:par>
                                <p:cTn id="104" presetID="22" presetClass="entr" presetSubtype="4" fill="hold" nodeType="clickEffect">
                                  <p:stCondLst>
                                    <p:cond delay="0"/>
                                  </p:stCondLst>
                                  <p:childTnLst>
                                    <p:set>
                                      <p:cBhvr>
                                        <p:cTn id="105" dur="1" fill="hold">
                                          <p:stCondLst>
                                            <p:cond delay="0"/>
                                          </p:stCondLst>
                                        </p:cTn>
                                        <p:tgtEl>
                                          <p:spTgt spid="70"/>
                                        </p:tgtEl>
                                        <p:attrNameLst>
                                          <p:attrName>style.visibility</p:attrName>
                                        </p:attrNameLst>
                                      </p:cBhvr>
                                      <p:to>
                                        <p:strVal val="visible"/>
                                      </p:to>
                                    </p:set>
                                    <p:animEffect transition="in" filter="wipe(down)">
                                      <p:cBhvr>
                                        <p:cTn id="106" dur="500"/>
                                        <p:tgtEl>
                                          <p:spTgt spid="70"/>
                                        </p:tgtEl>
                                      </p:cBhvr>
                                    </p:animEffect>
                                  </p:childTnLst>
                                </p:cTn>
                              </p:par>
                            </p:childTnLst>
                          </p:cTn>
                        </p:par>
                      </p:childTnLst>
                    </p:cTn>
                  </p:par>
                  <p:par>
                    <p:cTn id="107" fill="hold">
                      <p:stCondLst>
                        <p:cond delay="indefinite"/>
                      </p:stCondLst>
                      <p:childTnLst>
                        <p:par>
                          <p:cTn id="108" fill="hold">
                            <p:stCondLst>
                              <p:cond delay="0"/>
                            </p:stCondLst>
                            <p:childTnLst>
                              <p:par>
                                <p:cTn id="109" presetID="22" presetClass="entr" presetSubtype="4" fill="hold" nodeType="clickEffect">
                                  <p:stCondLst>
                                    <p:cond delay="0"/>
                                  </p:stCondLst>
                                  <p:childTnLst>
                                    <p:set>
                                      <p:cBhvr>
                                        <p:cTn id="110" dur="1" fill="hold">
                                          <p:stCondLst>
                                            <p:cond delay="0"/>
                                          </p:stCondLst>
                                        </p:cTn>
                                        <p:tgtEl>
                                          <p:spTgt spid="71"/>
                                        </p:tgtEl>
                                        <p:attrNameLst>
                                          <p:attrName>style.visibility</p:attrName>
                                        </p:attrNameLst>
                                      </p:cBhvr>
                                      <p:to>
                                        <p:strVal val="visible"/>
                                      </p:to>
                                    </p:set>
                                    <p:animEffect transition="in" filter="wipe(down)">
                                      <p:cBhvr>
                                        <p:cTn id="111" dur="500"/>
                                        <p:tgtEl>
                                          <p:spTgt spid="71"/>
                                        </p:tgtEl>
                                      </p:cBhvr>
                                    </p:animEffect>
                                  </p:childTnLst>
                                </p:cTn>
                              </p:par>
                            </p:childTnLst>
                          </p:cTn>
                        </p:par>
                      </p:childTnLst>
                    </p:cTn>
                  </p:par>
                  <p:par>
                    <p:cTn id="112" fill="hold">
                      <p:stCondLst>
                        <p:cond delay="indefinite"/>
                      </p:stCondLst>
                      <p:childTnLst>
                        <p:par>
                          <p:cTn id="113" fill="hold">
                            <p:stCondLst>
                              <p:cond delay="0"/>
                            </p:stCondLst>
                            <p:childTnLst>
                              <p:par>
                                <p:cTn id="114" presetID="42" presetClass="entr" presetSubtype="0" fill="hold" grpId="0" nodeType="clickEffect">
                                  <p:stCondLst>
                                    <p:cond delay="0"/>
                                  </p:stCondLst>
                                  <p:childTnLst>
                                    <p:set>
                                      <p:cBhvr>
                                        <p:cTn id="115" dur="1" fill="hold">
                                          <p:stCondLst>
                                            <p:cond delay="0"/>
                                          </p:stCondLst>
                                        </p:cTn>
                                        <p:tgtEl>
                                          <p:spTgt spid="72"/>
                                        </p:tgtEl>
                                        <p:attrNameLst>
                                          <p:attrName>style.visibility</p:attrName>
                                        </p:attrNameLst>
                                      </p:cBhvr>
                                      <p:to>
                                        <p:strVal val="visible"/>
                                      </p:to>
                                    </p:set>
                                    <p:animEffect transition="in" filter="fade">
                                      <p:cBhvr>
                                        <p:cTn id="116" dur="1000"/>
                                        <p:tgtEl>
                                          <p:spTgt spid="72"/>
                                        </p:tgtEl>
                                      </p:cBhvr>
                                    </p:animEffect>
                                    <p:anim calcmode="lin" valueType="num">
                                      <p:cBhvr>
                                        <p:cTn id="117" dur="1000" fill="hold"/>
                                        <p:tgtEl>
                                          <p:spTgt spid="72"/>
                                        </p:tgtEl>
                                        <p:attrNameLst>
                                          <p:attrName>ppt_x</p:attrName>
                                        </p:attrNameLst>
                                      </p:cBhvr>
                                      <p:tavLst>
                                        <p:tav tm="0">
                                          <p:val>
                                            <p:strVal val="#ppt_x"/>
                                          </p:val>
                                        </p:tav>
                                        <p:tav tm="100000">
                                          <p:val>
                                            <p:strVal val="#ppt_x"/>
                                          </p:val>
                                        </p:tav>
                                      </p:tavLst>
                                    </p:anim>
                                    <p:anim calcmode="lin" valueType="num">
                                      <p:cBhvr>
                                        <p:cTn id="118" dur="1000" fill="hold"/>
                                        <p:tgtEl>
                                          <p:spTgt spid="72"/>
                                        </p:tgtEl>
                                        <p:attrNameLst>
                                          <p:attrName>ppt_y</p:attrName>
                                        </p:attrNameLst>
                                      </p:cBhvr>
                                      <p:tavLst>
                                        <p:tav tm="0">
                                          <p:val>
                                            <p:strVal val="#ppt_y+.1"/>
                                          </p:val>
                                        </p:tav>
                                        <p:tav tm="100000">
                                          <p:val>
                                            <p:strVal val="#ppt_y"/>
                                          </p:val>
                                        </p:tav>
                                      </p:tavLst>
                                    </p:anim>
                                  </p:childTnLst>
                                </p:cTn>
                              </p:par>
                            </p:childTnLst>
                          </p:cTn>
                        </p:par>
                      </p:childTnLst>
                    </p:cTn>
                  </p:par>
                  <p:par>
                    <p:cTn id="119" fill="hold">
                      <p:stCondLst>
                        <p:cond delay="indefinite"/>
                      </p:stCondLst>
                      <p:childTnLst>
                        <p:par>
                          <p:cTn id="120" fill="hold">
                            <p:stCondLst>
                              <p:cond delay="0"/>
                            </p:stCondLst>
                            <p:childTnLst>
                              <p:par>
                                <p:cTn id="121" presetID="16" presetClass="entr" presetSubtype="21" fill="hold" grpId="0" nodeType="clickEffect">
                                  <p:stCondLst>
                                    <p:cond delay="0"/>
                                  </p:stCondLst>
                                  <p:childTnLst>
                                    <p:set>
                                      <p:cBhvr>
                                        <p:cTn id="122" dur="1" fill="hold">
                                          <p:stCondLst>
                                            <p:cond delay="0"/>
                                          </p:stCondLst>
                                        </p:cTn>
                                        <p:tgtEl>
                                          <p:spTgt spid="75"/>
                                        </p:tgtEl>
                                        <p:attrNameLst>
                                          <p:attrName>style.visibility</p:attrName>
                                        </p:attrNameLst>
                                      </p:cBhvr>
                                      <p:to>
                                        <p:strVal val="visible"/>
                                      </p:to>
                                    </p:set>
                                    <p:animEffect transition="in" filter="barn(inVertical)">
                                      <p:cBhvr>
                                        <p:cTn id="123" dur="500"/>
                                        <p:tgtEl>
                                          <p:spTgt spid="75"/>
                                        </p:tgtEl>
                                      </p:cBhvr>
                                    </p:animEffect>
                                  </p:childTnLst>
                                </p:cTn>
                              </p:par>
                            </p:childTnLst>
                          </p:cTn>
                        </p:par>
                      </p:childTnLst>
                    </p:cTn>
                  </p:par>
                  <p:par>
                    <p:cTn id="124" fill="hold">
                      <p:stCondLst>
                        <p:cond delay="indefinite"/>
                      </p:stCondLst>
                      <p:childTnLst>
                        <p:par>
                          <p:cTn id="125" fill="hold">
                            <p:stCondLst>
                              <p:cond delay="0"/>
                            </p:stCondLst>
                            <p:childTnLst>
                              <p:par>
                                <p:cTn id="126" presetID="16" presetClass="entr" presetSubtype="21" fill="hold" grpId="0" nodeType="clickEffect">
                                  <p:stCondLst>
                                    <p:cond delay="0"/>
                                  </p:stCondLst>
                                  <p:childTnLst>
                                    <p:set>
                                      <p:cBhvr>
                                        <p:cTn id="127" dur="1" fill="hold">
                                          <p:stCondLst>
                                            <p:cond delay="0"/>
                                          </p:stCondLst>
                                        </p:cTn>
                                        <p:tgtEl>
                                          <p:spTgt spid="74"/>
                                        </p:tgtEl>
                                        <p:attrNameLst>
                                          <p:attrName>style.visibility</p:attrName>
                                        </p:attrNameLst>
                                      </p:cBhvr>
                                      <p:to>
                                        <p:strVal val="visible"/>
                                      </p:to>
                                    </p:set>
                                    <p:animEffect transition="in" filter="barn(inVertical)">
                                      <p:cBhvr>
                                        <p:cTn id="128" dur="500"/>
                                        <p:tgtEl>
                                          <p:spTgt spid="74"/>
                                        </p:tgtEl>
                                      </p:cBhvr>
                                    </p:animEffect>
                                  </p:childTnLst>
                                </p:cTn>
                              </p:par>
                            </p:childTnLst>
                          </p:cTn>
                        </p:par>
                      </p:childTnLst>
                    </p:cTn>
                  </p:par>
                  <p:par>
                    <p:cTn id="129" fill="hold">
                      <p:stCondLst>
                        <p:cond delay="indefinite"/>
                      </p:stCondLst>
                      <p:childTnLst>
                        <p:par>
                          <p:cTn id="130" fill="hold">
                            <p:stCondLst>
                              <p:cond delay="0"/>
                            </p:stCondLst>
                            <p:childTnLst>
                              <p:par>
                                <p:cTn id="131" presetID="42" presetClass="entr" presetSubtype="0" fill="hold" grpId="0" nodeType="clickEffect">
                                  <p:stCondLst>
                                    <p:cond delay="0"/>
                                  </p:stCondLst>
                                  <p:childTnLst>
                                    <p:set>
                                      <p:cBhvr>
                                        <p:cTn id="132" dur="1" fill="hold">
                                          <p:stCondLst>
                                            <p:cond delay="0"/>
                                          </p:stCondLst>
                                        </p:cTn>
                                        <p:tgtEl>
                                          <p:spTgt spid="73"/>
                                        </p:tgtEl>
                                        <p:attrNameLst>
                                          <p:attrName>style.visibility</p:attrName>
                                        </p:attrNameLst>
                                      </p:cBhvr>
                                      <p:to>
                                        <p:strVal val="visible"/>
                                      </p:to>
                                    </p:set>
                                    <p:animEffect transition="in" filter="fade">
                                      <p:cBhvr>
                                        <p:cTn id="133" dur="1000"/>
                                        <p:tgtEl>
                                          <p:spTgt spid="73"/>
                                        </p:tgtEl>
                                      </p:cBhvr>
                                    </p:animEffect>
                                    <p:anim calcmode="lin" valueType="num">
                                      <p:cBhvr>
                                        <p:cTn id="134" dur="1000" fill="hold"/>
                                        <p:tgtEl>
                                          <p:spTgt spid="73"/>
                                        </p:tgtEl>
                                        <p:attrNameLst>
                                          <p:attrName>ppt_x</p:attrName>
                                        </p:attrNameLst>
                                      </p:cBhvr>
                                      <p:tavLst>
                                        <p:tav tm="0">
                                          <p:val>
                                            <p:strVal val="#ppt_x"/>
                                          </p:val>
                                        </p:tav>
                                        <p:tav tm="100000">
                                          <p:val>
                                            <p:strVal val="#ppt_x"/>
                                          </p:val>
                                        </p:tav>
                                      </p:tavLst>
                                    </p:anim>
                                    <p:anim calcmode="lin" valueType="num">
                                      <p:cBhvr>
                                        <p:cTn id="135" dur="1000" fill="hold"/>
                                        <p:tgtEl>
                                          <p:spTgt spid="73"/>
                                        </p:tgtEl>
                                        <p:attrNameLst>
                                          <p:attrName>ppt_y</p:attrName>
                                        </p:attrNameLst>
                                      </p:cBhvr>
                                      <p:tavLst>
                                        <p:tav tm="0">
                                          <p:val>
                                            <p:strVal val="#ppt_y+.1"/>
                                          </p:val>
                                        </p:tav>
                                        <p:tav tm="100000">
                                          <p:val>
                                            <p:strVal val="#ppt_y"/>
                                          </p:val>
                                        </p:tav>
                                      </p:tavLst>
                                    </p:anim>
                                  </p:childTnLst>
                                </p:cTn>
                              </p:par>
                            </p:childTnLst>
                          </p:cTn>
                        </p:par>
                      </p:childTnLst>
                    </p:cTn>
                  </p:par>
                  <p:par>
                    <p:cTn id="136" fill="hold">
                      <p:stCondLst>
                        <p:cond delay="indefinite"/>
                      </p:stCondLst>
                      <p:childTnLst>
                        <p:par>
                          <p:cTn id="137" fill="hold">
                            <p:stCondLst>
                              <p:cond delay="0"/>
                            </p:stCondLst>
                            <p:childTnLst>
                              <p:par>
                                <p:cTn id="138" presetID="42" presetClass="entr" presetSubtype="0" fill="hold" grpId="0" nodeType="clickEffect">
                                  <p:stCondLst>
                                    <p:cond delay="0"/>
                                  </p:stCondLst>
                                  <p:childTnLst>
                                    <p:set>
                                      <p:cBhvr>
                                        <p:cTn id="139" dur="1" fill="hold">
                                          <p:stCondLst>
                                            <p:cond delay="0"/>
                                          </p:stCondLst>
                                        </p:cTn>
                                        <p:tgtEl>
                                          <p:spTgt spid="76"/>
                                        </p:tgtEl>
                                        <p:attrNameLst>
                                          <p:attrName>style.visibility</p:attrName>
                                        </p:attrNameLst>
                                      </p:cBhvr>
                                      <p:to>
                                        <p:strVal val="visible"/>
                                      </p:to>
                                    </p:set>
                                    <p:animEffect transition="in" filter="fade">
                                      <p:cBhvr>
                                        <p:cTn id="140" dur="1000"/>
                                        <p:tgtEl>
                                          <p:spTgt spid="76"/>
                                        </p:tgtEl>
                                      </p:cBhvr>
                                    </p:animEffect>
                                    <p:anim calcmode="lin" valueType="num">
                                      <p:cBhvr>
                                        <p:cTn id="141" dur="1000" fill="hold"/>
                                        <p:tgtEl>
                                          <p:spTgt spid="76"/>
                                        </p:tgtEl>
                                        <p:attrNameLst>
                                          <p:attrName>ppt_x</p:attrName>
                                        </p:attrNameLst>
                                      </p:cBhvr>
                                      <p:tavLst>
                                        <p:tav tm="0">
                                          <p:val>
                                            <p:strVal val="#ppt_x"/>
                                          </p:val>
                                        </p:tav>
                                        <p:tav tm="100000">
                                          <p:val>
                                            <p:strVal val="#ppt_x"/>
                                          </p:val>
                                        </p:tav>
                                      </p:tavLst>
                                    </p:anim>
                                    <p:anim calcmode="lin" valueType="num">
                                      <p:cBhvr>
                                        <p:cTn id="142" dur="1000" fill="hold"/>
                                        <p:tgtEl>
                                          <p:spTgt spid="76"/>
                                        </p:tgtEl>
                                        <p:attrNameLst>
                                          <p:attrName>ppt_y</p:attrName>
                                        </p:attrNameLst>
                                      </p:cBhvr>
                                      <p:tavLst>
                                        <p:tav tm="0">
                                          <p:val>
                                            <p:strVal val="#ppt_y+.1"/>
                                          </p:val>
                                        </p:tav>
                                        <p:tav tm="100000">
                                          <p:val>
                                            <p:strVal val="#ppt_y"/>
                                          </p:val>
                                        </p:tav>
                                      </p:tavLst>
                                    </p:anim>
                                  </p:childTnLst>
                                </p:cTn>
                              </p:par>
                            </p:childTnLst>
                          </p:cTn>
                        </p:par>
                      </p:childTnLst>
                    </p:cTn>
                  </p:par>
                  <p:par>
                    <p:cTn id="143" fill="hold">
                      <p:stCondLst>
                        <p:cond delay="indefinite"/>
                      </p:stCondLst>
                      <p:childTnLst>
                        <p:par>
                          <p:cTn id="144" fill="hold">
                            <p:stCondLst>
                              <p:cond delay="0"/>
                            </p:stCondLst>
                            <p:childTnLst>
                              <p:par>
                                <p:cTn id="145" presetID="42" presetClass="entr" presetSubtype="0" fill="hold" grpId="0" nodeType="clickEffect">
                                  <p:stCondLst>
                                    <p:cond delay="0"/>
                                  </p:stCondLst>
                                  <p:childTnLst>
                                    <p:set>
                                      <p:cBhvr>
                                        <p:cTn id="146" dur="1" fill="hold">
                                          <p:stCondLst>
                                            <p:cond delay="0"/>
                                          </p:stCondLst>
                                        </p:cTn>
                                        <p:tgtEl>
                                          <p:spTgt spid="78"/>
                                        </p:tgtEl>
                                        <p:attrNameLst>
                                          <p:attrName>style.visibility</p:attrName>
                                        </p:attrNameLst>
                                      </p:cBhvr>
                                      <p:to>
                                        <p:strVal val="visible"/>
                                      </p:to>
                                    </p:set>
                                    <p:animEffect transition="in" filter="fade">
                                      <p:cBhvr>
                                        <p:cTn id="147" dur="1000"/>
                                        <p:tgtEl>
                                          <p:spTgt spid="78"/>
                                        </p:tgtEl>
                                      </p:cBhvr>
                                    </p:animEffect>
                                    <p:anim calcmode="lin" valueType="num">
                                      <p:cBhvr>
                                        <p:cTn id="148" dur="1000" fill="hold"/>
                                        <p:tgtEl>
                                          <p:spTgt spid="78"/>
                                        </p:tgtEl>
                                        <p:attrNameLst>
                                          <p:attrName>ppt_x</p:attrName>
                                        </p:attrNameLst>
                                      </p:cBhvr>
                                      <p:tavLst>
                                        <p:tav tm="0">
                                          <p:val>
                                            <p:strVal val="#ppt_x"/>
                                          </p:val>
                                        </p:tav>
                                        <p:tav tm="100000">
                                          <p:val>
                                            <p:strVal val="#ppt_x"/>
                                          </p:val>
                                        </p:tav>
                                      </p:tavLst>
                                    </p:anim>
                                    <p:anim calcmode="lin" valueType="num">
                                      <p:cBhvr>
                                        <p:cTn id="149" dur="1000" fill="hold"/>
                                        <p:tgtEl>
                                          <p:spTgt spid="78"/>
                                        </p:tgtEl>
                                        <p:attrNameLst>
                                          <p:attrName>ppt_y</p:attrName>
                                        </p:attrNameLst>
                                      </p:cBhvr>
                                      <p:tavLst>
                                        <p:tav tm="0">
                                          <p:val>
                                            <p:strVal val="#ppt_y+.1"/>
                                          </p:val>
                                        </p:tav>
                                        <p:tav tm="100000">
                                          <p:val>
                                            <p:strVal val="#ppt_y"/>
                                          </p:val>
                                        </p:tav>
                                      </p:tavLst>
                                    </p:anim>
                                  </p:childTnLst>
                                </p:cTn>
                              </p:par>
                            </p:childTnLst>
                          </p:cTn>
                        </p:par>
                      </p:childTnLst>
                    </p:cTn>
                  </p:par>
                  <p:par>
                    <p:cTn id="150" fill="hold">
                      <p:stCondLst>
                        <p:cond delay="indefinite"/>
                      </p:stCondLst>
                      <p:childTnLst>
                        <p:par>
                          <p:cTn id="151" fill="hold">
                            <p:stCondLst>
                              <p:cond delay="0"/>
                            </p:stCondLst>
                            <p:childTnLst>
                              <p:par>
                                <p:cTn id="152" presetID="42" presetClass="entr" presetSubtype="0" fill="hold" grpId="0" nodeType="clickEffect">
                                  <p:stCondLst>
                                    <p:cond delay="0"/>
                                  </p:stCondLst>
                                  <p:childTnLst>
                                    <p:set>
                                      <p:cBhvr>
                                        <p:cTn id="153" dur="1" fill="hold">
                                          <p:stCondLst>
                                            <p:cond delay="0"/>
                                          </p:stCondLst>
                                        </p:cTn>
                                        <p:tgtEl>
                                          <p:spTgt spid="77"/>
                                        </p:tgtEl>
                                        <p:attrNameLst>
                                          <p:attrName>style.visibility</p:attrName>
                                        </p:attrNameLst>
                                      </p:cBhvr>
                                      <p:to>
                                        <p:strVal val="visible"/>
                                      </p:to>
                                    </p:set>
                                    <p:animEffect transition="in" filter="fade">
                                      <p:cBhvr>
                                        <p:cTn id="154" dur="1000"/>
                                        <p:tgtEl>
                                          <p:spTgt spid="77"/>
                                        </p:tgtEl>
                                      </p:cBhvr>
                                    </p:animEffect>
                                    <p:anim calcmode="lin" valueType="num">
                                      <p:cBhvr>
                                        <p:cTn id="155" dur="1000" fill="hold"/>
                                        <p:tgtEl>
                                          <p:spTgt spid="77"/>
                                        </p:tgtEl>
                                        <p:attrNameLst>
                                          <p:attrName>ppt_x</p:attrName>
                                        </p:attrNameLst>
                                      </p:cBhvr>
                                      <p:tavLst>
                                        <p:tav tm="0">
                                          <p:val>
                                            <p:strVal val="#ppt_x"/>
                                          </p:val>
                                        </p:tav>
                                        <p:tav tm="100000">
                                          <p:val>
                                            <p:strVal val="#ppt_x"/>
                                          </p:val>
                                        </p:tav>
                                      </p:tavLst>
                                    </p:anim>
                                    <p:anim calcmode="lin" valueType="num">
                                      <p:cBhvr>
                                        <p:cTn id="156" dur="1000" fill="hold"/>
                                        <p:tgtEl>
                                          <p:spTgt spid="77"/>
                                        </p:tgtEl>
                                        <p:attrNameLst>
                                          <p:attrName>ppt_y</p:attrName>
                                        </p:attrNameLst>
                                      </p:cBhvr>
                                      <p:tavLst>
                                        <p:tav tm="0">
                                          <p:val>
                                            <p:strVal val="#ppt_y+.1"/>
                                          </p:val>
                                        </p:tav>
                                        <p:tav tm="100000">
                                          <p:val>
                                            <p:strVal val="#ppt_y"/>
                                          </p:val>
                                        </p:tav>
                                      </p:tavLst>
                                    </p:anim>
                                  </p:childTnLst>
                                </p:cTn>
                              </p:par>
                            </p:childTnLst>
                          </p:cTn>
                        </p:par>
                      </p:childTnLst>
                    </p:cTn>
                  </p:par>
                  <p:par>
                    <p:cTn id="157" fill="hold">
                      <p:stCondLst>
                        <p:cond delay="indefinite"/>
                      </p:stCondLst>
                      <p:childTnLst>
                        <p:par>
                          <p:cTn id="158" fill="hold">
                            <p:stCondLst>
                              <p:cond delay="0"/>
                            </p:stCondLst>
                            <p:childTnLst>
                              <p:par>
                                <p:cTn id="159" presetID="47" presetClass="entr" presetSubtype="0" fill="hold" grpId="0" nodeType="clickEffect">
                                  <p:stCondLst>
                                    <p:cond delay="0"/>
                                  </p:stCondLst>
                                  <p:childTnLst>
                                    <p:set>
                                      <p:cBhvr>
                                        <p:cTn id="160" dur="1" fill="hold">
                                          <p:stCondLst>
                                            <p:cond delay="0"/>
                                          </p:stCondLst>
                                        </p:cTn>
                                        <p:tgtEl>
                                          <p:spTgt spid="79"/>
                                        </p:tgtEl>
                                        <p:attrNameLst>
                                          <p:attrName>style.visibility</p:attrName>
                                        </p:attrNameLst>
                                      </p:cBhvr>
                                      <p:to>
                                        <p:strVal val="visible"/>
                                      </p:to>
                                    </p:set>
                                    <p:animEffect transition="in" filter="fade">
                                      <p:cBhvr>
                                        <p:cTn id="161" dur="1000"/>
                                        <p:tgtEl>
                                          <p:spTgt spid="79"/>
                                        </p:tgtEl>
                                      </p:cBhvr>
                                    </p:animEffect>
                                    <p:anim calcmode="lin" valueType="num">
                                      <p:cBhvr>
                                        <p:cTn id="162" dur="1000" fill="hold"/>
                                        <p:tgtEl>
                                          <p:spTgt spid="79"/>
                                        </p:tgtEl>
                                        <p:attrNameLst>
                                          <p:attrName>ppt_x</p:attrName>
                                        </p:attrNameLst>
                                      </p:cBhvr>
                                      <p:tavLst>
                                        <p:tav tm="0">
                                          <p:val>
                                            <p:strVal val="#ppt_x"/>
                                          </p:val>
                                        </p:tav>
                                        <p:tav tm="100000">
                                          <p:val>
                                            <p:strVal val="#ppt_x"/>
                                          </p:val>
                                        </p:tav>
                                      </p:tavLst>
                                    </p:anim>
                                    <p:anim calcmode="lin" valueType="num">
                                      <p:cBhvr>
                                        <p:cTn id="163" dur="1000" fill="hold"/>
                                        <p:tgtEl>
                                          <p:spTgt spid="79"/>
                                        </p:tgtEl>
                                        <p:attrNameLst>
                                          <p:attrName>ppt_y</p:attrName>
                                        </p:attrNameLst>
                                      </p:cBhvr>
                                      <p:tavLst>
                                        <p:tav tm="0">
                                          <p:val>
                                            <p:strVal val="#ppt_y-.1"/>
                                          </p:val>
                                        </p:tav>
                                        <p:tav tm="100000">
                                          <p:val>
                                            <p:strVal val="#ppt_y"/>
                                          </p:val>
                                        </p:tav>
                                      </p:tavLst>
                                    </p:anim>
                                  </p:childTnLst>
                                </p:cTn>
                              </p:par>
                            </p:childTnLst>
                          </p:cTn>
                        </p:par>
                      </p:childTnLst>
                    </p:cTn>
                  </p:par>
                  <p:par>
                    <p:cTn id="164" fill="hold">
                      <p:stCondLst>
                        <p:cond delay="indefinite"/>
                      </p:stCondLst>
                      <p:childTnLst>
                        <p:par>
                          <p:cTn id="165" fill="hold">
                            <p:stCondLst>
                              <p:cond delay="0"/>
                            </p:stCondLst>
                            <p:childTnLst>
                              <p:par>
                                <p:cTn id="166" presetID="47" presetClass="entr" presetSubtype="0" fill="hold" grpId="0" nodeType="clickEffect">
                                  <p:stCondLst>
                                    <p:cond delay="0"/>
                                  </p:stCondLst>
                                  <p:childTnLst>
                                    <p:set>
                                      <p:cBhvr>
                                        <p:cTn id="167" dur="1" fill="hold">
                                          <p:stCondLst>
                                            <p:cond delay="0"/>
                                          </p:stCondLst>
                                        </p:cTn>
                                        <p:tgtEl>
                                          <p:spTgt spid="80"/>
                                        </p:tgtEl>
                                        <p:attrNameLst>
                                          <p:attrName>style.visibility</p:attrName>
                                        </p:attrNameLst>
                                      </p:cBhvr>
                                      <p:to>
                                        <p:strVal val="visible"/>
                                      </p:to>
                                    </p:set>
                                    <p:animEffect transition="in" filter="fade">
                                      <p:cBhvr>
                                        <p:cTn id="168" dur="1000"/>
                                        <p:tgtEl>
                                          <p:spTgt spid="80"/>
                                        </p:tgtEl>
                                      </p:cBhvr>
                                    </p:animEffect>
                                    <p:anim calcmode="lin" valueType="num">
                                      <p:cBhvr>
                                        <p:cTn id="169" dur="1000" fill="hold"/>
                                        <p:tgtEl>
                                          <p:spTgt spid="80"/>
                                        </p:tgtEl>
                                        <p:attrNameLst>
                                          <p:attrName>ppt_x</p:attrName>
                                        </p:attrNameLst>
                                      </p:cBhvr>
                                      <p:tavLst>
                                        <p:tav tm="0">
                                          <p:val>
                                            <p:strVal val="#ppt_x"/>
                                          </p:val>
                                        </p:tav>
                                        <p:tav tm="100000">
                                          <p:val>
                                            <p:strVal val="#ppt_x"/>
                                          </p:val>
                                        </p:tav>
                                      </p:tavLst>
                                    </p:anim>
                                    <p:anim calcmode="lin" valueType="num">
                                      <p:cBhvr>
                                        <p:cTn id="170" dur="1000" fill="hold"/>
                                        <p:tgtEl>
                                          <p:spTgt spid="80"/>
                                        </p:tgtEl>
                                        <p:attrNameLst>
                                          <p:attrName>ppt_y</p:attrName>
                                        </p:attrNameLst>
                                      </p:cBhvr>
                                      <p:tavLst>
                                        <p:tav tm="0">
                                          <p:val>
                                            <p:strVal val="#ppt_y-.1"/>
                                          </p:val>
                                        </p:tav>
                                        <p:tav tm="100000">
                                          <p:val>
                                            <p:strVal val="#ppt_y"/>
                                          </p:val>
                                        </p:tav>
                                      </p:tavLst>
                                    </p:anim>
                                  </p:childTnLst>
                                </p:cTn>
                              </p:par>
                            </p:childTnLst>
                          </p:cTn>
                        </p:par>
                      </p:childTnLst>
                    </p:cTn>
                  </p:par>
                  <p:par>
                    <p:cTn id="171" fill="hold">
                      <p:stCondLst>
                        <p:cond delay="indefinite"/>
                      </p:stCondLst>
                      <p:childTnLst>
                        <p:par>
                          <p:cTn id="172" fill="hold">
                            <p:stCondLst>
                              <p:cond delay="0"/>
                            </p:stCondLst>
                            <p:childTnLst>
                              <p:par>
                                <p:cTn id="173" presetID="47" presetClass="entr" presetSubtype="0" fill="hold" grpId="0" nodeType="clickEffect">
                                  <p:stCondLst>
                                    <p:cond delay="0"/>
                                  </p:stCondLst>
                                  <p:childTnLst>
                                    <p:set>
                                      <p:cBhvr>
                                        <p:cTn id="174" dur="1" fill="hold">
                                          <p:stCondLst>
                                            <p:cond delay="0"/>
                                          </p:stCondLst>
                                        </p:cTn>
                                        <p:tgtEl>
                                          <p:spTgt spid="81"/>
                                        </p:tgtEl>
                                        <p:attrNameLst>
                                          <p:attrName>style.visibility</p:attrName>
                                        </p:attrNameLst>
                                      </p:cBhvr>
                                      <p:to>
                                        <p:strVal val="visible"/>
                                      </p:to>
                                    </p:set>
                                    <p:animEffect transition="in" filter="fade">
                                      <p:cBhvr>
                                        <p:cTn id="175" dur="1000"/>
                                        <p:tgtEl>
                                          <p:spTgt spid="81"/>
                                        </p:tgtEl>
                                      </p:cBhvr>
                                    </p:animEffect>
                                    <p:anim calcmode="lin" valueType="num">
                                      <p:cBhvr>
                                        <p:cTn id="176" dur="1000" fill="hold"/>
                                        <p:tgtEl>
                                          <p:spTgt spid="81"/>
                                        </p:tgtEl>
                                        <p:attrNameLst>
                                          <p:attrName>ppt_x</p:attrName>
                                        </p:attrNameLst>
                                      </p:cBhvr>
                                      <p:tavLst>
                                        <p:tav tm="0">
                                          <p:val>
                                            <p:strVal val="#ppt_x"/>
                                          </p:val>
                                        </p:tav>
                                        <p:tav tm="100000">
                                          <p:val>
                                            <p:strVal val="#ppt_x"/>
                                          </p:val>
                                        </p:tav>
                                      </p:tavLst>
                                    </p:anim>
                                    <p:anim calcmode="lin" valueType="num">
                                      <p:cBhvr>
                                        <p:cTn id="177" dur="1000" fill="hold"/>
                                        <p:tgtEl>
                                          <p:spTgt spid="81"/>
                                        </p:tgtEl>
                                        <p:attrNameLst>
                                          <p:attrName>ppt_y</p:attrName>
                                        </p:attrNameLst>
                                      </p:cBhvr>
                                      <p:tavLst>
                                        <p:tav tm="0">
                                          <p:val>
                                            <p:strVal val="#ppt_y-.1"/>
                                          </p:val>
                                        </p:tav>
                                        <p:tav tm="100000">
                                          <p:val>
                                            <p:strVal val="#ppt_y"/>
                                          </p:val>
                                        </p:tav>
                                      </p:tavLst>
                                    </p:anim>
                                  </p:childTnLst>
                                </p:cTn>
                              </p:par>
                            </p:childTnLst>
                          </p:cTn>
                        </p:par>
                      </p:childTnLst>
                    </p:cTn>
                  </p:par>
                  <p:par>
                    <p:cTn id="178" fill="hold">
                      <p:stCondLst>
                        <p:cond delay="indefinite"/>
                      </p:stCondLst>
                      <p:childTnLst>
                        <p:par>
                          <p:cTn id="179" fill="hold">
                            <p:stCondLst>
                              <p:cond delay="0"/>
                            </p:stCondLst>
                            <p:childTnLst>
                              <p:par>
                                <p:cTn id="180" presetID="47" presetClass="entr" presetSubtype="0" fill="hold" grpId="0" nodeType="clickEffect">
                                  <p:stCondLst>
                                    <p:cond delay="0"/>
                                  </p:stCondLst>
                                  <p:childTnLst>
                                    <p:set>
                                      <p:cBhvr>
                                        <p:cTn id="181" dur="1" fill="hold">
                                          <p:stCondLst>
                                            <p:cond delay="0"/>
                                          </p:stCondLst>
                                        </p:cTn>
                                        <p:tgtEl>
                                          <p:spTgt spid="82"/>
                                        </p:tgtEl>
                                        <p:attrNameLst>
                                          <p:attrName>style.visibility</p:attrName>
                                        </p:attrNameLst>
                                      </p:cBhvr>
                                      <p:to>
                                        <p:strVal val="visible"/>
                                      </p:to>
                                    </p:set>
                                    <p:animEffect transition="in" filter="fade">
                                      <p:cBhvr>
                                        <p:cTn id="182" dur="1000"/>
                                        <p:tgtEl>
                                          <p:spTgt spid="82"/>
                                        </p:tgtEl>
                                      </p:cBhvr>
                                    </p:animEffect>
                                    <p:anim calcmode="lin" valueType="num">
                                      <p:cBhvr>
                                        <p:cTn id="183" dur="1000" fill="hold"/>
                                        <p:tgtEl>
                                          <p:spTgt spid="82"/>
                                        </p:tgtEl>
                                        <p:attrNameLst>
                                          <p:attrName>ppt_x</p:attrName>
                                        </p:attrNameLst>
                                      </p:cBhvr>
                                      <p:tavLst>
                                        <p:tav tm="0">
                                          <p:val>
                                            <p:strVal val="#ppt_x"/>
                                          </p:val>
                                        </p:tav>
                                        <p:tav tm="100000">
                                          <p:val>
                                            <p:strVal val="#ppt_x"/>
                                          </p:val>
                                        </p:tav>
                                      </p:tavLst>
                                    </p:anim>
                                    <p:anim calcmode="lin" valueType="num">
                                      <p:cBhvr>
                                        <p:cTn id="184" dur="1000" fill="hold"/>
                                        <p:tgtEl>
                                          <p:spTgt spid="82"/>
                                        </p:tgtEl>
                                        <p:attrNameLst>
                                          <p:attrName>ppt_y</p:attrName>
                                        </p:attrNameLst>
                                      </p:cBhvr>
                                      <p:tavLst>
                                        <p:tav tm="0">
                                          <p:val>
                                            <p:strVal val="#ppt_y-.1"/>
                                          </p:val>
                                        </p:tav>
                                        <p:tav tm="100000">
                                          <p:val>
                                            <p:strVal val="#ppt_y"/>
                                          </p:val>
                                        </p:tav>
                                      </p:tavLst>
                                    </p:anim>
                                  </p:childTnLst>
                                </p:cTn>
                              </p:par>
                            </p:childTnLst>
                          </p:cTn>
                        </p:par>
                      </p:childTnLst>
                    </p:cTn>
                  </p:par>
                  <p:par>
                    <p:cTn id="185" fill="hold">
                      <p:stCondLst>
                        <p:cond delay="indefinite"/>
                      </p:stCondLst>
                      <p:childTnLst>
                        <p:par>
                          <p:cTn id="186" fill="hold">
                            <p:stCondLst>
                              <p:cond delay="0"/>
                            </p:stCondLst>
                            <p:childTnLst>
                              <p:par>
                                <p:cTn id="187" presetID="47" presetClass="entr" presetSubtype="0" fill="hold" grpId="0" nodeType="clickEffect">
                                  <p:stCondLst>
                                    <p:cond delay="0"/>
                                  </p:stCondLst>
                                  <p:childTnLst>
                                    <p:set>
                                      <p:cBhvr>
                                        <p:cTn id="188" dur="1" fill="hold">
                                          <p:stCondLst>
                                            <p:cond delay="0"/>
                                          </p:stCondLst>
                                        </p:cTn>
                                        <p:tgtEl>
                                          <p:spTgt spid="83"/>
                                        </p:tgtEl>
                                        <p:attrNameLst>
                                          <p:attrName>style.visibility</p:attrName>
                                        </p:attrNameLst>
                                      </p:cBhvr>
                                      <p:to>
                                        <p:strVal val="visible"/>
                                      </p:to>
                                    </p:set>
                                    <p:animEffect transition="in" filter="fade">
                                      <p:cBhvr>
                                        <p:cTn id="189" dur="1000"/>
                                        <p:tgtEl>
                                          <p:spTgt spid="83"/>
                                        </p:tgtEl>
                                      </p:cBhvr>
                                    </p:animEffect>
                                    <p:anim calcmode="lin" valueType="num">
                                      <p:cBhvr>
                                        <p:cTn id="190" dur="1000" fill="hold"/>
                                        <p:tgtEl>
                                          <p:spTgt spid="83"/>
                                        </p:tgtEl>
                                        <p:attrNameLst>
                                          <p:attrName>ppt_x</p:attrName>
                                        </p:attrNameLst>
                                      </p:cBhvr>
                                      <p:tavLst>
                                        <p:tav tm="0">
                                          <p:val>
                                            <p:strVal val="#ppt_x"/>
                                          </p:val>
                                        </p:tav>
                                        <p:tav tm="100000">
                                          <p:val>
                                            <p:strVal val="#ppt_x"/>
                                          </p:val>
                                        </p:tav>
                                      </p:tavLst>
                                    </p:anim>
                                    <p:anim calcmode="lin" valueType="num">
                                      <p:cBhvr>
                                        <p:cTn id="191" dur="1000" fill="hold"/>
                                        <p:tgtEl>
                                          <p:spTgt spid="83"/>
                                        </p:tgtEl>
                                        <p:attrNameLst>
                                          <p:attrName>ppt_y</p:attrName>
                                        </p:attrNameLst>
                                      </p:cBhvr>
                                      <p:tavLst>
                                        <p:tav tm="0">
                                          <p:val>
                                            <p:strVal val="#ppt_y-.1"/>
                                          </p:val>
                                        </p:tav>
                                        <p:tav tm="100000">
                                          <p:val>
                                            <p:strVal val="#ppt_y"/>
                                          </p:val>
                                        </p:tav>
                                      </p:tavLst>
                                    </p:anim>
                                  </p:childTnLst>
                                </p:cTn>
                              </p:par>
                            </p:childTnLst>
                          </p:cTn>
                        </p:par>
                      </p:childTnLst>
                    </p:cTn>
                  </p:par>
                  <p:par>
                    <p:cTn id="192" fill="hold">
                      <p:stCondLst>
                        <p:cond delay="indefinite"/>
                      </p:stCondLst>
                      <p:childTnLst>
                        <p:par>
                          <p:cTn id="193" fill="hold">
                            <p:stCondLst>
                              <p:cond delay="0"/>
                            </p:stCondLst>
                            <p:childTnLst>
                              <p:par>
                                <p:cTn id="194" presetID="21" presetClass="entr" presetSubtype="1" fill="hold" nodeType="clickEffect">
                                  <p:stCondLst>
                                    <p:cond delay="0"/>
                                  </p:stCondLst>
                                  <p:childTnLst>
                                    <p:set>
                                      <p:cBhvr>
                                        <p:cTn id="195" dur="1" fill="hold">
                                          <p:stCondLst>
                                            <p:cond delay="0"/>
                                          </p:stCondLst>
                                        </p:cTn>
                                        <p:tgtEl>
                                          <p:spTgt spid="91"/>
                                        </p:tgtEl>
                                        <p:attrNameLst>
                                          <p:attrName>style.visibility</p:attrName>
                                        </p:attrNameLst>
                                      </p:cBhvr>
                                      <p:to>
                                        <p:strVal val="visible"/>
                                      </p:to>
                                    </p:set>
                                    <p:animEffect transition="in" filter="wheel(1)">
                                      <p:cBhvr>
                                        <p:cTn id="196" dur="2000"/>
                                        <p:tgtEl>
                                          <p:spTgt spid="91"/>
                                        </p:tgtEl>
                                      </p:cBhvr>
                                    </p:animEffect>
                                  </p:childTnLst>
                                </p:cTn>
                              </p:par>
                              <p:par>
                                <p:cTn id="197" presetID="21" presetClass="entr" presetSubtype="1" fill="hold" nodeType="withEffect">
                                  <p:stCondLst>
                                    <p:cond delay="0"/>
                                  </p:stCondLst>
                                  <p:childTnLst>
                                    <p:set>
                                      <p:cBhvr>
                                        <p:cTn id="198" dur="1" fill="hold">
                                          <p:stCondLst>
                                            <p:cond delay="0"/>
                                          </p:stCondLst>
                                        </p:cTn>
                                        <p:tgtEl>
                                          <p:spTgt spid="93"/>
                                        </p:tgtEl>
                                        <p:attrNameLst>
                                          <p:attrName>style.visibility</p:attrName>
                                        </p:attrNameLst>
                                      </p:cBhvr>
                                      <p:to>
                                        <p:strVal val="visible"/>
                                      </p:to>
                                    </p:set>
                                    <p:animEffect transition="in" filter="wheel(1)">
                                      <p:cBhvr>
                                        <p:cTn id="199" dur="2000"/>
                                        <p:tgtEl>
                                          <p:spTgt spid="93"/>
                                        </p:tgtEl>
                                      </p:cBhvr>
                                    </p:animEffect>
                                  </p:childTnLst>
                                </p:cTn>
                              </p:par>
                              <p:par>
                                <p:cTn id="200" presetID="21" presetClass="entr" presetSubtype="1" fill="hold" nodeType="withEffect">
                                  <p:stCondLst>
                                    <p:cond delay="0"/>
                                  </p:stCondLst>
                                  <p:childTnLst>
                                    <p:set>
                                      <p:cBhvr>
                                        <p:cTn id="201" dur="1" fill="hold">
                                          <p:stCondLst>
                                            <p:cond delay="0"/>
                                          </p:stCondLst>
                                        </p:cTn>
                                        <p:tgtEl>
                                          <p:spTgt spid="92"/>
                                        </p:tgtEl>
                                        <p:attrNameLst>
                                          <p:attrName>style.visibility</p:attrName>
                                        </p:attrNameLst>
                                      </p:cBhvr>
                                      <p:to>
                                        <p:strVal val="visible"/>
                                      </p:to>
                                    </p:set>
                                    <p:animEffect transition="in" filter="wheel(1)">
                                      <p:cBhvr>
                                        <p:cTn id="202" dur="2000"/>
                                        <p:tgtEl>
                                          <p:spTgt spid="92"/>
                                        </p:tgtEl>
                                      </p:cBhvr>
                                    </p:animEffect>
                                  </p:childTnLst>
                                </p:cTn>
                              </p:par>
                              <p:par>
                                <p:cTn id="203" presetID="21" presetClass="entr" presetSubtype="1" fill="hold" nodeType="withEffect">
                                  <p:stCondLst>
                                    <p:cond delay="0"/>
                                  </p:stCondLst>
                                  <p:childTnLst>
                                    <p:set>
                                      <p:cBhvr>
                                        <p:cTn id="204" dur="1" fill="hold">
                                          <p:stCondLst>
                                            <p:cond delay="0"/>
                                          </p:stCondLst>
                                        </p:cTn>
                                        <p:tgtEl>
                                          <p:spTgt spid="89"/>
                                        </p:tgtEl>
                                        <p:attrNameLst>
                                          <p:attrName>style.visibility</p:attrName>
                                        </p:attrNameLst>
                                      </p:cBhvr>
                                      <p:to>
                                        <p:strVal val="visible"/>
                                      </p:to>
                                    </p:set>
                                    <p:animEffect transition="in" filter="wheel(1)">
                                      <p:cBhvr>
                                        <p:cTn id="205" dur="2000"/>
                                        <p:tgtEl>
                                          <p:spTgt spid="89"/>
                                        </p:tgtEl>
                                      </p:cBhvr>
                                    </p:animEffect>
                                  </p:childTnLst>
                                </p:cTn>
                              </p:par>
                              <p:par>
                                <p:cTn id="206" presetID="21" presetClass="entr" presetSubtype="1" fill="hold" nodeType="withEffect">
                                  <p:stCondLst>
                                    <p:cond delay="0"/>
                                  </p:stCondLst>
                                  <p:childTnLst>
                                    <p:set>
                                      <p:cBhvr>
                                        <p:cTn id="207" dur="1" fill="hold">
                                          <p:stCondLst>
                                            <p:cond delay="0"/>
                                          </p:stCondLst>
                                        </p:cTn>
                                        <p:tgtEl>
                                          <p:spTgt spid="88"/>
                                        </p:tgtEl>
                                        <p:attrNameLst>
                                          <p:attrName>style.visibility</p:attrName>
                                        </p:attrNameLst>
                                      </p:cBhvr>
                                      <p:to>
                                        <p:strVal val="visible"/>
                                      </p:to>
                                    </p:set>
                                    <p:animEffect transition="in" filter="wheel(1)">
                                      <p:cBhvr>
                                        <p:cTn id="208" dur="2000"/>
                                        <p:tgtEl>
                                          <p:spTgt spid="88"/>
                                        </p:tgtEl>
                                      </p:cBhvr>
                                    </p:animEffect>
                                  </p:childTnLst>
                                </p:cTn>
                              </p:par>
                            </p:childTnLst>
                          </p:cTn>
                        </p:par>
                      </p:childTnLst>
                    </p:cTn>
                  </p:par>
                  <p:par>
                    <p:cTn id="209" fill="hold">
                      <p:stCondLst>
                        <p:cond delay="indefinite"/>
                      </p:stCondLst>
                      <p:childTnLst>
                        <p:par>
                          <p:cTn id="210" fill="hold">
                            <p:stCondLst>
                              <p:cond delay="0"/>
                            </p:stCondLst>
                            <p:childTnLst>
                              <p:par>
                                <p:cTn id="211" presetID="21" presetClass="entr" presetSubtype="1" fill="hold" nodeType="clickEffect">
                                  <p:stCondLst>
                                    <p:cond delay="0"/>
                                  </p:stCondLst>
                                  <p:childTnLst>
                                    <p:set>
                                      <p:cBhvr>
                                        <p:cTn id="212" dur="1" fill="hold">
                                          <p:stCondLst>
                                            <p:cond delay="0"/>
                                          </p:stCondLst>
                                        </p:cTn>
                                        <p:tgtEl>
                                          <p:spTgt spid="94"/>
                                        </p:tgtEl>
                                        <p:attrNameLst>
                                          <p:attrName>style.visibility</p:attrName>
                                        </p:attrNameLst>
                                      </p:cBhvr>
                                      <p:to>
                                        <p:strVal val="visible"/>
                                      </p:to>
                                    </p:set>
                                    <p:animEffect transition="in" filter="wheel(1)">
                                      <p:cBhvr>
                                        <p:cTn id="213" dur="2000"/>
                                        <p:tgtEl>
                                          <p:spTgt spid="94"/>
                                        </p:tgtEl>
                                      </p:cBhvr>
                                    </p:animEffect>
                                  </p:childTnLst>
                                </p:cTn>
                              </p:par>
                              <p:par>
                                <p:cTn id="214" presetID="21" presetClass="entr" presetSubtype="1" fill="hold" nodeType="withEffect">
                                  <p:stCondLst>
                                    <p:cond delay="0"/>
                                  </p:stCondLst>
                                  <p:childTnLst>
                                    <p:set>
                                      <p:cBhvr>
                                        <p:cTn id="215" dur="1" fill="hold">
                                          <p:stCondLst>
                                            <p:cond delay="0"/>
                                          </p:stCondLst>
                                        </p:cTn>
                                        <p:tgtEl>
                                          <p:spTgt spid="96"/>
                                        </p:tgtEl>
                                        <p:attrNameLst>
                                          <p:attrName>style.visibility</p:attrName>
                                        </p:attrNameLst>
                                      </p:cBhvr>
                                      <p:to>
                                        <p:strVal val="visible"/>
                                      </p:to>
                                    </p:set>
                                    <p:animEffect transition="in" filter="wheel(1)">
                                      <p:cBhvr>
                                        <p:cTn id="216" dur="2000"/>
                                        <p:tgtEl>
                                          <p:spTgt spid="96"/>
                                        </p:tgtEl>
                                      </p:cBhvr>
                                    </p:animEffect>
                                  </p:childTnLst>
                                </p:cTn>
                              </p:par>
                            </p:childTnLst>
                          </p:cTn>
                        </p:par>
                      </p:childTnLst>
                    </p:cTn>
                  </p:par>
                  <p:par>
                    <p:cTn id="217" fill="hold">
                      <p:stCondLst>
                        <p:cond delay="indefinite"/>
                      </p:stCondLst>
                      <p:childTnLst>
                        <p:par>
                          <p:cTn id="218" fill="hold">
                            <p:stCondLst>
                              <p:cond delay="0"/>
                            </p:stCondLst>
                            <p:childTnLst>
                              <p:par>
                                <p:cTn id="219" presetID="21" presetClass="entr" presetSubtype="1" fill="hold" nodeType="clickEffect">
                                  <p:stCondLst>
                                    <p:cond delay="0"/>
                                  </p:stCondLst>
                                  <p:childTnLst>
                                    <p:set>
                                      <p:cBhvr>
                                        <p:cTn id="220" dur="1" fill="hold">
                                          <p:stCondLst>
                                            <p:cond delay="0"/>
                                          </p:stCondLst>
                                        </p:cTn>
                                        <p:tgtEl>
                                          <p:spTgt spid="90"/>
                                        </p:tgtEl>
                                        <p:attrNameLst>
                                          <p:attrName>style.visibility</p:attrName>
                                        </p:attrNameLst>
                                      </p:cBhvr>
                                      <p:to>
                                        <p:strVal val="visible"/>
                                      </p:to>
                                    </p:set>
                                    <p:animEffect transition="in" filter="wheel(1)">
                                      <p:cBhvr>
                                        <p:cTn id="221" dur="2000"/>
                                        <p:tgtEl>
                                          <p:spTgt spid="90"/>
                                        </p:tgtEl>
                                      </p:cBhvr>
                                    </p:animEffect>
                                  </p:childTnLst>
                                </p:cTn>
                              </p:par>
                              <p:par>
                                <p:cTn id="222" presetID="21" presetClass="entr" presetSubtype="1" fill="hold" nodeType="withEffect">
                                  <p:stCondLst>
                                    <p:cond delay="0"/>
                                  </p:stCondLst>
                                  <p:childTnLst>
                                    <p:set>
                                      <p:cBhvr>
                                        <p:cTn id="223" dur="1" fill="hold">
                                          <p:stCondLst>
                                            <p:cond delay="0"/>
                                          </p:stCondLst>
                                        </p:cTn>
                                        <p:tgtEl>
                                          <p:spTgt spid="95"/>
                                        </p:tgtEl>
                                        <p:attrNameLst>
                                          <p:attrName>style.visibility</p:attrName>
                                        </p:attrNameLst>
                                      </p:cBhvr>
                                      <p:to>
                                        <p:strVal val="visible"/>
                                      </p:to>
                                    </p:set>
                                    <p:animEffect transition="in" filter="wheel(1)">
                                      <p:cBhvr>
                                        <p:cTn id="224" dur="2000"/>
                                        <p:tgtEl>
                                          <p:spTgt spid="95"/>
                                        </p:tgtEl>
                                      </p:cBhvr>
                                    </p:animEffect>
                                  </p:childTnLst>
                                </p:cTn>
                              </p:par>
                              <p:par>
                                <p:cTn id="225" presetID="21" presetClass="entr" presetSubtype="1" fill="hold" nodeType="withEffect">
                                  <p:stCondLst>
                                    <p:cond delay="0"/>
                                  </p:stCondLst>
                                  <p:childTnLst>
                                    <p:set>
                                      <p:cBhvr>
                                        <p:cTn id="226" dur="1" fill="hold">
                                          <p:stCondLst>
                                            <p:cond delay="0"/>
                                          </p:stCondLst>
                                        </p:cTn>
                                        <p:tgtEl>
                                          <p:spTgt spid="98"/>
                                        </p:tgtEl>
                                        <p:attrNameLst>
                                          <p:attrName>style.visibility</p:attrName>
                                        </p:attrNameLst>
                                      </p:cBhvr>
                                      <p:to>
                                        <p:strVal val="visible"/>
                                      </p:to>
                                    </p:set>
                                    <p:animEffect transition="in" filter="wheel(1)">
                                      <p:cBhvr>
                                        <p:cTn id="227" dur="2000"/>
                                        <p:tgtEl>
                                          <p:spTgt spid="98"/>
                                        </p:tgtEl>
                                      </p:cBhvr>
                                    </p:animEffect>
                                  </p:childTnLst>
                                </p:cTn>
                              </p:par>
                              <p:par>
                                <p:cTn id="228" presetID="21" presetClass="entr" presetSubtype="1" fill="hold" nodeType="withEffect">
                                  <p:stCondLst>
                                    <p:cond delay="0"/>
                                  </p:stCondLst>
                                  <p:childTnLst>
                                    <p:set>
                                      <p:cBhvr>
                                        <p:cTn id="229" dur="1" fill="hold">
                                          <p:stCondLst>
                                            <p:cond delay="0"/>
                                          </p:stCondLst>
                                        </p:cTn>
                                        <p:tgtEl>
                                          <p:spTgt spid="97"/>
                                        </p:tgtEl>
                                        <p:attrNameLst>
                                          <p:attrName>style.visibility</p:attrName>
                                        </p:attrNameLst>
                                      </p:cBhvr>
                                      <p:to>
                                        <p:strVal val="visible"/>
                                      </p:to>
                                    </p:set>
                                    <p:animEffect transition="in" filter="wheel(1)">
                                      <p:cBhvr>
                                        <p:cTn id="230" dur="2000"/>
                                        <p:tgtEl>
                                          <p:spTgt spid="97"/>
                                        </p:tgtEl>
                                      </p:cBhvr>
                                    </p:animEffect>
                                  </p:childTnLst>
                                </p:cTn>
                              </p:par>
                              <p:par>
                                <p:cTn id="231" presetID="21" presetClass="entr" presetSubtype="1" fill="hold" nodeType="withEffect">
                                  <p:stCondLst>
                                    <p:cond delay="0"/>
                                  </p:stCondLst>
                                  <p:childTnLst>
                                    <p:set>
                                      <p:cBhvr>
                                        <p:cTn id="232" dur="1" fill="hold">
                                          <p:stCondLst>
                                            <p:cond delay="0"/>
                                          </p:stCondLst>
                                        </p:cTn>
                                        <p:tgtEl>
                                          <p:spTgt spid="99"/>
                                        </p:tgtEl>
                                        <p:attrNameLst>
                                          <p:attrName>style.visibility</p:attrName>
                                        </p:attrNameLst>
                                      </p:cBhvr>
                                      <p:to>
                                        <p:strVal val="visible"/>
                                      </p:to>
                                    </p:set>
                                    <p:animEffect transition="in" filter="wheel(1)">
                                      <p:cBhvr>
                                        <p:cTn id="233" dur="2000"/>
                                        <p:tgtEl>
                                          <p:spTgt spid="99"/>
                                        </p:tgtEl>
                                      </p:cBhvr>
                                    </p:animEffect>
                                  </p:childTnLst>
                                </p:cTn>
                              </p:par>
                            </p:childTnLst>
                          </p:cTn>
                        </p:par>
                      </p:childTnLst>
                    </p:cTn>
                  </p:par>
                  <p:par>
                    <p:cTn id="234" fill="hold">
                      <p:stCondLst>
                        <p:cond delay="indefinite"/>
                      </p:stCondLst>
                      <p:childTnLst>
                        <p:par>
                          <p:cTn id="235" fill="hold">
                            <p:stCondLst>
                              <p:cond delay="0"/>
                            </p:stCondLst>
                            <p:childTnLst>
                              <p:par>
                                <p:cTn id="236" presetID="16" presetClass="entr" presetSubtype="21" fill="hold" nodeType="clickEffect">
                                  <p:stCondLst>
                                    <p:cond delay="0"/>
                                  </p:stCondLst>
                                  <p:childTnLst>
                                    <p:set>
                                      <p:cBhvr>
                                        <p:cTn id="237" dur="1" fill="hold">
                                          <p:stCondLst>
                                            <p:cond delay="0"/>
                                          </p:stCondLst>
                                        </p:cTn>
                                        <p:tgtEl>
                                          <p:spTgt spid="87"/>
                                        </p:tgtEl>
                                        <p:attrNameLst>
                                          <p:attrName>style.visibility</p:attrName>
                                        </p:attrNameLst>
                                      </p:cBhvr>
                                      <p:to>
                                        <p:strVal val="visible"/>
                                      </p:to>
                                    </p:set>
                                    <p:animEffect transition="in" filter="barn(inVertical)">
                                      <p:cBhvr>
                                        <p:cTn id="238" dur="750"/>
                                        <p:tgtEl>
                                          <p:spTgt spid="87"/>
                                        </p:tgtEl>
                                      </p:cBhvr>
                                    </p:animEffect>
                                  </p:childTnLst>
                                </p:cTn>
                              </p:par>
                            </p:childTnLst>
                          </p:cTn>
                        </p:par>
                      </p:childTnLst>
                    </p:cTn>
                  </p:par>
                  <p:par>
                    <p:cTn id="239" fill="hold">
                      <p:stCondLst>
                        <p:cond delay="indefinite"/>
                      </p:stCondLst>
                      <p:childTnLst>
                        <p:par>
                          <p:cTn id="240" fill="hold">
                            <p:stCondLst>
                              <p:cond delay="0"/>
                            </p:stCondLst>
                            <p:childTnLst>
                              <p:par>
                                <p:cTn id="241" presetID="16" presetClass="entr" presetSubtype="21" fill="hold" nodeType="clickEffect">
                                  <p:stCondLst>
                                    <p:cond delay="0"/>
                                  </p:stCondLst>
                                  <p:childTnLst>
                                    <p:set>
                                      <p:cBhvr>
                                        <p:cTn id="242" dur="1" fill="hold">
                                          <p:stCondLst>
                                            <p:cond delay="0"/>
                                          </p:stCondLst>
                                        </p:cTn>
                                        <p:tgtEl>
                                          <p:spTgt spid="86"/>
                                        </p:tgtEl>
                                        <p:attrNameLst>
                                          <p:attrName>style.visibility</p:attrName>
                                        </p:attrNameLst>
                                      </p:cBhvr>
                                      <p:to>
                                        <p:strVal val="visible"/>
                                      </p:to>
                                    </p:set>
                                    <p:animEffect transition="in" filter="barn(inVertical)">
                                      <p:cBhvr>
                                        <p:cTn id="243" dur="500"/>
                                        <p:tgtEl>
                                          <p:spTgt spid="86"/>
                                        </p:tgtEl>
                                      </p:cBhvr>
                                    </p:animEffect>
                                  </p:childTnLst>
                                </p:cTn>
                              </p:par>
                              <p:par>
                                <p:cTn id="244" presetID="16" presetClass="entr" presetSubtype="21" fill="hold" nodeType="withEffect">
                                  <p:stCondLst>
                                    <p:cond delay="0"/>
                                  </p:stCondLst>
                                  <p:childTnLst>
                                    <p:set>
                                      <p:cBhvr>
                                        <p:cTn id="245" dur="1" fill="hold">
                                          <p:stCondLst>
                                            <p:cond delay="0"/>
                                          </p:stCondLst>
                                        </p:cTn>
                                        <p:tgtEl>
                                          <p:spTgt spid="85"/>
                                        </p:tgtEl>
                                        <p:attrNameLst>
                                          <p:attrName>style.visibility</p:attrName>
                                        </p:attrNameLst>
                                      </p:cBhvr>
                                      <p:to>
                                        <p:strVal val="visible"/>
                                      </p:to>
                                    </p:set>
                                    <p:animEffect transition="in" filter="barn(inVertical)">
                                      <p:cBhvr>
                                        <p:cTn id="246" dur="500"/>
                                        <p:tgtEl>
                                          <p:spTgt spid="8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0" grpId="0"/>
      <p:bldP spid="63" grpId="0"/>
      <p:bldP spid="64" grpId="0"/>
      <p:bldP spid="65" grpId="0"/>
      <p:bldP spid="66" grpId="0"/>
      <p:bldP spid="69" grpId="0"/>
      <p:bldP spid="72" grpId="0"/>
      <p:bldP spid="73" grpId="0"/>
      <p:bldP spid="74" grpId="0" animBg="1"/>
      <p:bldP spid="75" grpId="0" animBg="1"/>
      <p:bldP spid="76" grpId="0"/>
      <p:bldP spid="77" grpId="0"/>
      <p:bldP spid="78" grpId="0"/>
      <p:bldP spid="79" grpId="0"/>
      <p:bldP spid="80" grpId="0"/>
      <p:bldP spid="81" grpId="0"/>
      <p:bldP spid="82" grpId="0"/>
      <p:bldP spid="83"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8">
            <a:extLst>
              <a:ext uri="{FF2B5EF4-FFF2-40B4-BE49-F238E27FC236}">
                <a16:creationId xmlns:a16="http://schemas.microsoft.com/office/drawing/2014/main" id="{4FC96E28-7A91-94DB-3A3B-1060CE990F61}"/>
              </a:ext>
            </a:extLst>
          </p:cNvPr>
          <p:cNvSpPr/>
          <p:nvPr/>
        </p:nvSpPr>
        <p:spPr>
          <a:xfrm>
            <a:off x="2658889" y="600759"/>
            <a:ext cx="6951315" cy="712893"/>
          </a:xfrm>
          <a:prstGeom prst="rect">
            <a:avLst/>
          </a:prstGeom>
          <a:solidFill>
            <a:srgbClr val="7030A0"/>
          </a:solidFill>
          <a:ln w="25400" cap="flat" cmpd="sng" algn="ctr">
            <a:noFill/>
            <a:prstDash val="solid"/>
          </a:ln>
          <a:effectLst/>
        </p:spPr>
        <p:txBody>
          <a:bodyPr rot="0" spcFirstLastPara="0" vertOverflow="overflow" horzOverflow="overflow" vert="horz" wrap="square" lIns="91441" tIns="45720" rIns="91441" bIns="45720" numCol="1" spcCol="0" rtlCol="0" fromWordArt="0" anchor="ctr" anchorCtr="0" forceAA="0" compatLnSpc="1">
            <a:prstTxWarp prst="textNoShape">
              <a:avLst/>
            </a:prstTxWarp>
            <a:noAutofit/>
          </a:bodyPr>
          <a:lstStyle/>
          <a:p>
            <a:pPr marL="0" marR="0" lvl="0" indent="0" algn="ctr" defTabSz="913836" eaLnBrk="1" fontAlgn="auto" latinLnBrk="1" hangingPunct="1">
              <a:lnSpc>
                <a:spcPct val="100000"/>
              </a:lnSpc>
              <a:spcBef>
                <a:spcPts val="0"/>
              </a:spcBef>
              <a:spcAft>
                <a:spcPts val="0"/>
              </a:spcAft>
              <a:buClrTx/>
              <a:buSzTx/>
              <a:buFontTx/>
              <a:buNone/>
              <a:tabLst/>
              <a:defRPr/>
            </a:pPr>
            <a:r>
              <a:rPr kumimoji="0" lang="ar-SA" altLang="ko-KR" sz="4000" b="1" i="0" u="none" strike="noStrike" kern="0" cap="none" spc="0" normalizeH="0" baseline="0" noProof="0" dirty="0">
                <a:ln>
                  <a:noFill/>
                </a:ln>
                <a:solidFill>
                  <a:prstClr val="white"/>
                </a:solidFill>
                <a:effectLst/>
                <a:uLnTx/>
                <a:uFillTx/>
                <a:latin typeface="Sakkal Majalla" panose="02000000000000000000" pitchFamily="2" charset="-78"/>
                <a:cs typeface="Sakkal Majalla" panose="02000000000000000000" pitchFamily="2" charset="-78"/>
              </a:rPr>
              <a:t>هيئة تقويم التعليم والتدريب</a:t>
            </a:r>
            <a:endParaRPr kumimoji="0" lang="ko-KR" altLang="en-US" sz="4000" b="1" i="0" u="none" strike="noStrike" kern="0" cap="none" spc="0" normalizeH="0" baseline="0" noProof="0" dirty="0">
              <a:ln>
                <a:noFill/>
              </a:ln>
              <a:solidFill>
                <a:prstClr val="white"/>
              </a:solidFill>
              <a:effectLst/>
              <a:uLnTx/>
              <a:uFillTx/>
              <a:latin typeface="Sakkal Majalla" panose="02000000000000000000" pitchFamily="2" charset="-78"/>
              <a:cs typeface="Sakkal Majalla" panose="02000000000000000000" pitchFamily="2" charset="-78"/>
            </a:endParaRPr>
          </a:p>
        </p:txBody>
      </p:sp>
      <p:pic>
        <p:nvPicPr>
          <p:cNvPr id="3" name="صورة 2">
            <a:extLst>
              <a:ext uri="{FF2B5EF4-FFF2-40B4-BE49-F238E27FC236}">
                <a16:creationId xmlns:a16="http://schemas.microsoft.com/office/drawing/2014/main" id="{F9FB4CF3-4AA9-FEB5-B6ED-CE943D47EDEB}"/>
              </a:ext>
            </a:extLst>
          </p:cNvPr>
          <p:cNvPicPr>
            <a:picLocks noChangeAspect="1"/>
          </p:cNvPicPr>
          <p:nvPr/>
        </p:nvPicPr>
        <p:blipFill rotWithShape="1">
          <a:blip r:embed="rId2"/>
          <a:srcRect l="4769" t="16659" r="10985" b="22258"/>
          <a:stretch/>
        </p:blipFill>
        <p:spPr>
          <a:xfrm>
            <a:off x="4330151" y="1372890"/>
            <a:ext cx="3816424" cy="1753732"/>
          </a:xfrm>
          <a:prstGeom prst="rect">
            <a:avLst/>
          </a:prstGeom>
        </p:spPr>
      </p:pic>
      <p:sp>
        <p:nvSpPr>
          <p:cNvPr id="4" name="Rectangle 24">
            <a:extLst>
              <a:ext uri="{FF2B5EF4-FFF2-40B4-BE49-F238E27FC236}">
                <a16:creationId xmlns:a16="http://schemas.microsoft.com/office/drawing/2014/main" id="{7745404F-CBCB-E93C-F95A-ED81049673DD}"/>
              </a:ext>
            </a:extLst>
          </p:cNvPr>
          <p:cNvSpPr/>
          <p:nvPr/>
        </p:nvSpPr>
        <p:spPr>
          <a:xfrm>
            <a:off x="2620342" y="3126622"/>
            <a:ext cx="6951315" cy="372446"/>
          </a:xfrm>
          <a:prstGeom prst="rect">
            <a:avLst/>
          </a:prstGeom>
          <a:solidFill>
            <a:srgbClr val="F2A40D"/>
          </a:solidFill>
          <a:ln w="25400" cap="flat" cmpd="sng" algn="ctr">
            <a:noFill/>
            <a:prstDash val="solid"/>
          </a:ln>
          <a:effectLst/>
        </p:spPr>
        <p:txBody>
          <a:bodyPr rot="0" spcFirstLastPara="0" vertOverflow="overflow" horzOverflow="overflow" vert="horz" wrap="square" lIns="91441" tIns="45720" rIns="91441" bIns="45720" numCol="1" spcCol="0" rtlCol="0" fromWordArt="0" anchor="ctr" anchorCtr="0" forceAA="0" compatLnSpc="1">
            <a:prstTxWarp prst="textNoShape">
              <a:avLst/>
            </a:prstTxWarp>
            <a:noAutofit/>
          </a:bodyPr>
          <a:lstStyle/>
          <a:p>
            <a:pPr marL="0" marR="0" lvl="0" indent="0" algn="ctr" defTabSz="913836" rtl="0" eaLnBrk="1" fontAlgn="auto" latinLnBrk="1" hangingPunct="1">
              <a:lnSpc>
                <a:spcPct val="100000"/>
              </a:lnSpc>
              <a:spcBef>
                <a:spcPts val="0"/>
              </a:spcBef>
              <a:spcAft>
                <a:spcPts val="0"/>
              </a:spcAft>
              <a:buClrTx/>
              <a:buSzTx/>
              <a:buFontTx/>
              <a:buNone/>
              <a:tabLst/>
              <a:defRPr/>
            </a:pPr>
            <a:endParaRPr kumimoji="0" lang="ko-KR" altLang="en-US" sz="1815" b="0" i="0" u="none" strike="noStrike" kern="0" cap="none" spc="0" normalizeH="0" baseline="0" noProof="0">
              <a:ln>
                <a:noFill/>
              </a:ln>
              <a:solidFill>
                <a:prstClr val="black">
                  <a:lumMod val="75000"/>
                  <a:lumOff val="25000"/>
                </a:prstClr>
              </a:solidFill>
              <a:effectLst/>
              <a:uLnTx/>
              <a:uFillTx/>
              <a:latin typeface="Arial"/>
              <a:cs typeface="+mn-cs"/>
            </a:endParaRPr>
          </a:p>
        </p:txBody>
      </p:sp>
      <p:sp>
        <p:nvSpPr>
          <p:cNvPr id="5" name="TextBox 23">
            <a:extLst>
              <a:ext uri="{FF2B5EF4-FFF2-40B4-BE49-F238E27FC236}">
                <a16:creationId xmlns:a16="http://schemas.microsoft.com/office/drawing/2014/main" id="{19DD6BC4-7690-E5E4-A332-079ADD207770}"/>
              </a:ext>
            </a:extLst>
          </p:cNvPr>
          <p:cNvSpPr txBox="1"/>
          <p:nvPr/>
        </p:nvSpPr>
        <p:spPr>
          <a:xfrm>
            <a:off x="2620342" y="3527541"/>
            <a:ext cx="6951315" cy="1815882"/>
          </a:xfrm>
          <a:prstGeom prst="rect">
            <a:avLst/>
          </a:prstGeom>
          <a:noFill/>
        </p:spPr>
        <p:txBody>
          <a:bodyPr wrap="square" rtlCol="0">
            <a:spAutoFit/>
          </a:bodyPr>
          <a:lstStyle/>
          <a:p>
            <a:pPr algn="justLow" defTabSz="913836" latinLnBrk="1"/>
            <a:r>
              <a:rPr lang="ar-SA" altLang="ko-KR" sz="2800" dirty="0">
                <a:solidFill>
                  <a:prstClr val="black">
                    <a:lumMod val="75000"/>
                    <a:lumOff val="25000"/>
                  </a:prstClr>
                </a:solidFill>
                <a:latin typeface="Sakkal Majalla" panose="02000000000000000000" pitchFamily="2" charset="-78"/>
                <a:cs typeface="Sakkal Majalla" panose="02000000000000000000" pitchFamily="2" charset="-78"/>
              </a:rPr>
              <a:t>تعمل مع وزارة التعليم وكافة الجهات الوطنية ذات العلاقة لضمان وضبط جودة مؤسسات وبرامج التعليم والتدريب في المملكة العربية السعودية لرفع جودة مخرجاتها ومواءمتها مع سوق العمل  وبما يسهم في تحقيق رؤية المملكة </a:t>
            </a:r>
            <a:r>
              <a:rPr lang="en-US" altLang="ko-KR" sz="2800" dirty="0">
                <a:solidFill>
                  <a:prstClr val="black">
                    <a:lumMod val="75000"/>
                    <a:lumOff val="25000"/>
                  </a:prstClr>
                </a:solidFill>
                <a:latin typeface="Sakkal Majalla" panose="02000000000000000000" pitchFamily="2" charset="-78"/>
                <a:cs typeface="Sakkal Majalla" panose="02000000000000000000" pitchFamily="2" charset="-78"/>
              </a:rPr>
              <a:t>2030</a:t>
            </a:r>
            <a:r>
              <a:rPr lang="ar-SA" altLang="ko-KR" sz="2800" dirty="0">
                <a:solidFill>
                  <a:prstClr val="black">
                    <a:lumMod val="75000"/>
                    <a:lumOff val="25000"/>
                  </a:prstClr>
                </a:solidFill>
                <a:latin typeface="Sakkal Majalla" panose="02000000000000000000" pitchFamily="2" charset="-78"/>
                <a:cs typeface="Sakkal Majalla" panose="02000000000000000000" pitchFamily="2" charset="-78"/>
              </a:rPr>
              <a:t>  وبرنامج تنمية القدرات البشرية.</a:t>
            </a:r>
            <a:endParaRPr lang="ko-KR" altLang="en-US" sz="2800" dirty="0">
              <a:solidFill>
                <a:prstClr val="black">
                  <a:lumMod val="75000"/>
                  <a:lumOff val="25000"/>
                </a:prstClr>
              </a:solidFill>
              <a:latin typeface="Sakkal Majalla" panose="02000000000000000000" pitchFamily="2" charset="-78"/>
              <a:cs typeface="Sakkal Majalla" panose="02000000000000000000" pitchFamily="2" charset="-78"/>
            </a:endParaRPr>
          </a:p>
        </p:txBody>
      </p:sp>
    </p:spTree>
    <p:extLst>
      <p:ext uri="{BB962C8B-B14F-4D97-AF65-F5344CB8AC3E}">
        <p14:creationId xmlns:p14="http://schemas.microsoft.com/office/powerpoint/2010/main" val="8966045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arn(inVertical)">
                                      <p:cBhvr>
                                        <p:cTn id="7" dur="125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barn(inVertical)">
                                      <p:cBhvr>
                                        <p:cTn id="12" dur="75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16" presetClass="entr" presetSubtype="21" fill="hold" grpId="0" nodeType="click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barn(inVertical)">
                                      <p:cBhvr>
                                        <p:cTn id="17" dur="1250"/>
                                        <p:tgtEl>
                                          <p:spTgt spid="4"/>
                                        </p:tgtEl>
                                      </p:cBhvr>
                                    </p:animEffect>
                                  </p:childTnLst>
                                </p:cTn>
                              </p:par>
                            </p:childTnLst>
                          </p:cTn>
                        </p:par>
                      </p:childTnLst>
                    </p:cTn>
                  </p:par>
                  <p:par>
                    <p:cTn id="18" fill="hold">
                      <p:stCondLst>
                        <p:cond delay="indefinite"/>
                      </p:stCondLst>
                      <p:childTnLst>
                        <p:par>
                          <p:cTn id="19" fill="hold">
                            <p:stCondLst>
                              <p:cond delay="0"/>
                            </p:stCondLst>
                            <p:childTnLst>
                              <p:par>
                                <p:cTn id="20" presetID="16" presetClass="entr" presetSubtype="21" fill="hold" grpId="0" nodeType="clickEffect">
                                  <p:stCondLst>
                                    <p:cond delay="0"/>
                                  </p:stCondLst>
                                  <p:childTnLst>
                                    <p:set>
                                      <p:cBhvr>
                                        <p:cTn id="21" dur="1" fill="hold">
                                          <p:stCondLst>
                                            <p:cond delay="0"/>
                                          </p:stCondLst>
                                        </p:cTn>
                                        <p:tgtEl>
                                          <p:spTgt spid="5"/>
                                        </p:tgtEl>
                                        <p:attrNameLst>
                                          <p:attrName>style.visibility</p:attrName>
                                        </p:attrNameLst>
                                      </p:cBhvr>
                                      <p:to>
                                        <p:strVal val="visible"/>
                                      </p:to>
                                    </p:set>
                                    <p:animEffect transition="in" filter="barn(inVertical)">
                                      <p:cBhvr>
                                        <p:cTn id="22" dur="125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4" grpId="0" animBg="1"/>
      <p:bldP spid="5"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Google Shape;911;p31">
            <a:extLst>
              <a:ext uri="{FF2B5EF4-FFF2-40B4-BE49-F238E27FC236}">
                <a16:creationId xmlns:a16="http://schemas.microsoft.com/office/drawing/2014/main" id="{E43B4484-2310-C238-A10C-0DB4A36A809D}"/>
              </a:ext>
            </a:extLst>
          </p:cNvPr>
          <p:cNvSpPr txBox="1"/>
          <p:nvPr/>
        </p:nvSpPr>
        <p:spPr>
          <a:xfrm>
            <a:off x="6447358" y="1221650"/>
            <a:ext cx="4000827" cy="1010472"/>
          </a:xfrm>
          <a:prstGeom prst="rect">
            <a:avLst/>
          </a:prstGeom>
          <a:noFill/>
          <a:ln w="9525" cap="flat" cmpd="sng">
            <a:solidFill>
              <a:srgbClr val="97A4FF"/>
            </a:solidFill>
            <a:prstDash val="solid"/>
            <a:round/>
            <a:headEnd type="none" w="sm" len="sm"/>
            <a:tailEnd type="none" w="sm" len="sm"/>
          </a:ln>
        </p:spPr>
        <p:txBody>
          <a:bodyPr spcFirstLastPara="1" wrap="square" lIns="60933" tIns="60933" rIns="60933" bIns="0" anchor="t" anchorCtr="0">
            <a:noAutofit/>
          </a:bodyPr>
          <a:lstStyle/>
          <a:p>
            <a:pPr marL="180970" indent="-180970" algn="justLow" defTabSz="1219140" rtl="1" latinLnBrk="0">
              <a:buClr>
                <a:srgbClr val="11C1FF"/>
              </a:buClr>
              <a:buFont typeface="Wingdings" panose="05000000000000000000" pitchFamily="2" charset="2"/>
              <a:buChar char="v"/>
              <a:defRPr/>
            </a:pPr>
            <a:r>
              <a:rPr lang="ar-SA" sz="2000" b="1" dirty="0">
                <a:solidFill>
                  <a:prstClr val="black"/>
                </a:solidFill>
                <a:latin typeface="Sakkal Majalla" panose="02000000000000000000" pitchFamily="2" charset="-78"/>
                <a:ea typeface="Samim" panose="020B0603030804020204" pitchFamily="34" charset="0"/>
                <a:cs typeface="Sakkal Majalla" panose="02000000000000000000" pitchFamily="2" charset="-78"/>
              </a:rPr>
              <a:t>إعداد معايير المناهج الدراسية ونواتج التعلم.</a:t>
            </a:r>
          </a:p>
          <a:p>
            <a:pPr marL="180970" indent="-180970" algn="justLow" defTabSz="1219140" rtl="1" latinLnBrk="0">
              <a:buClr>
                <a:srgbClr val="11C1FF"/>
              </a:buClr>
              <a:buFont typeface="Wingdings" panose="05000000000000000000" pitchFamily="2" charset="2"/>
              <a:buChar char="v"/>
              <a:defRPr/>
            </a:pPr>
            <a:r>
              <a:rPr lang="ar-SA" sz="2000" b="1" kern="0" dirty="0">
                <a:solidFill>
                  <a:prstClr val="black"/>
                </a:solidFill>
                <a:latin typeface="Sakkal Majalla" panose="02000000000000000000" pitchFamily="2" charset="-78"/>
                <a:ea typeface="Samim" panose="020B0603030804020204" pitchFamily="34" charset="0"/>
                <a:cs typeface="Sakkal Majalla" panose="02000000000000000000" pitchFamily="2" charset="-78"/>
                <a:sym typeface="Quicksand"/>
              </a:rPr>
              <a:t> إعداد الإطار الوطني للمؤهلات.</a:t>
            </a:r>
            <a:endParaRPr sz="2000" b="1" kern="0" dirty="0">
              <a:solidFill>
                <a:srgbClr val="01083A"/>
              </a:solidFill>
              <a:latin typeface="Sakkal Majalla" panose="02000000000000000000" pitchFamily="2" charset="-78"/>
              <a:ea typeface="Samim" panose="020B0603030804020204" pitchFamily="34" charset="0"/>
              <a:cs typeface="Sakkal Majalla" panose="02000000000000000000" pitchFamily="2" charset="-78"/>
              <a:sym typeface="Quicksand"/>
            </a:endParaRPr>
          </a:p>
        </p:txBody>
      </p:sp>
      <p:sp>
        <p:nvSpPr>
          <p:cNvPr id="4" name="Google Shape;910;p31">
            <a:extLst>
              <a:ext uri="{FF2B5EF4-FFF2-40B4-BE49-F238E27FC236}">
                <a16:creationId xmlns:a16="http://schemas.microsoft.com/office/drawing/2014/main" id="{320E2185-9D85-069F-5554-5C5D6C3DF073}"/>
              </a:ext>
            </a:extLst>
          </p:cNvPr>
          <p:cNvSpPr txBox="1"/>
          <p:nvPr/>
        </p:nvSpPr>
        <p:spPr>
          <a:xfrm>
            <a:off x="8736131" y="267832"/>
            <a:ext cx="272143" cy="418395"/>
          </a:xfrm>
          <a:prstGeom prst="rect">
            <a:avLst/>
          </a:prstGeom>
          <a:solidFill>
            <a:srgbClr val="FF6600"/>
          </a:solidFill>
          <a:ln w="9525" cap="flat" cmpd="sng">
            <a:solidFill>
              <a:srgbClr val="97A4FF"/>
            </a:solidFill>
            <a:prstDash val="solid"/>
            <a:round/>
            <a:headEnd type="none" w="sm" len="sm"/>
            <a:tailEnd type="none" w="sm" len="sm"/>
          </a:ln>
        </p:spPr>
        <p:txBody>
          <a:bodyPr spcFirstLastPara="1" wrap="square" lIns="121900" tIns="121900" rIns="121900" bIns="121900" anchor="ctr" anchorCtr="0">
            <a:noAutofit/>
          </a:bodyPr>
          <a:lstStyle/>
          <a:p>
            <a:pPr algn="ctr" defTabSz="1219140" rtl="1" latinLnBrk="0">
              <a:defRPr/>
            </a:pPr>
            <a:endParaRPr sz="2000" b="1" dirty="0">
              <a:solidFill>
                <a:srgbClr val="01083A"/>
              </a:solidFill>
              <a:latin typeface="Sakkal Majalla" panose="02000000000000000000" pitchFamily="2" charset="-78"/>
              <a:ea typeface="Samim" panose="020B0603030804020204" pitchFamily="34" charset="0"/>
              <a:cs typeface="Sakkal Majalla" panose="02000000000000000000" pitchFamily="2" charset="-78"/>
              <a:sym typeface="Josefin Sans"/>
            </a:endParaRPr>
          </a:p>
        </p:txBody>
      </p:sp>
      <p:sp>
        <p:nvSpPr>
          <p:cNvPr id="6" name="Google Shape;910;p31">
            <a:extLst>
              <a:ext uri="{FF2B5EF4-FFF2-40B4-BE49-F238E27FC236}">
                <a16:creationId xmlns:a16="http://schemas.microsoft.com/office/drawing/2014/main" id="{4991E9DE-F322-1586-1EA7-724D327E946A}"/>
              </a:ext>
            </a:extLst>
          </p:cNvPr>
          <p:cNvSpPr txBox="1"/>
          <p:nvPr/>
        </p:nvSpPr>
        <p:spPr>
          <a:xfrm>
            <a:off x="1751355" y="263924"/>
            <a:ext cx="6937483" cy="418395"/>
          </a:xfrm>
          <a:prstGeom prst="rect">
            <a:avLst/>
          </a:prstGeom>
          <a:solidFill>
            <a:srgbClr val="9900FF"/>
          </a:solidFill>
          <a:ln w="9525" cap="flat" cmpd="sng">
            <a:solidFill>
              <a:srgbClr val="97A4FF"/>
            </a:solidFill>
            <a:prstDash val="solid"/>
            <a:round/>
            <a:headEnd type="none" w="sm" len="sm"/>
            <a:tailEnd type="none" w="sm" len="sm"/>
          </a:ln>
        </p:spPr>
        <p:txBody>
          <a:bodyPr spcFirstLastPara="1" wrap="square" lIns="121900" tIns="121900" rIns="121900" bIns="121900" anchor="ctr" anchorCtr="0">
            <a:noAutofit/>
          </a:bodyPr>
          <a:lstStyle/>
          <a:p>
            <a:pPr algn="ctr" defTabSz="1219140" rtl="1" latinLnBrk="0">
              <a:defRPr/>
            </a:pPr>
            <a:r>
              <a:rPr lang="ar-SA" sz="3200" b="1" dirty="0">
                <a:solidFill>
                  <a:prstClr val="white"/>
                </a:solidFill>
                <a:latin typeface="Sakkal Majalla" panose="02000000000000000000" pitchFamily="2" charset="-78"/>
                <a:ea typeface="Samim" panose="020B0603030804020204" pitchFamily="34" charset="0"/>
                <a:cs typeface="Sakkal Majalla" panose="02000000000000000000" pitchFamily="2" charset="-78"/>
                <a:sym typeface="Josefin Sans"/>
              </a:rPr>
              <a:t>دور  الهيئة في قطاع التعليم العام</a:t>
            </a:r>
            <a:endParaRPr sz="3200" b="1" dirty="0">
              <a:solidFill>
                <a:prstClr val="white"/>
              </a:solidFill>
              <a:latin typeface="Sakkal Majalla" panose="02000000000000000000" pitchFamily="2" charset="-78"/>
              <a:ea typeface="Samim" panose="020B0603030804020204" pitchFamily="34" charset="0"/>
              <a:cs typeface="Sakkal Majalla" panose="02000000000000000000" pitchFamily="2" charset="-78"/>
              <a:sym typeface="Josefin Sans"/>
            </a:endParaRPr>
          </a:p>
        </p:txBody>
      </p:sp>
      <p:sp>
        <p:nvSpPr>
          <p:cNvPr id="9" name="Rectangle 28">
            <a:extLst>
              <a:ext uri="{FF2B5EF4-FFF2-40B4-BE49-F238E27FC236}">
                <a16:creationId xmlns:a16="http://schemas.microsoft.com/office/drawing/2014/main" id="{7668BE4A-0560-39F7-8CA7-138E407706F6}"/>
              </a:ext>
            </a:extLst>
          </p:cNvPr>
          <p:cNvSpPr/>
          <p:nvPr/>
        </p:nvSpPr>
        <p:spPr>
          <a:xfrm>
            <a:off x="6463146" y="760652"/>
            <a:ext cx="3985039" cy="418395"/>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1" tIns="45720" rIns="91441" bIns="45720" numCol="1" spcCol="0" rtlCol="0" fromWordArt="0" anchor="ctr" anchorCtr="0" forceAA="0" compatLnSpc="1">
            <a:prstTxWarp prst="textNoShape">
              <a:avLst/>
            </a:prstTxWarp>
            <a:noAutofit/>
          </a:bodyPr>
          <a:lstStyle/>
          <a:p>
            <a:pPr algn="ctr" rtl="1"/>
            <a:r>
              <a:rPr lang="ar-SA" altLang="ko-KR" sz="2400" b="1" dirty="0">
                <a:solidFill>
                  <a:schemeClr val="bg1"/>
                </a:solidFill>
                <a:latin typeface="Sakkal Majalla" panose="02000000000000000000" pitchFamily="2" charset="-78"/>
                <a:cs typeface="Sakkal Majalla" panose="02000000000000000000" pitchFamily="2" charset="-78"/>
              </a:rPr>
              <a:t>الطلاب</a:t>
            </a:r>
            <a:endParaRPr lang="ko-KR" altLang="en-US" sz="2400" b="1" dirty="0">
              <a:solidFill>
                <a:schemeClr val="bg1"/>
              </a:solidFill>
              <a:latin typeface="Sakkal Majalla" panose="02000000000000000000" pitchFamily="2" charset="-78"/>
              <a:cs typeface="Sakkal Majalla" panose="02000000000000000000" pitchFamily="2" charset="-78"/>
            </a:endParaRPr>
          </a:p>
        </p:txBody>
      </p:sp>
      <p:sp>
        <p:nvSpPr>
          <p:cNvPr id="10" name="Google Shape;911;p31">
            <a:extLst>
              <a:ext uri="{FF2B5EF4-FFF2-40B4-BE49-F238E27FC236}">
                <a16:creationId xmlns:a16="http://schemas.microsoft.com/office/drawing/2014/main" id="{8C44A1FE-A3C6-4E85-F741-6A4B9BB82B4C}"/>
              </a:ext>
            </a:extLst>
          </p:cNvPr>
          <p:cNvSpPr txBox="1"/>
          <p:nvPr/>
        </p:nvSpPr>
        <p:spPr>
          <a:xfrm>
            <a:off x="3635206" y="1240148"/>
            <a:ext cx="2765010" cy="987782"/>
          </a:xfrm>
          <a:prstGeom prst="rect">
            <a:avLst/>
          </a:prstGeom>
          <a:noFill/>
          <a:ln w="9525" cap="flat" cmpd="sng">
            <a:solidFill>
              <a:srgbClr val="97A4FF"/>
            </a:solidFill>
            <a:prstDash val="solid"/>
            <a:round/>
            <a:headEnd type="none" w="sm" len="sm"/>
            <a:tailEnd type="none" w="sm" len="sm"/>
          </a:ln>
        </p:spPr>
        <p:txBody>
          <a:bodyPr spcFirstLastPara="1" wrap="square" lIns="60933" tIns="60933" rIns="60933" bIns="0" anchor="t" anchorCtr="0">
            <a:noAutofit/>
          </a:bodyPr>
          <a:lstStyle/>
          <a:p>
            <a:pPr marL="180970" indent="-180970" algn="justLow" defTabSz="1219140" rtl="1" latinLnBrk="0">
              <a:buClr>
                <a:srgbClr val="11C1FF"/>
              </a:buClr>
              <a:buFont typeface="Wingdings" panose="05000000000000000000" pitchFamily="2" charset="2"/>
              <a:buChar char="v"/>
              <a:defRPr/>
            </a:pPr>
            <a:r>
              <a:rPr lang="ar-SA" sz="2000" b="1" dirty="0">
                <a:solidFill>
                  <a:prstClr val="black"/>
                </a:solidFill>
                <a:latin typeface="Sakkal Majalla" panose="02000000000000000000" pitchFamily="2" charset="-78"/>
                <a:ea typeface="Samim" panose="020B0603030804020204" pitchFamily="34" charset="0"/>
                <a:cs typeface="Sakkal Majalla" panose="02000000000000000000" pitchFamily="2" charset="-78"/>
              </a:rPr>
              <a:t>المعايير التربوية والتخصصية للوظائف التعليمية.</a:t>
            </a:r>
          </a:p>
          <a:p>
            <a:pPr marL="180970" indent="-180970" algn="justLow" defTabSz="1219140" rtl="1" latinLnBrk="0">
              <a:buClr>
                <a:srgbClr val="11C1FF"/>
              </a:buClr>
              <a:buFont typeface="Wingdings" panose="05000000000000000000" pitchFamily="2" charset="2"/>
              <a:buChar char="v"/>
              <a:defRPr/>
            </a:pPr>
            <a:r>
              <a:rPr lang="ar-SA" sz="2000" b="1" dirty="0">
                <a:solidFill>
                  <a:prstClr val="black"/>
                </a:solidFill>
                <a:latin typeface="Sakkal Majalla" panose="02000000000000000000" pitchFamily="2" charset="-78"/>
                <a:ea typeface="Samim" panose="020B0603030804020204" pitchFamily="34" charset="0"/>
                <a:cs typeface="Sakkal Majalla" panose="02000000000000000000" pitchFamily="2" charset="-78"/>
                <a:sym typeface="Quicksand"/>
              </a:rPr>
              <a:t> ضوابط الرخص المهنية.</a:t>
            </a:r>
            <a:endParaRPr sz="2000" b="1" dirty="0">
              <a:solidFill>
                <a:prstClr val="black"/>
              </a:solidFill>
              <a:latin typeface="Sakkal Majalla" panose="02000000000000000000" pitchFamily="2" charset="-78"/>
              <a:ea typeface="Samim" panose="020B0603030804020204" pitchFamily="34" charset="0"/>
              <a:cs typeface="Sakkal Majalla" panose="02000000000000000000" pitchFamily="2" charset="-78"/>
              <a:sym typeface="Quicksand"/>
            </a:endParaRPr>
          </a:p>
        </p:txBody>
      </p:sp>
      <p:sp>
        <p:nvSpPr>
          <p:cNvPr id="11" name="Rectangle 28">
            <a:extLst>
              <a:ext uri="{FF2B5EF4-FFF2-40B4-BE49-F238E27FC236}">
                <a16:creationId xmlns:a16="http://schemas.microsoft.com/office/drawing/2014/main" id="{5197F914-330B-B4A3-7C98-2648E52D7BEB}"/>
              </a:ext>
            </a:extLst>
          </p:cNvPr>
          <p:cNvSpPr/>
          <p:nvPr/>
        </p:nvSpPr>
        <p:spPr>
          <a:xfrm>
            <a:off x="3635206" y="746025"/>
            <a:ext cx="2765010" cy="418395"/>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1" tIns="45720" rIns="91441" bIns="45720" numCol="1" spcCol="0" rtlCol="0" fromWordArt="0" anchor="ctr" anchorCtr="0" forceAA="0" compatLnSpc="1">
            <a:prstTxWarp prst="textNoShape">
              <a:avLst/>
            </a:prstTxWarp>
            <a:noAutofit/>
          </a:bodyPr>
          <a:lstStyle/>
          <a:p>
            <a:pPr algn="ctr" rtl="1"/>
            <a:r>
              <a:rPr lang="ar-SA" altLang="ko-KR" sz="2400" b="1" dirty="0">
                <a:solidFill>
                  <a:schemeClr val="bg1"/>
                </a:solidFill>
                <a:latin typeface="Sakkal Majalla" panose="02000000000000000000" pitchFamily="2" charset="-78"/>
                <a:cs typeface="Sakkal Majalla" panose="02000000000000000000" pitchFamily="2" charset="-78"/>
              </a:rPr>
              <a:t>المعلمون</a:t>
            </a:r>
            <a:endParaRPr lang="ko-KR" altLang="en-US" sz="2400" b="1" dirty="0">
              <a:solidFill>
                <a:schemeClr val="bg1"/>
              </a:solidFill>
              <a:latin typeface="Sakkal Majalla" panose="02000000000000000000" pitchFamily="2" charset="-78"/>
              <a:cs typeface="Sakkal Majalla" panose="02000000000000000000" pitchFamily="2" charset="-78"/>
            </a:endParaRPr>
          </a:p>
        </p:txBody>
      </p:sp>
      <p:sp>
        <p:nvSpPr>
          <p:cNvPr id="12" name="Google Shape;911;p31">
            <a:extLst>
              <a:ext uri="{FF2B5EF4-FFF2-40B4-BE49-F238E27FC236}">
                <a16:creationId xmlns:a16="http://schemas.microsoft.com/office/drawing/2014/main" id="{03ACD9FA-B492-BDF2-91DB-3D19B2D3A421}"/>
              </a:ext>
            </a:extLst>
          </p:cNvPr>
          <p:cNvSpPr txBox="1"/>
          <p:nvPr/>
        </p:nvSpPr>
        <p:spPr>
          <a:xfrm>
            <a:off x="338190" y="1254504"/>
            <a:ext cx="3171661" cy="973426"/>
          </a:xfrm>
          <a:prstGeom prst="rect">
            <a:avLst/>
          </a:prstGeom>
          <a:noFill/>
          <a:ln w="9525" cap="flat" cmpd="sng">
            <a:solidFill>
              <a:srgbClr val="97A4FF"/>
            </a:solidFill>
            <a:prstDash val="solid"/>
            <a:round/>
            <a:headEnd type="none" w="sm" len="sm"/>
            <a:tailEnd type="none" w="sm" len="sm"/>
          </a:ln>
        </p:spPr>
        <p:txBody>
          <a:bodyPr spcFirstLastPara="1" wrap="square" lIns="60933" tIns="60933" rIns="60933" bIns="0" anchor="t" anchorCtr="0">
            <a:noAutofit/>
          </a:bodyPr>
          <a:lstStyle/>
          <a:p>
            <a:pPr marL="180970" indent="-180970" algn="justLow" defTabSz="1219140" rtl="1" latinLnBrk="0">
              <a:buClr>
                <a:srgbClr val="11C1FF"/>
              </a:buClr>
              <a:buFont typeface="Wingdings" panose="05000000000000000000" pitchFamily="2" charset="2"/>
              <a:buChar char="v"/>
              <a:defRPr/>
            </a:pPr>
            <a:r>
              <a:rPr lang="ar-SA" sz="2000" b="1" dirty="0">
                <a:solidFill>
                  <a:prstClr val="black"/>
                </a:solidFill>
                <a:latin typeface="Sakkal Majalla" panose="02000000000000000000" pitchFamily="2" charset="-78"/>
                <a:ea typeface="Samim" panose="020B0603030804020204" pitchFamily="34" charset="0"/>
                <a:cs typeface="Sakkal Majalla" panose="02000000000000000000" pitchFamily="2" charset="-78"/>
              </a:rPr>
              <a:t>أطر ومعايير التقويم والاعتماد المدرسي.</a:t>
            </a:r>
          </a:p>
          <a:p>
            <a:pPr marL="180970" indent="-180970" algn="justLow" defTabSz="1219140" rtl="1" latinLnBrk="0">
              <a:buClr>
                <a:srgbClr val="11C1FF"/>
              </a:buClr>
              <a:buFont typeface="Wingdings" panose="05000000000000000000" pitchFamily="2" charset="2"/>
              <a:buChar char="v"/>
              <a:defRPr/>
            </a:pPr>
            <a:r>
              <a:rPr lang="ar-SA" sz="2000" b="1" dirty="0">
                <a:solidFill>
                  <a:prstClr val="black"/>
                </a:solidFill>
                <a:latin typeface="Sakkal Majalla" panose="02000000000000000000" pitchFamily="2" charset="-78"/>
                <a:ea typeface="Samim" panose="020B0603030804020204" pitchFamily="34" charset="0"/>
                <a:cs typeface="Sakkal Majalla" panose="02000000000000000000" pitchFamily="2" charset="-78"/>
                <a:sym typeface="Quicksand"/>
              </a:rPr>
              <a:t> إعداد ومعايير الأداء المدرسي</a:t>
            </a:r>
            <a:endParaRPr sz="2000" b="1" dirty="0">
              <a:solidFill>
                <a:prstClr val="black"/>
              </a:solidFill>
              <a:latin typeface="Sakkal Majalla" panose="02000000000000000000" pitchFamily="2" charset="-78"/>
              <a:ea typeface="Samim" panose="020B0603030804020204" pitchFamily="34" charset="0"/>
              <a:cs typeface="Sakkal Majalla" panose="02000000000000000000" pitchFamily="2" charset="-78"/>
              <a:sym typeface="Quicksand"/>
            </a:endParaRPr>
          </a:p>
        </p:txBody>
      </p:sp>
      <p:sp>
        <p:nvSpPr>
          <p:cNvPr id="14" name="Rectangle 28">
            <a:extLst>
              <a:ext uri="{FF2B5EF4-FFF2-40B4-BE49-F238E27FC236}">
                <a16:creationId xmlns:a16="http://schemas.microsoft.com/office/drawing/2014/main" id="{FE485AFB-AEC7-E52A-AD72-0E61980FCAB0}"/>
              </a:ext>
            </a:extLst>
          </p:cNvPr>
          <p:cNvSpPr/>
          <p:nvPr/>
        </p:nvSpPr>
        <p:spPr>
          <a:xfrm>
            <a:off x="338190" y="763372"/>
            <a:ext cx="3203120" cy="418395"/>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1" tIns="45720" rIns="91441" bIns="45720" numCol="1" spcCol="0" rtlCol="0" fromWordArt="0" anchor="ctr" anchorCtr="0" forceAA="0" compatLnSpc="1">
            <a:prstTxWarp prst="textNoShape">
              <a:avLst/>
            </a:prstTxWarp>
            <a:noAutofit/>
          </a:bodyPr>
          <a:lstStyle/>
          <a:p>
            <a:pPr algn="ctr" rtl="1"/>
            <a:r>
              <a:rPr lang="ar-SA" altLang="ko-KR" sz="2400" b="1" dirty="0">
                <a:solidFill>
                  <a:schemeClr val="bg1"/>
                </a:solidFill>
                <a:latin typeface="Sakkal Majalla" panose="02000000000000000000" pitchFamily="2" charset="-78"/>
                <a:cs typeface="Sakkal Majalla" panose="02000000000000000000" pitchFamily="2" charset="-78"/>
              </a:rPr>
              <a:t>المدارس</a:t>
            </a:r>
            <a:endParaRPr lang="ko-KR" altLang="en-US" sz="2400" b="1" dirty="0">
              <a:solidFill>
                <a:schemeClr val="bg1"/>
              </a:solidFill>
              <a:latin typeface="Sakkal Majalla" panose="02000000000000000000" pitchFamily="2" charset="-78"/>
              <a:cs typeface="Sakkal Majalla" panose="02000000000000000000" pitchFamily="2" charset="-78"/>
            </a:endParaRPr>
          </a:p>
        </p:txBody>
      </p:sp>
      <p:sp>
        <p:nvSpPr>
          <p:cNvPr id="15" name="Rectangle 28">
            <a:extLst>
              <a:ext uri="{FF2B5EF4-FFF2-40B4-BE49-F238E27FC236}">
                <a16:creationId xmlns:a16="http://schemas.microsoft.com/office/drawing/2014/main" id="{7ADAD2EE-8521-0739-A0ED-A7564AC41ED3}"/>
              </a:ext>
            </a:extLst>
          </p:cNvPr>
          <p:cNvSpPr/>
          <p:nvPr/>
        </p:nvSpPr>
        <p:spPr>
          <a:xfrm>
            <a:off x="10479003" y="1227424"/>
            <a:ext cx="1112164" cy="1004698"/>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1" tIns="45720" rIns="91441" bIns="45720" numCol="1" spcCol="0" rtlCol="0" fromWordArt="0" anchor="ctr" anchorCtr="0" forceAA="0" compatLnSpc="1">
            <a:prstTxWarp prst="textNoShape">
              <a:avLst/>
            </a:prstTxWarp>
            <a:noAutofit/>
          </a:bodyPr>
          <a:lstStyle/>
          <a:p>
            <a:pPr algn="ctr" rtl="1"/>
            <a:r>
              <a:rPr lang="ar-SA" altLang="ko-KR" sz="2000" b="1" dirty="0">
                <a:solidFill>
                  <a:schemeClr val="bg1"/>
                </a:solidFill>
                <a:latin typeface="Sakkal Majalla" panose="02000000000000000000" pitchFamily="2" charset="-78"/>
                <a:cs typeface="Sakkal Majalla" panose="02000000000000000000" pitchFamily="2" charset="-78"/>
              </a:rPr>
              <a:t>وضع المعايير</a:t>
            </a:r>
          </a:p>
          <a:p>
            <a:pPr algn="ctr" rtl="1"/>
            <a:r>
              <a:rPr lang="ar-SA" altLang="ko-KR" sz="2000" b="1" dirty="0">
                <a:solidFill>
                  <a:schemeClr val="bg1"/>
                </a:solidFill>
                <a:latin typeface="Sakkal Majalla" panose="02000000000000000000" pitchFamily="2" charset="-78"/>
                <a:cs typeface="Sakkal Majalla" panose="02000000000000000000" pitchFamily="2" charset="-78"/>
              </a:rPr>
              <a:t>( ضبط الجودة)</a:t>
            </a:r>
            <a:endParaRPr lang="ko-KR" altLang="en-US" sz="2000" b="1" dirty="0">
              <a:solidFill>
                <a:schemeClr val="bg1"/>
              </a:solidFill>
              <a:latin typeface="Sakkal Majalla" panose="02000000000000000000" pitchFamily="2" charset="-78"/>
              <a:cs typeface="Sakkal Majalla" panose="02000000000000000000" pitchFamily="2" charset="-78"/>
            </a:endParaRPr>
          </a:p>
        </p:txBody>
      </p:sp>
      <p:sp>
        <p:nvSpPr>
          <p:cNvPr id="16" name="Google Shape;911;p31">
            <a:extLst>
              <a:ext uri="{FF2B5EF4-FFF2-40B4-BE49-F238E27FC236}">
                <a16:creationId xmlns:a16="http://schemas.microsoft.com/office/drawing/2014/main" id="{5DCB3547-3827-5F0E-6CC4-F67DC8796639}"/>
              </a:ext>
            </a:extLst>
          </p:cNvPr>
          <p:cNvSpPr txBox="1"/>
          <p:nvPr/>
        </p:nvSpPr>
        <p:spPr>
          <a:xfrm>
            <a:off x="6463146" y="2773092"/>
            <a:ext cx="4000828" cy="1670839"/>
          </a:xfrm>
          <a:prstGeom prst="rect">
            <a:avLst/>
          </a:prstGeom>
          <a:noFill/>
          <a:ln w="9525" cap="flat" cmpd="sng">
            <a:solidFill>
              <a:srgbClr val="97A4FF"/>
            </a:solidFill>
            <a:prstDash val="solid"/>
            <a:round/>
            <a:headEnd type="none" w="sm" len="sm"/>
            <a:tailEnd type="none" w="sm" len="sm"/>
          </a:ln>
        </p:spPr>
        <p:txBody>
          <a:bodyPr spcFirstLastPara="1" wrap="square" lIns="60933" tIns="60933" rIns="60933" bIns="0" anchor="t" anchorCtr="0">
            <a:noAutofit/>
          </a:bodyPr>
          <a:lstStyle/>
          <a:p>
            <a:pPr marL="180970" indent="-180970" algn="justLow" defTabSz="1219140" rtl="1" latinLnBrk="0">
              <a:buClr>
                <a:srgbClr val="11C1FF"/>
              </a:buClr>
              <a:buFont typeface="Wingdings" panose="05000000000000000000" pitchFamily="2" charset="2"/>
              <a:buChar char="v"/>
              <a:defRPr/>
            </a:pPr>
            <a:r>
              <a:rPr lang="ar-SA" b="1" dirty="0">
                <a:solidFill>
                  <a:prstClr val="black"/>
                </a:solidFill>
                <a:latin typeface="Sakkal Majalla" panose="02000000000000000000" pitchFamily="2" charset="-78"/>
                <a:ea typeface="Samim" panose="020B0603030804020204" pitchFamily="34" charset="0"/>
                <a:cs typeface="Sakkal Majalla" panose="02000000000000000000" pitchFamily="2" charset="-78"/>
              </a:rPr>
              <a:t>مراجعة وتقويم المناهج.</a:t>
            </a:r>
          </a:p>
          <a:p>
            <a:pPr marL="180970" indent="-180970" algn="justLow" defTabSz="1219140" rtl="1" latinLnBrk="0">
              <a:buClr>
                <a:srgbClr val="11C1FF"/>
              </a:buClr>
              <a:buFont typeface="Wingdings" panose="05000000000000000000" pitchFamily="2" charset="2"/>
              <a:buChar char="v"/>
              <a:defRPr/>
            </a:pPr>
            <a:r>
              <a:rPr lang="ar-SA" b="1" kern="0" dirty="0">
                <a:solidFill>
                  <a:prstClr val="black"/>
                </a:solidFill>
                <a:latin typeface="Sakkal Majalla" panose="02000000000000000000" pitchFamily="2" charset="-78"/>
                <a:ea typeface="Samim" panose="020B0603030804020204" pitchFamily="34" charset="0"/>
                <a:cs typeface="Sakkal Majalla" panose="02000000000000000000" pitchFamily="2" charset="-78"/>
                <a:sym typeface="Quicksand"/>
              </a:rPr>
              <a:t> تنفيذ الاختبارات الوطنية لقياس التحصيل العلمي للطلبة.</a:t>
            </a:r>
          </a:p>
          <a:p>
            <a:pPr marL="180970" indent="-180970" algn="justLow" defTabSz="1219140" rtl="1" latinLnBrk="0">
              <a:buClr>
                <a:srgbClr val="11C1FF"/>
              </a:buClr>
              <a:buFont typeface="Wingdings" panose="05000000000000000000" pitchFamily="2" charset="2"/>
              <a:buChar char="v"/>
              <a:defRPr/>
            </a:pPr>
            <a:r>
              <a:rPr lang="ar-SA" b="1" kern="0" dirty="0">
                <a:solidFill>
                  <a:prstClr val="black"/>
                </a:solidFill>
                <a:latin typeface="Sakkal Majalla" panose="02000000000000000000" pitchFamily="2" charset="-78"/>
                <a:ea typeface="Samim" panose="020B0603030804020204" pitchFamily="34" charset="0"/>
                <a:cs typeface="Sakkal Majalla" panose="02000000000000000000" pitchFamily="2" charset="-78"/>
                <a:sym typeface="Quicksand"/>
              </a:rPr>
              <a:t> دعم تنفيذ الاختبارات الدولية.</a:t>
            </a:r>
          </a:p>
          <a:p>
            <a:pPr marL="180970" indent="-180970" algn="justLow" defTabSz="1219140" rtl="1" latinLnBrk="0">
              <a:buClr>
                <a:srgbClr val="11C1FF"/>
              </a:buClr>
              <a:buFont typeface="Wingdings" panose="05000000000000000000" pitchFamily="2" charset="2"/>
              <a:buChar char="v"/>
              <a:defRPr/>
            </a:pPr>
            <a:r>
              <a:rPr lang="ar-SA" b="1" kern="0" dirty="0">
                <a:solidFill>
                  <a:prstClr val="black"/>
                </a:solidFill>
                <a:latin typeface="Sakkal Majalla" panose="02000000000000000000" pitchFamily="2" charset="-78"/>
                <a:ea typeface="Samim" panose="020B0603030804020204" pitchFamily="34" charset="0"/>
                <a:cs typeface="Sakkal Majalla" panose="02000000000000000000" pitchFamily="2" charset="-78"/>
                <a:sym typeface="Quicksand"/>
              </a:rPr>
              <a:t> تنفيذ اختبارات القبول الجامعي لطلبة الثانوية</a:t>
            </a:r>
          </a:p>
          <a:p>
            <a:pPr marL="342891" indent="-342891" algn="justLow" defTabSz="1219140" rtl="1" latinLnBrk="0">
              <a:buClr>
                <a:srgbClr val="11C1FF"/>
              </a:buClr>
              <a:buFont typeface="Wingdings" panose="05000000000000000000" pitchFamily="2" charset="2"/>
              <a:buChar char="v"/>
              <a:defRPr/>
            </a:pPr>
            <a:r>
              <a:rPr lang="ar-SA" b="1" kern="0" dirty="0">
                <a:solidFill>
                  <a:prstClr val="black"/>
                </a:solidFill>
                <a:latin typeface="Sakkal Majalla" panose="02000000000000000000" pitchFamily="2" charset="-78"/>
                <a:ea typeface="Samim" panose="020B0603030804020204" pitchFamily="34" charset="0"/>
                <a:cs typeface="Sakkal Majalla" panose="02000000000000000000" pitchFamily="2" charset="-78"/>
                <a:sym typeface="Quicksand"/>
              </a:rPr>
              <a:t> تنفيذ اختبارات الموهوبين.</a:t>
            </a:r>
            <a:endParaRPr b="1" kern="0" dirty="0">
              <a:solidFill>
                <a:srgbClr val="01083A"/>
              </a:solidFill>
              <a:latin typeface="Sakkal Majalla" panose="02000000000000000000" pitchFamily="2" charset="-78"/>
              <a:ea typeface="Samim" panose="020B0603030804020204" pitchFamily="34" charset="0"/>
              <a:cs typeface="Sakkal Majalla" panose="02000000000000000000" pitchFamily="2" charset="-78"/>
              <a:sym typeface="Quicksand"/>
            </a:endParaRPr>
          </a:p>
        </p:txBody>
      </p:sp>
      <p:sp>
        <p:nvSpPr>
          <p:cNvPr id="17" name="Google Shape;911;p31">
            <a:extLst>
              <a:ext uri="{FF2B5EF4-FFF2-40B4-BE49-F238E27FC236}">
                <a16:creationId xmlns:a16="http://schemas.microsoft.com/office/drawing/2014/main" id="{CD4EFB90-278A-E393-2FB5-94E51538E687}"/>
              </a:ext>
            </a:extLst>
          </p:cNvPr>
          <p:cNvSpPr txBox="1"/>
          <p:nvPr/>
        </p:nvSpPr>
        <p:spPr>
          <a:xfrm>
            <a:off x="3635207" y="2792709"/>
            <a:ext cx="2702584" cy="1643224"/>
          </a:xfrm>
          <a:prstGeom prst="rect">
            <a:avLst/>
          </a:prstGeom>
          <a:noFill/>
          <a:ln w="9525" cap="flat" cmpd="sng">
            <a:solidFill>
              <a:srgbClr val="97A4FF"/>
            </a:solidFill>
            <a:prstDash val="solid"/>
            <a:round/>
            <a:headEnd type="none" w="sm" len="sm"/>
            <a:tailEnd type="none" w="sm" len="sm"/>
          </a:ln>
        </p:spPr>
        <p:txBody>
          <a:bodyPr spcFirstLastPara="1" wrap="square" lIns="60933" tIns="60933" rIns="60933" bIns="0" anchor="t" anchorCtr="0">
            <a:noAutofit/>
          </a:bodyPr>
          <a:lstStyle/>
          <a:p>
            <a:pPr marL="180970" indent="-180970" algn="justLow" defTabSz="1219140" rtl="1" latinLnBrk="0">
              <a:buClr>
                <a:srgbClr val="11C1FF"/>
              </a:buClr>
              <a:buFont typeface="Wingdings" panose="05000000000000000000" pitchFamily="2" charset="2"/>
              <a:buChar char="v"/>
              <a:defRPr/>
            </a:pPr>
            <a:r>
              <a:rPr lang="ar-SA" b="1" dirty="0">
                <a:solidFill>
                  <a:prstClr val="black"/>
                </a:solidFill>
                <a:latin typeface="Sakkal Majalla" panose="02000000000000000000" pitchFamily="2" charset="-78"/>
                <a:ea typeface="Samim" panose="020B0603030804020204" pitchFamily="34" charset="0"/>
                <a:cs typeface="Sakkal Majalla" panose="02000000000000000000" pitchFamily="2" charset="-78"/>
              </a:rPr>
              <a:t>تنفيذ الاختبارات المهنية التربوية والتخصصية.</a:t>
            </a:r>
          </a:p>
          <a:p>
            <a:pPr marL="180970" indent="-180970" algn="justLow" defTabSz="1219140" rtl="1" latinLnBrk="0">
              <a:buClr>
                <a:srgbClr val="11C1FF"/>
              </a:buClr>
              <a:buFont typeface="Wingdings" panose="05000000000000000000" pitchFamily="2" charset="2"/>
              <a:buChar char="v"/>
              <a:defRPr/>
            </a:pPr>
            <a:r>
              <a:rPr lang="ar-SA" b="1" dirty="0">
                <a:solidFill>
                  <a:prstClr val="black"/>
                </a:solidFill>
                <a:latin typeface="Sakkal Majalla" panose="02000000000000000000" pitchFamily="2" charset="-78"/>
                <a:ea typeface="Samim" panose="020B0603030804020204" pitchFamily="34" charset="0"/>
                <a:cs typeface="Sakkal Majalla" panose="02000000000000000000" pitchFamily="2" charset="-78"/>
                <a:sym typeface="Quicksand"/>
              </a:rPr>
              <a:t> ترخيص المعلمين.</a:t>
            </a:r>
            <a:endParaRPr b="1" dirty="0">
              <a:solidFill>
                <a:prstClr val="black"/>
              </a:solidFill>
              <a:latin typeface="Sakkal Majalla" panose="02000000000000000000" pitchFamily="2" charset="-78"/>
              <a:ea typeface="Samim" panose="020B0603030804020204" pitchFamily="34" charset="0"/>
              <a:cs typeface="Sakkal Majalla" panose="02000000000000000000" pitchFamily="2" charset="-78"/>
              <a:sym typeface="Quicksand"/>
            </a:endParaRPr>
          </a:p>
        </p:txBody>
      </p:sp>
      <p:sp>
        <p:nvSpPr>
          <p:cNvPr id="18" name="Google Shape;911;p31">
            <a:extLst>
              <a:ext uri="{FF2B5EF4-FFF2-40B4-BE49-F238E27FC236}">
                <a16:creationId xmlns:a16="http://schemas.microsoft.com/office/drawing/2014/main" id="{762E93AE-100D-AC10-761C-35066E9E2A01}"/>
              </a:ext>
            </a:extLst>
          </p:cNvPr>
          <p:cNvSpPr txBox="1"/>
          <p:nvPr/>
        </p:nvSpPr>
        <p:spPr>
          <a:xfrm>
            <a:off x="338191" y="2788492"/>
            <a:ext cx="3203120" cy="1637189"/>
          </a:xfrm>
          <a:prstGeom prst="rect">
            <a:avLst/>
          </a:prstGeom>
          <a:noFill/>
          <a:ln w="9525" cap="flat" cmpd="sng">
            <a:solidFill>
              <a:srgbClr val="97A4FF"/>
            </a:solidFill>
            <a:prstDash val="solid"/>
            <a:round/>
            <a:headEnd type="none" w="sm" len="sm"/>
            <a:tailEnd type="none" w="sm" len="sm"/>
          </a:ln>
        </p:spPr>
        <p:txBody>
          <a:bodyPr spcFirstLastPara="1" wrap="square" lIns="60933" tIns="60933" rIns="60933" bIns="0" anchor="t" anchorCtr="0">
            <a:noAutofit/>
          </a:bodyPr>
          <a:lstStyle/>
          <a:p>
            <a:pPr marL="180970" indent="-180970" algn="justLow" defTabSz="1219140" rtl="1" latinLnBrk="0">
              <a:buClr>
                <a:srgbClr val="11C1FF"/>
              </a:buClr>
              <a:buFont typeface="Wingdings" panose="05000000000000000000" pitchFamily="2" charset="2"/>
              <a:buChar char="v"/>
              <a:defRPr/>
            </a:pPr>
            <a:r>
              <a:rPr lang="ar-SA" sz="2000" b="1" dirty="0">
                <a:solidFill>
                  <a:prstClr val="black"/>
                </a:solidFill>
                <a:latin typeface="Sakkal Majalla" panose="02000000000000000000" pitchFamily="2" charset="-78"/>
                <a:ea typeface="Samim" panose="020B0603030804020204" pitchFamily="34" charset="0"/>
                <a:cs typeface="Sakkal Majalla" panose="02000000000000000000" pitchFamily="2" charset="-78"/>
              </a:rPr>
              <a:t>تتيح التقويم الذاتي للمدارس.</a:t>
            </a:r>
          </a:p>
          <a:p>
            <a:pPr marL="180970" indent="-180970" algn="justLow" defTabSz="1219140" rtl="1" latinLnBrk="0">
              <a:buClr>
                <a:srgbClr val="11C1FF"/>
              </a:buClr>
              <a:buFont typeface="Wingdings" panose="05000000000000000000" pitchFamily="2" charset="2"/>
              <a:buChar char="v"/>
              <a:defRPr/>
            </a:pPr>
            <a:r>
              <a:rPr lang="ar-SA" b="1" dirty="0">
                <a:solidFill>
                  <a:prstClr val="black"/>
                </a:solidFill>
                <a:latin typeface="Sakkal Majalla" panose="02000000000000000000" pitchFamily="2" charset="-78"/>
                <a:ea typeface="Samim" panose="020B0603030804020204" pitchFamily="34" charset="0"/>
                <a:cs typeface="Sakkal Majalla" panose="02000000000000000000" pitchFamily="2" charset="-78"/>
                <a:sym typeface="Quicksand"/>
              </a:rPr>
              <a:t> تنفذ التقويم الخارجي للمدارس الحكومية. </a:t>
            </a:r>
          </a:p>
          <a:p>
            <a:pPr marL="180970" indent="-180970" algn="justLow" defTabSz="1219140" rtl="1" latinLnBrk="0">
              <a:buClr>
                <a:srgbClr val="11C1FF"/>
              </a:buClr>
              <a:buFont typeface="Wingdings" panose="05000000000000000000" pitchFamily="2" charset="2"/>
              <a:buChar char="v"/>
              <a:defRPr/>
            </a:pPr>
            <a:r>
              <a:rPr lang="ar-SA" b="1" dirty="0">
                <a:solidFill>
                  <a:prstClr val="black"/>
                </a:solidFill>
                <a:latin typeface="Sakkal Majalla" panose="02000000000000000000" pitchFamily="2" charset="-78"/>
                <a:ea typeface="Samim" panose="020B0603030804020204" pitchFamily="34" charset="0"/>
                <a:cs typeface="Sakkal Majalla" panose="02000000000000000000" pitchFamily="2" charset="-78"/>
                <a:sym typeface="Quicksand"/>
              </a:rPr>
              <a:t> تمنح اعتماد المدارس الأهلية والعالمية.</a:t>
            </a:r>
            <a:endParaRPr b="1" dirty="0">
              <a:solidFill>
                <a:prstClr val="black"/>
              </a:solidFill>
              <a:latin typeface="Sakkal Majalla" panose="02000000000000000000" pitchFamily="2" charset="-78"/>
              <a:ea typeface="Samim" panose="020B0603030804020204" pitchFamily="34" charset="0"/>
              <a:cs typeface="Sakkal Majalla" panose="02000000000000000000" pitchFamily="2" charset="-78"/>
              <a:sym typeface="Quicksand"/>
            </a:endParaRPr>
          </a:p>
        </p:txBody>
      </p:sp>
      <p:sp>
        <p:nvSpPr>
          <p:cNvPr id="19" name="Rectangle 28">
            <a:extLst>
              <a:ext uri="{FF2B5EF4-FFF2-40B4-BE49-F238E27FC236}">
                <a16:creationId xmlns:a16="http://schemas.microsoft.com/office/drawing/2014/main" id="{46A5EE83-71EE-D813-0094-04362D40500D}"/>
              </a:ext>
            </a:extLst>
          </p:cNvPr>
          <p:cNvSpPr/>
          <p:nvPr/>
        </p:nvSpPr>
        <p:spPr>
          <a:xfrm>
            <a:off x="10499764" y="2819377"/>
            <a:ext cx="1091403" cy="1428610"/>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1" tIns="45720" rIns="91441" bIns="45720" numCol="1" spcCol="0" rtlCol="0" fromWordArt="0" anchor="ctr" anchorCtr="0" forceAA="0" compatLnSpc="1">
            <a:prstTxWarp prst="textNoShape">
              <a:avLst/>
            </a:prstTxWarp>
            <a:noAutofit/>
          </a:bodyPr>
          <a:lstStyle/>
          <a:p>
            <a:pPr algn="ctr" rtl="1"/>
            <a:r>
              <a:rPr lang="ar-SA" altLang="ko-KR" sz="2400" b="1" dirty="0">
                <a:solidFill>
                  <a:schemeClr val="bg1"/>
                </a:solidFill>
                <a:latin typeface="Sakkal Majalla" panose="02000000000000000000" pitchFamily="2" charset="-78"/>
                <a:cs typeface="Sakkal Majalla" panose="02000000000000000000" pitchFamily="2" charset="-78"/>
              </a:rPr>
              <a:t>تقويم الأداء</a:t>
            </a:r>
          </a:p>
          <a:p>
            <a:pPr algn="ctr" rtl="1"/>
            <a:r>
              <a:rPr lang="ar-SA" altLang="ko-KR" sz="2400" b="1" dirty="0">
                <a:solidFill>
                  <a:schemeClr val="bg1"/>
                </a:solidFill>
                <a:latin typeface="Sakkal Majalla" panose="02000000000000000000" pitchFamily="2" charset="-78"/>
                <a:cs typeface="Sakkal Majalla" panose="02000000000000000000" pitchFamily="2" charset="-78"/>
              </a:rPr>
              <a:t>(ضمان الجودة)</a:t>
            </a:r>
            <a:endParaRPr lang="ko-KR" altLang="en-US" sz="2400" b="1" dirty="0">
              <a:solidFill>
                <a:schemeClr val="bg1"/>
              </a:solidFill>
              <a:latin typeface="Sakkal Majalla" panose="02000000000000000000" pitchFamily="2" charset="-78"/>
              <a:cs typeface="Sakkal Majalla" panose="02000000000000000000" pitchFamily="2" charset="-78"/>
            </a:endParaRPr>
          </a:p>
        </p:txBody>
      </p:sp>
      <p:sp>
        <p:nvSpPr>
          <p:cNvPr id="20" name="Rectangle 28">
            <a:extLst>
              <a:ext uri="{FF2B5EF4-FFF2-40B4-BE49-F238E27FC236}">
                <a16:creationId xmlns:a16="http://schemas.microsoft.com/office/drawing/2014/main" id="{E0EAAB9A-0A67-7961-6C6E-6C99358AB352}"/>
              </a:ext>
            </a:extLst>
          </p:cNvPr>
          <p:cNvSpPr/>
          <p:nvPr/>
        </p:nvSpPr>
        <p:spPr>
          <a:xfrm>
            <a:off x="10479003" y="5065762"/>
            <a:ext cx="1112164" cy="1280904"/>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1" tIns="45720" rIns="91441" bIns="45720" numCol="1" spcCol="0" rtlCol="0" fromWordArt="0" anchor="ctr" anchorCtr="0" forceAA="0" compatLnSpc="1">
            <a:prstTxWarp prst="textNoShape">
              <a:avLst/>
            </a:prstTxWarp>
            <a:noAutofit/>
          </a:bodyPr>
          <a:lstStyle/>
          <a:p>
            <a:pPr algn="ctr" rtl="1"/>
            <a:r>
              <a:rPr lang="ar-SA" altLang="ko-KR" sz="2400" b="1" dirty="0">
                <a:solidFill>
                  <a:schemeClr val="bg1"/>
                </a:solidFill>
                <a:latin typeface="Sakkal Majalla" panose="02000000000000000000" pitchFamily="2" charset="-78"/>
                <a:cs typeface="Sakkal Majalla" panose="02000000000000000000" pitchFamily="2" charset="-78"/>
              </a:rPr>
              <a:t>التطوير والتحسين المستمر</a:t>
            </a:r>
            <a:endParaRPr lang="ko-KR" altLang="en-US" sz="2400" b="1" dirty="0">
              <a:solidFill>
                <a:schemeClr val="bg1"/>
              </a:solidFill>
              <a:latin typeface="Sakkal Majalla" panose="02000000000000000000" pitchFamily="2" charset="-78"/>
              <a:cs typeface="Sakkal Majalla" panose="02000000000000000000" pitchFamily="2" charset="-78"/>
            </a:endParaRPr>
          </a:p>
        </p:txBody>
      </p:sp>
      <p:sp>
        <p:nvSpPr>
          <p:cNvPr id="21" name="Google Shape;911;p31">
            <a:extLst>
              <a:ext uri="{FF2B5EF4-FFF2-40B4-BE49-F238E27FC236}">
                <a16:creationId xmlns:a16="http://schemas.microsoft.com/office/drawing/2014/main" id="{C5E07919-9986-B244-A03E-46AB34E1883F}"/>
              </a:ext>
            </a:extLst>
          </p:cNvPr>
          <p:cNvSpPr txBox="1"/>
          <p:nvPr/>
        </p:nvSpPr>
        <p:spPr>
          <a:xfrm>
            <a:off x="338190" y="5065762"/>
            <a:ext cx="10067407" cy="1280904"/>
          </a:xfrm>
          <a:prstGeom prst="rect">
            <a:avLst/>
          </a:prstGeom>
          <a:noFill/>
          <a:ln w="9525" cap="flat" cmpd="sng">
            <a:solidFill>
              <a:srgbClr val="97A4FF"/>
            </a:solidFill>
            <a:prstDash val="solid"/>
            <a:round/>
            <a:headEnd type="none" w="sm" len="sm"/>
            <a:tailEnd type="none" w="sm" len="sm"/>
          </a:ln>
        </p:spPr>
        <p:txBody>
          <a:bodyPr spcFirstLastPara="1" wrap="square" lIns="60933" tIns="60933" rIns="60933" bIns="0" anchor="t" anchorCtr="0">
            <a:noAutofit/>
          </a:bodyPr>
          <a:lstStyle/>
          <a:p>
            <a:pPr marL="180970" indent="-180970" algn="justLow" defTabSz="1219140" rtl="1" latinLnBrk="0">
              <a:buClr>
                <a:srgbClr val="11C1FF"/>
              </a:buClr>
              <a:buFont typeface="Wingdings" panose="05000000000000000000" pitchFamily="2" charset="2"/>
              <a:buChar char="v"/>
              <a:defRPr/>
            </a:pPr>
            <a:r>
              <a:rPr lang="ar-SA" sz="2000" b="1" dirty="0">
                <a:solidFill>
                  <a:prstClr val="black"/>
                </a:solidFill>
                <a:latin typeface="Sakkal Majalla" panose="02000000000000000000" pitchFamily="2" charset="-78"/>
                <a:ea typeface="Samim" panose="020B0603030804020204" pitchFamily="34" charset="0"/>
                <a:cs typeface="Sakkal Majalla" panose="02000000000000000000" pitchFamily="2" charset="-78"/>
              </a:rPr>
              <a:t>تحليل البيانات وإتاحتها من لوحة المؤشرات والتقارير.</a:t>
            </a:r>
          </a:p>
          <a:p>
            <a:pPr marL="180970" indent="-180970" algn="justLow" defTabSz="1219140" rtl="1" latinLnBrk="0">
              <a:buClr>
                <a:srgbClr val="11C1FF"/>
              </a:buClr>
              <a:buFont typeface="Wingdings" panose="05000000000000000000" pitchFamily="2" charset="2"/>
              <a:buChar char="v"/>
              <a:defRPr/>
            </a:pPr>
            <a:r>
              <a:rPr lang="ar-SA" sz="2000" b="1" dirty="0">
                <a:solidFill>
                  <a:prstClr val="black"/>
                </a:solidFill>
                <a:latin typeface="Sakkal Majalla" panose="02000000000000000000" pitchFamily="2" charset="-78"/>
                <a:ea typeface="Samim" panose="020B0603030804020204" pitchFamily="34" charset="0"/>
                <a:cs typeface="Sakkal Majalla" panose="02000000000000000000" pitchFamily="2" charset="-78"/>
                <a:sym typeface="Quicksand"/>
              </a:rPr>
              <a:t> تبادل النتائج والتوصيات والتقارير  المفصلة مع أصحاب المصلحة ( المدرسة وجهات التعليم الأخرى ) والجهات الوطنية.</a:t>
            </a:r>
          </a:p>
          <a:p>
            <a:pPr marL="180970" indent="-180970" algn="justLow" defTabSz="1219140" rtl="1" latinLnBrk="0">
              <a:buClr>
                <a:srgbClr val="11C1FF"/>
              </a:buClr>
              <a:buFont typeface="Wingdings" panose="05000000000000000000" pitchFamily="2" charset="2"/>
              <a:buChar char="v"/>
              <a:defRPr/>
            </a:pPr>
            <a:r>
              <a:rPr lang="ar-SA" sz="2000" b="1" dirty="0">
                <a:solidFill>
                  <a:prstClr val="black"/>
                </a:solidFill>
                <a:latin typeface="Sakkal Majalla" panose="02000000000000000000" pitchFamily="2" charset="-78"/>
                <a:ea typeface="Samim" panose="020B0603030804020204" pitchFamily="34" charset="0"/>
                <a:cs typeface="Sakkal Majalla" panose="02000000000000000000" pitchFamily="2" charset="-78"/>
                <a:sym typeface="Quicksand"/>
              </a:rPr>
              <a:t> تحفيز المنافسة الإيجابية.</a:t>
            </a:r>
          </a:p>
          <a:p>
            <a:pPr marL="180970" indent="-180970" algn="justLow" defTabSz="1219140" rtl="1" latinLnBrk="0">
              <a:buClr>
                <a:srgbClr val="11C1FF"/>
              </a:buClr>
              <a:buFont typeface="Wingdings" panose="05000000000000000000" pitchFamily="2" charset="2"/>
              <a:buChar char="v"/>
              <a:defRPr/>
            </a:pPr>
            <a:r>
              <a:rPr lang="ar-SA" sz="2000" b="1" dirty="0">
                <a:solidFill>
                  <a:prstClr val="black"/>
                </a:solidFill>
                <a:latin typeface="Sakkal Majalla" panose="02000000000000000000" pitchFamily="2" charset="-78"/>
                <a:ea typeface="Samim" panose="020B0603030804020204" pitchFamily="34" charset="0"/>
                <a:cs typeface="Sakkal Majalla" panose="02000000000000000000" pitchFamily="2" charset="-78"/>
                <a:sym typeface="Quicksand"/>
              </a:rPr>
              <a:t>  إشراك وتمكين أصحاب المصلحة .</a:t>
            </a:r>
            <a:endParaRPr sz="2000" b="1" dirty="0">
              <a:solidFill>
                <a:prstClr val="black"/>
              </a:solidFill>
              <a:latin typeface="Sakkal Majalla" panose="02000000000000000000" pitchFamily="2" charset="-78"/>
              <a:ea typeface="Samim" panose="020B0603030804020204" pitchFamily="34" charset="0"/>
              <a:cs typeface="Sakkal Majalla" panose="02000000000000000000" pitchFamily="2" charset="-78"/>
              <a:sym typeface="Quicksand"/>
            </a:endParaRPr>
          </a:p>
        </p:txBody>
      </p:sp>
      <p:sp>
        <p:nvSpPr>
          <p:cNvPr id="22" name="Rectangle 28">
            <a:extLst>
              <a:ext uri="{FF2B5EF4-FFF2-40B4-BE49-F238E27FC236}">
                <a16:creationId xmlns:a16="http://schemas.microsoft.com/office/drawing/2014/main" id="{08B3A950-8098-5C7D-15C3-47E18EA93196}"/>
              </a:ext>
            </a:extLst>
          </p:cNvPr>
          <p:cNvSpPr/>
          <p:nvPr/>
        </p:nvSpPr>
        <p:spPr>
          <a:xfrm>
            <a:off x="322401" y="4497100"/>
            <a:ext cx="10156602" cy="50504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1" tIns="45720" rIns="91441" bIns="45720" numCol="1" spcCol="0" rtlCol="0" fromWordArt="0" anchor="ctr" anchorCtr="0" forceAA="0" compatLnSpc="1">
            <a:prstTxWarp prst="textNoShape">
              <a:avLst/>
            </a:prstTxWarp>
            <a:noAutofit/>
          </a:bodyPr>
          <a:lstStyle/>
          <a:p>
            <a:pPr algn="ctr"/>
            <a:r>
              <a:rPr lang="ar-SA" altLang="ko-KR" sz="2800" b="1" dirty="0">
                <a:solidFill>
                  <a:schemeClr val="bg1"/>
                </a:solidFill>
                <a:latin typeface="Sakkal Majalla" panose="02000000000000000000" pitchFamily="2" charset="-78"/>
                <a:cs typeface="Sakkal Majalla" panose="02000000000000000000" pitchFamily="2" charset="-78"/>
              </a:rPr>
              <a:t>المؤسسات التعليمية (المدرسة ومكاتب التعليم والإدارة التعليمية  والوزارة )</a:t>
            </a:r>
          </a:p>
        </p:txBody>
      </p:sp>
      <p:sp>
        <p:nvSpPr>
          <p:cNvPr id="23" name="Rectangle 28">
            <a:extLst>
              <a:ext uri="{FF2B5EF4-FFF2-40B4-BE49-F238E27FC236}">
                <a16:creationId xmlns:a16="http://schemas.microsoft.com/office/drawing/2014/main" id="{5E42C54F-ED35-E949-5A6F-7A50992308CE}"/>
              </a:ext>
            </a:extLst>
          </p:cNvPr>
          <p:cNvSpPr/>
          <p:nvPr/>
        </p:nvSpPr>
        <p:spPr>
          <a:xfrm>
            <a:off x="329327" y="2274927"/>
            <a:ext cx="10156602" cy="456615"/>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1" tIns="45720" rIns="91441" bIns="45720" numCol="1" spcCol="0" rtlCol="0" fromWordArt="0" anchor="ctr" anchorCtr="0" forceAA="0" compatLnSpc="1">
            <a:prstTxWarp prst="textNoShape">
              <a:avLst/>
            </a:prstTxWarp>
            <a:noAutofit/>
          </a:bodyPr>
          <a:lstStyle/>
          <a:p>
            <a:pPr algn="ctr" rtl="1"/>
            <a:r>
              <a:rPr lang="ar-SA" altLang="ko-KR" sz="2800" b="1" dirty="0">
                <a:solidFill>
                  <a:schemeClr val="bg1"/>
                </a:solidFill>
                <a:latin typeface="Sakkal Majalla" panose="02000000000000000000" pitchFamily="2" charset="-78"/>
                <a:cs typeface="Sakkal Majalla" panose="02000000000000000000" pitchFamily="2" charset="-78"/>
              </a:rPr>
              <a:t>المؤسسات التعليمية (المدرسة ومكاتب التعليم والإدارة التعليمية  والوزارة )</a:t>
            </a:r>
            <a:endParaRPr lang="ko-KR" altLang="en-US" sz="2800" b="1" dirty="0">
              <a:solidFill>
                <a:schemeClr val="bg1"/>
              </a:solidFill>
              <a:latin typeface="Sakkal Majalla" panose="02000000000000000000" pitchFamily="2" charset="-78"/>
              <a:cs typeface="Sakkal Majalla" panose="02000000000000000000" pitchFamily="2" charset="-78"/>
            </a:endParaRPr>
          </a:p>
        </p:txBody>
      </p:sp>
      <p:cxnSp>
        <p:nvCxnSpPr>
          <p:cNvPr id="24" name="Google Shape;921;p31">
            <a:extLst>
              <a:ext uri="{FF2B5EF4-FFF2-40B4-BE49-F238E27FC236}">
                <a16:creationId xmlns:a16="http://schemas.microsoft.com/office/drawing/2014/main" id="{E15984FC-123A-5B9F-BF1C-5C662672814C}"/>
              </a:ext>
            </a:extLst>
          </p:cNvPr>
          <p:cNvCxnSpPr>
            <a:cxnSpLocks/>
            <a:stCxn id="15" idx="2"/>
            <a:endCxn id="23" idx="3"/>
          </p:cNvCxnSpPr>
          <p:nvPr/>
        </p:nvCxnSpPr>
        <p:spPr>
          <a:xfrm rot="5400000">
            <a:off x="10624951" y="2093100"/>
            <a:ext cx="271113" cy="549156"/>
          </a:xfrm>
          <a:prstGeom prst="bentConnector2">
            <a:avLst/>
          </a:prstGeom>
          <a:noFill/>
          <a:ln w="38100" cap="flat" cmpd="sng">
            <a:solidFill>
              <a:srgbClr val="FF0000"/>
            </a:solidFill>
            <a:prstDash val="solid"/>
            <a:round/>
            <a:headEnd type="none" w="med" len="med"/>
            <a:tailEnd type="arrow" w="med" len="med"/>
          </a:ln>
        </p:spPr>
      </p:cxnSp>
      <p:cxnSp>
        <p:nvCxnSpPr>
          <p:cNvPr id="29" name="Google Shape;921;p31">
            <a:extLst>
              <a:ext uri="{FF2B5EF4-FFF2-40B4-BE49-F238E27FC236}">
                <a16:creationId xmlns:a16="http://schemas.microsoft.com/office/drawing/2014/main" id="{23114BF1-FCDB-25EC-C759-C946E07A7586}"/>
              </a:ext>
            </a:extLst>
          </p:cNvPr>
          <p:cNvCxnSpPr>
            <a:cxnSpLocks/>
          </p:cNvCxnSpPr>
          <p:nvPr/>
        </p:nvCxnSpPr>
        <p:spPr>
          <a:xfrm rot="5400000">
            <a:off x="10500533" y="4215572"/>
            <a:ext cx="501633" cy="566463"/>
          </a:xfrm>
          <a:prstGeom prst="bentConnector2">
            <a:avLst/>
          </a:prstGeom>
          <a:noFill/>
          <a:ln w="38100" cap="flat" cmpd="sng">
            <a:solidFill>
              <a:srgbClr val="FF0000"/>
            </a:solidFill>
            <a:prstDash val="solid"/>
            <a:round/>
            <a:headEnd type="none" w="med" len="med"/>
            <a:tailEnd type="arrow" w="med" len="med"/>
          </a:ln>
        </p:spPr>
      </p:cxnSp>
      <p:cxnSp>
        <p:nvCxnSpPr>
          <p:cNvPr id="32" name="Google Shape;921;p31">
            <a:extLst>
              <a:ext uri="{FF2B5EF4-FFF2-40B4-BE49-F238E27FC236}">
                <a16:creationId xmlns:a16="http://schemas.microsoft.com/office/drawing/2014/main" id="{0606E4AE-8230-5DCD-4C1F-9BF745498119}"/>
              </a:ext>
            </a:extLst>
          </p:cNvPr>
          <p:cNvCxnSpPr>
            <a:cxnSpLocks/>
            <a:stCxn id="20" idx="0"/>
            <a:endCxn id="22" idx="3"/>
          </p:cNvCxnSpPr>
          <p:nvPr/>
        </p:nvCxnSpPr>
        <p:spPr>
          <a:xfrm rot="16200000" flipV="1">
            <a:off x="10598973" y="4629650"/>
            <a:ext cx="316142" cy="556082"/>
          </a:xfrm>
          <a:prstGeom prst="bentConnector2">
            <a:avLst/>
          </a:prstGeom>
          <a:noFill/>
          <a:ln w="38100" cap="flat" cmpd="sng">
            <a:solidFill>
              <a:srgbClr val="FF0000"/>
            </a:solidFill>
            <a:prstDash val="solid"/>
            <a:round/>
            <a:headEnd type="none" w="med" len="med"/>
            <a:tailEnd type="arrow" w="med" len="med"/>
          </a:ln>
        </p:spPr>
      </p:cxnSp>
      <p:sp>
        <p:nvSpPr>
          <p:cNvPr id="37" name="شكل بيضاوي 36">
            <a:extLst>
              <a:ext uri="{FF2B5EF4-FFF2-40B4-BE49-F238E27FC236}">
                <a16:creationId xmlns:a16="http://schemas.microsoft.com/office/drawing/2014/main" id="{6FC28531-41B6-28CB-5784-AF4815452323}"/>
              </a:ext>
            </a:extLst>
          </p:cNvPr>
          <p:cNvSpPr/>
          <p:nvPr/>
        </p:nvSpPr>
        <p:spPr>
          <a:xfrm>
            <a:off x="11322853" y="863978"/>
            <a:ext cx="578199" cy="519084"/>
          </a:xfrm>
          <a:prstGeom prst="ellipse">
            <a:avLst/>
          </a:prstGeom>
          <a:solidFill>
            <a:schemeClr val="accent4">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r>
              <a:rPr lang="en-US" sz="2800" dirty="0">
                <a:solidFill>
                  <a:schemeClr val="tx1"/>
                </a:solidFill>
              </a:rPr>
              <a:t>1</a:t>
            </a:r>
            <a:endParaRPr lang="ar-SA" dirty="0">
              <a:solidFill>
                <a:schemeClr val="tx1"/>
              </a:solidFill>
            </a:endParaRPr>
          </a:p>
        </p:txBody>
      </p:sp>
      <p:sp>
        <p:nvSpPr>
          <p:cNvPr id="38" name="شكل بيضاوي 37">
            <a:extLst>
              <a:ext uri="{FF2B5EF4-FFF2-40B4-BE49-F238E27FC236}">
                <a16:creationId xmlns:a16="http://schemas.microsoft.com/office/drawing/2014/main" id="{27BCFD0D-0E07-03EF-34CB-4BA99F6FB5DF}"/>
              </a:ext>
            </a:extLst>
          </p:cNvPr>
          <p:cNvSpPr/>
          <p:nvPr/>
        </p:nvSpPr>
        <p:spPr>
          <a:xfrm>
            <a:off x="11337857" y="2388126"/>
            <a:ext cx="578199" cy="519084"/>
          </a:xfrm>
          <a:prstGeom prst="ellipse">
            <a:avLst/>
          </a:prstGeom>
          <a:solidFill>
            <a:schemeClr val="accent4">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r>
              <a:rPr lang="en-US" sz="2800" dirty="0">
                <a:solidFill>
                  <a:schemeClr val="tx1"/>
                </a:solidFill>
              </a:rPr>
              <a:t>2</a:t>
            </a:r>
            <a:endParaRPr lang="ar-SA" dirty="0">
              <a:solidFill>
                <a:schemeClr val="tx1"/>
              </a:solidFill>
            </a:endParaRPr>
          </a:p>
        </p:txBody>
      </p:sp>
      <p:sp>
        <p:nvSpPr>
          <p:cNvPr id="39" name="شكل بيضاوي 38">
            <a:extLst>
              <a:ext uri="{FF2B5EF4-FFF2-40B4-BE49-F238E27FC236}">
                <a16:creationId xmlns:a16="http://schemas.microsoft.com/office/drawing/2014/main" id="{E5D104D6-5DF8-EA98-73B3-92C98F8E1668}"/>
              </a:ext>
            </a:extLst>
          </p:cNvPr>
          <p:cNvSpPr/>
          <p:nvPr/>
        </p:nvSpPr>
        <p:spPr>
          <a:xfrm>
            <a:off x="11322853" y="4469120"/>
            <a:ext cx="578199" cy="519084"/>
          </a:xfrm>
          <a:prstGeom prst="ellipse">
            <a:avLst/>
          </a:prstGeom>
          <a:solidFill>
            <a:schemeClr val="accent4">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r>
              <a:rPr lang="en-US" sz="2800" dirty="0">
                <a:solidFill>
                  <a:schemeClr val="tx1"/>
                </a:solidFill>
              </a:rPr>
              <a:t>3</a:t>
            </a:r>
            <a:endParaRPr lang="ar-SA" dirty="0">
              <a:solidFill>
                <a:schemeClr val="tx1"/>
              </a:solidFill>
            </a:endParaRPr>
          </a:p>
        </p:txBody>
      </p:sp>
    </p:spTree>
    <p:extLst>
      <p:ext uri="{BB962C8B-B14F-4D97-AF65-F5344CB8AC3E}">
        <p14:creationId xmlns:p14="http://schemas.microsoft.com/office/powerpoint/2010/main" val="2493818852"/>
      </p:ext>
    </p:extLst>
  </p:cSld>
  <p:clrMapOvr>
    <a:masterClrMapping/>
  </p:clrMapOvr>
  <mc:AlternateContent xmlns:mc="http://schemas.openxmlformats.org/markup-compatibility/2006" xmlns:p14="http://schemas.microsoft.com/office/powerpoint/2010/main">
    <mc:Choice Requires="p14">
      <p:transition spd="slow" p14:dur="1200">
        <p14:prism dir="r"/>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arn(inVertical)">
                                      <p:cBhvr>
                                        <p:cTn id="7" dur="1000"/>
                                        <p:tgtEl>
                                          <p:spTgt spid="4"/>
                                        </p:tgtEl>
                                      </p:cBhvr>
                                    </p:animEffect>
                                  </p:childTnLst>
                                </p:cTn>
                              </p:par>
                              <p:par>
                                <p:cTn id="8" presetID="16" presetClass="entr" presetSubtype="21"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barn(inVertical)">
                                      <p:cBhvr>
                                        <p:cTn id="10" dur="1000"/>
                                        <p:tgtEl>
                                          <p:spTgt spid="6"/>
                                        </p:tgtEl>
                                      </p:cBhvr>
                                    </p:animEffect>
                                  </p:childTnLst>
                                </p:cTn>
                              </p:par>
                            </p:childTnLst>
                          </p:cTn>
                        </p:par>
                      </p:childTnLst>
                    </p:cTn>
                  </p:par>
                  <p:par>
                    <p:cTn id="11" fill="hold">
                      <p:stCondLst>
                        <p:cond delay="indefinite"/>
                      </p:stCondLst>
                      <p:childTnLst>
                        <p:par>
                          <p:cTn id="12" fill="hold">
                            <p:stCondLst>
                              <p:cond delay="0"/>
                            </p:stCondLst>
                            <p:childTnLst>
                              <p:par>
                                <p:cTn id="13" presetID="16" presetClass="entr" presetSubtype="21" fill="hold" grpId="0" nodeType="clickEffect">
                                  <p:stCondLst>
                                    <p:cond delay="0"/>
                                  </p:stCondLst>
                                  <p:childTnLst>
                                    <p:set>
                                      <p:cBhvr>
                                        <p:cTn id="14" dur="1" fill="hold">
                                          <p:stCondLst>
                                            <p:cond delay="0"/>
                                          </p:stCondLst>
                                        </p:cTn>
                                        <p:tgtEl>
                                          <p:spTgt spid="15"/>
                                        </p:tgtEl>
                                        <p:attrNameLst>
                                          <p:attrName>style.visibility</p:attrName>
                                        </p:attrNameLst>
                                      </p:cBhvr>
                                      <p:to>
                                        <p:strVal val="visible"/>
                                      </p:to>
                                    </p:set>
                                    <p:animEffect transition="in" filter="barn(inVertical)">
                                      <p:cBhvr>
                                        <p:cTn id="15" dur="1500"/>
                                        <p:tgtEl>
                                          <p:spTgt spid="15"/>
                                        </p:tgtEl>
                                      </p:cBhvr>
                                    </p:animEffect>
                                  </p:childTnLst>
                                </p:cTn>
                              </p:par>
                              <p:par>
                                <p:cTn id="16" presetID="16" presetClass="entr" presetSubtype="21" fill="hold" grpId="0" nodeType="withEffect">
                                  <p:stCondLst>
                                    <p:cond delay="0"/>
                                  </p:stCondLst>
                                  <p:childTnLst>
                                    <p:set>
                                      <p:cBhvr>
                                        <p:cTn id="17" dur="1" fill="hold">
                                          <p:stCondLst>
                                            <p:cond delay="0"/>
                                          </p:stCondLst>
                                        </p:cTn>
                                        <p:tgtEl>
                                          <p:spTgt spid="37"/>
                                        </p:tgtEl>
                                        <p:attrNameLst>
                                          <p:attrName>style.visibility</p:attrName>
                                        </p:attrNameLst>
                                      </p:cBhvr>
                                      <p:to>
                                        <p:strVal val="visible"/>
                                      </p:to>
                                    </p:set>
                                    <p:animEffect transition="in" filter="barn(inVertical)">
                                      <p:cBhvr>
                                        <p:cTn id="18" dur="1000"/>
                                        <p:tgtEl>
                                          <p:spTgt spid="37"/>
                                        </p:tgtEl>
                                      </p:cBhvr>
                                    </p:animEffect>
                                  </p:childTnLst>
                                </p:cTn>
                              </p:par>
                            </p:childTnLst>
                          </p:cTn>
                        </p:par>
                      </p:childTnLst>
                    </p:cTn>
                  </p:par>
                  <p:par>
                    <p:cTn id="19" fill="hold">
                      <p:stCondLst>
                        <p:cond delay="indefinite"/>
                      </p:stCondLst>
                      <p:childTnLst>
                        <p:par>
                          <p:cTn id="20" fill="hold">
                            <p:stCondLst>
                              <p:cond delay="0"/>
                            </p:stCondLst>
                            <p:childTnLst>
                              <p:par>
                                <p:cTn id="21" presetID="16" presetClass="entr" presetSubtype="21" fill="hold" grpId="0" nodeType="clickEffect">
                                  <p:stCondLst>
                                    <p:cond delay="0"/>
                                  </p:stCondLst>
                                  <p:childTnLst>
                                    <p:set>
                                      <p:cBhvr>
                                        <p:cTn id="22" dur="1" fill="hold">
                                          <p:stCondLst>
                                            <p:cond delay="0"/>
                                          </p:stCondLst>
                                        </p:cTn>
                                        <p:tgtEl>
                                          <p:spTgt spid="19"/>
                                        </p:tgtEl>
                                        <p:attrNameLst>
                                          <p:attrName>style.visibility</p:attrName>
                                        </p:attrNameLst>
                                      </p:cBhvr>
                                      <p:to>
                                        <p:strVal val="visible"/>
                                      </p:to>
                                    </p:set>
                                    <p:animEffect transition="in" filter="barn(inVertical)">
                                      <p:cBhvr>
                                        <p:cTn id="23" dur="1500"/>
                                        <p:tgtEl>
                                          <p:spTgt spid="19"/>
                                        </p:tgtEl>
                                      </p:cBhvr>
                                    </p:animEffect>
                                  </p:childTnLst>
                                </p:cTn>
                              </p:par>
                              <p:par>
                                <p:cTn id="24" presetID="16" presetClass="entr" presetSubtype="21" fill="hold" grpId="0" nodeType="withEffect">
                                  <p:stCondLst>
                                    <p:cond delay="0"/>
                                  </p:stCondLst>
                                  <p:childTnLst>
                                    <p:set>
                                      <p:cBhvr>
                                        <p:cTn id="25" dur="1" fill="hold">
                                          <p:stCondLst>
                                            <p:cond delay="0"/>
                                          </p:stCondLst>
                                        </p:cTn>
                                        <p:tgtEl>
                                          <p:spTgt spid="38"/>
                                        </p:tgtEl>
                                        <p:attrNameLst>
                                          <p:attrName>style.visibility</p:attrName>
                                        </p:attrNameLst>
                                      </p:cBhvr>
                                      <p:to>
                                        <p:strVal val="visible"/>
                                      </p:to>
                                    </p:set>
                                    <p:animEffect transition="in" filter="barn(inVertical)">
                                      <p:cBhvr>
                                        <p:cTn id="26" dur="1000"/>
                                        <p:tgtEl>
                                          <p:spTgt spid="38"/>
                                        </p:tgtEl>
                                      </p:cBhvr>
                                    </p:animEffect>
                                  </p:childTnLst>
                                </p:cTn>
                              </p:par>
                            </p:childTnLst>
                          </p:cTn>
                        </p:par>
                      </p:childTnLst>
                    </p:cTn>
                  </p:par>
                  <p:par>
                    <p:cTn id="27" fill="hold">
                      <p:stCondLst>
                        <p:cond delay="indefinite"/>
                      </p:stCondLst>
                      <p:childTnLst>
                        <p:par>
                          <p:cTn id="28" fill="hold">
                            <p:stCondLst>
                              <p:cond delay="0"/>
                            </p:stCondLst>
                            <p:childTnLst>
                              <p:par>
                                <p:cTn id="29" presetID="16" presetClass="entr" presetSubtype="21" fill="hold" grpId="0" nodeType="clickEffect">
                                  <p:stCondLst>
                                    <p:cond delay="0"/>
                                  </p:stCondLst>
                                  <p:childTnLst>
                                    <p:set>
                                      <p:cBhvr>
                                        <p:cTn id="30" dur="1" fill="hold">
                                          <p:stCondLst>
                                            <p:cond delay="0"/>
                                          </p:stCondLst>
                                        </p:cTn>
                                        <p:tgtEl>
                                          <p:spTgt spid="20"/>
                                        </p:tgtEl>
                                        <p:attrNameLst>
                                          <p:attrName>style.visibility</p:attrName>
                                        </p:attrNameLst>
                                      </p:cBhvr>
                                      <p:to>
                                        <p:strVal val="visible"/>
                                      </p:to>
                                    </p:set>
                                    <p:animEffect transition="in" filter="barn(inVertical)">
                                      <p:cBhvr>
                                        <p:cTn id="31" dur="1250"/>
                                        <p:tgtEl>
                                          <p:spTgt spid="20"/>
                                        </p:tgtEl>
                                      </p:cBhvr>
                                    </p:animEffect>
                                  </p:childTnLst>
                                </p:cTn>
                              </p:par>
                              <p:par>
                                <p:cTn id="32" presetID="16" presetClass="entr" presetSubtype="21" fill="hold" grpId="0" nodeType="withEffect">
                                  <p:stCondLst>
                                    <p:cond delay="0"/>
                                  </p:stCondLst>
                                  <p:childTnLst>
                                    <p:set>
                                      <p:cBhvr>
                                        <p:cTn id="33" dur="1" fill="hold">
                                          <p:stCondLst>
                                            <p:cond delay="0"/>
                                          </p:stCondLst>
                                        </p:cTn>
                                        <p:tgtEl>
                                          <p:spTgt spid="39"/>
                                        </p:tgtEl>
                                        <p:attrNameLst>
                                          <p:attrName>style.visibility</p:attrName>
                                        </p:attrNameLst>
                                      </p:cBhvr>
                                      <p:to>
                                        <p:strVal val="visible"/>
                                      </p:to>
                                    </p:set>
                                    <p:animEffect transition="in" filter="barn(inVertical)">
                                      <p:cBhvr>
                                        <p:cTn id="34" dur="1000"/>
                                        <p:tgtEl>
                                          <p:spTgt spid="39"/>
                                        </p:tgtEl>
                                      </p:cBhvr>
                                    </p:animEffect>
                                  </p:childTnLst>
                                </p:cTn>
                              </p:par>
                            </p:childTnLst>
                          </p:cTn>
                        </p:par>
                      </p:childTnLst>
                    </p:cTn>
                  </p:par>
                  <p:par>
                    <p:cTn id="35" fill="hold">
                      <p:stCondLst>
                        <p:cond delay="indefinite"/>
                      </p:stCondLst>
                      <p:childTnLst>
                        <p:par>
                          <p:cTn id="36" fill="hold">
                            <p:stCondLst>
                              <p:cond delay="0"/>
                            </p:stCondLst>
                            <p:childTnLst>
                              <p:par>
                                <p:cTn id="37" presetID="16" presetClass="entr" presetSubtype="21" fill="hold" grpId="0" nodeType="clickEffect">
                                  <p:stCondLst>
                                    <p:cond delay="0"/>
                                  </p:stCondLst>
                                  <p:childTnLst>
                                    <p:set>
                                      <p:cBhvr>
                                        <p:cTn id="38" dur="1" fill="hold">
                                          <p:stCondLst>
                                            <p:cond delay="0"/>
                                          </p:stCondLst>
                                        </p:cTn>
                                        <p:tgtEl>
                                          <p:spTgt spid="9"/>
                                        </p:tgtEl>
                                        <p:attrNameLst>
                                          <p:attrName>style.visibility</p:attrName>
                                        </p:attrNameLst>
                                      </p:cBhvr>
                                      <p:to>
                                        <p:strVal val="visible"/>
                                      </p:to>
                                    </p:set>
                                    <p:animEffect transition="in" filter="barn(inVertical)">
                                      <p:cBhvr>
                                        <p:cTn id="39" dur="500"/>
                                        <p:tgtEl>
                                          <p:spTgt spid="9"/>
                                        </p:tgtEl>
                                      </p:cBhvr>
                                    </p:animEffect>
                                  </p:childTnLst>
                                </p:cTn>
                              </p:par>
                            </p:childTnLst>
                          </p:cTn>
                        </p:par>
                      </p:childTnLst>
                    </p:cTn>
                  </p:par>
                  <p:par>
                    <p:cTn id="40" fill="hold">
                      <p:stCondLst>
                        <p:cond delay="indefinite"/>
                      </p:stCondLst>
                      <p:childTnLst>
                        <p:par>
                          <p:cTn id="41" fill="hold">
                            <p:stCondLst>
                              <p:cond delay="0"/>
                            </p:stCondLst>
                            <p:childTnLst>
                              <p:par>
                                <p:cTn id="42" presetID="16" presetClass="entr" presetSubtype="21" fill="hold" grpId="0" nodeType="clickEffect">
                                  <p:stCondLst>
                                    <p:cond delay="0"/>
                                  </p:stCondLst>
                                  <p:childTnLst>
                                    <p:set>
                                      <p:cBhvr>
                                        <p:cTn id="43" dur="1" fill="hold">
                                          <p:stCondLst>
                                            <p:cond delay="0"/>
                                          </p:stCondLst>
                                        </p:cTn>
                                        <p:tgtEl>
                                          <p:spTgt spid="11"/>
                                        </p:tgtEl>
                                        <p:attrNameLst>
                                          <p:attrName>style.visibility</p:attrName>
                                        </p:attrNameLst>
                                      </p:cBhvr>
                                      <p:to>
                                        <p:strVal val="visible"/>
                                      </p:to>
                                    </p:set>
                                    <p:animEffect transition="in" filter="barn(inVertical)">
                                      <p:cBhvr>
                                        <p:cTn id="44" dur="500"/>
                                        <p:tgtEl>
                                          <p:spTgt spid="11"/>
                                        </p:tgtEl>
                                      </p:cBhvr>
                                    </p:animEffect>
                                  </p:childTnLst>
                                </p:cTn>
                              </p:par>
                            </p:childTnLst>
                          </p:cTn>
                        </p:par>
                      </p:childTnLst>
                    </p:cTn>
                  </p:par>
                  <p:par>
                    <p:cTn id="45" fill="hold">
                      <p:stCondLst>
                        <p:cond delay="indefinite"/>
                      </p:stCondLst>
                      <p:childTnLst>
                        <p:par>
                          <p:cTn id="46" fill="hold">
                            <p:stCondLst>
                              <p:cond delay="0"/>
                            </p:stCondLst>
                            <p:childTnLst>
                              <p:par>
                                <p:cTn id="47" presetID="16" presetClass="entr" presetSubtype="21" fill="hold" grpId="0" nodeType="clickEffect">
                                  <p:stCondLst>
                                    <p:cond delay="0"/>
                                  </p:stCondLst>
                                  <p:childTnLst>
                                    <p:set>
                                      <p:cBhvr>
                                        <p:cTn id="48" dur="1" fill="hold">
                                          <p:stCondLst>
                                            <p:cond delay="0"/>
                                          </p:stCondLst>
                                        </p:cTn>
                                        <p:tgtEl>
                                          <p:spTgt spid="14"/>
                                        </p:tgtEl>
                                        <p:attrNameLst>
                                          <p:attrName>style.visibility</p:attrName>
                                        </p:attrNameLst>
                                      </p:cBhvr>
                                      <p:to>
                                        <p:strVal val="visible"/>
                                      </p:to>
                                    </p:set>
                                    <p:animEffect transition="in" filter="barn(inVertical)">
                                      <p:cBhvr>
                                        <p:cTn id="49" dur="500"/>
                                        <p:tgtEl>
                                          <p:spTgt spid="14"/>
                                        </p:tgtEl>
                                      </p:cBhvr>
                                    </p:animEffect>
                                  </p:childTnLst>
                                </p:cTn>
                              </p:par>
                            </p:childTnLst>
                          </p:cTn>
                        </p:par>
                      </p:childTnLst>
                    </p:cTn>
                  </p:par>
                  <p:par>
                    <p:cTn id="50" fill="hold">
                      <p:stCondLst>
                        <p:cond delay="indefinite"/>
                      </p:stCondLst>
                      <p:childTnLst>
                        <p:par>
                          <p:cTn id="51" fill="hold">
                            <p:stCondLst>
                              <p:cond delay="0"/>
                            </p:stCondLst>
                            <p:childTnLst>
                              <p:par>
                                <p:cTn id="52" presetID="16" presetClass="entr" presetSubtype="21" fill="hold" grpId="0" nodeType="clickEffect">
                                  <p:stCondLst>
                                    <p:cond delay="0"/>
                                  </p:stCondLst>
                                  <p:childTnLst>
                                    <p:set>
                                      <p:cBhvr>
                                        <p:cTn id="53" dur="1" fill="hold">
                                          <p:stCondLst>
                                            <p:cond delay="0"/>
                                          </p:stCondLst>
                                        </p:cTn>
                                        <p:tgtEl>
                                          <p:spTgt spid="3"/>
                                        </p:tgtEl>
                                        <p:attrNameLst>
                                          <p:attrName>style.visibility</p:attrName>
                                        </p:attrNameLst>
                                      </p:cBhvr>
                                      <p:to>
                                        <p:strVal val="visible"/>
                                      </p:to>
                                    </p:set>
                                    <p:animEffect transition="in" filter="barn(inVertical)">
                                      <p:cBhvr>
                                        <p:cTn id="54" dur="1250"/>
                                        <p:tgtEl>
                                          <p:spTgt spid="3"/>
                                        </p:tgtEl>
                                      </p:cBhvr>
                                    </p:animEffect>
                                  </p:childTnLst>
                                </p:cTn>
                              </p:par>
                            </p:childTnLst>
                          </p:cTn>
                        </p:par>
                      </p:childTnLst>
                    </p:cTn>
                  </p:par>
                  <p:par>
                    <p:cTn id="55" fill="hold">
                      <p:stCondLst>
                        <p:cond delay="indefinite"/>
                      </p:stCondLst>
                      <p:childTnLst>
                        <p:par>
                          <p:cTn id="56" fill="hold">
                            <p:stCondLst>
                              <p:cond delay="0"/>
                            </p:stCondLst>
                            <p:childTnLst>
                              <p:par>
                                <p:cTn id="57" presetID="16" presetClass="entr" presetSubtype="21" fill="hold" grpId="0" nodeType="clickEffect">
                                  <p:stCondLst>
                                    <p:cond delay="0"/>
                                  </p:stCondLst>
                                  <p:childTnLst>
                                    <p:set>
                                      <p:cBhvr>
                                        <p:cTn id="58" dur="1" fill="hold">
                                          <p:stCondLst>
                                            <p:cond delay="0"/>
                                          </p:stCondLst>
                                        </p:cTn>
                                        <p:tgtEl>
                                          <p:spTgt spid="10"/>
                                        </p:tgtEl>
                                        <p:attrNameLst>
                                          <p:attrName>style.visibility</p:attrName>
                                        </p:attrNameLst>
                                      </p:cBhvr>
                                      <p:to>
                                        <p:strVal val="visible"/>
                                      </p:to>
                                    </p:set>
                                    <p:animEffect transition="in" filter="barn(inVertical)">
                                      <p:cBhvr>
                                        <p:cTn id="59" dur="1750"/>
                                        <p:tgtEl>
                                          <p:spTgt spid="10"/>
                                        </p:tgtEl>
                                      </p:cBhvr>
                                    </p:animEffect>
                                  </p:childTnLst>
                                </p:cTn>
                              </p:par>
                            </p:childTnLst>
                          </p:cTn>
                        </p:par>
                      </p:childTnLst>
                    </p:cTn>
                  </p:par>
                  <p:par>
                    <p:cTn id="60" fill="hold">
                      <p:stCondLst>
                        <p:cond delay="indefinite"/>
                      </p:stCondLst>
                      <p:childTnLst>
                        <p:par>
                          <p:cTn id="61" fill="hold">
                            <p:stCondLst>
                              <p:cond delay="0"/>
                            </p:stCondLst>
                            <p:childTnLst>
                              <p:par>
                                <p:cTn id="62" presetID="16" presetClass="entr" presetSubtype="21" fill="hold" grpId="0" nodeType="clickEffect">
                                  <p:stCondLst>
                                    <p:cond delay="0"/>
                                  </p:stCondLst>
                                  <p:childTnLst>
                                    <p:set>
                                      <p:cBhvr>
                                        <p:cTn id="63" dur="1" fill="hold">
                                          <p:stCondLst>
                                            <p:cond delay="0"/>
                                          </p:stCondLst>
                                        </p:cTn>
                                        <p:tgtEl>
                                          <p:spTgt spid="12"/>
                                        </p:tgtEl>
                                        <p:attrNameLst>
                                          <p:attrName>style.visibility</p:attrName>
                                        </p:attrNameLst>
                                      </p:cBhvr>
                                      <p:to>
                                        <p:strVal val="visible"/>
                                      </p:to>
                                    </p:set>
                                    <p:animEffect transition="in" filter="barn(inVertical)">
                                      <p:cBhvr>
                                        <p:cTn id="64" dur="1750"/>
                                        <p:tgtEl>
                                          <p:spTgt spid="12"/>
                                        </p:tgtEl>
                                      </p:cBhvr>
                                    </p:animEffect>
                                  </p:childTnLst>
                                </p:cTn>
                              </p:par>
                            </p:childTnLst>
                          </p:cTn>
                        </p:par>
                      </p:childTnLst>
                    </p:cTn>
                  </p:par>
                  <p:par>
                    <p:cTn id="65" fill="hold">
                      <p:stCondLst>
                        <p:cond delay="indefinite"/>
                      </p:stCondLst>
                      <p:childTnLst>
                        <p:par>
                          <p:cTn id="66" fill="hold">
                            <p:stCondLst>
                              <p:cond delay="0"/>
                            </p:stCondLst>
                            <p:childTnLst>
                              <p:par>
                                <p:cTn id="67" presetID="16" presetClass="entr" presetSubtype="21" fill="hold" grpId="0" nodeType="clickEffect">
                                  <p:stCondLst>
                                    <p:cond delay="0"/>
                                  </p:stCondLst>
                                  <p:childTnLst>
                                    <p:set>
                                      <p:cBhvr>
                                        <p:cTn id="68" dur="1" fill="hold">
                                          <p:stCondLst>
                                            <p:cond delay="0"/>
                                          </p:stCondLst>
                                        </p:cTn>
                                        <p:tgtEl>
                                          <p:spTgt spid="16"/>
                                        </p:tgtEl>
                                        <p:attrNameLst>
                                          <p:attrName>style.visibility</p:attrName>
                                        </p:attrNameLst>
                                      </p:cBhvr>
                                      <p:to>
                                        <p:strVal val="visible"/>
                                      </p:to>
                                    </p:set>
                                    <p:animEffect transition="in" filter="barn(inVertical)">
                                      <p:cBhvr>
                                        <p:cTn id="69" dur="1750"/>
                                        <p:tgtEl>
                                          <p:spTgt spid="16"/>
                                        </p:tgtEl>
                                      </p:cBhvr>
                                    </p:animEffect>
                                  </p:childTnLst>
                                </p:cTn>
                              </p:par>
                            </p:childTnLst>
                          </p:cTn>
                        </p:par>
                      </p:childTnLst>
                    </p:cTn>
                  </p:par>
                  <p:par>
                    <p:cTn id="70" fill="hold">
                      <p:stCondLst>
                        <p:cond delay="indefinite"/>
                      </p:stCondLst>
                      <p:childTnLst>
                        <p:par>
                          <p:cTn id="71" fill="hold">
                            <p:stCondLst>
                              <p:cond delay="0"/>
                            </p:stCondLst>
                            <p:childTnLst>
                              <p:par>
                                <p:cTn id="72" presetID="16" presetClass="entr" presetSubtype="21" fill="hold" grpId="0" nodeType="clickEffect">
                                  <p:stCondLst>
                                    <p:cond delay="0"/>
                                  </p:stCondLst>
                                  <p:childTnLst>
                                    <p:set>
                                      <p:cBhvr>
                                        <p:cTn id="73" dur="1" fill="hold">
                                          <p:stCondLst>
                                            <p:cond delay="0"/>
                                          </p:stCondLst>
                                        </p:cTn>
                                        <p:tgtEl>
                                          <p:spTgt spid="17"/>
                                        </p:tgtEl>
                                        <p:attrNameLst>
                                          <p:attrName>style.visibility</p:attrName>
                                        </p:attrNameLst>
                                      </p:cBhvr>
                                      <p:to>
                                        <p:strVal val="visible"/>
                                      </p:to>
                                    </p:set>
                                    <p:animEffect transition="in" filter="barn(inVertical)">
                                      <p:cBhvr>
                                        <p:cTn id="74" dur="1750"/>
                                        <p:tgtEl>
                                          <p:spTgt spid="17"/>
                                        </p:tgtEl>
                                      </p:cBhvr>
                                    </p:animEffect>
                                  </p:childTnLst>
                                </p:cTn>
                              </p:par>
                            </p:childTnLst>
                          </p:cTn>
                        </p:par>
                      </p:childTnLst>
                    </p:cTn>
                  </p:par>
                  <p:par>
                    <p:cTn id="75" fill="hold">
                      <p:stCondLst>
                        <p:cond delay="indefinite"/>
                      </p:stCondLst>
                      <p:childTnLst>
                        <p:par>
                          <p:cTn id="76" fill="hold">
                            <p:stCondLst>
                              <p:cond delay="0"/>
                            </p:stCondLst>
                            <p:childTnLst>
                              <p:par>
                                <p:cTn id="77" presetID="16" presetClass="entr" presetSubtype="21" fill="hold" grpId="0" nodeType="clickEffect">
                                  <p:stCondLst>
                                    <p:cond delay="0"/>
                                  </p:stCondLst>
                                  <p:childTnLst>
                                    <p:set>
                                      <p:cBhvr>
                                        <p:cTn id="78" dur="1" fill="hold">
                                          <p:stCondLst>
                                            <p:cond delay="0"/>
                                          </p:stCondLst>
                                        </p:cTn>
                                        <p:tgtEl>
                                          <p:spTgt spid="18"/>
                                        </p:tgtEl>
                                        <p:attrNameLst>
                                          <p:attrName>style.visibility</p:attrName>
                                        </p:attrNameLst>
                                      </p:cBhvr>
                                      <p:to>
                                        <p:strVal val="visible"/>
                                      </p:to>
                                    </p:set>
                                    <p:animEffect transition="in" filter="barn(inVertical)">
                                      <p:cBhvr>
                                        <p:cTn id="79" dur="1750"/>
                                        <p:tgtEl>
                                          <p:spTgt spid="18"/>
                                        </p:tgtEl>
                                      </p:cBhvr>
                                    </p:animEffect>
                                  </p:childTnLst>
                                </p:cTn>
                              </p:par>
                            </p:childTnLst>
                          </p:cTn>
                        </p:par>
                      </p:childTnLst>
                    </p:cTn>
                  </p:par>
                  <p:par>
                    <p:cTn id="80" fill="hold">
                      <p:stCondLst>
                        <p:cond delay="indefinite"/>
                      </p:stCondLst>
                      <p:childTnLst>
                        <p:par>
                          <p:cTn id="81" fill="hold">
                            <p:stCondLst>
                              <p:cond delay="0"/>
                            </p:stCondLst>
                            <p:childTnLst>
                              <p:par>
                                <p:cTn id="82" presetID="16" presetClass="entr" presetSubtype="21" fill="hold" grpId="0" nodeType="clickEffect">
                                  <p:stCondLst>
                                    <p:cond delay="0"/>
                                  </p:stCondLst>
                                  <p:childTnLst>
                                    <p:set>
                                      <p:cBhvr>
                                        <p:cTn id="83" dur="1" fill="hold">
                                          <p:stCondLst>
                                            <p:cond delay="0"/>
                                          </p:stCondLst>
                                        </p:cTn>
                                        <p:tgtEl>
                                          <p:spTgt spid="21"/>
                                        </p:tgtEl>
                                        <p:attrNameLst>
                                          <p:attrName>style.visibility</p:attrName>
                                        </p:attrNameLst>
                                      </p:cBhvr>
                                      <p:to>
                                        <p:strVal val="visible"/>
                                      </p:to>
                                    </p:set>
                                    <p:animEffect transition="in" filter="barn(inVertical)">
                                      <p:cBhvr>
                                        <p:cTn id="84" dur="1750"/>
                                        <p:tgtEl>
                                          <p:spTgt spid="21"/>
                                        </p:tgtEl>
                                      </p:cBhvr>
                                    </p:animEffect>
                                  </p:childTnLst>
                                </p:cTn>
                              </p:par>
                            </p:childTnLst>
                          </p:cTn>
                        </p:par>
                      </p:childTnLst>
                    </p:cTn>
                  </p:par>
                  <p:par>
                    <p:cTn id="85" fill="hold">
                      <p:stCondLst>
                        <p:cond delay="indefinite"/>
                      </p:stCondLst>
                      <p:childTnLst>
                        <p:par>
                          <p:cTn id="86" fill="hold">
                            <p:stCondLst>
                              <p:cond delay="0"/>
                            </p:stCondLst>
                            <p:childTnLst>
                              <p:par>
                                <p:cTn id="87" presetID="16" presetClass="entr" presetSubtype="21" fill="hold" grpId="0" nodeType="clickEffect">
                                  <p:stCondLst>
                                    <p:cond delay="0"/>
                                  </p:stCondLst>
                                  <p:childTnLst>
                                    <p:set>
                                      <p:cBhvr>
                                        <p:cTn id="88" dur="1" fill="hold">
                                          <p:stCondLst>
                                            <p:cond delay="0"/>
                                          </p:stCondLst>
                                        </p:cTn>
                                        <p:tgtEl>
                                          <p:spTgt spid="23"/>
                                        </p:tgtEl>
                                        <p:attrNameLst>
                                          <p:attrName>style.visibility</p:attrName>
                                        </p:attrNameLst>
                                      </p:cBhvr>
                                      <p:to>
                                        <p:strVal val="visible"/>
                                      </p:to>
                                    </p:set>
                                    <p:animEffect transition="in" filter="barn(inVertical)">
                                      <p:cBhvr>
                                        <p:cTn id="89" dur="1500"/>
                                        <p:tgtEl>
                                          <p:spTgt spid="23"/>
                                        </p:tgtEl>
                                      </p:cBhvr>
                                    </p:animEffect>
                                  </p:childTnLst>
                                </p:cTn>
                              </p:par>
                            </p:childTnLst>
                          </p:cTn>
                        </p:par>
                      </p:childTnLst>
                    </p:cTn>
                  </p:par>
                  <p:par>
                    <p:cTn id="90" fill="hold">
                      <p:stCondLst>
                        <p:cond delay="indefinite"/>
                      </p:stCondLst>
                      <p:childTnLst>
                        <p:par>
                          <p:cTn id="91" fill="hold">
                            <p:stCondLst>
                              <p:cond delay="0"/>
                            </p:stCondLst>
                            <p:childTnLst>
                              <p:par>
                                <p:cTn id="92" presetID="16" presetClass="entr" presetSubtype="21" fill="hold" nodeType="clickEffect">
                                  <p:stCondLst>
                                    <p:cond delay="0"/>
                                  </p:stCondLst>
                                  <p:childTnLst>
                                    <p:set>
                                      <p:cBhvr>
                                        <p:cTn id="93" dur="1" fill="hold">
                                          <p:stCondLst>
                                            <p:cond delay="0"/>
                                          </p:stCondLst>
                                        </p:cTn>
                                        <p:tgtEl>
                                          <p:spTgt spid="24"/>
                                        </p:tgtEl>
                                        <p:attrNameLst>
                                          <p:attrName>style.visibility</p:attrName>
                                        </p:attrNameLst>
                                      </p:cBhvr>
                                      <p:to>
                                        <p:strVal val="visible"/>
                                      </p:to>
                                    </p:set>
                                    <p:animEffect transition="in" filter="barn(inVertical)">
                                      <p:cBhvr>
                                        <p:cTn id="94" dur="1000"/>
                                        <p:tgtEl>
                                          <p:spTgt spid="24"/>
                                        </p:tgtEl>
                                      </p:cBhvr>
                                    </p:animEffect>
                                  </p:childTnLst>
                                </p:cTn>
                              </p:par>
                            </p:childTnLst>
                          </p:cTn>
                        </p:par>
                      </p:childTnLst>
                    </p:cTn>
                  </p:par>
                  <p:par>
                    <p:cTn id="95" fill="hold">
                      <p:stCondLst>
                        <p:cond delay="indefinite"/>
                      </p:stCondLst>
                      <p:childTnLst>
                        <p:par>
                          <p:cTn id="96" fill="hold">
                            <p:stCondLst>
                              <p:cond delay="0"/>
                            </p:stCondLst>
                            <p:childTnLst>
                              <p:par>
                                <p:cTn id="97" presetID="16" presetClass="entr" presetSubtype="21" fill="hold" grpId="0" nodeType="clickEffect">
                                  <p:stCondLst>
                                    <p:cond delay="0"/>
                                  </p:stCondLst>
                                  <p:childTnLst>
                                    <p:set>
                                      <p:cBhvr>
                                        <p:cTn id="98" dur="1" fill="hold">
                                          <p:stCondLst>
                                            <p:cond delay="0"/>
                                          </p:stCondLst>
                                        </p:cTn>
                                        <p:tgtEl>
                                          <p:spTgt spid="22"/>
                                        </p:tgtEl>
                                        <p:attrNameLst>
                                          <p:attrName>style.visibility</p:attrName>
                                        </p:attrNameLst>
                                      </p:cBhvr>
                                      <p:to>
                                        <p:strVal val="visible"/>
                                      </p:to>
                                    </p:set>
                                    <p:animEffect transition="in" filter="barn(inVertical)">
                                      <p:cBhvr>
                                        <p:cTn id="99" dur="1500"/>
                                        <p:tgtEl>
                                          <p:spTgt spid="22"/>
                                        </p:tgtEl>
                                      </p:cBhvr>
                                    </p:animEffect>
                                  </p:childTnLst>
                                </p:cTn>
                              </p:par>
                            </p:childTnLst>
                          </p:cTn>
                        </p:par>
                      </p:childTnLst>
                    </p:cTn>
                  </p:par>
                  <p:par>
                    <p:cTn id="100" fill="hold">
                      <p:stCondLst>
                        <p:cond delay="indefinite"/>
                      </p:stCondLst>
                      <p:childTnLst>
                        <p:par>
                          <p:cTn id="101" fill="hold">
                            <p:stCondLst>
                              <p:cond delay="0"/>
                            </p:stCondLst>
                            <p:childTnLst>
                              <p:par>
                                <p:cTn id="102" presetID="16" presetClass="entr" presetSubtype="21" fill="hold" nodeType="clickEffect">
                                  <p:stCondLst>
                                    <p:cond delay="0"/>
                                  </p:stCondLst>
                                  <p:childTnLst>
                                    <p:set>
                                      <p:cBhvr>
                                        <p:cTn id="103" dur="1" fill="hold">
                                          <p:stCondLst>
                                            <p:cond delay="0"/>
                                          </p:stCondLst>
                                        </p:cTn>
                                        <p:tgtEl>
                                          <p:spTgt spid="29"/>
                                        </p:tgtEl>
                                        <p:attrNameLst>
                                          <p:attrName>style.visibility</p:attrName>
                                        </p:attrNameLst>
                                      </p:cBhvr>
                                      <p:to>
                                        <p:strVal val="visible"/>
                                      </p:to>
                                    </p:set>
                                    <p:animEffect transition="in" filter="barn(inVertical)">
                                      <p:cBhvr>
                                        <p:cTn id="104" dur="500"/>
                                        <p:tgtEl>
                                          <p:spTgt spid="29"/>
                                        </p:tgtEl>
                                      </p:cBhvr>
                                    </p:animEffect>
                                  </p:childTnLst>
                                </p:cTn>
                              </p:par>
                            </p:childTnLst>
                          </p:cTn>
                        </p:par>
                      </p:childTnLst>
                    </p:cTn>
                  </p:par>
                  <p:par>
                    <p:cTn id="105" fill="hold">
                      <p:stCondLst>
                        <p:cond delay="indefinite"/>
                      </p:stCondLst>
                      <p:childTnLst>
                        <p:par>
                          <p:cTn id="106" fill="hold">
                            <p:stCondLst>
                              <p:cond delay="0"/>
                            </p:stCondLst>
                            <p:childTnLst>
                              <p:par>
                                <p:cTn id="107" presetID="16" presetClass="entr" presetSubtype="21" fill="hold" nodeType="clickEffect">
                                  <p:stCondLst>
                                    <p:cond delay="0"/>
                                  </p:stCondLst>
                                  <p:childTnLst>
                                    <p:set>
                                      <p:cBhvr>
                                        <p:cTn id="108" dur="1" fill="hold">
                                          <p:stCondLst>
                                            <p:cond delay="0"/>
                                          </p:stCondLst>
                                        </p:cTn>
                                        <p:tgtEl>
                                          <p:spTgt spid="32"/>
                                        </p:tgtEl>
                                        <p:attrNameLst>
                                          <p:attrName>style.visibility</p:attrName>
                                        </p:attrNameLst>
                                      </p:cBhvr>
                                      <p:to>
                                        <p:strVal val="visible"/>
                                      </p:to>
                                    </p:set>
                                    <p:animEffect transition="in" filter="barn(inVertical)">
                                      <p:cBhvr>
                                        <p:cTn id="109" dur="175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6" grpId="0" animBg="1"/>
      <p:bldP spid="9" grpId="0" animBg="1"/>
      <p:bldP spid="10" grpId="0" animBg="1"/>
      <p:bldP spid="11" grpId="0" animBg="1"/>
      <p:bldP spid="12"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37" grpId="0" animBg="1"/>
      <p:bldP spid="38" grpId="0" animBg="1"/>
      <p:bldP spid="39"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Box 5">
            <a:extLst>
              <a:ext uri="{FF2B5EF4-FFF2-40B4-BE49-F238E27FC236}">
                <a16:creationId xmlns:a16="http://schemas.microsoft.com/office/drawing/2014/main" id="{2238B05F-994F-1FF7-D663-ABBBA0653098}"/>
              </a:ext>
            </a:extLst>
          </p:cNvPr>
          <p:cNvSpPr txBox="1"/>
          <p:nvPr/>
        </p:nvSpPr>
        <p:spPr>
          <a:xfrm>
            <a:off x="2040716" y="2806345"/>
            <a:ext cx="7968990" cy="2595582"/>
          </a:xfrm>
          <a:prstGeom prst="rect">
            <a:avLst/>
          </a:prstGeom>
          <a:noFill/>
        </p:spPr>
        <p:txBody>
          <a:bodyPr wrap="square" rtlCol="0">
            <a:spAutoFit/>
          </a:bodyPr>
          <a:lstStyle/>
          <a:p>
            <a:pPr marL="0" marR="0" lvl="0" indent="0" algn="ctr" defTabSz="914400" rtl="1" eaLnBrk="1" fontAlgn="auto" latinLnBrk="0" hangingPunct="1">
              <a:lnSpc>
                <a:spcPct val="100000"/>
              </a:lnSpc>
              <a:spcBef>
                <a:spcPts val="0"/>
              </a:spcBef>
              <a:buClr>
                <a:srgbClr val="000000"/>
              </a:buClr>
              <a:buSzTx/>
              <a:buFont typeface="Arial"/>
              <a:buNone/>
              <a:tabLst/>
              <a:defRPr/>
            </a:pPr>
            <a:r>
              <a:rPr lang="ar-SA" sz="5400" b="1" kern="0" dirty="0">
                <a:solidFill>
                  <a:schemeClr val="bg1"/>
                </a:solidFill>
                <a:latin typeface="Sakkal Majalla" panose="02000000000000000000" pitchFamily="2" charset="-78"/>
                <a:ea typeface="Samim" panose="020B0603030804020204" pitchFamily="34" charset="0"/>
                <a:cs typeface="Sakkal Majalla" panose="02000000000000000000" pitchFamily="2" charset="-78"/>
                <a:sym typeface="Arial"/>
              </a:rPr>
              <a:t>التقويم والاعتماد المدرسي</a:t>
            </a:r>
          </a:p>
          <a:p>
            <a:pPr marL="0" marR="0" lvl="0" indent="0" algn="ctr" defTabSz="914400" rtl="1" eaLnBrk="1" fontAlgn="auto" latinLnBrk="0" hangingPunct="1">
              <a:lnSpc>
                <a:spcPct val="100000"/>
              </a:lnSpc>
              <a:spcBef>
                <a:spcPts val="0"/>
              </a:spcBef>
              <a:spcAft>
                <a:spcPts val="1000"/>
              </a:spcAft>
              <a:buClr>
                <a:srgbClr val="000000"/>
              </a:buClr>
              <a:buSzTx/>
              <a:buFont typeface="Arial"/>
              <a:buNone/>
              <a:tabLst/>
              <a:defRPr/>
            </a:pPr>
            <a:endParaRPr lang="ar-SA" sz="2800" b="1" kern="0" dirty="0">
              <a:solidFill>
                <a:srgbClr val="FFFF00"/>
              </a:solidFill>
              <a:latin typeface="Sakkal Majalla" panose="02000000000000000000" pitchFamily="2" charset="-78"/>
              <a:ea typeface="Samim" panose="020B0603030804020204" pitchFamily="34" charset="0"/>
              <a:cs typeface="Sakkal Majalla" panose="02000000000000000000" pitchFamily="2" charset="-78"/>
              <a:sym typeface="Arial"/>
            </a:endParaRPr>
          </a:p>
          <a:p>
            <a:pPr marL="0" marR="0" lvl="0" indent="0" algn="ctr" defTabSz="914400" rtl="1" eaLnBrk="1" fontAlgn="auto" latinLnBrk="0" hangingPunct="1">
              <a:lnSpc>
                <a:spcPct val="100000"/>
              </a:lnSpc>
              <a:spcBef>
                <a:spcPts val="0"/>
              </a:spcBef>
              <a:spcAft>
                <a:spcPts val="1000"/>
              </a:spcAft>
              <a:buClr>
                <a:srgbClr val="000000"/>
              </a:buClr>
              <a:buSzTx/>
              <a:buFont typeface="Arial"/>
              <a:buNone/>
              <a:tabLst/>
              <a:defRPr/>
            </a:pPr>
            <a:endParaRPr lang="ar-SA" sz="3200" b="1" kern="0" dirty="0">
              <a:solidFill>
                <a:srgbClr val="FFFF00"/>
              </a:solidFill>
              <a:latin typeface="Sakkal Majalla" panose="02000000000000000000" pitchFamily="2" charset="-78"/>
              <a:ea typeface="Samim" panose="020B0603030804020204" pitchFamily="34" charset="0"/>
              <a:cs typeface="Sakkal Majalla" panose="02000000000000000000" pitchFamily="2" charset="-78"/>
              <a:sym typeface="Arial"/>
            </a:endParaRPr>
          </a:p>
          <a:p>
            <a:pPr marL="0" marR="0" lvl="0" indent="0" algn="ctr" defTabSz="914400" rtl="1" eaLnBrk="1" fontAlgn="auto" latinLnBrk="0" hangingPunct="1">
              <a:lnSpc>
                <a:spcPct val="100000"/>
              </a:lnSpc>
              <a:spcBef>
                <a:spcPts val="0"/>
              </a:spcBef>
              <a:spcAft>
                <a:spcPts val="1000"/>
              </a:spcAft>
              <a:buClr>
                <a:srgbClr val="000000"/>
              </a:buClr>
              <a:buSzTx/>
              <a:buFont typeface="Arial"/>
              <a:buNone/>
              <a:tabLst/>
              <a:defRPr/>
            </a:pPr>
            <a:r>
              <a:rPr kumimoji="0" lang="en-US" sz="3200" b="1" i="0" u="none" strike="noStrike" kern="0" cap="none" spc="0" normalizeH="0" baseline="0" noProof="0" dirty="0">
                <a:ln>
                  <a:noFill/>
                </a:ln>
                <a:solidFill>
                  <a:srgbClr val="FFFF00"/>
                </a:solidFill>
                <a:effectLst/>
                <a:uLnTx/>
                <a:uFillTx/>
                <a:latin typeface="Sakkal Majalla" panose="02000000000000000000" pitchFamily="2" charset="-78"/>
                <a:ea typeface="Samim" panose="020B0603030804020204" pitchFamily="34" charset="0"/>
                <a:cs typeface="Sakkal Majalla" panose="02000000000000000000" pitchFamily="2" charset="-78"/>
                <a:sym typeface="Arial"/>
              </a:rPr>
              <a:t>2023 - 1445</a:t>
            </a:r>
            <a:endParaRPr kumimoji="0" lang="ar-SA" sz="3600" b="1" i="0" u="none" strike="noStrike" kern="0" cap="none" spc="0" normalizeH="0" baseline="0" noProof="0" dirty="0">
              <a:ln>
                <a:noFill/>
              </a:ln>
              <a:solidFill>
                <a:srgbClr val="FFFF00"/>
              </a:solidFill>
              <a:effectLst/>
              <a:uLnTx/>
              <a:uFillTx/>
              <a:latin typeface="Sakkal Majalla" panose="02000000000000000000" pitchFamily="2" charset="-78"/>
              <a:ea typeface="Samim" panose="020B0603030804020204" pitchFamily="34" charset="0"/>
              <a:cs typeface="Sakkal Majalla" panose="02000000000000000000" pitchFamily="2" charset="-78"/>
              <a:sym typeface="Arial"/>
            </a:endParaRPr>
          </a:p>
        </p:txBody>
      </p:sp>
      <p:sp>
        <p:nvSpPr>
          <p:cNvPr id="5" name="TextBox 5">
            <a:extLst>
              <a:ext uri="{FF2B5EF4-FFF2-40B4-BE49-F238E27FC236}">
                <a16:creationId xmlns:a16="http://schemas.microsoft.com/office/drawing/2014/main" id="{17A23212-5CE4-A57C-3EB0-E7A4A6BC2B5E}"/>
              </a:ext>
            </a:extLst>
          </p:cNvPr>
          <p:cNvSpPr txBox="1"/>
          <p:nvPr/>
        </p:nvSpPr>
        <p:spPr>
          <a:xfrm>
            <a:off x="8110568" y="315384"/>
            <a:ext cx="4081432" cy="1015663"/>
          </a:xfrm>
          <a:prstGeom prst="rect">
            <a:avLst/>
          </a:prstGeom>
          <a:noFill/>
        </p:spPr>
        <p:txBody>
          <a:bodyPr wrap="square" rtlCol="0">
            <a:spAutoFit/>
          </a:bodyPr>
          <a:lstStyle/>
          <a:p>
            <a:pPr marL="0" marR="0" lvl="0" indent="0" algn="ctr" defTabSz="914400" rtl="1" eaLnBrk="1" fontAlgn="auto" latinLnBrk="0" hangingPunct="1">
              <a:lnSpc>
                <a:spcPct val="100000"/>
              </a:lnSpc>
              <a:spcBef>
                <a:spcPts val="0"/>
              </a:spcBef>
              <a:buClr>
                <a:srgbClr val="000000"/>
              </a:buClr>
              <a:buSzTx/>
              <a:buFont typeface="Arial"/>
              <a:buNone/>
              <a:tabLst/>
              <a:defRPr/>
            </a:pPr>
            <a:r>
              <a:rPr kumimoji="0" lang="ar-SA" sz="2000" b="1" i="0" u="none" strike="noStrike" kern="0" cap="none" spc="0" normalizeH="0" baseline="0" noProof="0" dirty="0">
                <a:ln>
                  <a:noFill/>
                </a:ln>
                <a:solidFill>
                  <a:schemeClr val="bg1"/>
                </a:solidFill>
                <a:effectLst/>
                <a:uLnTx/>
                <a:uFillTx/>
                <a:latin typeface="Sakkal Majalla" panose="02000000000000000000" pitchFamily="2" charset="-78"/>
                <a:ea typeface="Samim" panose="020B0603030804020204" pitchFamily="34" charset="0"/>
                <a:cs typeface="Sakkal Majalla" panose="02000000000000000000" pitchFamily="2" charset="-78"/>
                <a:sym typeface="Arial"/>
              </a:rPr>
              <a:t>المملكة العربية السعودية</a:t>
            </a:r>
          </a:p>
          <a:p>
            <a:pPr marL="0" marR="0" lvl="0" indent="0" algn="ctr" defTabSz="914400" rtl="1" eaLnBrk="1" fontAlgn="auto" latinLnBrk="0" hangingPunct="1">
              <a:lnSpc>
                <a:spcPct val="100000"/>
              </a:lnSpc>
              <a:spcBef>
                <a:spcPts val="0"/>
              </a:spcBef>
              <a:buClr>
                <a:srgbClr val="000000"/>
              </a:buClr>
              <a:buSzTx/>
              <a:buFont typeface="Arial"/>
              <a:buNone/>
              <a:tabLst/>
              <a:defRPr/>
            </a:pPr>
            <a:r>
              <a:rPr lang="ar-SA" sz="2000" b="1" kern="0" dirty="0">
                <a:solidFill>
                  <a:schemeClr val="bg1"/>
                </a:solidFill>
                <a:latin typeface="Sakkal Majalla" panose="02000000000000000000" pitchFamily="2" charset="-78"/>
                <a:ea typeface="Samim" panose="020B0603030804020204" pitchFamily="34" charset="0"/>
                <a:cs typeface="Sakkal Majalla" panose="02000000000000000000" pitchFamily="2" charset="-78"/>
                <a:sym typeface="Arial"/>
              </a:rPr>
              <a:t>وزارة التعليم</a:t>
            </a:r>
          </a:p>
          <a:p>
            <a:pPr marL="0" marR="0" lvl="0" indent="0" algn="ctr" defTabSz="914400" rtl="1" eaLnBrk="1" fontAlgn="auto" latinLnBrk="0" hangingPunct="1">
              <a:lnSpc>
                <a:spcPct val="100000"/>
              </a:lnSpc>
              <a:spcBef>
                <a:spcPts val="0"/>
              </a:spcBef>
              <a:buClr>
                <a:srgbClr val="000000"/>
              </a:buClr>
              <a:buSzTx/>
              <a:buFont typeface="Arial"/>
              <a:buNone/>
              <a:tabLst/>
              <a:defRPr/>
            </a:pPr>
            <a:r>
              <a:rPr lang="ar-SA" sz="2000" b="1" kern="0" dirty="0">
                <a:solidFill>
                  <a:schemeClr val="bg1"/>
                </a:solidFill>
                <a:latin typeface="Sakkal Majalla" panose="02000000000000000000" pitchFamily="2" charset="-78"/>
                <a:ea typeface="Samim" panose="020B0603030804020204" pitchFamily="34" charset="0"/>
                <a:cs typeface="Sakkal Majalla" panose="02000000000000000000" pitchFamily="2" charset="-78"/>
                <a:sym typeface="Arial"/>
              </a:rPr>
              <a:t>الإدارة العامة للتعليم بمنطقة جازان</a:t>
            </a:r>
            <a:endParaRPr kumimoji="0" lang="en-US" sz="2000" b="1" i="0" u="none" strike="noStrike" kern="0" cap="none" spc="0" normalizeH="0" baseline="0" noProof="0" dirty="0">
              <a:ln>
                <a:noFill/>
              </a:ln>
              <a:solidFill>
                <a:schemeClr val="bg1"/>
              </a:solidFill>
              <a:effectLst/>
              <a:uLnTx/>
              <a:uFillTx/>
              <a:latin typeface="Sakkal Majalla" panose="02000000000000000000" pitchFamily="2" charset="-78"/>
              <a:ea typeface="Samim" panose="020B0603030804020204" pitchFamily="34" charset="0"/>
              <a:cs typeface="Sakkal Majalla" panose="02000000000000000000" pitchFamily="2" charset="-78"/>
              <a:sym typeface="Arial"/>
            </a:endParaRPr>
          </a:p>
        </p:txBody>
      </p:sp>
      <p:sp>
        <p:nvSpPr>
          <p:cNvPr id="2" name="TextBox 5">
            <a:extLst>
              <a:ext uri="{FF2B5EF4-FFF2-40B4-BE49-F238E27FC236}">
                <a16:creationId xmlns:a16="http://schemas.microsoft.com/office/drawing/2014/main" id="{60C1D865-6137-41A2-BA19-277977CC24FA}"/>
              </a:ext>
            </a:extLst>
          </p:cNvPr>
          <p:cNvSpPr txBox="1"/>
          <p:nvPr/>
        </p:nvSpPr>
        <p:spPr>
          <a:xfrm>
            <a:off x="0" y="315384"/>
            <a:ext cx="4081432" cy="1015663"/>
          </a:xfrm>
          <a:prstGeom prst="rect">
            <a:avLst/>
          </a:prstGeom>
          <a:noFill/>
        </p:spPr>
        <p:txBody>
          <a:bodyPr wrap="square" rtlCol="0">
            <a:spAutoFit/>
          </a:bodyPr>
          <a:lstStyle/>
          <a:p>
            <a:pPr marL="0" marR="0" lvl="0" indent="0" algn="ctr" defTabSz="914400" rtl="1" eaLnBrk="1" fontAlgn="auto" latinLnBrk="0" hangingPunct="1">
              <a:lnSpc>
                <a:spcPct val="100000"/>
              </a:lnSpc>
              <a:spcBef>
                <a:spcPts val="0"/>
              </a:spcBef>
              <a:buClr>
                <a:srgbClr val="000000"/>
              </a:buClr>
              <a:buSzTx/>
              <a:buFont typeface="Arial"/>
              <a:buNone/>
              <a:tabLst/>
              <a:defRPr/>
            </a:pPr>
            <a:r>
              <a:rPr kumimoji="0" lang="ar-SA" sz="2000" b="1" i="0" u="none" strike="noStrike" kern="0" cap="none" spc="0" normalizeH="0" baseline="0" noProof="0" dirty="0">
                <a:ln>
                  <a:noFill/>
                </a:ln>
                <a:solidFill>
                  <a:schemeClr val="bg1"/>
                </a:solidFill>
                <a:effectLst/>
                <a:uLnTx/>
                <a:uFillTx/>
                <a:latin typeface="Sakkal Majalla" panose="02000000000000000000" pitchFamily="2" charset="-78"/>
                <a:ea typeface="Samim" panose="020B0603030804020204" pitchFamily="34" charset="0"/>
                <a:cs typeface="Sakkal Majalla" panose="02000000000000000000" pitchFamily="2" charset="-78"/>
                <a:sym typeface="Arial"/>
              </a:rPr>
              <a:t>الشؤون التعليمية</a:t>
            </a:r>
          </a:p>
          <a:p>
            <a:pPr marL="0" marR="0" lvl="0" indent="0" algn="ctr" defTabSz="914400" rtl="1" eaLnBrk="1" fontAlgn="auto" latinLnBrk="0" hangingPunct="1">
              <a:lnSpc>
                <a:spcPct val="100000"/>
              </a:lnSpc>
              <a:spcBef>
                <a:spcPts val="0"/>
              </a:spcBef>
              <a:buClr>
                <a:srgbClr val="000000"/>
              </a:buClr>
              <a:buSzTx/>
              <a:buFont typeface="Arial"/>
              <a:buNone/>
              <a:tabLst/>
              <a:defRPr/>
            </a:pPr>
            <a:r>
              <a:rPr lang="ar-SA" sz="2000" b="1" kern="0" dirty="0">
                <a:solidFill>
                  <a:schemeClr val="bg1"/>
                </a:solidFill>
                <a:latin typeface="Sakkal Majalla" panose="02000000000000000000" pitchFamily="2" charset="-78"/>
                <a:ea typeface="Samim" panose="020B0603030804020204" pitchFamily="34" charset="0"/>
                <a:cs typeface="Sakkal Majalla" panose="02000000000000000000" pitchFamily="2" charset="-78"/>
                <a:sym typeface="Arial"/>
              </a:rPr>
              <a:t>إدارة الإشراف التربوي</a:t>
            </a:r>
          </a:p>
          <a:p>
            <a:pPr marL="0" marR="0" lvl="0" indent="0" algn="ctr" defTabSz="914400" rtl="1" eaLnBrk="1" fontAlgn="auto" latinLnBrk="0" hangingPunct="1">
              <a:lnSpc>
                <a:spcPct val="100000"/>
              </a:lnSpc>
              <a:spcBef>
                <a:spcPts val="0"/>
              </a:spcBef>
              <a:buClr>
                <a:srgbClr val="000000"/>
              </a:buClr>
              <a:buSzTx/>
              <a:buFont typeface="Arial"/>
              <a:buNone/>
              <a:tabLst/>
              <a:defRPr/>
            </a:pPr>
            <a:r>
              <a:rPr lang="ar-SA" sz="2000" b="1" kern="0" dirty="0">
                <a:solidFill>
                  <a:schemeClr val="bg1"/>
                </a:solidFill>
                <a:latin typeface="Sakkal Majalla" panose="02000000000000000000" pitchFamily="2" charset="-78"/>
                <a:ea typeface="Samim" panose="020B0603030804020204" pitchFamily="34" charset="0"/>
                <a:cs typeface="Sakkal Majalla" panose="02000000000000000000" pitchFamily="2" charset="-78"/>
                <a:sym typeface="Arial"/>
              </a:rPr>
              <a:t>التقويم والاعتماد  المدرسي</a:t>
            </a:r>
            <a:endParaRPr kumimoji="0" lang="en-US" sz="2000" b="1" i="0" u="none" strike="noStrike" kern="0" cap="none" spc="0" normalizeH="0" baseline="0" noProof="0" dirty="0">
              <a:ln>
                <a:noFill/>
              </a:ln>
              <a:solidFill>
                <a:schemeClr val="bg1"/>
              </a:solidFill>
              <a:effectLst/>
              <a:uLnTx/>
              <a:uFillTx/>
              <a:latin typeface="Sakkal Majalla" panose="02000000000000000000" pitchFamily="2" charset="-78"/>
              <a:ea typeface="Samim" panose="020B0603030804020204" pitchFamily="34" charset="0"/>
              <a:cs typeface="Sakkal Majalla" panose="02000000000000000000" pitchFamily="2" charset="-78"/>
              <a:sym typeface="Arial"/>
            </a:endParaRPr>
          </a:p>
        </p:txBody>
      </p:sp>
    </p:spTree>
    <p:extLst>
      <p:ext uri="{BB962C8B-B14F-4D97-AF65-F5344CB8AC3E}">
        <p14:creationId xmlns:p14="http://schemas.microsoft.com/office/powerpoint/2010/main" val="12013102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arn(inVertical)">
                                      <p:cBhvr>
                                        <p:cTn id="7"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عنوان 2">
            <a:extLst>
              <a:ext uri="{FF2B5EF4-FFF2-40B4-BE49-F238E27FC236}">
                <a16:creationId xmlns:a16="http://schemas.microsoft.com/office/drawing/2014/main" id="{84EF2991-ABF0-C817-B8EA-273FF2B783AD}"/>
              </a:ext>
            </a:extLst>
          </p:cNvPr>
          <p:cNvSpPr txBox="1">
            <a:spLocks/>
          </p:cNvSpPr>
          <p:nvPr/>
        </p:nvSpPr>
        <p:spPr bwMode="auto">
          <a:xfrm>
            <a:off x="2673447" y="202930"/>
            <a:ext cx="6553200" cy="429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fontAlgn="base">
              <a:spcBef>
                <a:spcPct val="0"/>
              </a:spcBef>
              <a:spcAft>
                <a:spcPct val="0"/>
              </a:spcAft>
              <a:defRPr sz="4400">
                <a:solidFill>
                  <a:schemeClr val="tx2"/>
                </a:solidFill>
                <a:latin typeface="Arial" pitchFamily="34" charset="0"/>
              </a:defRPr>
            </a:lvl6pPr>
            <a:lvl7pPr marL="914400" algn="ctr" rtl="0" fontAlgn="base">
              <a:spcBef>
                <a:spcPct val="0"/>
              </a:spcBef>
              <a:spcAft>
                <a:spcPct val="0"/>
              </a:spcAft>
              <a:defRPr sz="4400">
                <a:solidFill>
                  <a:schemeClr val="tx2"/>
                </a:solidFill>
                <a:latin typeface="Arial" pitchFamily="34" charset="0"/>
              </a:defRPr>
            </a:lvl7pPr>
            <a:lvl8pPr marL="1371600" algn="ctr" rtl="0" fontAlgn="base">
              <a:spcBef>
                <a:spcPct val="0"/>
              </a:spcBef>
              <a:spcAft>
                <a:spcPct val="0"/>
              </a:spcAft>
              <a:defRPr sz="4400">
                <a:solidFill>
                  <a:schemeClr val="tx2"/>
                </a:solidFill>
                <a:latin typeface="Arial" pitchFamily="34" charset="0"/>
              </a:defRPr>
            </a:lvl8pPr>
            <a:lvl9pPr marL="1828800" algn="ctr" rtl="0" fontAlgn="base">
              <a:spcBef>
                <a:spcPct val="0"/>
              </a:spcBef>
              <a:spcAft>
                <a:spcPct val="0"/>
              </a:spcAft>
              <a:defRPr sz="4400">
                <a:solidFill>
                  <a:schemeClr val="tx2"/>
                </a:solidFill>
                <a:latin typeface="Arial" pitchFamily="34" charset="0"/>
              </a:defRPr>
            </a:lvl9pPr>
          </a:lstStyle>
          <a:p>
            <a:r>
              <a:rPr lang="ar-SA" altLang="ar-SA" sz="2800" b="1" kern="0" dirty="0">
                <a:solidFill>
                  <a:srgbClr val="009281"/>
                </a:solidFill>
                <a:latin typeface="Sakkal Majalla" panose="02000000000000000000" pitchFamily="2" charset="-78"/>
                <a:cs typeface="Sakkal Majalla" panose="02000000000000000000" pitchFamily="2" charset="-78"/>
                <a:sym typeface="Arial"/>
              </a:rPr>
              <a:t>دور الهيئة في المدارس </a:t>
            </a:r>
          </a:p>
        </p:txBody>
      </p:sp>
      <p:sp>
        <p:nvSpPr>
          <p:cNvPr id="6" name="Rounded Rectangle 5">
            <a:extLst>
              <a:ext uri="{FF2B5EF4-FFF2-40B4-BE49-F238E27FC236}">
                <a16:creationId xmlns:a16="http://schemas.microsoft.com/office/drawing/2014/main" id="{2EC7F3E3-F69C-5533-E004-FF87E17301BE}"/>
              </a:ext>
            </a:extLst>
          </p:cNvPr>
          <p:cNvSpPr/>
          <p:nvPr/>
        </p:nvSpPr>
        <p:spPr>
          <a:xfrm>
            <a:off x="8230884" y="1248362"/>
            <a:ext cx="3095625" cy="1296988"/>
          </a:xfrm>
          <a:prstGeom prst="roundRect">
            <a:avLst/>
          </a:prstGeom>
          <a:solidFill>
            <a:sysClr val="window" lastClr="FFFFFF"/>
          </a:solidFill>
          <a:ln w="12700" cap="flat" cmpd="sng" algn="ctr">
            <a:solidFill>
              <a:srgbClr val="70AD47"/>
            </a:solidFill>
            <a:prstDash val="solid"/>
            <a:miter lim="800000"/>
          </a:ln>
          <a:effectLst/>
        </p:spPr>
        <p:txBody>
          <a:bodyPr lIns="80010" tIns="40005" rIns="80010" bIns="40005" rtlCol="1" anchor="ctr"/>
          <a:lstStyle/>
          <a:p>
            <a:pPr algn="ctr" defTabSz="800100">
              <a:defRPr/>
            </a:pPr>
            <a:r>
              <a:rPr lang="ar-SA" sz="2400" b="1" kern="0" dirty="0">
                <a:solidFill>
                  <a:srgbClr val="002060"/>
                </a:solidFill>
                <a:latin typeface="Sakkal Majalla" panose="02000000000000000000" pitchFamily="2" charset="-78"/>
                <a:cs typeface="Sakkal Majalla" panose="02000000000000000000" pitchFamily="2" charset="-78"/>
                <a:sym typeface="Arial"/>
              </a:rPr>
              <a:t>معايير الأداء المدرسي</a:t>
            </a:r>
          </a:p>
          <a:p>
            <a:pPr algn="ctr" defTabSz="800100">
              <a:defRPr/>
            </a:pPr>
            <a:r>
              <a:rPr lang="ar-SA" sz="2000" b="1" kern="0" dirty="0">
                <a:solidFill>
                  <a:srgbClr val="C00000"/>
                </a:solidFill>
                <a:latin typeface="Sakkal Majalla" panose="02000000000000000000" pitchFamily="2" charset="-78"/>
                <a:cs typeface="Sakkal Majalla" panose="02000000000000000000" pitchFamily="2" charset="-78"/>
                <a:sym typeface="Arial"/>
              </a:rPr>
              <a:t>( ضبط الجودة )</a:t>
            </a:r>
          </a:p>
        </p:txBody>
      </p:sp>
      <p:sp>
        <p:nvSpPr>
          <p:cNvPr id="9" name="Rounded Rectangle 5">
            <a:extLst>
              <a:ext uri="{FF2B5EF4-FFF2-40B4-BE49-F238E27FC236}">
                <a16:creationId xmlns:a16="http://schemas.microsoft.com/office/drawing/2014/main" id="{23714EE1-7EF3-B681-BF83-E823AF5CF63F}"/>
              </a:ext>
            </a:extLst>
          </p:cNvPr>
          <p:cNvSpPr/>
          <p:nvPr/>
        </p:nvSpPr>
        <p:spPr>
          <a:xfrm>
            <a:off x="961011" y="1267716"/>
            <a:ext cx="2320769" cy="1295400"/>
          </a:xfrm>
          <a:prstGeom prst="roundRect">
            <a:avLst/>
          </a:prstGeom>
          <a:solidFill>
            <a:sysClr val="window" lastClr="FFFFFF"/>
          </a:solidFill>
          <a:ln w="12700" cap="flat" cmpd="sng" algn="ctr">
            <a:solidFill>
              <a:srgbClr val="70AD47"/>
            </a:solidFill>
            <a:prstDash val="solid"/>
            <a:miter lim="800000"/>
          </a:ln>
          <a:effectLst/>
        </p:spPr>
        <p:txBody>
          <a:bodyPr lIns="80010" tIns="40005" rIns="80010" bIns="40005" rtlCol="1" anchor="ctr"/>
          <a:lstStyle/>
          <a:p>
            <a:pPr lvl="0" algn="ctr" defTabSz="800100">
              <a:defRPr/>
            </a:pPr>
            <a:endParaRPr lang="ar-SA" sz="2400" b="1" kern="0" dirty="0">
              <a:solidFill>
                <a:srgbClr val="002060"/>
              </a:solidFill>
              <a:latin typeface="Sakkal Majalla" panose="02000000000000000000" pitchFamily="2" charset="-78"/>
              <a:cs typeface="Sakkal Majalla" panose="02000000000000000000" pitchFamily="2" charset="-78"/>
              <a:sym typeface="Arial"/>
            </a:endParaRPr>
          </a:p>
          <a:p>
            <a:pPr lvl="0" algn="ctr" defTabSz="800100">
              <a:defRPr/>
            </a:pPr>
            <a:r>
              <a:rPr lang="ar-SA" sz="2400" b="1" kern="0" dirty="0">
                <a:solidFill>
                  <a:srgbClr val="002060"/>
                </a:solidFill>
                <a:latin typeface="Sakkal Majalla" panose="02000000000000000000" pitchFamily="2" charset="-78"/>
                <a:cs typeface="Sakkal Majalla" panose="02000000000000000000" pitchFamily="2" charset="-78"/>
                <a:sym typeface="Arial"/>
              </a:rPr>
              <a:t>تقويم الأداء المدرسي</a:t>
            </a:r>
          </a:p>
          <a:p>
            <a:pPr lvl="0" algn="ctr" defTabSz="800100">
              <a:defRPr/>
            </a:pPr>
            <a:r>
              <a:rPr lang="ar-SA" sz="2000" b="1" kern="0" dirty="0">
                <a:solidFill>
                  <a:srgbClr val="C00000"/>
                </a:solidFill>
                <a:latin typeface="Sakkal Majalla" panose="02000000000000000000" pitchFamily="2" charset="-78"/>
                <a:cs typeface="Sakkal Majalla" panose="02000000000000000000" pitchFamily="2" charset="-78"/>
                <a:sym typeface="Arial"/>
              </a:rPr>
              <a:t>( ضمان الجودة )</a:t>
            </a:r>
          </a:p>
        </p:txBody>
      </p:sp>
      <p:sp>
        <p:nvSpPr>
          <p:cNvPr id="10" name="Rectangular Callout 16">
            <a:extLst>
              <a:ext uri="{FF2B5EF4-FFF2-40B4-BE49-F238E27FC236}">
                <a16:creationId xmlns:a16="http://schemas.microsoft.com/office/drawing/2014/main" id="{1171C077-8741-E660-805D-16063598E3D7}"/>
              </a:ext>
            </a:extLst>
          </p:cNvPr>
          <p:cNvSpPr/>
          <p:nvPr/>
        </p:nvSpPr>
        <p:spPr>
          <a:xfrm>
            <a:off x="4630950" y="1066292"/>
            <a:ext cx="2448272" cy="1697540"/>
          </a:xfrm>
          <a:prstGeom prst="wedgeRectCallout">
            <a:avLst>
              <a:gd name="adj1" fmla="val -19627"/>
              <a:gd name="adj2" fmla="val 48732"/>
            </a:avLst>
          </a:prstGeom>
          <a:solidFill>
            <a:srgbClr val="D3EBD5"/>
          </a:solidFill>
          <a:ln w="12700" cap="flat" cmpd="sng" algn="ctr">
            <a:solidFill>
              <a:sysClr val="windowText" lastClr="000000"/>
            </a:solidFill>
            <a:prstDash val="solid"/>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3200" b="1" i="0" u="none" strike="noStrike" kern="0" cap="none" spc="0" normalizeH="0" baseline="0" noProof="0" dirty="0">
                <a:ln>
                  <a:noFill/>
                </a:ln>
                <a:solidFill>
                  <a:srgbClr val="002060"/>
                </a:solidFill>
                <a:effectLst/>
                <a:uLnTx/>
                <a:uFillTx/>
                <a:latin typeface="Sakkal Majalla" panose="02000000000000000000" pitchFamily="2" charset="-78"/>
                <a:cs typeface="Sakkal Majalla" panose="02000000000000000000" pitchFamily="2" charset="-78"/>
                <a:sym typeface="Arial"/>
              </a:rPr>
              <a:t>المدرسة</a:t>
            </a:r>
          </a:p>
          <a:p>
            <a:pPr marL="0" marR="0" lvl="0" indent="0" algn="ctr" defTabSz="914400" rtl="0" eaLnBrk="1" fontAlgn="auto" latinLnBrk="0" hangingPunct="1">
              <a:lnSpc>
                <a:spcPct val="100000"/>
              </a:lnSpc>
              <a:spcBef>
                <a:spcPts val="0"/>
              </a:spcBef>
              <a:spcAft>
                <a:spcPts val="0"/>
              </a:spcAft>
              <a:buClrTx/>
              <a:buSzTx/>
              <a:buFontTx/>
              <a:buNone/>
              <a:tabLst/>
              <a:defRPr/>
            </a:pPr>
            <a:r>
              <a:rPr lang="ar-SA" sz="2400" b="1" kern="0" dirty="0">
                <a:solidFill>
                  <a:srgbClr val="002060"/>
                </a:solidFill>
                <a:latin typeface="Sakkal Majalla" panose="02000000000000000000" pitchFamily="2" charset="-78"/>
                <a:cs typeface="Sakkal Majalla" panose="02000000000000000000" pitchFamily="2" charset="-78"/>
                <a:sym typeface="Arial"/>
              </a:rPr>
              <a:t>المهام تتمثل في:</a:t>
            </a:r>
            <a:r>
              <a:rPr kumimoji="0" lang="ar-SA" sz="2400" b="1" i="0" u="none" strike="noStrike" kern="0" cap="none" spc="0" normalizeH="0" baseline="0" noProof="0" dirty="0">
                <a:ln>
                  <a:noFill/>
                </a:ln>
                <a:solidFill>
                  <a:srgbClr val="002060"/>
                </a:solidFill>
                <a:effectLst/>
                <a:uLnTx/>
                <a:uFillTx/>
                <a:latin typeface="Sakkal Majalla" panose="02000000000000000000" pitchFamily="2" charset="-78"/>
                <a:cs typeface="Sakkal Majalla" panose="02000000000000000000" pitchFamily="2" charset="-78"/>
                <a:sym typeface="Arial"/>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lang="ar-SA" sz="2000" b="1" kern="0" dirty="0">
                <a:solidFill>
                  <a:srgbClr val="002060"/>
                </a:solidFill>
                <a:latin typeface="Sakkal Majalla" panose="02000000000000000000" pitchFamily="2" charset="-78"/>
                <a:cs typeface="Sakkal Majalla" panose="02000000000000000000" pitchFamily="2" charset="-78"/>
                <a:sym typeface="Arial"/>
              </a:rPr>
              <a:t>(الأداء في ضوء المعايير )</a:t>
            </a:r>
            <a:endParaRPr kumimoji="0" lang="en-US" sz="2000" b="1" i="0" u="none" strike="noStrike" kern="0" cap="none" spc="0" normalizeH="0" baseline="0" noProof="0" dirty="0">
              <a:ln>
                <a:noFill/>
              </a:ln>
              <a:solidFill>
                <a:srgbClr val="002060"/>
              </a:solidFill>
              <a:effectLst/>
              <a:uLnTx/>
              <a:uFillTx/>
              <a:latin typeface="Sakkal Majalla" panose="02000000000000000000" pitchFamily="2" charset="-78"/>
              <a:cs typeface="Sakkal Majalla" panose="02000000000000000000" pitchFamily="2" charset="-78"/>
              <a:sym typeface="Arial"/>
            </a:endParaRPr>
          </a:p>
        </p:txBody>
      </p:sp>
      <p:cxnSp>
        <p:nvCxnSpPr>
          <p:cNvPr id="11" name="رابط كسهم مستقيم 10">
            <a:extLst>
              <a:ext uri="{FF2B5EF4-FFF2-40B4-BE49-F238E27FC236}">
                <a16:creationId xmlns:a16="http://schemas.microsoft.com/office/drawing/2014/main" id="{A1687550-126A-9ABF-CFE8-C48DDFD13F24}"/>
              </a:ext>
            </a:extLst>
          </p:cNvPr>
          <p:cNvCxnSpPr>
            <a:cxnSpLocks noChangeShapeType="1"/>
            <a:stCxn id="6" idx="1"/>
            <a:endCxn id="10" idx="3"/>
          </p:cNvCxnSpPr>
          <p:nvPr/>
        </p:nvCxnSpPr>
        <p:spPr bwMode="auto">
          <a:xfrm flipH="1">
            <a:off x="7079222" y="1896856"/>
            <a:ext cx="1151662" cy="0"/>
          </a:xfrm>
          <a:prstGeom prst="straightConnector1">
            <a:avLst/>
          </a:prstGeom>
          <a:noFill/>
          <a:ln w="28575" algn="ctr">
            <a:solidFill>
              <a:srgbClr val="0070C0"/>
            </a:solidFill>
            <a:round/>
            <a:headEnd type="none" w="med" len="med"/>
            <a:tailEnd type="arrow"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 name="رابط كسهم مستقيم 11">
            <a:extLst>
              <a:ext uri="{FF2B5EF4-FFF2-40B4-BE49-F238E27FC236}">
                <a16:creationId xmlns:a16="http://schemas.microsoft.com/office/drawing/2014/main" id="{183D9394-FD00-95E9-895B-C193DE7B0CE5}"/>
              </a:ext>
            </a:extLst>
          </p:cNvPr>
          <p:cNvCxnSpPr>
            <a:cxnSpLocks noChangeShapeType="1"/>
            <a:stCxn id="10" idx="1"/>
            <a:endCxn id="9" idx="3"/>
          </p:cNvCxnSpPr>
          <p:nvPr/>
        </p:nvCxnSpPr>
        <p:spPr bwMode="auto">
          <a:xfrm flipH="1">
            <a:off x="3281780" y="1915062"/>
            <a:ext cx="1349170" cy="354"/>
          </a:xfrm>
          <a:prstGeom prst="straightConnector1">
            <a:avLst/>
          </a:prstGeom>
          <a:noFill/>
          <a:ln w="38100" algn="ctr">
            <a:solidFill>
              <a:srgbClr val="0070C0"/>
            </a:solidFill>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 name="Google Shape;921;p31">
            <a:extLst>
              <a:ext uri="{FF2B5EF4-FFF2-40B4-BE49-F238E27FC236}">
                <a16:creationId xmlns:a16="http://schemas.microsoft.com/office/drawing/2014/main" id="{FA12AD06-AB08-9C87-C2B3-445A54892658}"/>
              </a:ext>
            </a:extLst>
          </p:cNvPr>
          <p:cNvCxnSpPr>
            <a:cxnSpLocks/>
            <a:stCxn id="6" idx="0"/>
            <a:endCxn id="9" idx="0"/>
          </p:cNvCxnSpPr>
          <p:nvPr/>
        </p:nvCxnSpPr>
        <p:spPr>
          <a:xfrm rot="16200000" flipH="1" flipV="1">
            <a:off x="5940370" y="-2570612"/>
            <a:ext cx="19354" cy="7657301"/>
          </a:xfrm>
          <a:prstGeom prst="bentConnector3">
            <a:avLst>
              <a:gd name="adj1" fmla="val -2684448"/>
            </a:avLst>
          </a:prstGeom>
          <a:noFill/>
          <a:ln w="28575" cap="flat" cmpd="sng">
            <a:solidFill>
              <a:srgbClr val="002060"/>
            </a:solidFill>
            <a:prstDash val="solid"/>
            <a:round/>
            <a:headEnd type="arrow" w="med" len="med"/>
            <a:tailEnd type="arrow" w="med" len="med"/>
          </a:ln>
        </p:spPr>
      </p:cxnSp>
      <p:cxnSp>
        <p:nvCxnSpPr>
          <p:cNvPr id="15" name="Google Shape;921;p31">
            <a:extLst>
              <a:ext uri="{FF2B5EF4-FFF2-40B4-BE49-F238E27FC236}">
                <a16:creationId xmlns:a16="http://schemas.microsoft.com/office/drawing/2014/main" id="{B5327AFF-A68A-1059-F061-2505BC53910F}"/>
              </a:ext>
            </a:extLst>
          </p:cNvPr>
          <p:cNvCxnSpPr>
            <a:cxnSpLocks/>
            <a:stCxn id="10" idx="2"/>
            <a:endCxn id="9" idx="2"/>
          </p:cNvCxnSpPr>
          <p:nvPr/>
        </p:nvCxnSpPr>
        <p:spPr>
          <a:xfrm rot="5400000" flipH="1">
            <a:off x="3887883" y="796629"/>
            <a:ext cx="200716" cy="3733690"/>
          </a:xfrm>
          <a:prstGeom prst="bentConnector3">
            <a:avLst>
              <a:gd name="adj1" fmla="val -113892"/>
            </a:avLst>
          </a:prstGeom>
          <a:noFill/>
          <a:ln w="28575" cap="flat" cmpd="sng">
            <a:solidFill>
              <a:srgbClr val="002060"/>
            </a:solidFill>
            <a:prstDash val="solid"/>
            <a:round/>
            <a:headEnd type="arrow" w="med" len="med"/>
            <a:tailEnd type="arrow" w="med" len="med"/>
          </a:ln>
        </p:spPr>
      </p:cxnSp>
      <p:sp>
        <p:nvSpPr>
          <p:cNvPr id="16" name="Rounded Rectangle 5">
            <a:extLst>
              <a:ext uri="{FF2B5EF4-FFF2-40B4-BE49-F238E27FC236}">
                <a16:creationId xmlns:a16="http://schemas.microsoft.com/office/drawing/2014/main" id="{72AB1E76-E277-9594-173A-8F316D5D4AD1}"/>
              </a:ext>
            </a:extLst>
          </p:cNvPr>
          <p:cNvSpPr/>
          <p:nvPr/>
        </p:nvSpPr>
        <p:spPr>
          <a:xfrm>
            <a:off x="1512444" y="3356652"/>
            <a:ext cx="4342641" cy="1295400"/>
          </a:xfrm>
          <a:prstGeom prst="roundRect">
            <a:avLst/>
          </a:prstGeom>
          <a:solidFill>
            <a:sysClr val="window" lastClr="FFFFFF"/>
          </a:solidFill>
          <a:ln w="12700" cap="flat" cmpd="sng" algn="ctr">
            <a:solidFill>
              <a:srgbClr val="70AD47"/>
            </a:solidFill>
            <a:prstDash val="solid"/>
            <a:miter lim="800000"/>
          </a:ln>
          <a:effectLst/>
        </p:spPr>
        <p:txBody>
          <a:bodyPr lIns="80010" tIns="40005" rIns="80010" bIns="40005" rtlCol="1" anchor="ctr"/>
          <a:lstStyle/>
          <a:p>
            <a:pPr lvl="0" algn="ctr" defTabSz="800100">
              <a:defRPr/>
            </a:pPr>
            <a:r>
              <a:rPr lang="ar-SA" sz="2400" b="1" kern="0" dirty="0">
                <a:solidFill>
                  <a:srgbClr val="002060"/>
                </a:solidFill>
                <a:latin typeface="Sakkal Majalla" panose="02000000000000000000" pitchFamily="2" charset="-78"/>
                <a:cs typeface="Sakkal Majalla" panose="02000000000000000000" pitchFamily="2" charset="-78"/>
                <a:sym typeface="Arial"/>
              </a:rPr>
              <a:t>التطوير والتحسين المستمر</a:t>
            </a:r>
          </a:p>
          <a:p>
            <a:pPr lvl="0" algn="ctr" defTabSz="800100">
              <a:defRPr/>
            </a:pPr>
            <a:r>
              <a:rPr lang="ar-SA" sz="2000" b="1" kern="0" dirty="0">
                <a:solidFill>
                  <a:srgbClr val="C00000"/>
                </a:solidFill>
                <a:latin typeface="Sakkal Majalla" panose="02000000000000000000" pitchFamily="2" charset="-78"/>
                <a:cs typeface="Sakkal Majalla" panose="02000000000000000000" pitchFamily="2" charset="-78"/>
                <a:sym typeface="Arial"/>
              </a:rPr>
              <a:t>( تقارير مفصلة للمدرسة تتضمن بيانات شاملة عن أداء المدرسة في مختلف جوانب العملية التعليمية تشمل كل معايير الأداء المدرسي )</a:t>
            </a:r>
          </a:p>
        </p:txBody>
      </p:sp>
      <p:sp>
        <p:nvSpPr>
          <p:cNvPr id="17" name="Google Shape;907;p31">
            <a:extLst>
              <a:ext uri="{FF2B5EF4-FFF2-40B4-BE49-F238E27FC236}">
                <a16:creationId xmlns:a16="http://schemas.microsoft.com/office/drawing/2014/main" id="{0118F12C-8DAA-E9BC-D5CB-8C5439151DC9}"/>
              </a:ext>
            </a:extLst>
          </p:cNvPr>
          <p:cNvSpPr txBox="1"/>
          <p:nvPr/>
        </p:nvSpPr>
        <p:spPr>
          <a:xfrm>
            <a:off x="7103559" y="1803333"/>
            <a:ext cx="1156443" cy="702368"/>
          </a:xfrm>
          <a:prstGeom prst="rect">
            <a:avLst/>
          </a:prstGeom>
          <a:noFill/>
          <a:ln w="9525" cap="flat" cmpd="sng">
            <a:noFill/>
            <a:prstDash val="solid"/>
            <a:round/>
            <a:headEnd type="none" w="sm" len="sm"/>
            <a:tailEnd type="none" w="sm" len="sm"/>
          </a:ln>
        </p:spPr>
        <p:txBody>
          <a:bodyPr spcFirstLastPara="1" wrap="square" lIns="121900" tIns="121900" rIns="121900" bIns="121900" anchor="ctr" anchorCtr="0">
            <a:noAutofit/>
          </a:bodyPr>
          <a:lstStyle/>
          <a:p>
            <a:pPr algn="ctr" defTabSz="1219170" rtl="0">
              <a:defRPr/>
            </a:pPr>
            <a:r>
              <a:rPr lang="ar-SA" b="1" kern="0" dirty="0">
                <a:solidFill>
                  <a:schemeClr val="accent1">
                    <a:lumMod val="75000"/>
                  </a:schemeClr>
                </a:solidFill>
                <a:latin typeface="Sakkal Majalla" panose="02000000000000000000" pitchFamily="2" charset="-78"/>
                <a:ea typeface="Samim" panose="020B0603030804020204" pitchFamily="34" charset="0"/>
                <a:cs typeface="Sakkal Majalla" panose="02000000000000000000" pitchFamily="2" charset="-78"/>
                <a:sym typeface="Josefin Sans"/>
              </a:rPr>
              <a:t>مهام المدرسة</a:t>
            </a:r>
          </a:p>
        </p:txBody>
      </p:sp>
      <p:sp>
        <p:nvSpPr>
          <p:cNvPr id="18" name="Google Shape;907;p31">
            <a:extLst>
              <a:ext uri="{FF2B5EF4-FFF2-40B4-BE49-F238E27FC236}">
                <a16:creationId xmlns:a16="http://schemas.microsoft.com/office/drawing/2014/main" id="{796A358D-B2BD-1863-2CCB-D67D24423353}"/>
              </a:ext>
            </a:extLst>
          </p:cNvPr>
          <p:cNvSpPr txBox="1"/>
          <p:nvPr/>
        </p:nvSpPr>
        <p:spPr>
          <a:xfrm>
            <a:off x="3076522" y="2511970"/>
            <a:ext cx="1156443" cy="702368"/>
          </a:xfrm>
          <a:prstGeom prst="rect">
            <a:avLst/>
          </a:prstGeom>
          <a:noFill/>
          <a:ln w="9525" cap="flat" cmpd="sng">
            <a:noFill/>
            <a:prstDash val="solid"/>
            <a:round/>
            <a:headEnd type="none" w="sm" len="sm"/>
            <a:tailEnd type="none" w="sm" len="sm"/>
          </a:ln>
        </p:spPr>
        <p:txBody>
          <a:bodyPr spcFirstLastPara="1" wrap="square" lIns="121900" tIns="121900" rIns="121900" bIns="121900" anchor="ctr" anchorCtr="0">
            <a:noAutofit/>
          </a:bodyPr>
          <a:lstStyle/>
          <a:p>
            <a:pPr algn="ctr" defTabSz="1219170" rtl="0">
              <a:defRPr/>
            </a:pPr>
            <a:r>
              <a:rPr lang="ar-SA" b="1" kern="0" dirty="0">
                <a:solidFill>
                  <a:schemeClr val="accent1">
                    <a:lumMod val="75000"/>
                  </a:schemeClr>
                </a:solidFill>
                <a:latin typeface="Sakkal Majalla" panose="02000000000000000000" pitchFamily="2" charset="-78"/>
                <a:ea typeface="Samim" panose="020B0603030804020204" pitchFamily="34" charset="0"/>
                <a:cs typeface="Sakkal Majalla" panose="02000000000000000000" pitchFamily="2" charset="-78"/>
                <a:sym typeface="Josefin Sans"/>
              </a:rPr>
              <a:t>تغذية راجعة </a:t>
            </a:r>
          </a:p>
        </p:txBody>
      </p:sp>
      <p:sp>
        <p:nvSpPr>
          <p:cNvPr id="19" name="Google Shape;907;p31">
            <a:extLst>
              <a:ext uri="{FF2B5EF4-FFF2-40B4-BE49-F238E27FC236}">
                <a16:creationId xmlns:a16="http://schemas.microsoft.com/office/drawing/2014/main" id="{51DA9542-C562-5FC2-7D7E-AF66E7600F8F}"/>
              </a:ext>
            </a:extLst>
          </p:cNvPr>
          <p:cNvSpPr txBox="1"/>
          <p:nvPr/>
        </p:nvSpPr>
        <p:spPr>
          <a:xfrm>
            <a:off x="6642097" y="3597191"/>
            <a:ext cx="5277759" cy="1944620"/>
          </a:xfrm>
          <a:prstGeom prst="rect">
            <a:avLst/>
          </a:prstGeom>
          <a:noFill/>
          <a:ln w="9525" cap="flat" cmpd="sng">
            <a:noFill/>
            <a:prstDash val="solid"/>
            <a:round/>
            <a:headEnd type="none" w="sm" len="sm"/>
            <a:tailEnd type="none" w="sm" len="sm"/>
          </a:ln>
        </p:spPr>
        <p:txBody>
          <a:bodyPr spcFirstLastPara="1" wrap="square" lIns="121900" tIns="121900" rIns="121900" bIns="121900" anchor="ctr" anchorCtr="0">
            <a:noAutofit/>
          </a:bodyPr>
          <a:lstStyle/>
          <a:p>
            <a:pPr algn="r" defTabSz="1219170" rtl="1">
              <a:defRPr/>
            </a:pPr>
            <a:r>
              <a:rPr lang="ar-SA" sz="2800" b="1" kern="0" dirty="0">
                <a:solidFill>
                  <a:schemeClr val="accent2">
                    <a:lumMod val="75000"/>
                  </a:schemeClr>
                </a:solidFill>
                <a:latin typeface="Sakkal Majalla" panose="02000000000000000000" pitchFamily="2" charset="-78"/>
                <a:ea typeface="Samim" panose="020B0603030804020204" pitchFamily="34" charset="0"/>
                <a:cs typeface="Sakkal Majalla" panose="02000000000000000000" pitchFamily="2" charset="-78"/>
                <a:sym typeface="Josefin Sans"/>
              </a:rPr>
              <a:t>أدوار الهيئة الرئيسية في المدارس:</a:t>
            </a:r>
          </a:p>
          <a:p>
            <a:pPr algn="r" defTabSz="1219170" rtl="1">
              <a:defRPr/>
            </a:pPr>
            <a:r>
              <a:rPr lang="ar-SA" sz="2400" b="1" kern="0" dirty="0">
                <a:solidFill>
                  <a:srgbClr val="002060"/>
                </a:solidFill>
                <a:latin typeface="Sakkal Majalla" panose="02000000000000000000" pitchFamily="2" charset="-78"/>
                <a:ea typeface="Samim" panose="020B0603030804020204" pitchFamily="34" charset="0"/>
                <a:cs typeface="Sakkal Majalla" panose="02000000000000000000" pitchFamily="2" charset="-78"/>
                <a:sym typeface="Josefin Sans"/>
              </a:rPr>
              <a:t>1- ضبط الجودة ( معايير الأداء المدرسي )</a:t>
            </a:r>
          </a:p>
          <a:p>
            <a:pPr algn="r" defTabSz="1219170" rtl="1">
              <a:defRPr/>
            </a:pPr>
            <a:r>
              <a:rPr lang="ar-SA" sz="2400" b="1" kern="0" dirty="0">
                <a:solidFill>
                  <a:srgbClr val="002060"/>
                </a:solidFill>
                <a:latin typeface="Sakkal Majalla" panose="02000000000000000000" pitchFamily="2" charset="-78"/>
                <a:ea typeface="Samim" panose="020B0603030804020204" pitchFamily="34" charset="0"/>
                <a:cs typeface="Sakkal Majalla" panose="02000000000000000000" pitchFamily="2" charset="-78"/>
                <a:sym typeface="Josefin Sans"/>
              </a:rPr>
              <a:t>2- ضمان الجودة ( تقويم الأداء المدرسي )</a:t>
            </a:r>
          </a:p>
          <a:p>
            <a:pPr algn="r" defTabSz="1219170" rtl="1">
              <a:defRPr/>
            </a:pPr>
            <a:r>
              <a:rPr lang="ar-SA" sz="2400" b="1" kern="0" dirty="0">
                <a:solidFill>
                  <a:srgbClr val="002060"/>
                </a:solidFill>
                <a:latin typeface="Sakkal Majalla" panose="02000000000000000000" pitchFamily="2" charset="-78"/>
                <a:ea typeface="Samim" panose="020B0603030804020204" pitchFamily="34" charset="0"/>
                <a:cs typeface="Sakkal Majalla" panose="02000000000000000000" pitchFamily="2" charset="-78"/>
                <a:sym typeface="Josefin Sans"/>
              </a:rPr>
              <a:t>3- مقترحات التحسين والتطوير ( تغذية راجعة من خلال تقارير مفصلة تتضمن نتائج تقويم الأداء المدرسي)</a:t>
            </a:r>
          </a:p>
        </p:txBody>
      </p:sp>
      <p:sp>
        <p:nvSpPr>
          <p:cNvPr id="20" name="شكل بيضاوي 19">
            <a:extLst>
              <a:ext uri="{FF2B5EF4-FFF2-40B4-BE49-F238E27FC236}">
                <a16:creationId xmlns:a16="http://schemas.microsoft.com/office/drawing/2014/main" id="{744C5A6D-EE1F-2772-C815-B8CAFE5E12EF}"/>
              </a:ext>
            </a:extLst>
          </p:cNvPr>
          <p:cNvSpPr/>
          <p:nvPr/>
        </p:nvSpPr>
        <p:spPr>
          <a:xfrm>
            <a:off x="10806547" y="1245728"/>
            <a:ext cx="578199" cy="519084"/>
          </a:xfrm>
          <a:prstGeom prst="ellipse">
            <a:avLst/>
          </a:prstGeom>
          <a:solidFill>
            <a:schemeClr val="accent4">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r>
              <a:rPr lang="ar-SA" sz="2800" dirty="0">
                <a:solidFill>
                  <a:schemeClr val="tx1"/>
                </a:solidFill>
              </a:rPr>
              <a:t>1</a:t>
            </a:r>
            <a:endParaRPr lang="ar-SA" dirty="0">
              <a:solidFill>
                <a:schemeClr val="tx1"/>
              </a:solidFill>
            </a:endParaRPr>
          </a:p>
        </p:txBody>
      </p:sp>
      <p:sp>
        <p:nvSpPr>
          <p:cNvPr id="21" name="شكل بيضاوي 20">
            <a:extLst>
              <a:ext uri="{FF2B5EF4-FFF2-40B4-BE49-F238E27FC236}">
                <a16:creationId xmlns:a16="http://schemas.microsoft.com/office/drawing/2014/main" id="{C2AB2F25-C313-18D4-4565-1C2AB031B310}"/>
              </a:ext>
            </a:extLst>
          </p:cNvPr>
          <p:cNvSpPr/>
          <p:nvPr/>
        </p:nvSpPr>
        <p:spPr>
          <a:xfrm>
            <a:off x="934245" y="1245728"/>
            <a:ext cx="578199" cy="519084"/>
          </a:xfrm>
          <a:prstGeom prst="ellipse">
            <a:avLst/>
          </a:prstGeom>
          <a:solidFill>
            <a:schemeClr val="accent4">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r>
              <a:rPr lang="ar-SA" sz="2800" dirty="0">
                <a:solidFill>
                  <a:schemeClr val="tx1"/>
                </a:solidFill>
              </a:rPr>
              <a:t>2</a:t>
            </a:r>
            <a:endParaRPr lang="ar-SA" dirty="0">
              <a:solidFill>
                <a:schemeClr val="tx1"/>
              </a:solidFill>
            </a:endParaRPr>
          </a:p>
        </p:txBody>
      </p:sp>
      <p:sp>
        <p:nvSpPr>
          <p:cNvPr id="24" name="شكل بيضاوي 23">
            <a:extLst>
              <a:ext uri="{FF2B5EF4-FFF2-40B4-BE49-F238E27FC236}">
                <a16:creationId xmlns:a16="http://schemas.microsoft.com/office/drawing/2014/main" id="{0B8675A4-D516-0370-6043-CFD25089BF66}"/>
              </a:ext>
            </a:extLst>
          </p:cNvPr>
          <p:cNvSpPr/>
          <p:nvPr/>
        </p:nvSpPr>
        <p:spPr>
          <a:xfrm>
            <a:off x="1440567" y="3202729"/>
            <a:ext cx="578199" cy="519084"/>
          </a:xfrm>
          <a:prstGeom prst="ellipse">
            <a:avLst/>
          </a:prstGeom>
          <a:solidFill>
            <a:schemeClr val="accent4">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r>
              <a:rPr lang="ar-SA" sz="2800" dirty="0">
                <a:solidFill>
                  <a:schemeClr val="tx1"/>
                </a:solidFill>
              </a:rPr>
              <a:t>3</a:t>
            </a:r>
            <a:endParaRPr lang="ar-SA" dirty="0">
              <a:solidFill>
                <a:schemeClr val="tx1"/>
              </a:solidFill>
            </a:endParaRPr>
          </a:p>
        </p:txBody>
      </p:sp>
      <p:sp>
        <p:nvSpPr>
          <p:cNvPr id="29" name="مربع نص 28">
            <a:extLst>
              <a:ext uri="{FF2B5EF4-FFF2-40B4-BE49-F238E27FC236}">
                <a16:creationId xmlns:a16="http://schemas.microsoft.com/office/drawing/2014/main" id="{01ACF93B-1F7C-D171-842F-CE73063963B8}"/>
              </a:ext>
            </a:extLst>
          </p:cNvPr>
          <p:cNvSpPr txBox="1"/>
          <p:nvPr/>
        </p:nvSpPr>
        <p:spPr>
          <a:xfrm>
            <a:off x="525994" y="4880510"/>
            <a:ext cx="5570006" cy="1384995"/>
          </a:xfrm>
          <a:prstGeom prst="rect">
            <a:avLst/>
          </a:prstGeom>
          <a:solidFill>
            <a:schemeClr val="accent4">
              <a:lumMod val="20000"/>
              <a:lumOff val="80000"/>
            </a:schemeClr>
          </a:solidFill>
        </p:spPr>
        <p:txBody>
          <a:bodyPr wrap="square">
            <a:spAutoFit/>
          </a:bodyPr>
          <a:lstStyle/>
          <a:p>
            <a:pPr algn="justLow" defTabSz="1219140" rtl="1" latinLnBrk="0">
              <a:buClr>
                <a:srgbClr val="11C1FF"/>
              </a:buClr>
              <a:defRPr/>
            </a:pPr>
            <a:r>
              <a:rPr lang="ar-SA" sz="2400" b="1" dirty="0">
                <a:solidFill>
                  <a:srgbClr val="C00000"/>
                </a:solidFill>
                <a:latin typeface="Sakkal Majalla" panose="02000000000000000000" pitchFamily="2" charset="-78"/>
                <a:ea typeface="Samim" panose="020B0603030804020204" pitchFamily="34" charset="0"/>
                <a:cs typeface="Sakkal Majalla" panose="02000000000000000000" pitchFamily="2" charset="-78"/>
              </a:rPr>
              <a:t>المنصة الرقمية</a:t>
            </a:r>
            <a:r>
              <a:rPr lang="ar-SA" b="1" dirty="0">
                <a:solidFill>
                  <a:prstClr val="black"/>
                </a:solidFill>
                <a:latin typeface="Sakkal Majalla" panose="02000000000000000000" pitchFamily="2" charset="-78"/>
                <a:ea typeface="Samim" panose="020B0603030804020204" pitchFamily="34" charset="0"/>
                <a:cs typeface="Sakkal Majalla" panose="02000000000000000000" pitchFamily="2" charset="-78"/>
              </a:rPr>
              <a:t>: </a:t>
            </a:r>
            <a:r>
              <a:rPr lang="ar-SA" sz="2000" b="1" dirty="0">
                <a:solidFill>
                  <a:prstClr val="black"/>
                </a:solidFill>
                <a:latin typeface="Sakkal Majalla" panose="02000000000000000000" pitchFamily="2" charset="-78"/>
                <a:ea typeface="Samim" panose="020B0603030804020204" pitchFamily="34" charset="0"/>
                <a:cs typeface="Sakkal Majalla" panose="02000000000000000000" pitchFamily="2" charset="-78"/>
              </a:rPr>
              <a:t>نظام متكامل لأدوات إجراءات التقويم المدرسي الذاتي والخارجي. تتضمن أدوات علمية معتمدة مؤتمتة وأدلة إرشادية لتطبيقها للوقوف على أداء المدرسة في كل جوانب العملية التعليمية وتدعم عمليات تحليل البيانات وإصدار التقارير إلكترونياً.</a:t>
            </a:r>
          </a:p>
        </p:txBody>
      </p:sp>
    </p:spTree>
    <p:extLst>
      <p:ext uri="{BB962C8B-B14F-4D97-AF65-F5344CB8AC3E}">
        <p14:creationId xmlns:p14="http://schemas.microsoft.com/office/powerpoint/2010/main" val="738224343"/>
      </p:ext>
    </p:extLst>
  </p:cSld>
  <p:clrMapOvr>
    <a:masterClrMapping/>
  </p:clrMapOvr>
  <mc:AlternateContent xmlns:mc="http://schemas.openxmlformats.org/markup-compatibility/2006" xmlns:p14="http://schemas.microsoft.com/office/powerpoint/2010/main">
    <mc:Choice Requires="p14">
      <p:transition spd="slow" p14:dur="1200">
        <p14:prism dir="r"/>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arn(inVertical)">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grpId="0" nodeType="click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barn(inVertical)">
                                      <p:cBhvr>
                                        <p:cTn id="12" dur="1000"/>
                                        <p:tgtEl>
                                          <p:spTgt spid="20"/>
                                        </p:tgtEl>
                                      </p:cBhvr>
                                    </p:animEffect>
                                  </p:childTnLst>
                                </p:cTn>
                              </p:par>
                              <p:par>
                                <p:cTn id="13" presetID="9" presetClass="entr" presetSubtype="0" fill="hold" grpId="0" nodeType="with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dissolve">
                                      <p:cBhvr>
                                        <p:cTn id="15" dur="1000"/>
                                        <p:tgtEl>
                                          <p:spTgt spid="6"/>
                                        </p:tgtEl>
                                      </p:cBhvr>
                                    </p:animEffect>
                                  </p:childTnLst>
                                </p:cTn>
                              </p:par>
                            </p:childTnLst>
                          </p:cTn>
                        </p:par>
                      </p:childTnLst>
                    </p:cTn>
                  </p:par>
                  <p:par>
                    <p:cTn id="16" fill="hold">
                      <p:stCondLst>
                        <p:cond delay="indefinite"/>
                      </p:stCondLst>
                      <p:childTnLst>
                        <p:par>
                          <p:cTn id="17" fill="hold">
                            <p:stCondLst>
                              <p:cond delay="0"/>
                            </p:stCondLst>
                            <p:childTnLst>
                              <p:par>
                                <p:cTn id="18" presetID="6" presetClass="entr" presetSubtype="16" fill="hold" nodeType="clickEffect">
                                  <p:stCondLst>
                                    <p:cond delay="0"/>
                                  </p:stCondLst>
                                  <p:childTnLst>
                                    <p:set>
                                      <p:cBhvr>
                                        <p:cTn id="19" dur="1" fill="hold">
                                          <p:stCondLst>
                                            <p:cond delay="0"/>
                                          </p:stCondLst>
                                        </p:cTn>
                                        <p:tgtEl>
                                          <p:spTgt spid="11"/>
                                        </p:tgtEl>
                                        <p:attrNameLst>
                                          <p:attrName>style.visibility</p:attrName>
                                        </p:attrNameLst>
                                      </p:cBhvr>
                                      <p:to>
                                        <p:strVal val="visible"/>
                                      </p:to>
                                    </p:set>
                                    <p:animEffect transition="in" filter="circle(in)">
                                      <p:cBhvr>
                                        <p:cTn id="20" dur="2000"/>
                                        <p:tgtEl>
                                          <p:spTgt spid="11"/>
                                        </p:tgtEl>
                                      </p:cBhvr>
                                    </p:animEffect>
                                  </p:childTnLst>
                                </p:cTn>
                              </p:par>
                            </p:childTnLst>
                          </p:cTn>
                        </p:par>
                      </p:childTnLst>
                    </p:cTn>
                  </p:par>
                  <p:par>
                    <p:cTn id="21" fill="hold">
                      <p:stCondLst>
                        <p:cond delay="indefinite"/>
                      </p:stCondLst>
                      <p:childTnLst>
                        <p:par>
                          <p:cTn id="22" fill="hold">
                            <p:stCondLst>
                              <p:cond delay="0"/>
                            </p:stCondLst>
                            <p:childTnLst>
                              <p:par>
                                <p:cTn id="23" presetID="16" presetClass="entr" presetSubtype="21" fill="hold" grpId="0" nodeType="clickEffect">
                                  <p:stCondLst>
                                    <p:cond delay="0"/>
                                  </p:stCondLst>
                                  <p:childTnLst>
                                    <p:set>
                                      <p:cBhvr>
                                        <p:cTn id="24" dur="1" fill="hold">
                                          <p:stCondLst>
                                            <p:cond delay="0"/>
                                          </p:stCondLst>
                                        </p:cTn>
                                        <p:tgtEl>
                                          <p:spTgt spid="17"/>
                                        </p:tgtEl>
                                        <p:attrNameLst>
                                          <p:attrName>style.visibility</p:attrName>
                                        </p:attrNameLst>
                                      </p:cBhvr>
                                      <p:to>
                                        <p:strVal val="visible"/>
                                      </p:to>
                                    </p:set>
                                    <p:animEffect transition="in" filter="barn(inVertical)">
                                      <p:cBhvr>
                                        <p:cTn id="25" dur="500"/>
                                        <p:tgtEl>
                                          <p:spTgt spid="17"/>
                                        </p:tgtEl>
                                      </p:cBhvr>
                                    </p:animEffect>
                                  </p:childTnLst>
                                </p:cTn>
                              </p:par>
                            </p:childTnLst>
                          </p:cTn>
                        </p:par>
                      </p:childTnLst>
                    </p:cTn>
                  </p:par>
                  <p:par>
                    <p:cTn id="26" fill="hold">
                      <p:stCondLst>
                        <p:cond delay="indefinite"/>
                      </p:stCondLst>
                      <p:childTnLst>
                        <p:par>
                          <p:cTn id="27" fill="hold">
                            <p:stCondLst>
                              <p:cond delay="0"/>
                            </p:stCondLst>
                            <p:childTnLst>
                              <p:par>
                                <p:cTn id="28" presetID="6" presetClass="entr" presetSubtype="16" fill="hold" nodeType="clickEffect">
                                  <p:stCondLst>
                                    <p:cond delay="0"/>
                                  </p:stCondLst>
                                  <p:childTnLst>
                                    <p:set>
                                      <p:cBhvr>
                                        <p:cTn id="29" dur="1" fill="hold">
                                          <p:stCondLst>
                                            <p:cond delay="0"/>
                                          </p:stCondLst>
                                        </p:cTn>
                                        <p:tgtEl>
                                          <p:spTgt spid="10"/>
                                        </p:tgtEl>
                                        <p:attrNameLst>
                                          <p:attrName>style.visibility</p:attrName>
                                        </p:attrNameLst>
                                      </p:cBhvr>
                                      <p:to>
                                        <p:strVal val="visible"/>
                                      </p:to>
                                    </p:set>
                                    <p:animEffect transition="in" filter="circle(in)">
                                      <p:cBhvr>
                                        <p:cTn id="30" dur="1750"/>
                                        <p:tgtEl>
                                          <p:spTgt spid="10"/>
                                        </p:tgtEl>
                                      </p:cBhvr>
                                    </p:animEffect>
                                  </p:childTnLst>
                                </p:cTn>
                              </p:par>
                            </p:childTnLst>
                          </p:cTn>
                        </p:par>
                      </p:childTnLst>
                    </p:cTn>
                  </p:par>
                  <p:par>
                    <p:cTn id="31" fill="hold">
                      <p:stCondLst>
                        <p:cond delay="indefinite"/>
                      </p:stCondLst>
                      <p:childTnLst>
                        <p:par>
                          <p:cTn id="32" fill="hold">
                            <p:stCondLst>
                              <p:cond delay="0"/>
                            </p:stCondLst>
                            <p:childTnLst>
                              <p:par>
                                <p:cTn id="33" presetID="6" presetClass="entr" presetSubtype="16" fill="hold" nodeType="click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circle(in)">
                                      <p:cBhvr>
                                        <p:cTn id="35" dur="2000"/>
                                        <p:tgtEl>
                                          <p:spTgt spid="12"/>
                                        </p:tgtEl>
                                      </p:cBhvr>
                                    </p:animEffect>
                                  </p:childTnLst>
                                </p:cTn>
                              </p:par>
                            </p:childTnLst>
                          </p:cTn>
                        </p:par>
                      </p:childTnLst>
                    </p:cTn>
                  </p:par>
                  <p:par>
                    <p:cTn id="36" fill="hold">
                      <p:stCondLst>
                        <p:cond delay="indefinite"/>
                      </p:stCondLst>
                      <p:childTnLst>
                        <p:par>
                          <p:cTn id="37" fill="hold">
                            <p:stCondLst>
                              <p:cond delay="0"/>
                            </p:stCondLst>
                            <p:childTnLst>
                              <p:par>
                                <p:cTn id="38" presetID="9" presetClass="entr" presetSubtype="0" fill="hold" grpId="0" nodeType="clickEffect">
                                  <p:stCondLst>
                                    <p:cond delay="0"/>
                                  </p:stCondLst>
                                  <p:childTnLst>
                                    <p:set>
                                      <p:cBhvr>
                                        <p:cTn id="39" dur="1" fill="hold">
                                          <p:stCondLst>
                                            <p:cond delay="0"/>
                                          </p:stCondLst>
                                        </p:cTn>
                                        <p:tgtEl>
                                          <p:spTgt spid="9"/>
                                        </p:tgtEl>
                                        <p:attrNameLst>
                                          <p:attrName>style.visibility</p:attrName>
                                        </p:attrNameLst>
                                      </p:cBhvr>
                                      <p:to>
                                        <p:strVal val="visible"/>
                                      </p:to>
                                    </p:set>
                                    <p:animEffect transition="in" filter="dissolve">
                                      <p:cBhvr>
                                        <p:cTn id="40" dur="500"/>
                                        <p:tgtEl>
                                          <p:spTgt spid="9"/>
                                        </p:tgtEl>
                                      </p:cBhvr>
                                    </p:animEffect>
                                  </p:childTnLst>
                                </p:cTn>
                              </p:par>
                            </p:childTnLst>
                          </p:cTn>
                        </p:par>
                      </p:childTnLst>
                    </p:cTn>
                  </p:par>
                  <p:par>
                    <p:cTn id="41" fill="hold">
                      <p:stCondLst>
                        <p:cond delay="indefinite"/>
                      </p:stCondLst>
                      <p:childTnLst>
                        <p:par>
                          <p:cTn id="42" fill="hold">
                            <p:stCondLst>
                              <p:cond delay="0"/>
                            </p:stCondLst>
                            <p:childTnLst>
                              <p:par>
                                <p:cTn id="43" presetID="16" presetClass="entr" presetSubtype="21" fill="hold" grpId="0" nodeType="clickEffect">
                                  <p:stCondLst>
                                    <p:cond delay="0"/>
                                  </p:stCondLst>
                                  <p:childTnLst>
                                    <p:set>
                                      <p:cBhvr>
                                        <p:cTn id="44" dur="1" fill="hold">
                                          <p:stCondLst>
                                            <p:cond delay="0"/>
                                          </p:stCondLst>
                                        </p:cTn>
                                        <p:tgtEl>
                                          <p:spTgt spid="21"/>
                                        </p:tgtEl>
                                        <p:attrNameLst>
                                          <p:attrName>style.visibility</p:attrName>
                                        </p:attrNameLst>
                                      </p:cBhvr>
                                      <p:to>
                                        <p:strVal val="visible"/>
                                      </p:to>
                                    </p:set>
                                    <p:animEffect transition="in" filter="barn(inVertical)">
                                      <p:cBhvr>
                                        <p:cTn id="45" dur="1000"/>
                                        <p:tgtEl>
                                          <p:spTgt spid="21"/>
                                        </p:tgtEl>
                                      </p:cBhvr>
                                    </p:animEffect>
                                  </p:childTnLst>
                                </p:cTn>
                              </p:par>
                            </p:childTnLst>
                          </p:cTn>
                        </p:par>
                      </p:childTnLst>
                    </p:cTn>
                  </p:par>
                  <p:par>
                    <p:cTn id="46" fill="hold">
                      <p:stCondLst>
                        <p:cond delay="indefinite"/>
                      </p:stCondLst>
                      <p:childTnLst>
                        <p:par>
                          <p:cTn id="47" fill="hold">
                            <p:stCondLst>
                              <p:cond delay="0"/>
                            </p:stCondLst>
                            <p:childTnLst>
                              <p:par>
                                <p:cTn id="48" presetID="16" presetClass="entr" presetSubtype="21" fill="hold" nodeType="clickEffect">
                                  <p:stCondLst>
                                    <p:cond delay="0"/>
                                  </p:stCondLst>
                                  <p:childTnLst>
                                    <p:set>
                                      <p:cBhvr>
                                        <p:cTn id="49" dur="1" fill="hold">
                                          <p:stCondLst>
                                            <p:cond delay="0"/>
                                          </p:stCondLst>
                                        </p:cTn>
                                        <p:tgtEl>
                                          <p:spTgt spid="14"/>
                                        </p:tgtEl>
                                        <p:attrNameLst>
                                          <p:attrName>style.visibility</p:attrName>
                                        </p:attrNameLst>
                                      </p:cBhvr>
                                      <p:to>
                                        <p:strVal val="visible"/>
                                      </p:to>
                                    </p:set>
                                    <p:animEffect transition="in" filter="barn(inVertical)">
                                      <p:cBhvr>
                                        <p:cTn id="50" dur="1000"/>
                                        <p:tgtEl>
                                          <p:spTgt spid="14"/>
                                        </p:tgtEl>
                                      </p:cBhvr>
                                    </p:animEffect>
                                  </p:childTnLst>
                                </p:cTn>
                              </p:par>
                            </p:childTnLst>
                          </p:cTn>
                        </p:par>
                      </p:childTnLst>
                    </p:cTn>
                  </p:par>
                  <p:par>
                    <p:cTn id="51" fill="hold">
                      <p:stCondLst>
                        <p:cond delay="indefinite"/>
                      </p:stCondLst>
                      <p:childTnLst>
                        <p:par>
                          <p:cTn id="52" fill="hold">
                            <p:stCondLst>
                              <p:cond delay="0"/>
                            </p:stCondLst>
                            <p:childTnLst>
                              <p:par>
                                <p:cTn id="53" presetID="16" presetClass="entr" presetSubtype="21" fill="hold" nodeType="clickEffect">
                                  <p:stCondLst>
                                    <p:cond delay="0"/>
                                  </p:stCondLst>
                                  <p:childTnLst>
                                    <p:set>
                                      <p:cBhvr>
                                        <p:cTn id="54" dur="1" fill="hold">
                                          <p:stCondLst>
                                            <p:cond delay="0"/>
                                          </p:stCondLst>
                                        </p:cTn>
                                        <p:tgtEl>
                                          <p:spTgt spid="15"/>
                                        </p:tgtEl>
                                        <p:attrNameLst>
                                          <p:attrName>style.visibility</p:attrName>
                                        </p:attrNameLst>
                                      </p:cBhvr>
                                      <p:to>
                                        <p:strVal val="visible"/>
                                      </p:to>
                                    </p:set>
                                    <p:animEffect transition="in" filter="barn(inVertical)">
                                      <p:cBhvr>
                                        <p:cTn id="55" dur="500"/>
                                        <p:tgtEl>
                                          <p:spTgt spid="15"/>
                                        </p:tgtEl>
                                      </p:cBhvr>
                                    </p:animEffect>
                                  </p:childTnLst>
                                </p:cTn>
                              </p:par>
                            </p:childTnLst>
                          </p:cTn>
                        </p:par>
                      </p:childTnLst>
                    </p:cTn>
                  </p:par>
                  <p:par>
                    <p:cTn id="56" fill="hold">
                      <p:stCondLst>
                        <p:cond delay="indefinite"/>
                      </p:stCondLst>
                      <p:childTnLst>
                        <p:par>
                          <p:cTn id="57" fill="hold">
                            <p:stCondLst>
                              <p:cond delay="0"/>
                            </p:stCondLst>
                            <p:childTnLst>
                              <p:par>
                                <p:cTn id="58" presetID="16" presetClass="entr" presetSubtype="21" fill="hold" grpId="0" nodeType="clickEffect">
                                  <p:stCondLst>
                                    <p:cond delay="0"/>
                                  </p:stCondLst>
                                  <p:childTnLst>
                                    <p:set>
                                      <p:cBhvr>
                                        <p:cTn id="59" dur="1" fill="hold">
                                          <p:stCondLst>
                                            <p:cond delay="0"/>
                                          </p:stCondLst>
                                        </p:cTn>
                                        <p:tgtEl>
                                          <p:spTgt spid="18"/>
                                        </p:tgtEl>
                                        <p:attrNameLst>
                                          <p:attrName>style.visibility</p:attrName>
                                        </p:attrNameLst>
                                      </p:cBhvr>
                                      <p:to>
                                        <p:strVal val="visible"/>
                                      </p:to>
                                    </p:set>
                                    <p:animEffect transition="in" filter="barn(inVertical)">
                                      <p:cBhvr>
                                        <p:cTn id="60" dur="500"/>
                                        <p:tgtEl>
                                          <p:spTgt spid="18"/>
                                        </p:tgtEl>
                                      </p:cBhvr>
                                    </p:animEffect>
                                  </p:childTnLst>
                                </p:cTn>
                              </p:par>
                            </p:childTnLst>
                          </p:cTn>
                        </p:par>
                      </p:childTnLst>
                    </p:cTn>
                  </p:par>
                  <p:par>
                    <p:cTn id="61" fill="hold">
                      <p:stCondLst>
                        <p:cond delay="indefinite"/>
                      </p:stCondLst>
                      <p:childTnLst>
                        <p:par>
                          <p:cTn id="62" fill="hold">
                            <p:stCondLst>
                              <p:cond delay="0"/>
                            </p:stCondLst>
                            <p:childTnLst>
                              <p:par>
                                <p:cTn id="63" presetID="9" presetClass="entr" presetSubtype="0" fill="hold" grpId="0" nodeType="clickEffect">
                                  <p:stCondLst>
                                    <p:cond delay="0"/>
                                  </p:stCondLst>
                                  <p:childTnLst>
                                    <p:set>
                                      <p:cBhvr>
                                        <p:cTn id="64" dur="1" fill="hold">
                                          <p:stCondLst>
                                            <p:cond delay="0"/>
                                          </p:stCondLst>
                                        </p:cTn>
                                        <p:tgtEl>
                                          <p:spTgt spid="16"/>
                                        </p:tgtEl>
                                        <p:attrNameLst>
                                          <p:attrName>style.visibility</p:attrName>
                                        </p:attrNameLst>
                                      </p:cBhvr>
                                      <p:to>
                                        <p:strVal val="visible"/>
                                      </p:to>
                                    </p:set>
                                    <p:animEffect transition="in" filter="dissolve">
                                      <p:cBhvr>
                                        <p:cTn id="65" dur="500"/>
                                        <p:tgtEl>
                                          <p:spTgt spid="16"/>
                                        </p:tgtEl>
                                      </p:cBhvr>
                                    </p:animEffect>
                                  </p:childTnLst>
                                </p:cTn>
                              </p:par>
                            </p:childTnLst>
                          </p:cTn>
                        </p:par>
                      </p:childTnLst>
                    </p:cTn>
                  </p:par>
                  <p:par>
                    <p:cTn id="66" fill="hold">
                      <p:stCondLst>
                        <p:cond delay="indefinite"/>
                      </p:stCondLst>
                      <p:childTnLst>
                        <p:par>
                          <p:cTn id="67" fill="hold">
                            <p:stCondLst>
                              <p:cond delay="0"/>
                            </p:stCondLst>
                            <p:childTnLst>
                              <p:par>
                                <p:cTn id="68" presetID="16" presetClass="entr" presetSubtype="21" fill="hold" grpId="0" nodeType="clickEffect">
                                  <p:stCondLst>
                                    <p:cond delay="0"/>
                                  </p:stCondLst>
                                  <p:childTnLst>
                                    <p:set>
                                      <p:cBhvr>
                                        <p:cTn id="69" dur="1" fill="hold">
                                          <p:stCondLst>
                                            <p:cond delay="0"/>
                                          </p:stCondLst>
                                        </p:cTn>
                                        <p:tgtEl>
                                          <p:spTgt spid="24"/>
                                        </p:tgtEl>
                                        <p:attrNameLst>
                                          <p:attrName>style.visibility</p:attrName>
                                        </p:attrNameLst>
                                      </p:cBhvr>
                                      <p:to>
                                        <p:strVal val="visible"/>
                                      </p:to>
                                    </p:set>
                                    <p:animEffect transition="in" filter="barn(inVertical)">
                                      <p:cBhvr>
                                        <p:cTn id="70" dur="750"/>
                                        <p:tgtEl>
                                          <p:spTgt spid="24"/>
                                        </p:tgtEl>
                                      </p:cBhvr>
                                    </p:animEffect>
                                  </p:childTnLst>
                                </p:cTn>
                              </p:par>
                            </p:childTnLst>
                          </p:cTn>
                        </p:par>
                      </p:childTnLst>
                    </p:cTn>
                  </p:par>
                  <p:par>
                    <p:cTn id="71" fill="hold">
                      <p:stCondLst>
                        <p:cond delay="indefinite"/>
                      </p:stCondLst>
                      <p:childTnLst>
                        <p:par>
                          <p:cTn id="72" fill="hold">
                            <p:stCondLst>
                              <p:cond delay="0"/>
                            </p:stCondLst>
                            <p:childTnLst>
                              <p:par>
                                <p:cTn id="73" presetID="16" presetClass="entr" presetSubtype="21" fill="hold" grpId="0" nodeType="clickEffect">
                                  <p:stCondLst>
                                    <p:cond delay="0"/>
                                  </p:stCondLst>
                                  <p:childTnLst>
                                    <p:set>
                                      <p:cBhvr>
                                        <p:cTn id="74" dur="1" fill="hold">
                                          <p:stCondLst>
                                            <p:cond delay="0"/>
                                          </p:stCondLst>
                                        </p:cTn>
                                        <p:tgtEl>
                                          <p:spTgt spid="19"/>
                                        </p:tgtEl>
                                        <p:attrNameLst>
                                          <p:attrName>style.visibility</p:attrName>
                                        </p:attrNameLst>
                                      </p:cBhvr>
                                      <p:to>
                                        <p:strVal val="visible"/>
                                      </p:to>
                                    </p:set>
                                    <p:animEffect transition="in" filter="barn(inVertical)">
                                      <p:cBhvr>
                                        <p:cTn id="75" dur="1500"/>
                                        <p:tgtEl>
                                          <p:spTgt spid="19"/>
                                        </p:tgtEl>
                                      </p:cBhvr>
                                    </p:animEffect>
                                  </p:childTnLst>
                                </p:cTn>
                              </p:par>
                            </p:childTnLst>
                          </p:cTn>
                        </p:par>
                      </p:childTnLst>
                    </p:cTn>
                  </p:par>
                  <p:par>
                    <p:cTn id="76" fill="hold">
                      <p:stCondLst>
                        <p:cond delay="indefinite"/>
                      </p:stCondLst>
                      <p:childTnLst>
                        <p:par>
                          <p:cTn id="77" fill="hold">
                            <p:stCondLst>
                              <p:cond delay="0"/>
                            </p:stCondLst>
                            <p:childTnLst>
                              <p:par>
                                <p:cTn id="78" presetID="16" presetClass="entr" presetSubtype="21" fill="hold" grpId="0" nodeType="clickEffect">
                                  <p:stCondLst>
                                    <p:cond delay="0"/>
                                  </p:stCondLst>
                                  <p:childTnLst>
                                    <p:set>
                                      <p:cBhvr>
                                        <p:cTn id="79" dur="1" fill="hold">
                                          <p:stCondLst>
                                            <p:cond delay="0"/>
                                          </p:stCondLst>
                                        </p:cTn>
                                        <p:tgtEl>
                                          <p:spTgt spid="29"/>
                                        </p:tgtEl>
                                        <p:attrNameLst>
                                          <p:attrName>style.visibility</p:attrName>
                                        </p:attrNameLst>
                                      </p:cBhvr>
                                      <p:to>
                                        <p:strVal val="visible"/>
                                      </p:to>
                                    </p:set>
                                    <p:animEffect transition="in" filter="barn(inVertical)">
                                      <p:cBhvr>
                                        <p:cTn id="80"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6" grpId="0" animBg="1"/>
      <p:bldP spid="9" grpId="0" animBg="1"/>
      <p:bldP spid="16" grpId="0" animBg="1"/>
      <p:bldP spid="17" grpId="0"/>
      <p:bldP spid="18" grpId="0"/>
      <p:bldP spid="19" grpId="0"/>
      <p:bldP spid="20" grpId="0" animBg="1"/>
      <p:bldP spid="21" grpId="0" animBg="1"/>
      <p:bldP spid="24" grpId="0" animBg="1"/>
      <p:bldP spid="29"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23">
            <a:extLst>
              <a:ext uri="{FF2B5EF4-FFF2-40B4-BE49-F238E27FC236}">
                <a16:creationId xmlns:a16="http://schemas.microsoft.com/office/drawing/2014/main" id="{8A5A60CE-223A-9340-F0AB-DE4E38BA0AC8}"/>
              </a:ext>
            </a:extLst>
          </p:cNvPr>
          <p:cNvSpPr txBox="1"/>
          <p:nvPr/>
        </p:nvSpPr>
        <p:spPr>
          <a:xfrm>
            <a:off x="1219200" y="1159167"/>
            <a:ext cx="9234648" cy="1384995"/>
          </a:xfrm>
          <a:prstGeom prst="rect">
            <a:avLst/>
          </a:prstGeom>
          <a:noFill/>
        </p:spPr>
        <p:txBody>
          <a:bodyPr wrap="square" rtlCol="0">
            <a:spAutoFit/>
          </a:bodyPr>
          <a:lstStyle/>
          <a:p>
            <a:pPr algn="justLow" defTabSz="913836" latinLnBrk="1"/>
            <a:r>
              <a:rPr lang="ar-SA" altLang="ko-KR" sz="2800" dirty="0">
                <a:solidFill>
                  <a:prstClr val="black">
                    <a:lumMod val="75000"/>
                    <a:lumOff val="25000"/>
                  </a:prstClr>
                </a:solidFill>
                <a:latin typeface="Sakkal Majalla" panose="02000000000000000000" pitchFamily="2" charset="-78"/>
                <a:cs typeface="Sakkal Majalla" panose="02000000000000000000" pitchFamily="2" charset="-78"/>
              </a:rPr>
              <a:t>هو برنامج تنفذه هيئة تقويم التعليم والتدريب بالتعاون مع وزارة التعليم لضمان جودة الأداء المدرسي وتطويره من خلال توفير بيانات موثوقة وتحليلها وإعداد التقارير عن مستوى الأداء المدرسي ومخرجات التعليم العام.</a:t>
            </a:r>
            <a:endParaRPr lang="ko-KR" altLang="en-US" sz="2800" dirty="0">
              <a:solidFill>
                <a:prstClr val="black">
                  <a:lumMod val="75000"/>
                  <a:lumOff val="25000"/>
                </a:prstClr>
              </a:solidFill>
              <a:latin typeface="Sakkal Majalla" panose="02000000000000000000" pitchFamily="2" charset="-78"/>
              <a:cs typeface="Sakkal Majalla" panose="02000000000000000000" pitchFamily="2" charset="-78"/>
            </a:endParaRPr>
          </a:p>
        </p:txBody>
      </p:sp>
      <p:sp>
        <p:nvSpPr>
          <p:cNvPr id="3" name="Rectangle 24">
            <a:extLst>
              <a:ext uri="{FF2B5EF4-FFF2-40B4-BE49-F238E27FC236}">
                <a16:creationId xmlns:a16="http://schemas.microsoft.com/office/drawing/2014/main" id="{26386AD8-2B05-10F2-BC8C-94C77AF72BDF}"/>
              </a:ext>
            </a:extLst>
          </p:cNvPr>
          <p:cNvSpPr/>
          <p:nvPr/>
        </p:nvSpPr>
        <p:spPr>
          <a:xfrm>
            <a:off x="1219200" y="2514264"/>
            <a:ext cx="9223762" cy="371267"/>
          </a:xfrm>
          <a:prstGeom prst="rect">
            <a:avLst/>
          </a:prstGeom>
          <a:solidFill>
            <a:srgbClr val="F2A40D"/>
          </a:solidFill>
          <a:ln w="25400" cap="flat" cmpd="sng" algn="ctr">
            <a:noFill/>
            <a:prstDash val="solid"/>
          </a:ln>
          <a:effectLst/>
        </p:spPr>
        <p:txBody>
          <a:bodyPr rot="0" spcFirstLastPara="0" vertOverflow="overflow" horzOverflow="overflow" vert="horz" wrap="square" lIns="91441" tIns="45720" rIns="91441" bIns="45720" numCol="1" spcCol="0" rtlCol="0" fromWordArt="0" anchor="ctr" anchorCtr="0" forceAA="0" compatLnSpc="1">
            <a:prstTxWarp prst="textNoShape">
              <a:avLst/>
            </a:prstTxWarp>
            <a:noAutofit/>
          </a:bodyPr>
          <a:lstStyle/>
          <a:p>
            <a:pPr marL="0" marR="0" lvl="0" indent="0" algn="ctr" defTabSz="913836" rtl="0" eaLnBrk="1" fontAlgn="auto" latinLnBrk="1" hangingPunct="1">
              <a:lnSpc>
                <a:spcPct val="100000"/>
              </a:lnSpc>
              <a:spcBef>
                <a:spcPts val="0"/>
              </a:spcBef>
              <a:spcAft>
                <a:spcPts val="0"/>
              </a:spcAft>
              <a:buClrTx/>
              <a:buSzTx/>
              <a:buFontTx/>
              <a:buNone/>
              <a:tabLst/>
              <a:defRPr/>
            </a:pPr>
            <a:endParaRPr kumimoji="0" lang="ko-KR" altLang="en-US" sz="1815" b="0" i="0" u="none" strike="noStrike" kern="0" cap="none" spc="0" normalizeH="0" baseline="0" noProof="0">
              <a:ln>
                <a:noFill/>
              </a:ln>
              <a:solidFill>
                <a:prstClr val="black">
                  <a:lumMod val="75000"/>
                  <a:lumOff val="25000"/>
                </a:prstClr>
              </a:solidFill>
              <a:effectLst/>
              <a:uLnTx/>
              <a:uFillTx/>
              <a:latin typeface="Arial"/>
              <a:cs typeface="+mn-cs"/>
            </a:endParaRPr>
          </a:p>
        </p:txBody>
      </p:sp>
      <p:sp>
        <p:nvSpPr>
          <p:cNvPr id="4" name="Rectangle 28">
            <a:extLst>
              <a:ext uri="{FF2B5EF4-FFF2-40B4-BE49-F238E27FC236}">
                <a16:creationId xmlns:a16="http://schemas.microsoft.com/office/drawing/2014/main" id="{10D1C4C6-9DEF-E35B-CE9D-766F6467BC1A}"/>
              </a:ext>
            </a:extLst>
          </p:cNvPr>
          <p:cNvSpPr/>
          <p:nvPr/>
        </p:nvSpPr>
        <p:spPr>
          <a:xfrm>
            <a:off x="1219200" y="403150"/>
            <a:ext cx="9223762" cy="707886"/>
          </a:xfrm>
          <a:prstGeom prst="rect">
            <a:avLst/>
          </a:prstGeom>
          <a:solidFill>
            <a:srgbClr val="7030A0"/>
          </a:solidFill>
          <a:ln w="25400" cap="flat" cmpd="sng" algn="ctr">
            <a:noFill/>
            <a:prstDash val="solid"/>
          </a:ln>
          <a:effectLst/>
        </p:spPr>
        <p:txBody>
          <a:bodyPr rot="0" spcFirstLastPara="0" vertOverflow="overflow" horzOverflow="overflow" vert="horz" wrap="square" lIns="91441" tIns="45720" rIns="91441" bIns="45720" numCol="1" spcCol="0" rtlCol="0" fromWordArt="0" anchor="ctr" anchorCtr="0" forceAA="0" compatLnSpc="1">
            <a:prstTxWarp prst="textNoShape">
              <a:avLst/>
            </a:prstTxWarp>
            <a:noAutofit/>
          </a:bodyPr>
          <a:lstStyle/>
          <a:p>
            <a:pPr marL="0" marR="0" lvl="0" indent="0" algn="ctr" defTabSz="913836" eaLnBrk="1" fontAlgn="auto" latinLnBrk="1" hangingPunct="1">
              <a:lnSpc>
                <a:spcPct val="100000"/>
              </a:lnSpc>
              <a:spcBef>
                <a:spcPts val="0"/>
              </a:spcBef>
              <a:spcAft>
                <a:spcPts val="0"/>
              </a:spcAft>
              <a:buClrTx/>
              <a:buSzTx/>
              <a:buFontTx/>
              <a:buNone/>
              <a:tabLst/>
              <a:defRPr/>
            </a:pPr>
            <a:r>
              <a:rPr kumimoji="0" lang="ar-SA" altLang="ko-KR" sz="3200" b="1" i="0" u="none" strike="noStrike" kern="0" cap="none" spc="0" normalizeH="0" baseline="0" noProof="0" dirty="0">
                <a:ln>
                  <a:noFill/>
                </a:ln>
                <a:solidFill>
                  <a:prstClr val="white"/>
                </a:solidFill>
                <a:effectLst/>
                <a:uLnTx/>
                <a:uFillTx/>
                <a:latin typeface="Sakkal Majalla" panose="02000000000000000000" pitchFamily="2" charset="-78"/>
                <a:cs typeface="Sakkal Majalla" panose="02000000000000000000" pitchFamily="2" charset="-78"/>
              </a:rPr>
              <a:t>برنامج التقويم المدرسي ( تقويم أداء المدارس )</a:t>
            </a:r>
            <a:endParaRPr kumimoji="0" lang="ko-KR" altLang="en-US" sz="3200" b="1" i="0" u="none" strike="noStrike" kern="0" cap="none" spc="0" normalizeH="0" baseline="0" noProof="0" dirty="0">
              <a:ln>
                <a:noFill/>
              </a:ln>
              <a:solidFill>
                <a:prstClr val="white"/>
              </a:solidFill>
              <a:effectLst/>
              <a:uLnTx/>
              <a:uFillTx/>
              <a:latin typeface="Sakkal Majalla" panose="02000000000000000000" pitchFamily="2" charset="-78"/>
              <a:cs typeface="Sakkal Majalla" panose="02000000000000000000" pitchFamily="2" charset="-78"/>
            </a:endParaRPr>
          </a:p>
        </p:txBody>
      </p:sp>
      <p:sp>
        <p:nvSpPr>
          <p:cNvPr id="5" name="TextBox 23">
            <a:extLst>
              <a:ext uri="{FF2B5EF4-FFF2-40B4-BE49-F238E27FC236}">
                <a16:creationId xmlns:a16="http://schemas.microsoft.com/office/drawing/2014/main" id="{E9CF9939-0F58-F4D3-5666-4EBCF4014B07}"/>
              </a:ext>
            </a:extLst>
          </p:cNvPr>
          <p:cNvSpPr txBox="1"/>
          <p:nvPr/>
        </p:nvSpPr>
        <p:spPr>
          <a:xfrm>
            <a:off x="1230086" y="2885531"/>
            <a:ext cx="9223762" cy="2160591"/>
          </a:xfrm>
          <a:prstGeom prst="rect">
            <a:avLst/>
          </a:prstGeom>
          <a:noFill/>
        </p:spPr>
        <p:txBody>
          <a:bodyPr wrap="square" rtlCol="0">
            <a:spAutoFit/>
          </a:bodyPr>
          <a:lstStyle/>
          <a:p>
            <a:pPr indent="-342891" defTabSz="914377" fontAlgn="base">
              <a:lnSpc>
                <a:spcPct val="120000"/>
              </a:lnSpc>
              <a:buClr>
                <a:srgbClr val="7030A0"/>
              </a:buClr>
              <a:buSzPts val="2000"/>
              <a:buFont typeface="Source Sans Pro"/>
              <a:buChar char="◉"/>
              <a:defRPr/>
            </a:pPr>
            <a:r>
              <a:rPr lang="ar-SA" altLang="ko-KR" sz="2800" kern="0" dirty="0">
                <a:solidFill>
                  <a:prstClr val="black"/>
                </a:solidFill>
                <a:latin typeface="Sakkal Majalla" panose="02000000000000000000" pitchFamily="2" charset="-78"/>
                <a:ea typeface="Samim" panose="020B0603030804020204" pitchFamily="34" charset="0"/>
                <a:cs typeface="Sakkal Majalla" panose="02000000000000000000" pitchFamily="2" charset="-78"/>
              </a:rPr>
              <a:t>يتكامل هذا البرنامج مع مستهدفات رؤية المملكة </a:t>
            </a:r>
            <a:r>
              <a:rPr lang="en-US" altLang="ko-KR" sz="2800" kern="0" dirty="0">
                <a:solidFill>
                  <a:prstClr val="black"/>
                </a:solidFill>
                <a:latin typeface="Sakkal Majalla" panose="02000000000000000000" pitchFamily="2" charset="-78"/>
                <a:ea typeface="Samim" panose="020B0603030804020204" pitchFamily="34" charset="0"/>
                <a:cs typeface="Sakkal Majalla" panose="02000000000000000000" pitchFamily="2" charset="-78"/>
              </a:rPr>
              <a:t>2030</a:t>
            </a:r>
            <a:r>
              <a:rPr lang="ar-SA" altLang="ko-KR" sz="2800" kern="0" dirty="0">
                <a:solidFill>
                  <a:prstClr val="black"/>
                </a:solidFill>
                <a:latin typeface="Sakkal Majalla" panose="02000000000000000000" pitchFamily="2" charset="-78"/>
                <a:ea typeface="Samim" panose="020B0603030804020204" pitchFamily="34" charset="0"/>
                <a:cs typeface="Sakkal Majalla" panose="02000000000000000000" pitchFamily="2" charset="-78"/>
              </a:rPr>
              <a:t> وبرنامج تنمية القدرات البشرية .</a:t>
            </a:r>
          </a:p>
          <a:p>
            <a:pPr indent="-342891" defTabSz="914377" fontAlgn="base">
              <a:lnSpc>
                <a:spcPct val="120000"/>
              </a:lnSpc>
              <a:buClr>
                <a:srgbClr val="7030A0"/>
              </a:buClr>
              <a:buSzPts val="2000"/>
              <a:buFont typeface="Source Sans Pro"/>
              <a:buChar char="◉"/>
              <a:defRPr/>
            </a:pPr>
            <a:r>
              <a:rPr lang="ar-SA" altLang="ko-KR" sz="2800" kern="0" dirty="0">
                <a:solidFill>
                  <a:prstClr val="black"/>
                </a:solidFill>
                <a:latin typeface="Sakkal Majalla" panose="02000000000000000000" pitchFamily="2" charset="-78"/>
                <a:ea typeface="Samim" panose="020B0603030804020204" pitchFamily="34" charset="0"/>
                <a:cs typeface="Sakkal Majalla" panose="02000000000000000000" pitchFamily="2" charset="-78"/>
              </a:rPr>
              <a:t>يتمحور البرنامج حول تمكين المدرسة </a:t>
            </a:r>
            <a:r>
              <a:rPr lang="en-US" altLang="ko-KR" sz="2800" kern="0" dirty="0">
                <a:solidFill>
                  <a:prstClr val="black"/>
                </a:solidFill>
                <a:latin typeface="Sakkal Majalla" panose="02000000000000000000" pitchFamily="2" charset="-78"/>
                <a:ea typeface="Samim" panose="020B0603030804020204" pitchFamily="34" charset="0"/>
                <a:cs typeface="Sakkal Majalla" panose="02000000000000000000" pitchFamily="2" charset="-78"/>
              </a:rPr>
              <a:t>School Empowerment</a:t>
            </a:r>
            <a:r>
              <a:rPr lang="ar-SA" altLang="ko-KR" sz="2800" kern="0" dirty="0">
                <a:solidFill>
                  <a:prstClr val="black"/>
                </a:solidFill>
                <a:latin typeface="Sakkal Majalla" panose="02000000000000000000" pitchFamily="2" charset="-78"/>
                <a:ea typeface="Samim" panose="020B0603030804020204" pitchFamily="34" charset="0"/>
                <a:cs typeface="Sakkal Majalla" panose="02000000000000000000" pitchFamily="2" charset="-78"/>
              </a:rPr>
              <a:t>.</a:t>
            </a:r>
          </a:p>
          <a:p>
            <a:pPr indent="-342891" defTabSz="914377" fontAlgn="base">
              <a:lnSpc>
                <a:spcPct val="120000"/>
              </a:lnSpc>
              <a:buClr>
                <a:srgbClr val="7030A0"/>
              </a:buClr>
              <a:buSzPts val="2000"/>
              <a:buFont typeface="Source Sans Pro"/>
              <a:buChar char="◉"/>
              <a:defRPr/>
            </a:pPr>
            <a:r>
              <a:rPr lang="ar-SA" altLang="ko-KR" sz="2800" kern="0" dirty="0">
                <a:solidFill>
                  <a:prstClr val="black"/>
                </a:solidFill>
                <a:latin typeface="Sakkal Majalla" panose="02000000000000000000" pitchFamily="2" charset="-78"/>
                <a:ea typeface="Samim" panose="020B0603030804020204" pitchFamily="34" charset="0"/>
                <a:cs typeface="Sakkal Majalla" panose="02000000000000000000" pitchFamily="2" charset="-78"/>
              </a:rPr>
              <a:t>محور العمل هو مدير المدرسة.</a:t>
            </a:r>
          </a:p>
          <a:p>
            <a:pPr indent="-342891" defTabSz="914377" fontAlgn="base">
              <a:lnSpc>
                <a:spcPct val="120000"/>
              </a:lnSpc>
              <a:buClr>
                <a:srgbClr val="7030A0"/>
              </a:buClr>
              <a:buSzPts val="2000"/>
              <a:buFont typeface="Source Sans Pro"/>
              <a:buChar char="◉"/>
              <a:defRPr/>
            </a:pPr>
            <a:r>
              <a:rPr lang="ar-SA" altLang="ko-KR" sz="2800" kern="0" dirty="0">
                <a:solidFill>
                  <a:prstClr val="black"/>
                </a:solidFill>
                <a:latin typeface="Sakkal Majalla" panose="02000000000000000000" pitchFamily="2" charset="-78"/>
                <a:ea typeface="Samim" panose="020B0603030804020204" pitchFamily="34" charset="0"/>
                <a:cs typeface="Sakkal Majalla" panose="02000000000000000000" pitchFamily="2" charset="-78"/>
              </a:rPr>
              <a:t>المدرسة تقوم بجميع العمليات وتعمل على التحسينات وفق النتائج.</a:t>
            </a:r>
          </a:p>
        </p:txBody>
      </p:sp>
    </p:spTree>
    <p:extLst>
      <p:ext uri="{BB962C8B-B14F-4D97-AF65-F5344CB8AC3E}">
        <p14:creationId xmlns:p14="http://schemas.microsoft.com/office/powerpoint/2010/main" val="849012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arn(inVertical)">
                                      <p:cBhvr>
                                        <p:cTn id="7" dur="125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grpId="0"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barn(inVertical)">
                                      <p:cBhvr>
                                        <p:cTn id="12" dur="1250"/>
                                        <p:tgtEl>
                                          <p:spTgt spid="2"/>
                                        </p:tgtEl>
                                      </p:cBhvr>
                                    </p:animEffect>
                                  </p:childTnLst>
                                </p:cTn>
                              </p:par>
                            </p:childTnLst>
                          </p:cTn>
                        </p:par>
                      </p:childTnLst>
                    </p:cTn>
                  </p:par>
                  <p:par>
                    <p:cTn id="13" fill="hold">
                      <p:stCondLst>
                        <p:cond delay="indefinite"/>
                      </p:stCondLst>
                      <p:childTnLst>
                        <p:par>
                          <p:cTn id="14" fill="hold">
                            <p:stCondLst>
                              <p:cond delay="0"/>
                            </p:stCondLst>
                            <p:childTnLst>
                              <p:par>
                                <p:cTn id="15" presetID="16" presetClass="entr" presetSubtype="21" fill="hold" grpId="0" nodeType="click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barn(inVertical)">
                                      <p:cBhvr>
                                        <p:cTn id="17" dur="1250"/>
                                        <p:tgtEl>
                                          <p:spTgt spid="3"/>
                                        </p:tgtEl>
                                      </p:cBhvr>
                                    </p:animEffect>
                                  </p:childTnLst>
                                </p:cTn>
                              </p:par>
                            </p:childTnLst>
                          </p:cTn>
                        </p:par>
                      </p:childTnLst>
                    </p:cTn>
                  </p:par>
                  <p:par>
                    <p:cTn id="18" fill="hold">
                      <p:stCondLst>
                        <p:cond delay="indefinite"/>
                      </p:stCondLst>
                      <p:childTnLst>
                        <p:par>
                          <p:cTn id="19" fill="hold">
                            <p:stCondLst>
                              <p:cond delay="0"/>
                            </p:stCondLst>
                            <p:childTnLst>
                              <p:par>
                                <p:cTn id="20" presetID="16" presetClass="entr" presetSubtype="21" fill="hold" grpId="0" nodeType="clickEffect">
                                  <p:stCondLst>
                                    <p:cond delay="0"/>
                                  </p:stCondLst>
                                  <p:childTnLst>
                                    <p:set>
                                      <p:cBhvr>
                                        <p:cTn id="21" dur="1" fill="hold">
                                          <p:stCondLst>
                                            <p:cond delay="0"/>
                                          </p:stCondLst>
                                        </p:cTn>
                                        <p:tgtEl>
                                          <p:spTgt spid="5"/>
                                        </p:tgtEl>
                                        <p:attrNameLst>
                                          <p:attrName>style.visibility</p:attrName>
                                        </p:attrNameLst>
                                      </p:cBhvr>
                                      <p:to>
                                        <p:strVal val="visible"/>
                                      </p:to>
                                    </p:set>
                                    <p:animEffect transition="in" filter="barn(inVertical)">
                                      <p:cBhvr>
                                        <p:cTn id="22" dur="125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animBg="1"/>
      <p:bldP spid="4" grpId="0" animBg="1"/>
      <p:bldP spid="5"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p:cNvSpPr txBox="1"/>
          <p:nvPr/>
        </p:nvSpPr>
        <p:spPr>
          <a:xfrm>
            <a:off x="239352" y="1075445"/>
            <a:ext cx="10612569" cy="4228850"/>
          </a:xfrm>
          <a:prstGeom prst="rect">
            <a:avLst/>
          </a:prstGeom>
          <a:noFill/>
        </p:spPr>
        <p:txBody>
          <a:bodyPr wrap="square" rtlCol="0">
            <a:spAutoFit/>
          </a:bodyPr>
          <a:lstStyle/>
          <a:p>
            <a:pPr marL="431979" indent="-457177" defTabSz="1219139" fontAlgn="base">
              <a:lnSpc>
                <a:spcPct val="120000"/>
              </a:lnSpc>
              <a:buClr>
                <a:srgbClr val="7030A0"/>
              </a:buClr>
              <a:buSzPts val="2000"/>
              <a:buFont typeface="Source Sans Pro"/>
              <a:buChar char="◉"/>
              <a:defRPr/>
            </a:pPr>
            <a:r>
              <a:rPr lang="ar-SA" altLang="ko-KR" sz="3200" kern="0" dirty="0">
                <a:solidFill>
                  <a:prstClr val="black"/>
                </a:solidFill>
                <a:latin typeface="Sakkal Majalla" panose="02000000000000000000" pitchFamily="2" charset="-78"/>
                <a:ea typeface="Samim" panose="020B0603030804020204" pitchFamily="34" charset="0"/>
                <a:cs typeface="Sakkal Majalla" panose="02000000000000000000" pitchFamily="2" charset="-78"/>
              </a:rPr>
              <a:t>20% من مدارس المملكة سيتم تقييمها خلال العام 2023م.</a:t>
            </a:r>
          </a:p>
          <a:p>
            <a:pPr marL="431979" indent="-457177" defTabSz="1219139" fontAlgn="base">
              <a:lnSpc>
                <a:spcPct val="120000"/>
              </a:lnSpc>
              <a:buClr>
                <a:srgbClr val="7030A0"/>
              </a:buClr>
              <a:buSzPts val="2000"/>
              <a:buFont typeface="Source Sans Pro"/>
              <a:buChar char="◉"/>
              <a:defRPr/>
            </a:pPr>
            <a:r>
              <a:rPr lang="ar-SA" altLang="ko-KR" sz="3200" kern="0" dirty="0">
                <a:solidFill>
                  <a:prstClr val="black"/>
                </a:solidFill>
                <a:latin typeface="Sakkal Majalla" panose="02000000000000000000" pitchFamily="2" charset="-78"/>
                <a:ea typeface="Samim" panose="020B0603030804020204" pitchFamily="34" charset="0"/>
                <a:cs typeface="Sakkal Majalla" panose="02000000000000000000" pitchFamily="2" charset="-78"/>
              </a:rPr>
              <a:t> 30% من المدارس سيتم تقييمها في 2024 م.</a:t>
            </a:r>
          </a:p>
          <a:p>
            <a:pPr marL="431979" indent="-457177" defTabSz="1219139" fontAlgn="base">
              <a:lnSpc>
                <a:spcPct val="120000"/>
              </a:lnSpc>
              <a:buClr>
                <a:srgbClr val="7030A0"/>
              </a:buClr>
              <a:buSzPts val="2000"/>
              <a:buFont typeface="Source Sans Pro"/>
              <a:buChar char="◉"/>
              <a:defRPr/>
            </a:pPr>
            <a:r>
              <a:rPr lang="ar-SA" altLang="ko-KR" sz="3200" kern="0" dirty="0">
                <a:solidFill>
                  <a:prstClr val="black"/>
                </a:solidFill>
                <a:latin typeface="Sakkal Majalla" panose="02000000000000000000" pitchFamily="2" charset="-78"/>
                <a:ea typeface="Samim" panose="020B0603030804020204" pitchFamily="34" charset="0"/>
                <a:cs typeface="Sakkal Majalla" panose="02000000000000000000" pitchFamily="2" charset="-78"/>
              </a:rPr>
              <a:t>50% الباقية قبل نهاية العام 2025م .</a:t>
            </a:r>
          </a:p>
          <a:p>
            <a:pPr marL="431979" indent="-457177" defTabSz="1219139" fontAlgn="base">
              <a:lnSpc>
                <a:spcPct val="120000"/>
              </a:lnSpc>
              <a:buClr>
                <a:srgbClr val="7030A0"/>
              </a:buClr>
              <a:buSzPts val="2000"/>
              <a:buFont typeface="Source Sans Pro"/>
              <a:buChar char="◉"/>
              <a:defRPr/>
            </a:pPr>
            <a:r>
              <a:rPr lang="ar-SA" altLang="ko-KR" sz="3200" kern="0" dirty="0">
                <a:solidFill>
                  <a:prstClr val="black"/>
                </a:solidFill>
                <a:latin typeface="Sakkal Majalla" panose="02000000000000000000" pitchFamily="2" charset="-78"/>
                <a:ea typeface="Samim" panose="020B0603030804020204" pitchFamily="34" charset="0"/>
                <a:cs typeface="Sakkal Majalla" panose="02000000000000000000" pitchFamily="2" charset="-78"/>
              </a:rPr>
              <a:t> عام 1446هـ 2025م  تكتمل حلقة أو دورة التقويم الأولى ويصدر تقرير كامل عن مستوى أداء النظام التعليمي في المملكة.</a:t>
            </a:r>
          </a:p>
          <a:p>
            <a:pPr marL="431979" indent="-457177" defTabSz="1219139" fontAlgn="base">
              <a:lnSpc>
                <a:spcPct val="120000"/>
              </a:lnSpc>
              <a:buClr>
                <a:srgbClr val="7030A0"/>
              </a:buClr>
              <a:buSzPts val="2000"/>
              <a:buFont typeface="Source Sans Pro"/>
              <a:buChar char="◉"/>
              <a:defRPr/>
            </a:pPr>
            <a:r>
              <a:rPr lang="ar-SA" altLang="ko-KR" sz="3200" kern="0" dirty="0">
                <a:solidFill>
                  <a:prstClr val="black"/>
                </a:solidFill>
                <a:latin typeface="Sakkal Majalla" panose="02000000000000000000" pitchFamily="2" charset="-78"/>
                <a:ea typeface="Samim" panose="020B0603030804020204" pitchFamily="34" charset="0"/>
                <a:cs typeface="Sakkal Majalla" panose="02000000000000000000" pitchFamily="2" charset="-78"/>
              </a:rPr>
              <a:t> عام 2026م تبدأ الدورة الثانية.</a:t>
            </a:r>
          </a:p>
          <a:p>
            <a:pPr marL="431979" indent="-457177" defTabSz="1219139" fontAlgn="base">
              <a:lnSpc>
                <a:spcPct val="120000"/>
              </a:lnSpc>
              <a:buClr>
                <a:srgbClr val="7030A0"/>
              </a:buClr>
              <a:buSzPts val="2000"/>
              <a:buFont typeface="Source Sans Pro"/>
              <a:buChar char="◉"/>
              <a:defRPr/>
            </a:pPr>
            <a:r>
              <a:rPr lang="ar-SA" altLang="ko-KR" sz="3200" kern="0" dirty="0">
                <a:solidFill>
                  <a:prstClr val="black"/>
                </a:solidFill>
                <a:latin typeface="Sakkal Majalla" panose="02000000000000000000" pitchFamily="2" charset="-78"/>
                <a:ea typeface="Samim" panose="020B0603030804020204" pitchFamily="34" charset="0"/>
                <a:cs typeface="Sakkal Majalla" panose="02000000000000000000" pitchFamily="2" charset="-78"/>
              </a:rPr>
              <a:t> الخطة معتمدة من وزارة التعليم.</a:t>
            </a:r>
            <a:endParaRPr lang="ko-KR" altLang="en-US" sz="3200" kern="0" dirty="0">
              <a:solidFill>
                <a:prstClr val="black"/>
              </a:solidFill>
              <a:latin typeface="Sakkal Majalla" panose="02000000000000000000" pitchFamily="2" charset="-78"/>
              <a:ea typeface="Samim" panose="020B0603030804020204" pitchFamily="34" charset="0"/>
              <a:cs typeface="Sakkal Majalla" panose="02000000000000000000" pitchFamily="2" charset="-78"/>
            </a:endParaRPr>
          </a:p>
        </p:txBody>
      </p:sp>
      <p:sp>
        <p:nvSpPr>
          <p:cNvPr id="29" name="Rectangle 28"/>
          <p:cNvSpPr/>
          <p:nvPr/>
        </p:nvSpPr>
        <p:spPr>
          <a:xfrm>
            <a:off x="1583501" y="260649"/>
            <a:ext cx="9268420" cy="621755"/>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1" tIns="60960" rIns="121921" bIns="60960" numCol="1" spcCol="0" rtlCol="0" fromWordArt="0" anchor="ctr" anchorCtr="0" forceAA="0" compatLnSpc="1">
            <a:prstTxWarp prst="textNoShape">
              <a:avLst/>
            </a:prstTxWarp>
            <a:noAutofit/>
          </a:bodyPr>
          <a:lstStyle/>
          <a:p>
            <a:pPr algn="ctr" rtl="1"/>
            <a:r>
              <a:rPr lang="ar-SA" altLang="ko-KR" sz="3200" b="1" dirty="0">
                <a:solidFill>
                  <a:schemeClr val="bg1"/>
                </a:solidFill>
                <a:latin typeface="Sakkal Majalla" panose="02000000000000000000" pitchFamily="2" charset="-78"/>
                <a:cs typeface="Sakkal Majalla" panose="02000000000000000000" pitchFamily="2" charset="-78"/>
              </a:rPr>
              <a:t>برنامج التقويم المدرسي</a:t>
            </a:r>
            <a:endParaRPr lang="ko-KR" altLang="en-US" sz="3200" b="1" dirty="0">
              <a:solidFill>
                <a:schemeClr val="bg1"/>
              </a:solidFill>
              <a:latin typeface="Sakkal Majalla" panose="02000000000000000000" pitchFamily="2" charset="-78"/>
              <a:cs typeface="Sakkal Majalla" panose="02000000000000000000" pitchFamily="2" charset="-78"/>
            </a:endParaRPr>
          </a:p>
        </p:txBody>
      </p:sp>
    </p:spTree>
    <p:extLst>
      <p:ext uri="{BB962C8B-B14F-4D97-AF65-F5344CB8AC3E}">
        <p14:creationId xmlns:p14="http://schemas.microsoft.com/office/powerpoint/2010/main" val="9648449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barn(inVertical)">
                                      <p:cBhvr>
                                        <p:cTn id="7" dur="1250"/>
                                        <p:tgtEl>
                                          <p:spTgt spid="29"/>
                                        </p:tgtEl>
                                      </p:cBhvr>
                                    </p:animEffect>
                                  </p:childTnLst>
                                </p:cTn>
                              </p:par>
                            </p:childTnLst>
                          </p:cTn>
                        </p:par>
                      </p:childTnLst>
                    </p:cTn>
                  </p:par>
                  <p:par>
                    <p:cTn id="8" fill="hold">
                      <p:stCondLst>
                        <p:cond delay="indefinite"/>
                      </p:stCondLst>
                      <p:childTnLst>
                        <p:par>
                          <p:cTn id="9" fill="hold">
                            <p:stCondLst>
                              <p:cond delay="0"/>
                            </p:stCondLst>
                            <p:childTnLst>
                              <p:par>
                                <p:cTn id="10" presetID="47" presetClass="entr" presetSubtype="0" fill="hold" nodeType="clickEffect">
                                  <p:stCondLst>
                                    <p:cond delay="0"/>
                                  </p:stCondLst>
                                  <p:childTnLst>
                                    <p:set>
                                      <p:cBhvr>
                                        <p:cTn id="11" dur="1" fill="hold">
                                          <p:stCondLst>
                                            <p:cond delay="0"/>
                                          </p:stCondLst>
                                        </p:cTn>
                                        <p:tgtEl>
                                          <p:spTgt spid="24">
                                            <p:txEl>
                                              <p:pRg st="0" end="0"/>
                                            </p:txEl>
                                          </p:spTgt>
                                        </p:tgtEl>
                                        <p:attrNameLst>
                                          <p:attrName>style.visibility</p:attrName>
                                        </p:attrNameLst>
                                      </p:cBhvr>
                                      <p:to>
                                        <p:strVal val="visible"/>
                                      </p:to>
                                    </p:set>
                                    <p:animEffect transition="in" filter="fade">
                                      <p:cBhvr>
                                        <p:cTn id="12" dur="1000"/>
                                        <p:tgtEl>
                                          <p:spTgt spid="24">
                                            <p:txEl>
                                              <p:pRg st="0" end="0"/>
                                            </p:txEl>
                                          </p:spTgt>
                                        </p:tgtEl>
                                      </p:cBhvr>
                                    </p:animEffect>
                                    <p:anim calcmode="lin" valueType="num">
                                      <p:cBhvr>
                                        <p:cTn id="13" dur="1000" fill="hold"/>
                                        <p:tgtEl>
                                          <p:spTgt spid="24">
                                            <p:txEl>
                                              <p:pRg st="0" end="0"/>
                                            </p:txEl>
                                          </p:spTgt>
                                        </p:tgtEl>
                                        <p:attrNameLst>
                                          <p:attrName>ppt_x</p:attrName>
                                        </p:attrNameLst>
                                      </p:cBhvr>
                                      <p:tavLst>
                                        <p:tav tm="0">
                                          <p:val>
                                            <p:strVal val="#ppt_x"/>
                                          </p:val>
                                        </p:tav>
                                        <p:tav tm="100000">
                                          <p:val>
                                            <p:strVal val="#ppt_x"/>
                                          </p:val>
                                        </p:tav>
                                      </p:tavLst>
                                    </p:anim>
                                    <p:anim calcmode="lin" valueType="num">
                                      <p:cBhvr>
                                        <p:cTn id="14" dur="1000" fill="hold"/>
                                        <p:tgtEl>
                                          <p:spTgt spid="24">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7" presetClass="entr" presetSubtype="0" fill="hold" nodeType="clickEffect">
                                  <p:stCondLst>
                                    <p:cond delay="0"/>
                                  </p:stCondLst>
                                  <p:childTnLst>
                                    <p:set>
                                      <p:cBhvr>
                                        <p:cTn id="18" dur="1" fill="hold">
                                          <p:stCondLst>
                                            <p:cond delay="0"/>
                                          </p:stCondLst>
                                        </p:cTn>
                                        <p:tgtEl>
                                          <p:spTgt spid="24">
                                            <p:txEl>
                                              <p:pRg st="1" end="1"/>
                                            </p:txEl>
                                          </p:spTgt>
                                        </p:tgtEl>
                                        <p:attrNameLst>
                                          <p:attrName>style.visibility</p:attrName>
                                        </p:attrNameLst>
                                      </p:cBhvr>
                                      <p:to>
                                        <p:strVal val="visible"/>
                                      </p:to>
                                    </p:set>
                                    <p:animEffect transition="in" filter="fade">
                                      <p:cBhvr>
                                        <p:cTn id="19" dur="1000"/>
                                        <p:tgtEl>
                                          <p:spTgt spid="24">
                                            <p:txEl>
                                              <p:pRg st="1" end="1"/>
                                            </p:txEl>
                                          </p:spTgt>
                                        </p:tgtEl>
                                      </p:cBhvr>
                                    </p:animEffect>
                                    <p:anim calcmode="lin" valueType="num">
                                      <p:cBhvr>
                                        <p:cTn id="20" dur="1000" fill="hold"/>
                                        <p:tgtEl>
                                          <p:spTgt spid="24">
                                            <p:txEl>
                                              <p:pRg st="1" end="1"/>
                                            </p:txEl>
                                          </p:spTgt>
                                        </p:tgtEl>
                                        <p:attrNameLst>
                                          <p:attrName>ppt_x</p:attrName>
                                        </p:attrNameLst>
                                      </p:cBhvr>
                                      <p:tavLst>
                                        <p:tav tm="0">
                                          <p:val>
                                            <p:strVal val="#ppt_x"/>
                                          </p:val>
                                        </p:tav>
                                        <p:tav tm="100000">
                                          <p:val>
                                            <p:strVal val="#ppt_x"/>
                                          </p:val>
                                        </p:tav>
                                      </p:tavLst>
                                    </p:anim>
                                    <p:anim calcmode="lin" valueType="num">
                                      <p:cBhvr>
                                        <p:cTn id="21" dur="1000" fill="hold"/>
                                        <p:tgtEl>
                                          <p:spTgt spid="24">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47" presetClass="entr" presetSubtype="0" fill="hold" nodeType="clickEffect">
                                  <p:stCondLst>
                                    <p:cond delay="0"/>
                                  </p:stCondLst>
                                  <p:childTnLst>
                                    <p:set>
                                      <p:cBhvr>
                                        <p:cTn id="25" dur="1" fill="hold">
                                          <p:stCondLst>
                                            <p:cond delay="0"/>
                                          </p:stCondLst>
                                        </p:cTn>
                                        <p:tgtEl>
                                          <p:spTgt spid="24">
                                            <p:txEl>
                                              <p:pRg st="2" end="2"/>
                                            </p:txEl>
                                          </p:spTgt>
                                        </p:tgtEl>
                                        <p:attrNameLst>
                                          <p:attrName>style.visibility</p:attrName>
                                        </p:attrNameLst>
                                      </p:cBhvr>
                                      <p:to>
                                        <p:strVal val="visible"/>
                                      </p:to>
                                    </p:set>
                                    <p:animEffect transition="in" filter="fade">
                                      <p:cBhvr>
                                        <p:cTn id="26" dur="1000"/>
                                        <p:tgtEl>
                                          <p:spTgt spid="24">
                                            <p:txEl>
                                              <p:pRg st="2" end="2"/>
                                            </p:txEl>
                                          </p:spTgt>
                                        </p:tgtEl>
                                      </p:cBhvr>
                                    </p:animEffect>
                                    <p:anim calcmode="lin" valueType="num">
                                      <p:cBhvr>
                                        <p:cTn id="27" dur="1000" fill="hold"/>
                                        <p:tgtEl>
                                          <p:spTgt spid="24">
                                            <p:txEl>
                                              <p:pRg st="2" end="2"/>
                                            </p:txEl>
                                          </p:spTgt>
                                        </p:tgtEl>
                                        <p:attrNameLst>
                                          <p:attrName>ppt_x</p:attrName>
                                        </p:attrNameLst>
                                      </p:cBhvr>
                                      <p:tavLst>
                                        <p:tav tm="0">
                                          <p:val>
                                            <p:strVal val="#ppt_x"/>
                                          </p:val>
                                        </p:tav>
                                        <p:tav tm="100000">
                                          <p:val>
                                            <p:strVal val="#ppt_x"/>
                                          </p:val>
                                        </p:tav>
                                      </p:tavLst>
                                    </p:anim>
                                    <p:anim calcmode="lin" valueType="num">
                                      <p:cBhvr>
                                        <p:cTn id="28" dur="1000" fill="hold"/>
                                        <p:tgtEl>
                                          <p:spTgt spid="24">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47" presetClass="entr" presetSubtype="0" fill="hold" nodeType="clickEffect">
                                  <p:stCondLst>
                                    <p:cond delay="0"/>
                                  </p:stCondLst>
                                  <p:childTnLst>
                                    <p:set>
                                      <p:cBhvr>
                                        <p:cTn id="32" dur="1" fill="hold">
                                          <p:stCondLst>
                                            <p:cond delay="0"/>
                                          </p:stCondLst>
                                        </p:cTn>
                                        <p:tgtEl>
                                          <p:spTgt spid="24">
                                            <p:txEl>
                                              <p:pRg st="3" end="3"/>
                                            </p:txEl>
                                          </p:spTgt>
                                        </p:tgtEl>
                                        <p:attrNameLst>
                                          <p:attrName>style.visibility</p:attrName>
                                        </p:attrNameLst>
                                      </p:cBhvr>
                                      <p:to>
                                        <p:strVal val="visible"/>
                                      </p:to>
                                    </p:set>
                                    <p:animEffect transition="in" filter="fade">
                                      <p:cBhvr>
                                        <p:cTn id="33" dur="1000"/>
                                        <p:tgtEl>
                                          <p:spTgt spid="24">
                                            <p:txEl>
                                              <p:pRg st="3" end="3"/>
                                            </p:txEl>
                                          </p:spTgt>
                                        </p:tgtEl>
                                      </p:cBhvr>
                                    </p:animEffect>
                                    <p:anim calcmode="lin" valueType="num">
                                      <p:cBhvr>
                                        <p:cTn id="34" dur="1000" fill="hold"/>
                                        <p:tgtEl>
                                          <p:spTgt spid="24">
                                            <p:txEl>
                                              <p:pRg st="3" end="3"/>
                                            </p:txEl>
                                          </p:spTgt>
                                        </p:tgtEl>
                                        <p:attrNameLst>
                                          <p:attrName>ppt_x</p:attrName>
                                        </p:attrNameLst>
                                      </p:cBhvr>
                                      <p:tavLst>
                                        <p:tav tm="0">
                                          <p:val>
                                            <p:strVal val="#ppt_x"/>
                                          </p:val>
                                        </p:tav>
                                        <p:tav tm="100000">
                                          <p:val>
                                            <p:strVal val="#ppt_x"/>
                                          </p:val>
                                        </p:tav>
                                      </p:tavLst>
                                    </p:anim>
                                    <p:anim calcmode="lin" valueType="num">
                                      <p:cBhvr>
                                        <p:cTn id="35" dur="1000" fill="hold"/>
                                        <p:tgtEl>
                                          <p:spTgt spid="24">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36" fill="hold">
                      <p:stCondLst>
                        <p:cond delay="indefinite"/>
                      </p:stCondLst>
                      <p:childTnLst>
                        <p:par>
                          <p:cTn id="37" fill="hold">
                            <p:stCondLst>
                              <p:cond delay="0"/>
                            </p:stCondLst>
                            <p:childTnLst>
                              <p:par>
                                <p:cTn id="38" presetID="47" presetClass="entr" presetSubtype="0" fill="hold" nodeType="clickEffect">
                                  <p:stCondLst>
                                    <p:cond delay="0"/>
                                  </p:stCondLst>
                                  <p:childTnLst>
                                    <p:set>
                                      <p:cBhvr>
                                        <p:cTn id="39" dur="1" fill="hold">
                                          <p:stCondLst>
                                            <p:cond delay="0"/>
                                          </p:stCondLst>
                                        </p:cTn>
                                        <p:tgtEl>
                                          <p:spTgt spid="24">
                                            <p:txEl>
                                              <p:pRg st="4" end="4"/>
                                            </p:txEl>
                                          </p:spTgt>
                                        </p:tgtEl>
                                        <p:attrNameLst>
                                          <p:attrName>style.visibility</p:attrName>
                                        </p:attrNameLst>
                                      </p:cBhvr>
                                      <p:to>
                                        <p:strVal val="visible"/>
                                      </p:to>
                                    </p:set>
                                    <p:animEffect transition="in" filter="fade">
                                      <p:cBhvr>
                                        <p:cTn id="40" dur="1000"/>
                                        <p:tgtEl>
                                          <p:spTgt spid="24">
                                            <p:txEl>
                                              <p:pRg st="4" end="4"/>
                                            </p:txEl>
                                          </p:spTgt>
                                        </p:tgtEl>
                                      </p:cBhvr>
                                    </p:animEffect>
                                    <p:anim calcmode="lin" valueType="num">
                                      <p:cBhvr>
                                        <p:cTn id="41" dur="1000" fill="hold"/>
                                        <p:tgtEl>
                                          <p:spTgt spid="24">
                                            <p:txEl>
                                              <p:pRg st="4" end="4"/>
                                            </p:txEl>
                                          </p:spTgt>
                                        </p:tgtEl>
                                        <p:attrNameLst>
                                          <p:attrName>ppt_x</p:attrName>
                                        </p:attrNameLst>
                                      </p:cBhvr>
                                      <p:tavLst>
                                        <p:tav tm="0">
                                          <p:val>
                                            <p:strVal val="#ppt_x"/>
                                          </p:val>
                                        </p:tav>
                                        <p:tav tm="100000">
                                          <p:val>
                                            <p:strVal val="#ppt_x"/>
                                          </p:val>
                                        </p:tav>
                                      </p:tavLst>
                                    </p:anim>
                                    <p:anim calcmode="lin" valueType="num">
                                      <p:cBhvr>
                                        <p:cTn id="42" dur="1000" fill="hold"/>
                                        <p:tgtEl>
                                          <p:spTgt spid="24">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43" fill="hold">
                      <p:stCondLst>
                        <p:cond delay="indefinite"/>
                      </p:stCondLst>
                      <p:childTnLst>
                        <p:par>
                          <p:cTn id="44" fill="hold">
                            <p:stCondLst>
                              <p:cond delay="0"/>
                            </p:stCondLst>
                            <p:childTnLst>
                              <p:par>
                                <p:cTn id="45" presetID="47" presetClass="entr" presetSubtype="0" fill="hold" nodeType="clickEffect">
                                  <p:stCondLst>
                                    <p:cond delay="0"/>
                                  </p:stCondLst>
                                  <p:childTnLst>
                                    <p:set>
                                      <p:cBhvr>
                                        <p:cTn id="46" dur="1" fill="hold">
                                          <p:stCondLst>
                                            <p:cond delay="0"/>
                                          </p:stCondLst>
                                        </p:cTn>
                                        <p:tgtEl>
                                          <p:spTgt spid="24">
                                            <p:txEl>
                                              <p:pRg st="5" end="5"/>
                                            </p:txEl>
                                          </p:spTgt>
                                        </p:tgtEl>
                                        <p:attrNameLst>
                                          <p:attrName>style.visibility</p:attrName>
                                        </p:attrNameLst>
                                      </p:cBhvr>
                                      <p:to>
                                        <p:strVal val="visible"/>
                                      </p:to>
                                    </p:set>
                                    <p:animEffect transition="in" filter="fade">
                                      <p:cBhvr>
                                        <p:cTn id="47" dur="1000"/>
                                        <p:tgtEl>
                                          <p:spTgt spid="24">
                                            <p:txEl>
                                              <p:pRg st="5" end="5"/>
                                            </p:txEl>
                                          </p:spTgt>
                                        </p:tgtEl>
                                      </p:cBhvr>
                                    </p:animEffect>
                                    <p:anim calcmode="lin" valueType="num">
                                      <p:cBhvr>
                                        <p:cTn id="48" dur="1000" fill="hold"/>
                                        <p:tgtEl>
                                          <p:spTgt spid="24">
                                            <p:txEl>
                                              <p:pRg st="5" end="5"/>
                                            </p:txEl>
                                          </p:spTgt>
                                        </p:tgtEl>
                                        <p:attrNameLst>
                                          <p:attrName>ppt_x</p:attrName>
                                        </p:attrNameLst>
                                      </p:cBhvr>
                                      <p:tavLst>
                                        <p:tav tm="0">
                                          <p:val>
                                            <p:strVal val="#ppt_x"/>
                                          </p:val>
                                        </p:tav>
                                        <p:tav tm="100000">
                                          <p:val>
                                            <p:strVal val="#ppt_x"/>
                                          </p:val>
                                        </p:tav>
                                      </p:tavLst>
                                    </p:anim>
                                    <p:anim calcmode="lin" valueType="num">
                                      <p:cBhvr>
                                        <p:cTn id="49" dur="1000" fill="hold"/>
                                        <p:tgtEl>
                                          <p:spTgt spid="24">
                                            <p:txEl>
                                              <p:pRg st="5" end="5"/>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p:cNvSpPr txBox="1"/>
          <p:nvPr/>
        </p:nvSpPr>
        <p:spPr>
          <a:xfrm>
            <a:off x="815416" y="603931"/>
            <a:ext cx="7973129" cy="1323632"/>
          </a:xfrm>
          <a:prstGeom prst="rect">
            <a:avLst/>
          </a:prstGeom>
          <a:noFill/>
        </p:spPr>
        <p:txBody>
          <a:bodyPr wrap="square" rtlCol="0">
            <a:spAutoFit/>
          </a:bodyPr>
          <a:lstStyle/>
          <a:p>
            <a:pPr algn="justLow" defTabSz="1219139"/>
            <a:r>
              <a:rPr lang="ar-SA" sz="2667" b="1" dirty="0">
                <a:solidFill>
                  <a:srgbClr val="002060"/>
                </a:solidFill>
                <a:latin typeface="Sakkal Majalla" panose="02000000000000000000" pitchFamily="2" charset="-78"/>
                <a:cs typeface="Sakkal Majalla" panose="02000000000000000000" pitchFamily="2" charset="-78"/>
              </a:rPr>
              <a:t>عمليـــات منهجيـــة مســـتمرة لجمـــع البيانـــات عـــن أداء مـــدارس التعليـــم العـــام بأســـاليب وأدوات تقويـــم متنوعـــة؛ لتحليلهـــا وتحديـــد مســـتوى جـــودة أدائهـــا فـــي ضـــوء المعايير والأدوات المعتمدة من الهيئة. وتقديم  مقترحات للتحسين والتطوير.</a:t>
            </a:r>
          </a:p>
        </p:txBody>
      </p:sp>
      <p:sp>
        <p:nvSpPr>
          <p:cNvPr id="25" name="Rectangle 24"/>
          <p:cNvSpPr/>
          <p:nvPr/>
        </p:nvSpPr>
        <p:spPr>
          <a:xfrm>
            <a:off x="1553393" y="2202668"/>
            <a:ext cx="7261636" cy="28803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1" tIns="60960" rIns="121921" bIns="60960" numCol="1" spcCol="0" rtlCol="0" fromWordArt="0" anchor="ctr" anchorCtr="0" forceAA="0" compatLnSpc="1">
            <a:prstTxWarp prst="textNoShape">
              <a:avLst/>
            </a:prstTxWarp>
            <a:noAutofit/>
          </a:bodyPr>
          <a:lstStyle/>
          <a:p>
            <a:pPr algn="ctr"/>
            <a:endParaRPr lang="ko-KR" altLang="en-US" sz="2420">
              <a:solidFill>
                <a:schemeClr val="tx1">
                  <a:lumMod val="75000"/>
                  <a:lumOff val="25000"/>
                </a:schemeClr>
              </a:solidFill>
            </a:endParaRPr>
          </a:p>
        </p:txBody>
      </p:sp>
      <p:sp>
        <p:nvSpPr>
          <p:cNvPr id="29" name="Rectangle 28"/>
          <p:cNvSpPr/>
          <p:nvPr/>
        </p:nvSpPr>
        <p:spPr>
          <a:xfrm>
            <a:off x="8788543" y="603931"/>
            <a:ext cx="2067620" cy="1217972"/>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1" tIns="60960" rIns="121921" bIns="60960" numCol="1" spcCol="0" rtlCol="0" fromWordArt="0" anchor="ctr" anchorCtr="0" forceAA="0" compatLnSpc="1">
            <a:prstTxWarp prst="textNoShape">
              <a:avLst/>
            </a:prstTxWarp>
            <a:noAutofit/>
          </a:bodyPr>
          <a:lstStyle/>
          <a:p>
            <a:pPr algn="ctr" rtl="1"/>
            <a:r>
              <a:rPr lang="ar-SA" altLang="ko-KR" sz="3200" b="1" dirty="0">
                <a:solidFill>
                  <a:schemeClr val="bg1"/>
                </a:solidFill>
                <a:latin typeface="Sakkal Majalla" panose="02000000000000000000" pitchFamily="2" charset="-78"/>
                <a:cs typeface="Sakkal Majalla" panose="02000000000000000000" pitchFamily="2" charset="-78"/>
              </a:rPr>
              <a:t>التقويم المدرسي</a:t>
            </a:r>
            <a:endParaRPr lang="ko-KR" altLang="en-US" sz="3200" b="1" dirty="0">
              <a:solidFill>
                <a:schemeClr val="bg1"/>
              </a:solidFill>
              <a:latin typeface="Sakkal Majalla" panose="02000000000000000000" pitchFamily="2" charset="-78"/>
              <a:cs typeface="Sakkal Majalla" panose="02000000000000000000" pitchFamily="2" charset="-78"/>
            </a:endParaRPr>
          </a:p>
        </p:txBody>
      </p:sp>
      <p:sp>
        <p:nvSpPr>
          <p:cNvPr id="3" name="Rectangle 28">
            <a:extLst>
              <a:ext uri="{FF2B5EF4-FFF2-40B4-BE49-F238E27FC236}">
                <a16:creationId xmlns:a16="http://schemas.microsoft.com/office/drawing/2014/main" id="{8F009EBE-5E98-3775-51DA-6C320DC107C5}"/>
              </a:ext>
            </a:extLst>
          </p:cNvPr>
          <p:cNvSpPr/>
          <p:nvPr/>
        </p:nvSpPr>
        <p:spPr>
          <a:xfrm>
            <a:off x="8820050" y="2211030"/>
            <a:ext cx="2067620" cy="1217972"/>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1" tIns="60960" rIns="121921" bIns="60960" numCol="1" spcCol="0" rtlCol="0" fromWordArt="0" anchor="ctr" anchorCtr="0" forceAA="0" compatLnSpc="1">
            <a:prstTxWarp prst="textNoShape">
              <a:avLst/>
            </a:prstTxWarp>
            <a:noAutofit/>
          </a:bodyPr>
          <a:lstStyle/>
          <a:p>
            <a:pPr algn="ctr" rtl="1"/>
            <a:r>
              <a:rPr lang="ar-SA" altLang="ko-KR" sz="3200" b="1" dirty="0">
                <a:solidFill>
                  <a:schemeClr val="bg1"/>
                </a:solidFill>
                <a:latin typeface="Sakkal Majalla" panose="02000000000000000000" pitchFamily="2" charset="-78"/>
                <a:cs typeface="Sakkal Majalla" panose="02000000000000000000" pitchFamily="2" charset="-78"/>
              </a:rPr>
              <a:t>الموجهات</a:t>
            </a:r>
            <a:endParaRPr lang="ko-KR" altLang="en-US" sz="3200" b="1" dirty="0">
              <a:solidFill>
                <a:schemeClr val="bg1"/>
              </a:solidFill>
              <a:latin typeface="Sakkal Majalla" panose="02000000000000000000" pitchFamily="2" charset="-78"/>
              <a:cs typeface="Sakkal Majalla" panose="02000000000000000000" pitchFamily="2" charset="-78"/>
            </a:endParaRPr>
          </a:p>
        </p:txBody>
      </p:sp>
      <p:sp>
        <p:nvSpPr>
          <p:cNvPr id="4" name="Google Shape;911;p31">
            <a:extLst>
              <a:ext uri="{FF2B5EF4-FFF2-40B4-BE49-F238E27FC236}">
                <a16:creationId xmlns:a16="http://schemas.microsoft.com/office/drawing/2014/main" id="{A32876E1-48A4-5318-1305-C352E3C4FFF1}"/>
              </a:ext>
            </a:extLst>
          </p:cNvPr>
          <p:cNvSpPr txBox="1"/>
          <p:nvPr/>
        </p:nvSpPr>
        <p:spPr>
          <a:xfrm>
            <a:off x="1718151" y="2509985"/>
            <a:ext cx="7046084" cy="2304256"/>
          </a:xfrm>
          <a:prstGeom prst="rect">
            <a:avLst/>
          </a:prstGeom>
          <a:noFill/>
          <a:ln w="9525" cap="flat" cmpd="sng">
            <a:noFill/>
            <a:prstDash val="solid"/>
            <a:round/>
            <a:headEnd type="none" w="sm" len="sm"/>
            <a:tailEnd type="none" w="sm" len="sm"/>
          </a:ln>
        </p:spPr>
        <p:txBody>
          <a:bodyPr spcFirstLastPara="1" wrap="square" lIns="81244" tIns="81244" rIns="81244" bIns="0" anchor="t" anchorCtr="0">
            <a:noAutofit/>
          </a:bodyPr>
          <a:lstStyle/>
          <a:p>
            <a:pPr marL="241287" indent="-241287" algn="justLow" defTabSz="1625479">
              <a:buClr>
                <a:srgbClr val="FF6600"/>
              </a:buClr>
              <a:buFont typeface="Wingdings" panose="05000000000000000000" pitchFamily="2" charset="2"/>
              <a:buChar char="v"/>
              <a:defRPr/>
            </a:pPr>
            <a:r>
              <a:rPr lang="ar-SA" sz="2400" b="1" dirty="0">
                <a:solidFill>
                  <a:srgbClr val="3F007E"/>
                </a:solidFill>
                <a:latin typeface="Sakkal Majalla" panose="02000000000000000000" pitchFamily="2" charset="-78"/>
                <a:ea typeface="Samim" panose="020B0603030804020204" pitchFamily="34" charset="0"/>
                <a:cs typeface="Sakkal Majalla" panose="02000000000000000000" pitchFamily="2" charset="-78"/>
              </a:rPr>
              <a:t>رؤية المملكة </a:t>
            </a:r>
            <a:r>
              <a:rPr lang="en-US" sz="2400" b="1" dirty="0">
                <a:solidFill>
                  <a:srgbClr val="3F007E"/>
                </a:solidFill>
                <a:latin typeface="Sakkal Majalla" panose="02000000000000000000" pitchFamily="2" charset="-78"/>
                <a:ea typeface="Samim" panose="020B0603030804020204" pitchFamily="34" charset="0"/>
                <a:cs typeface="Sakkal Majalla" panose="02000000000000000000" pitchFamily="2" charset="-78"/>
              </a:rPr>
              <a:t>2030</a:t>
            </a:r>
            <a:endParaRPr lang="ar-SA" sz="2400" b="1" dirty="0">
              <a:solidFill>
                <a:srgbClr val="3F007E"/>
              </a:solidFill>
              <a:latin typeface="Sakkal Majalla" panose="02000000000000000000" pitchFamily="2" charset="-78"/>
              <a:ea typeface="Samim" panose="020B0603030804020204" pitchFamily="34" charset="0"/>
              <a:cs typeface="Sakkal Majalla" panose="02000000000000000000" pitchFamily="2" charset="-78"/>
            </a:endParaRPr>
          </a:p>
          <a:p>
            <a:pPr marL="241287" indent="-241287" algn="justLow" defTabSz="1625479">
              <a:buClr>
                <a:srgbClr val="FF6600"/>
              </a:buClr>
              <a:buFont typeface="Wingdings" panose="05000000000000000000" pitchFamily="2" charset="2"/>
              <a:buChar char="v"/>
              <a:defRPr/>
            </a:pPr>
            <a:r>
              <a:rPr lang="ar-SA" sz="2400" b="1" dirty="0">
                <a:solidFill>
                  <a:srgbClr val="3F007E"/>
                </a:solidFill>
                <a:latin typeface="Sakkal Majalla" panose="02000000000000000000" pitchFamily="2" charset="-78"/>
                <a:ea typeface="Samim" panose="020B0603030804020204" pitchFamily="34" charset="0"/>
                <a:cs typeface="Sakkal Majalla" panose="02000000000000000000" pitchFamily="2" charset="-78"/>
                <a:sym typeface="Quicksand"/>
              </a:rPr>
              <a:t>برنامج تنمية القدرات البشرية.</a:t>
            </a:r>
          </a:p>
          <a:p>
            <a:pPr marL="241287" indent="-241287" algn="justLow" defTabSz="1625479">
              <a:buClr>
                <a:srgbClr val="FF6600"/>
              </a:buClr>
              <a:buFont typeface="Wingdings" panose="05000000000000000000" pitchFamily="2" charset="2"/>
              <a:buChar char="v"/>
              <a:defRPr/>
            </a:pPr>
            <a:r>
              <a:rPr lang="ar-SA" sz="2400" b="1" dirty="0">
                <a:solidFill>
                  <a:srgbClr val="3F007E"/>
                </a:solidFill>
                <a:latin typeface="Sakkal Majalla" panose="02000000000000000000" pitchFamily="2" charset="-78"/>
                <a:ea typeface="Samim" panose="020B0603030804020204" pitchFamily="34" charset="0"/>
                <a:cs typeface="Sakkal Majalla" panose="02000000000000000000" pitchFamily="2" charset="-78"/>
                <a:sym typeface="Quicksand"/>
              </a:rPr>
              <a:t> تمكين المدرسة من تطوير قدراتها.</a:t>
            </a:r>
          </a:p>
          <a:p>
            <a:pPr marL="241287" indent="-241287" algn="justLow" defTabSz="1625479">
              <a:buClr>
                <a:srgbClr val="FF6600"/>
              </a:buClr>
              <a:buFont typeface="Wingdings" panose="05000000000000000000" pitchFamily="2" charset="2"/>
              <a:buChar char="v"/>
              <a:defRPr/>
            </a:pPr>
            <a:r>
              <a:rPr lang="ar-SA" sz="2400" b="1" dirty="0">
                <a:solidFill>
                  <a:srgbClr val="3F007E"/>
                </a:solidFill>
                <a:latin typeface="Sakkal Majalla" panose="02000000000000000000" pitchFamily="2" charset="-78"/>
                <a:ea typeface="Samim" panose="020B0603030804020204" pitchFamily="34" charset="0"/>
                <a:cs typeface="Sakkal Majalla" panose="02000000000000000000" pitchFamily="2" charset="-78"/>
                <a:sym typeface="Quicksand"/>
              </a:rPr>
              <a:t> دعم التحسين والتطوير المستمر.</a:t>
            </a:r>
          </a:p>
          <a:p>
            <a:pPr marL="241287" indent="-241287" algn="justLow" defTabSz="1625479">
              <a:buClr>
                <a:srgbClr val="FF6600"/>
              </a:buClr>
              <a:buFont typeface="Wingdings" panose="05000000000000000000" pitchFamily="2" charset="2"/>
              <a:buChar char="v"/>
              <a:defRPr/>
            </a:pPr>
            <a:r>
              <a:rPr lang="ar-SA" sz="2400" b="1" dirty="0">
                <a:solidFill>
                  <a:srgbClr val="3F007E"/>
                </a:solidFill>
                <a:latin typeface="Sakkal Majalla" panose="02000000000000000000" pitchFamily="2" charset="-78"/>
                <a:ea typeface="Samim" panose="020B0603030804020204" pitchFamily="34" charset="0"/>
                <a:cs typeface="Sakkal Majalla" panose="02000000000000000000" pitchFamily="2" charset="-78"/>
                <a:sym typeface="Quicksand"/>
              </a:rPr>
              <a:t> إحداث الأثر.</a:t>
            </a:r>
          </a:p>
          <a:p>
            <a:pPr marL="241287" indent="-241287" algn="justLow" defTabSz="1625479">
              <a:buClr>
                <a:srgbClr val="FF6600"/>
              </a:buClr>
              <a:buFont typeface="Wingdings" panose="05000000000000000000" pitchFamily="2" charset="2"/>
              <a:buChar char="v"/>
              <a:defRPr/>
            </a:pPr>
            <a:r>
              <a:rPr lang="ar-SA" sz="2400" b="1" dirty="0">
                <a:solidFill>
                  <a:srgbClr val="3F007E"/>
                </a:solidFill>
                <a:latin typeface="Sakkal Majalla" panose="02000000000000000000" pitchFamily="2" charset="-78"/>
                <a:ea typeface="Samim" panose="020B0603030804020204" pitchFamily="34" charset="0"/>
                <a:cs typeface="Sakkal Majalla" panose="02000000000000000000" pitchFamily="2" charset="-78"/>
                <a:sym typeface="Quicksand"/>
              </a:rPr>
              <a:t> تحقيق التوقعات العالية لنواتج التعلم.</a:t>
            </a:r>
            <a:endParaRPr lang="ar-SA" sz="2133" b="1" dirty="0">
              <a:solidFill>
                <a:srgbClr val="3F007E"/>
              </a:solidFill>
              <a:latin typeface="Sakkal Majalla" panose="02000000000000000000" pitchFamily="2" charset="-78"/>
              <a:ea typeface="Samim" panose="020B0603030804020204" pitchFamily="34" charset="0"/>
              <a:cs typeface="Sakkal Majalla" panose="02000000000000000000" pitchFamily="2" charset="-78"/>
              <a:sym typeface="Quicksand"/>
            </a:endParaRPr>
          </a:p>
        </p:txBody>
      </p:sp>
    </p:spTree>
    <p:extLst>
      <p:ext uri="{BB962C8B-B14F-4D97-AF65-F5344CB8AC3E}">
        <p14:creationId xmlns:p14="http://schemas.microsoft.com/office/powerpoint/2010/main" val="5122442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barn(inVertical)">
                                      <p:cBhvr>
                                        <p:cTn id="7" dur="1250"/>
                                        <p:tgtEl>
                                          <p:spTgt spid="29"/>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grpId="0" nodeType="clickEffect">
                                  <p:stCondLst>
                                    <p:cond delay="0"/>
                                  </p:stCondLst>
                                  <p:childTnLst>
                                    <p:set>
                                      <p:cBhvr>
                                        <p:cTn id="11" dur="1" fill="hold">
                                          <p:stCondLst>
                                            <p:cond delay="0"/>
                                          </p:stCondLst>
                                        </p:cTn>
                                        <p:tgtEl>
                                          <p:spTgt spid="24"/>
                                        </p:tgtEl>
                                        <p:attrNameLst>
                                          <p:attrName>style.visibility</p:attrName>
                                        </p:attrNameLst>
                                      </p:cBhvr>
                                      <p:to>
                                        <p:strVal val="visible"/>
                                      </p:to>
                                    </p:set>
                                    <p:animEffect transition="in" filter="barn(inVertical)">
                                      <p:cBhvr>
                                        <p:cTn id="12" dur="1250"/>
                                        <p:tgtEl>
                                          <p:spTgt spid="24"/>
                                        </p:tgtEl>
                                      </p:cBhvr>
                                    </p:animEffect>
                                  </p:childTnLst>
                                </p:cTn>
                              </p:par>
                            </p:childTnLst>
                          </p:cTn>
                        </p:par>
                      </p:childTnLst>
                    </p:cTn>
                  </p:par>
                  <p:par>
                    <p:cTn id="13" fill="hold">
                      <p:stCondLst>
                        <p:cond delay="indefinite"/>
                      </p:stCondLst>
                      <p:childTnLst>
                        <p:par>
                          <p:cTn id="14" fill="hold">
                            <p:stCondLst>
                              <p:cond delay="0"/>
                            </p:stCondLst>
                            <p:childTnLst>
                              <p:par>
                                <p:cTn id="15" presetID="16" presetClass="entr" presetSubtype="21" fill="hold" grpId="0" nodeType="click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barn(inVertical)">
                                      <p:cBhvr>
                                        <p:cTn id="17" dur="1250"/>
                                        <p:tgtEl>
                                          <p:spTgt spid="3"/>
                                        </p:tgtEl>
                                      </p:cBhvr>
                                    </p:animEffect>
                                  </p:childTnLst>
                                </p:cTn>
                              </p:par>
                            </p:childTnLst>
                          </p:cTn>
                        </p:par>
                      </p:childTnLst>
                    </p:cTn>
                  </p:par>
                  <p:par>
                    <p:cTn id="18" fill="hold">
                      <p:stCondLst>
                        <p:cond delay="indefinite"/>
                      </p:stCondLst>
                      <p:childTnLst>
                        <p:par>
                          <p:cTn id="19" fill="hold">
                            <p:stCondLst>
                              <p:cond delay="0"/>
                            </p:stCondLst>
                            <p:childTnLst>
                              <p:par>
                                <p:cTn id="20" presetID="16" presetClass="entr" presetSubtype="21" fill="hold" grpId="0" nodeType="clickEffect">
                                  <p:stCondLst>
                                    <p:cond delay="0"/>
                                  </p:stCondLst>
                                  <p:childTnLst>
                                    <p:set>
                                      <p:cBhvr>
                                        <p:cTn id="21" dur="1" fill="hold">
                                          <p:stCondLst>
                                            <p:cond delay="0"/>
                                          </p:stCondLst>
                                        </p:cTn>
                                        <p:tgtEl>
                                          <p:spTgt spid="25"/>
                                        </p:tgtEl>
                                        <p:attrNameLst>
                                          <p:attrName>style.visibility</p:attrName>
                                        </p:attrNameLst>
                                      </p:cBhvr>
                                      <p:to>
                                        <p:strVal val="visible"/>
                                      </p:to>
                                    </p:set>
                                    <p:animEffect transition="in" filter="barn(inVertical)">
                                      <p:cBhvr>
                                        <p:cTn id="22" dur="1250"/>
                                        <p:tgtEl>
                                          <p:spTgt spid="25"/>
                                        </p:tgtEl>
                                      </p:cBhvr>
                                    </p:animEffect>
                                  </p:childTnLst>
                                </p:cTn>
                              </p:par>
                            </p:childTnLst>
                          </p:cTn>
                        </p:par>
                      </p:childTnLst>
                    </p:cTn>
                  </p:par>
                  <p:par>
                    <p:cTn id="23" fill="hold">
                      <p:stCondLst>
                        <p:cond delay="indefinite"/>
                      </p:stCondLst>
                      <p:childTnLst>
                        <p:par>
                          <p:cTn id="24" fill="hold">
                            <p:stCondLst>
                              <p:cond delay="0"/>
                            </p:stCondLst>
                            <p:childTnLst>
                              <p:par>
                                <p:cTn id="25" presetID="47" presetClass="entr" presetSubtype="0" fill="hold" nodeType="clickEffect">
                                  <p:stCondLst>
                                    <p:cond delay="0"/>
                                  </p:stCondLst>
                                  <p:childTnLst>
                                    <p:set>
                                      <p:cBhvr>
                                        <p:cTn id="26" dur="1" fill="hold">
                                          <p:stCondLst>
                                            <p:cond delay="0"/>
                                          </p:stCondLst>
                                        </p:cTn>
                                        <p:tgtEl>
                                          <p:spTgt spid="4">
                                            <p:txEl>
                                              <p:pRg st="0" end="0"/>
                                            </p:txEl>
                                          </p:spTgt>
                                        </p:tgtEl>
                                        <p:attrNameLst>
                                          <p:attrName>style.visibility</p:attrName>
                                        </p:attrNameLst>
                                      </p:cBhvr>
                                      <p:to>
                                        <p:strVal val="visible"/>
                                      </p:to>
                                    </p:set>
                                    <p:animEffect transition="in" filter="fade">
                                      <p:cBhvr>
                                        <p:cTn id="27" dur="1250"/>
                                        <p:tgtEl>
                                          <p:spTgt spid="4">
                                            <p:txEl>
                                              <p:pRg st="0" end="0"/>
                                            </p:txEl>
                                          </p:spTgt>
                                        </p:tgtEl>
                                      </p:cBhvr>
                                    </p:animEffect>
                                    <p:anim calcmode="lin" valueType="num">
                                      <p:cBhvr>
                                        <p:cTn id="28" dur="1250" fill="hold"/>
                                        <p:tgtEl>
                                          <p:spTgt spid="4">
                                            <p:txEl>
                                              <p:pRg st="0" end="0"/>
                                            </p:txEl>
                                          </p:spTgt>
                                        </p:tgtEl>
                                        <p:attrNameLst>
                                          <p:attrName>ppt_x</p:attrName>
                                        </p:attrNameLst>
                                      </p:cBhvr>
                                      <p:tavLst>
                                        <p:tav tm="0">
                                          <p:val>
                                            <p:strVal val="#ppt_x"/>
                                          </p:val>
                                        </p:tav>
                                        <p:tav tm="100000">
                                          <p:val>
                                            <p:strVal val="#ppt_x"/>
                                          </p:val>
                                        </p:tav>
                                      </p:tavLst>
                                    </p:anim>
                                    <p:anim calcmode="lin" valueType="num">
                                      <p:cBhvr>
                                        <p:cTn id="29" dur="1250" fill="hold"/>
                                        <p:tgtEl>
                                          <p:spTgt spid="4">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30" fill="hold">
                      <p:stCondLst>
                        <p:cond delay="indefinite"/>
                      </p:stCondLst>
                      <p:childTnLst>
                        <p:par>
                          <p:cTn id="31" fill="hold">
                            <p:stCondLst>
                              <p:cond delay="0"/>
                            </p:stCondLst>
                            <p:childTnLst>
                              <p:par>
                                <p:cTn id="32" presetID="47" presetClass="entr" presetSubtype="0" fill="hold" nodeType="clickEffect">
                                  <p:stCondLst>
                                    <p:cond delay="0"/>
                                  </p:stCondLst>
                                  <p:childTnLst>
                                    <p:set>
                                      <p:cBhvr>
                                        <p:cTn id="33" dur="1" fill="hold">
                                          <p:stCondLst>
                                            <p:cond delay="0"/>
                                          </p:stCondLst>
                                        </p:cTn>
                                        <p:tgtEl>
                                          <p:spTgt spid="4">
                                            <p:txEl>
                                              <p:pRg st="1" end="1"/>
                                            </p:txEl>
                                          </p:spTgt>
                                        </p:tgtEl>
                                        <p:attrNameLst>
                                          <p:attrName>style.visibility</p:attrName>
                                        </p:attrNameLst>
                                      </p:cBhvr>
                                      <p:to>
                                        <p:strVal val="visible"/>
                                      </p:to>
                                    </p:set>
                                    <p:animEffect transition="in" filter="fade">
                                      <p:cBhvr>
                                        <p:cTn id="34" dur="1250"/>
                                        <p:tgtEl>
                                          <p:spTgt spid="4">
                                            <p:txEl>
                                              <p:pRg st="1" end="1"/>
                                            </p:txEl>
                                          </p:spTgt>
                                        </p:tgtEl>
                                      </p:cBhvr>
                                    </p:animEffect>
                                    <p:anim calcmode="lin" valueType="num">
                                      <p:cBhvr>
                                        <p:cTn id="35" dur="1250" fill="hold"/>
                                        <p:tgtEl>
                                          <p:spTgt spid="4">
                                            <p:txEl>
                                              <p:pRg st="1" end="1"/>
                                            </p:txEl>
                                          </p:spTgt>
                                        </p:tgtEl>
                                        <p:attrNameLst>
                                          <p:attrName>ppt_x</p:attrName>
                                        </p:attrNameLst>
                                      </p:cBhvr>
                                      <p:tavLst>
                                        <p:tav tm="0">
                                          <p:val>
                                            <p:strVal val="#ppt_x"/>
                                          </p:val>
                                        </p:tav>
                                        <p:tav tm="100000">
                                          <p:val>
                                            <p:strVal val="#ppt_x"/>
                                          </p:val>
                                        </p:tav>
                                      </p:tavLst>
                                    </p:anim>
                                    <p:anim calcmode="lin" valueType="num">
                                      <p:cBhvr>
                                        <p:cTn id="36" dur="1250" fill="hold"/>
                                        <p:tgtEl>
                                          <p:spTgt spid="4">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47" presetClass="entr" presetSubtype="0" fill="hold" nodeType="clickEffect">
                                  <p:stCondLst>
                                    <p:cond delay="0"/>
                                  </p:stCondLst>
                                  <p:childTnLst>
                                    <p:set>
                                      <p:cBhvr>
                                        <p:cTn id="40" dur="1" fill="hold">
                                          <p:stCondLst>
                                            <p:cond delay="0"/>
                                          </p:stCondLst>
                                        </p:cTn>
                                        <p:tgtEl>
                                          <p:spTgt spid="4">
                                            <p:txEl>
                                              <p:pRg st="2" end="2"/>
                                            </p:txEl>
                                          </p:spTgt>
                                        </p:tgtEl>
                                        <p:attrNameLst>
                                          <p:attrName>style.visibility</p:attrName>
                                        </p:attrNameLst>
                                      </p:cBhvr>
                                      <p:to>
                                        <p:strVal val="visible"/>
                                      </p:to>
                                    </p:set>
                                    <p:animEffect transition="in" filter="fade">
                                      <p:cBhvr>
                                        <p:cTn id="41" dur="1250"/>
                                        <p:tgtEl>
                                          <p:spTgt spid="4">
                                            <p:txEl>
                                              <p:pRg st="2" end="2"/>
                                            </p:txEl>
                                          </p:spTgt>
                                        </p:tgtEl>
                                      </p:cBhvr>
                                    </p:animEffect>
                                    <p:anim calcmode="lin" valueType="num">
                                      <p:cBhvr>
                                        <p:cTn id="42" dur="1250" fill="hold"/>
                                        <p:tgtEl>
                                          <p:spTgt spid="4">
                                            <p:txEl>
                                              <p:pRg st="2" end="2"/>
                                            </p:txEl>
                                          </p:spTgt>
                                        </p:tgtEl>
                                        <p:attrNameLst>
                                          <p:attrName>ppt_x</p:attrName>
                                        </p:attrNameLst>
                                      </p:cBhvr>
                                      <p:tavLst>
                                        <p:tav tm="0">
                                          <p:val>
                                            <p:strVal val="#ppt_x"/>
                                          </p:val>
                                        </p:tav>
                                        <p:tav tm="100000">
                                          <p:val>
                                            <p:strVal val="#ppt_x"/>
                                          </p:val>
                                        </p:tav>
                                      </p:tavLst>
                                    </p:anim>
                                    <p:anim calcmode="lin" valueType="num">
                                      <p:cBhvr>
                                        <p:cTn id="43" dur="1250" fill="hold"/>
                                        <p:tgtEl>
                                          <p:spTgt spid="4">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44" fill="hold">
                      <p:stCondLst>
                        <p:cond delay="indefinite"/>
                      </p:stCondLst>
                      <p:childTnLst>
                        <p:par>
                          <p:cTn id="45" fill="hold">
                            <p:stCondLst>
                              <p:cond delay="0"/>
                            </p:stCondLst>
                            <p:childTnLst>
                              <p:par>
                                <p:cTn id="46" presetID="47" presetClass="entr" presetSubtype="0" fill="hold" nodeType="clickEffect">
                                  <p:stCondLst>
                                    <p:cond delay="0"/>
                                  </p:stCondLst>
                                  <p:childTnLst>
                                    <p:set>
                                      <p:cBhvr>
                                        <p:cTn id="47" dur="1" fill="hold">
                                          <p:stCondLst>
                                            <p:cond delay="0"/>
                                          </p:stCondLst>
                                        </p:cTn>
                                        <p:tgtEl>
                                          <p:spTgt spid="4">
                                            <p:txEl>
                                              <p:pRg st="3" end="3"/>
                                            </p:txEl>
                                          </p:spTgt>
                                        </p:tgtEl>
                                        <p:attrNameLst>
                                          <p:attrName>style.visibility</p:attrName>
                                        </p:attrNameLst>
                                      </p:cBhvr>
                                      <p:to>
                                        <p:strVal val="visible"/>
                                      </p:to>
                                    </p:set>
                                    <p:animEffect transition="in" filter="fade">
                                      <p:cBhvr>
                                        <p:cTn id="48" dur="1250"/>
                                        <p:tgtEl>
                                          <p:spTgt spid="4">
                                            <p:txEl>
                                              <p:pRg st="3" end="3"/>
                                            </p:txEl>
                                          </p:spTgt>
                                        </p:tgtEl>
                                      </p:cBhvr>
                                    </p:animEffect>
                                    <p:anim calcmode="lin" valueType="num">
                                      <p:cBhvr>
                                        <p:cTn id="49" dur="1250" fill="hold"/>
                                        <p:tgtEl>
                                          <p:spTgt spid="4">
                                            <p:txEl>
                                              <p:pRg st="3" end="3"/>
                                            </p:txEl>
                                          </p:spTgt>
                                        </p:tgtEl>
                                        <p:attrNameLst>
                                          <p:attrName>ppt_x</p:attrName>
                                        </p:attrNameLst>
                                      </p:cBhvr>
                                      <p:tavLst>
                                        <p:tav tm="0">
                                          <p:val>
                                            <p:strVal val="#ppt_x"/>
                                          </p:val>
                                        </p:tav>
                                        <p:tav tm="100000">
                                          <p:val>
                                            <p:strVal val="#ppt_x"/>
                                          </p:val>
                                        </p:tav>
                                      </p:tavLst>
                                    </p:anim>
                                    <p:anim calcmode="lin" valueType="num">
                                      <p:cBhvr>
                                        <p:cTn id="50" dur="1250" fill="hold"/>
                                        <p:tgtEl>
                                          <p:spTgt spid="4">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47" presetClass="entr" presetSubtype="0" fill="hold" nodeType="clickEffect">
                                  <p:stCondLst>
                                    <p:cond delay="0"/>
                                  </p:stCondLst>
                                  <p:childTnLst>
                                    <p:set>
                                      <p:cBhvr>
                                        <p:cTn id="54" dur="1" fill="hold">
                                          <p:stCondLst>
                                            <p:cond delay="0"/>
                                          </p:stCondLst>
                                        </p:cTn>
                                        <p:tgtEl>
                                          <p:spTgt spid="4">
                                            <p:txEl>
                                              <p:pRg st="4" end="4"/>
                                            </p:txEl>
                                          </p:spTgt>
                                        </p:tgtEl>
                                        <p:attrNameLst>
                                          <p:attrName>style.visibility</p:attrName>
                                        </p:attrNameLst>
                                      </p:cBhvr>
                                      <p:to>
                                        <p:strVal val="visible"/>
                                      </p:to>
                                    </p:set>
                                    <p:animEffect transition="in" filter="fade">
                                      <p:cBhvr>
                                        <p:cTn id="55" dur="1250"/>
                                        <p:tgtEl>
                                          <p:spTgt spid="4">
                                            <p:txEl>
                                              <p:pRg st="4" end="4"/>
                                            </p:txEl>
                                          </p:spTgt>
                                        </p:tgtEl>
                                      </p:cBhvr>
                                    </p:animEffect>
                                    <p:anim calcmode="lin" valueType="num">
                                      <p:cBhvr>
                                        <p:cTn id="56" dur="1250" fill="hold"/>
                                        <p:tgtEl>
                                          <p:spTgt spid="4">
                                            <p:txEl>
                                              <p:pRg st="4" end="4"/>
                                            </p:txEl>
                                          </p:spTgt>
                                        </p:tgtEl>
                                        <p:attrNameLst>
                                          <p:attrName>ppt_x</p:attrName>
                                        </p:attrNameLst>
                                      </p:cBhvr>
                                      <p:tavLst>
                                        <p:tav tm="0">
                                          <p:val>
                                            <p:strVal val="#ppt_x"/>
                                          </p:val>
                                        </p:tav>
                                        <p:tav tm="100000">
                                          <p:val>
                                            <p:strVal val="#ppt_x"/>
                                          </p:val>
                                        </p:tav>
                                      </p:tavLst>
                                    </p:anim>
                                    <p:anim calcmode="lin" valueType="num">
                                      <p:cBhvr>
                                        <p:cTn id="57" dur="1250" fill="hold"/>
                                        <p:tgtEl>
                                          <p:spTgt spid="4">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58" fill="hold">
                      <p:stCondLst>
                        <p:cond delay="indefinite"/>
                      </p:stCondLst>
                      <p:childTnLst>
                        <p:par>
                          <p:cTn id="59" fill="hold">
                            <p:stCondLst>
                              <p:cond delay="0"/>
                            </p:stCondLst>
                            <p:childTnLst>
                              <p:par>
                                <p:cTn id="60" presetID="47" presetClass="entr" presetSubtype="0" fill="hold" nodeType="clickEffect">
                                  <p:stCondLst>
                                    <p:cond delay="0"/>
                                  </p:stCondLst>
                                  <p:childTnLst>
                                    <p:set>
                                      <p:cBhvr>
                                        <p:cTn id="61" dur="1" fill="hold">
                                          <p:stCondLst>
                                            <p:cond delay="0"/>
                                          </p:stCondLst>
                                        </p:cTn>
                                        <p:tgtEl>
                                          <p:spTgt spid="4">
                                            <p:txEl>
                                              <p:pRg st="5" end="5"/>
                                            </p:txEl>
                                          </p:spTgt>
                                        </p:tgtEl>
                                        <p:attrNameLst>
                                          <p:attrName>style.visibility</p:attrName>
                                        </p:attrNameLst>
                                      </p:cBhvr>
                                      <p:to>
                                        <p:strVal val="visible"/>
                                      </p:to>
                                    </p:set>
                                    <p:animEffect transition="in" filter="fade">
                                      <p:cBhvr>
                                        <p:cTn id="62" dur="1250"/>
                                        <p:tgtEl>
                                          <p:spTgt spid="4">
                                            <p:txEl>
                                              <p:pRg st="5" end="5"/>
                                            </p:txEl>
                                          </p:spTgt>
                                        </p:tgtEl>
                                      </p:cBhvr>
                                    </p:animEffect>
                                    <p:anim calcmode="lin" valueType="num">
                                      <p:cBhvr>
                                        <p:cTn id="63" dur="1250" fill="hold"/>
                                        <p:tgtEl>
                                          <p:spTgt spid="4">
                                            <p:txEl>
                                              <p:pRg st="5" end="5"/>
                                            </p:txEl>
                                          </p:spTgt>
                                        </p:tgtEl>
                                        <p:attrNameLst>
                                          <p:attrName>ppt_x</p:attrName>
                                        </p:attrNameLst>
                                      </p:cBhvr>
                                      <p:tavLst>
                                        <p:tav tm="0">
                                          <p:val>
                                            <p:strVal val="#ppt_x"/>
                                          </p:val>
                                        </p:tav>
                                        <p:tav tm="100000">
                                          <p:val>
                                            <p:strVal val="#ppt_x"/>
                                          </p:val>
                                        </p:tav>
                                      </p:tavLst>
                                    </p:anim>
                                    <p:anim calcmode="lin" valueType="num">
                                      <p:cBhvr>
                                        <p:cTn id="64" dur="1250" fill="hold"/>
                                        <p:tgtEl>
                                          <p:spTgt spid="4">
                                            <p:txEl>
                                              <p:pRg st="5" end="5"/>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p:bldP spid="25" grpId="0" animBg="1"/>
      <p:bldP spid="29" grpId="0" animBg="1"/>
      <p:bldP spid="3"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p:cNvSpPr/>
          <p:nvPr/>
        </p:nvSpPr>
        <p:spPr>
          <a:xfrm>
            <a:off x="2063554" y="271633"/>
            <a:ext cx="7624436" cy="38404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1" tIns="60960" rIns="121921" bIns="60960" numCol="1" spcCol="0" rtlCol="0" fromWordArt="0" anchor="ctr" anchorCtr="0" forceAA="0" compatLnSpc="1">
            <a:prstTxWarp prst="textNoShape">
              <a:avLst/>
            </a:prstTxWarp>
            <a:noAutofit/>
          </a:bodyPr>
          <a:lstStyle/>
          <a:p>
            <a:pPr algn="ctr"/>
            <a:endParaRPr lang="ko-KR" altLang="en-US" sz="2420">
              <a:solidFill>
                <a:schemeClr val="tx1">
                  <a:lumMod val="75000"/>
                  <a:lumOff val="25000"/>
                </a:schemeClr>
              </a:solidFill>
            </a:endParaRPr>
          </a:p>
        </p:txBody>
      </p:sp>
      <p:sp>
        <p:nvSpPr>
          <p:cNvPr id="3" name="Rectangle 28">
            <a:extLst>
              <a:ext uri="{FF2B5EF4-FFF2-40B4-BE49-F238E27FC236}">
                <a16:creationId xmlns:a16="http://schemas.microsoft.com/office/drawing/2014/main" id="{8F009EBE-5E98-3775-51DA-6C320DC107C5}"/>
              </a:ext>
            </a:extLst>
          </p:cNvPr>
          <p:cNvSpPr/>
          <p:nvPr/>
        </p:nvSpPr>
        <p:spPr>
          <a:xfrm>
            <a:off x="9693010" y="225074"/>
            <a:ext cx="2067620" cy="1217972"/>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1" tIns="60960" rIns="121921" bIns="60960" numCol="1" spcCol="0" rtlCol="0" fromWordArt="0" anchor="ctr" anchorCtr="0" forceAA="0" compatLnSpc="1">
            <a:prstTxWarp prst="textNoShape">
              <a:avLst/>
            </a:prstTxWarp>
            <a:noAutofit/>
          </a:bodyPr>
          <a:lstStyle/>
          <a:p>
            <a:pPr algn="ctr" rtl="1"/>
            <a:r>
              <a:rPr lang="ar-SA" altLang="ko-KR" sz="3200" b="1" dirty="0">
                <a:solidFill>
                  <a:schemeClr val="bg1"/>
                </a:solidFill>
                <a:latin typeface="Sakkal Majalla" panose="02000000000000000000" pitchFamily="2" charset="-78"/>
                <a:cs typeface="Sakkal Majalla" panose="02000000000000000000" pitchFamily="2" charset="-78"/>
              </a:rPr>
              <a:t>أهداف التقويم المدرسي</a:t>
            </a:r>
            <a:endParaRPr lang="ko-KR" altLang="en-US" sz="3200" b="1" dirty="0">
              <a:solidFill>
                <a:schemeClr val="bg1"/>
              </a:solidFill>
              <a:latin typeface="Sakkal Majalla" panose="02000000000000000000" pitchFamily="2" charset="-78"/>
              <a:cs typeface="Sakkal Majalla" panose="02000000000000000000" pitchFamily="2" charset="-78"/>
            </a:endParaRPr>
          </a:p>
        </p:txBody>
      </p:sp>
      <p:sp>
        <p:nvSpPr>
          <p:cNvPr id="4" name="Google Shape;911;p31">
            <a:extLst>
              <a:ext uri="{FF2B5EF4-FFF2-40B4-BE49-F238E27FC236}">
                <a16:creationId xmlns:a16="http://schemas.microsoft.com/office/drawing/2014/main" id="{A32876E1-48A4-5318-1305-C352E3C4FFF1}"/>
              </a:ext>
            </a:extLst>
          </p:cNvPr>
          <p:cNvSpPr txBox="1"/>
          <p:nvPr/>
        </p:nvSpPr>
        <p:spPr>
          <a:xfrm>
            <a:off x="2063553" y="702237"/>
            <a:ext cx="6910257" cy="5024047"/>
          </a:xfrm>
          <a:prstGeom prst="rect">
            <a:avLst/>
          </a:prstGeom>
          <a:noFill/>
          <a:ln w="9525" cap="flat" cmpd="sng">
            <a:solidFill>
              <a:srgbClr val="380070"/>
            </a:solidFill>
            <a:prstDash val="solid"/>
            <a:round/>
            <a:headEnd type="none" w="sm" len="sm"/>
            <a:tailEnd type="none" w="sm" len="sm"/>
          </a:ln>
        </p:spPr>
        <p:txBody>
          <a:bodyPr spcFirstLastPara="1" wrap="square" lIns="81244" tIns="81244" rIns="81244" bIns="0" anchor="t" anchorCtr="0">
            <a:noAutofit/>
          </a:bodyPr>
          <a:lstStyle/>
          <a:p>
            <a:pPr algn="justLow" defTabSz="1625479">
              <a:lnSpc>
                <a:spcPct val="150000"/>
              </a:lnSpc>
              <a:buClr>
                <a:srgbClr val="FF6600"/>
              </a:buClr>
              <a:defRPr/>
            </a:pPr>
            <a:endParaRPr lang="ar-SA" sz="2133" b="1" dirty="0">
              <a:solidFill>
                <a:srgbClr val="3F007E"/>
              </a:solidFill>
              <a:latin typeface="Sakkal Majalla" panose="02000000000000000000" pitchFamily="2" charset="-78"/>
              <a:ea typeface="Samim" panose="020B0603030804020204" pitchFamily="34" charset="0"/>
              <a:cs typeface="Sakkal Majalla" panose="02000000000000000000" pitchFamily="2" charset="-78"/>
              <a:sym typeface="Quicksand"/>
            </a:endParaRPr>
          </a:p>
        </p:txBody>
      </p:sp>
      <p:sp>
        <p:nvSpPr>
          <p:cNvPr id="2" name="Rectangle 28">
            <a:extLst>
              <a:ext uri="{FF2B5EF4-FFF2-40B4-BE49-F238E27FC236}">
                <a16:creationId xmlns:a16="http://schemas.microsoft.com/office/drawing/2014/main" id="{CFE3529F-2FD9-23A4-B522-C7F31E00A75F}"/>
              </a:ext>
            </a:extLst>
          </p:cNvPr>
          <p:cNvSpPr/>
          <p:nvPr/>
        </p:nvSpPr>
        <p:spPr>
          <a:xfrm>
            <a:off x="9687990" y="2877663"/>
            <a:ext cx="2067620" cy="1217972"/>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1" tIns="60960" rIns="121921" bIns="60960" numCol="1" spcCol="0" rtlCol="0" fromWordArt="0" anchor="ctr" anchorCtr="0" forceAA="0" compatLnSpc="1">
            <a:prstTxWarp prst="textNoShape">
              <a:avLst/>
            </a:prstTxWarp>
            <a:noAutofit/>
          </a:bodyPr>
          <a:lstStyle/>
          <a:p>
            <a:pPr algn="ctr" rtl="1"/>
            <a:r>
              <a:rPr lang="ar-SA" altLang="ko-KR" sz="3200" b="1" dirty="0">
                <a:solidFill>
                  <a:schemeClr val="bg1"/>
                </a:solidFill>
                <a:latin typeface="Sakkal Majalla" panose="02000000000000000000" pitchFamily="2" charset="-78"/>
                <a:cs typeface="Sakkal Majalla" panose="02000000000000000000" pitchFamily="2" charset="-78"/>
              </a:rPr>
              <a:t>تمكين المدرسة</a:t>
            </a:r>
            <a:endParaRPr lang="ko-KR" altLang="en-US" sz="3200" b="1" dirty="0">
              <a:solidFill>
                <a:schemeClr val="bg1"/>
              </a:solidFill>
              <a:latin typeface="Sakkal Majalla" panose="02000000000000000000" pitchFamily="2" charset="-78"/>
              <a:cs typeface="Sakkal Majalla" panose="02000000000000000000" pitchFamily="2" charset="-78"/>
            </a:endParaRPr>
          </a:p>
        </p:txBody>
      </p:sp>
      <p:cxnSp>
        <p:nvCxnSpPr>
          <p:cNvPr id="6" name="رابط كسهم مستقيم 5">
            <a:extLst>
              <a:ext uri="{FF2B5EF4-FFF2-40B4-BE49-F238E27FC236}">
                <a16:creationId xmlns:a16="http://schemas.microsoft.com/office/drawing/2014/main" id="{2F956A5B-0E77-898F-63C4-D21FD4B9916A}"/>
              </a:ext>
            </a:extLst>
          </p:cNvPr>
          <p:cNvCxnSpPr>
            <a:stCxn id="3" idx="2"/>
            <a:endCxn id="2" idx="0"/>
          </p:cNvCxnSpPr>
          <p:nvPr/>
        </p:nvCxnSpPr>
        <p:spPr>
          <a:xfrm flipH="1">
            <a:off x="10721801" y="1443046"/>
            <a:ext cx="5020" cy="1434617"/>
          </a:xfrm>
          <a:prstGeom prst="straightConnector1">
            <a:avLst/>
          </a:prstGeom>
          <a:ln w="28575">
            <a:solidFill>
              <a:srgbClr val="0070C0"/>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8" name="رابط كسهم مستقيم 7">
            <a:extLst>
              <a:ext uri="{FF2B5EF4-FFF2-40B4-BE49-F238E27FC236}">
                <a16:creationId xmlns:a16="http://schemas.microsoft.com/office/drawing/2014/main" id="{974B6ACD-EE81-BAD0-1DB0-BEB53B95884B}"/>
              </a:ext>
            </a:extLst>
          </p:cNvPr>
          <p:cNvCxnSpPr>
            <a:cxnSpLocks/>
          </p:cNvCxnSpPr>
          <p:nvPr/>
        </p:nvCxnSpPr>
        <p:spPr>
          <a:xfrm flipH="1" flipV="1">
            <a:off x="8976320" y="3429000"/>
            <a:ext cx="725069" cy="6973"/>
          </a:xfrm>
          <a:prstGeom prst="straightConnector1">
            <a:avLst/>
          </a:prstGeom>
          <a:ln w="28575">
            <a:solidFill>
              <a:srgbClr val="0070C0"/>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1" name="Google Shape;911;p31">
            <a:extLst>
              <a:ext uri="{FF2B5EF4-FFF2-40B4-BE49-F238E27FC236}">
                <a16:creationId xmlns:a16="http://schemas.microsoft.com/office/drawing/2014/main" id="{39D4E558-38C9-A4DD-95DF-FEF719B341D6}"/>
              </a:ext>
            </a:extLst>
          </p:cNvPr>
          <p:cNvSpPr txBox="1"/>
          <p:nvPr/>
        </p:nvSpPr>
        <p:spPr>
          <a:xfrm>
            <a:off x="2061042" y="740701"/>
            <a:ext cx="6910257" cy="4889571"/>
          </a:xfrm>
          <a:prstGeom prst="rect">
            <a:avLst/>
          </a:prstGeom>
          <a:noFill/>
          <a:ln w="9525" cap="flat" cmpd="sng">
            <a:noFill/>
            <a:prstDash val="solid"/>
            <a:round/>
            <a:headEnd type="none" w="sm" len="sm"/>
            <a:tailEnd type="none" w="sm" len="sm"/>
          </a:ln>
        </p:spPr>
        <p:txBody>
          <a:bodyPr spcFirstLastPara="1" wrap="square" lIns="81244" tIns="81244" rIns="81244" bIns="0" anchor="t" anchorCtr="0">
            <a:noAutofit/>
          </a:bodyPr>
          <a:lstStyle/>
          <a:p>
            <a:pPr marL="241287" indent="-241287" algn="justLow" defTabSz="1625479">
              <a:lnSpc>
                <a:spcPct val="150000"/>
              </a:lnSpc>
              <a:buClr>
                <a:srgbClr val="FF6600"/>
              </a:buClr>
              <a:buFont typeface="Wingdings" panose="05000000000000000000" pitchFamily="2" charset="2"/>
              <a:buChar char="v"/>
              <a:defRPr/>
            </a:pPr>
            <a:r>
              <a:rPr lang="ar-SA" sz="2133" b="1" dirty="0">
                <a:solidFill>
                  <a:srgbClr val="3F007E"/>
                </a:solidFill>
                <a:latin typeface="Sakkal Majalla" panose="02000000000000000000" pitchFamily="2" charset="-78"/>
                <a:ea typeface="Samim" panose="020B0603030804020204" pitchFamily="34" charset="0"/>
                <a:cs typeface="Sakkal Majalla" panose="02000000000000000000" pitchFamily="2" charset="-78"/>
              </a:rPr>
              <a:t>تعزيز ثقافة التقويم المدرسي المستند إلى المعايير  في مدارس التعليم العام.</a:t>
            </a:r>
          </a:p>
          <a:p>
            <a:pPr marL="241287" indent="-241287" algn="justLow" defTabSz="1625479">
              <a:lnSpc>
                <a:spcPct val="150000"/>
              </a:lnSpc>
              <a:buClr>
                <a:srgbClr val="FF6600"/>
              </a:buClr>
              <a:buFont typeface="Wingdings" panose="05000000000000000000" pitchFamily="2" charset="2"/>
              <a:buChar char="v"/>
              <a:defRPr/>
            </a:pPr>
            <a:r>
              <a:rPr lang="ar-SA" sz="2133" b="1" dirty="0">
                <a:solidFill>
                  <a:srgbClr val="3F007E"/>
                </a:solidFill>
                <a:latin typeface="Sakkal Majalla" panose="02000000000000000000" pitchFamily="2" charset="-78"/>
                <a:ea typeface="Samim" panose="020B0603030804020204" pitchFamily="34" charset="0"/>
                <a:cs typeface="Sakkal Majalla" panose="02000000000000000000" pitchFamily="2" charset="-78"/>
              </a:rPr>
              <a:t>توفير بيانات موثوقة حول جوانب القوة وفرص التحسين لأداء المدارس لتمكينها من التطوير والتحسين المستمر.</a:t>
            </a:r>
          </a:p>
          <a:p>
            <a:pPr marL="241287" indent="-241287" algn="justLow" defTabSz="1625479">
              <a:lnSpc>
                <a:spcPct val="150000"/>
              </a:lnSpc>
              <a:buClr>
                <a:srgbClr val="FF6600"/>
              </a:buClr>
              <a:buFont typeface="Wingdings" panose="05000000000000000000" pitchFamily="2" charset="2"/>
              <a:buChar char="v"/>
              <a:defRPr/>
            </a:pPr>
            <a:r>
              <a:rPr lang="ar-SA" sz="2133" b="1" dirty="0">
                <a:solidFill>
                  <a:srgbClr val="3F007E"/>
                </a:solidFill>
                <a:latin typeface="Sakkal Majalla" panose="02000000000000000000" pitchFamily="2" charset="-78"/>
                <a:ea typeface="Samim" panose="020B0603030804020204" pitchFamily="34" charset="0"/>
                <a:cs typeface="Sakkal Majalla" panose="02000000000000000000" pitchFamily="2" charset="-78"/>
                <a:sym typeface="Quicksand"/>
              </a:rPr>
              <a:t>تعزيز مشاركة الطلبة وأولياء الأمور في عمليات تقويم الأداء المدرسي وتطويره.</a:t>
            </a:r>
          </a:p>
          <a:p>
            <a:pPr marL="241287" indent="-241287" algn="justLow" defTabSz="1625479">
              <a:lnSpc>
                <a:spcPct val="150000"/>
              </a:lnSpc>
              <a:buClr>
                <a:srgbClr val="FF6600"/>
              </a:buClr>
              <a:buFont typeface="Wingdings" panose="05000000000000000000" pitchFamily="2" charset="2"/>
              <a:buChar char="v"/>
              <a:defRPr/>
            </a:pPr>
            <a:r>
              <a:rPr lang="ar-SA" sz="2133" b="1" dirty="0">
                <a:solidFill>
                  <a:srgbClr val="3F007E"/>
                </a:solidFill>
                <a:latin typeface="Sakkal Majalla" panose="02000000000000000000" pitchFamily="2" charset="-78"/>
                <a:ea typeface="Samim" panose="020B0603030804020204" pitchFamily="34" charset="0"/>
                <a:cs typeface="Sakkal Majalla" panose="02000000000000000000" pitchFamily="2" charset="-78"/>
                <a:sym typeface="Quicksand"/>
              </a:rPr>
              <a:t>دعم المدارس في تحقيق الاستثمار الأمثل للموارد المادية والبشرية المتاحة فيها.</a:t>
            </a:r>
          </a:p>
          <a:p>
            <a:pPr marL="241287" indent="-241287" algn="justLow" defTabSz="1625479">
              <a:lnSpc>
                <a:spcPct val="150000"/>
              </a:lnSpc>
              <a:buClr>
                <a:srgbClr val="FF6600"/>
              </a:buClr>
              <a:buFont typeface="Wingdings" panose="05000000000000000000" pitchFamily="2" charset="2"/>
              <a:buChar char="v"/>
              <a:defRPr/>
            </a:pPr>
            <a:r>
              <a:rPr lang="ar-SA" sz="2133" b="1" dirty="0">
                <a:solidFill>
                  <a:srgbClr val="3F007E"/>
                </a:solidFill>
                <a:latin typeface="Sakkal Majalla" panose="02000000000000000000" pitchFamily="2" charset="-78"/>
                <a:ea typeface="Samim" panose="020B0603030804020204" pitchFamily="34" charset="0"/>
                <a:cs typeface="Sakkal Majalla" panose="02000000000000000000" pitchFamily="2" charset="-78"/>
                <a:sym typeface="Quicksand"/>
              </a:rPr>
              <a:t>دعم التطوير والتحسين المستمر لأداء المدارس لتحقيق نواتج التعلم المستهدفة.</a:t>
            </a:r>
          </a:p>
          <a:p>
            <a:pPr marL="241287" indent="-241287" algn="justLow" defTabSz="1625479">
              <a:lnSpc>
                <a:spcPct val="150000"/>
              </a:lnSpc>
              <a:buClr>
                <a:srgbClr val="FF6600"/>
              </a:buClr>
              <a:buFont typeface="Wingdings" panose="05000000000000000000" pitchFamily="2" charset="2"/>
              <a:buChar char="v"/>
              <a:defRPr/>
            </a:pPr>
            <a:r>
              <a:rPr lang="ar-SA" sz="2133" b="1" dirty="0">
                <a:solidFill>
                  <a:srgbClr val="3F007E"/>
                </a:solidFill>
                <a:latin typeface="Sakkal Majalla" panose="02000000000000000000" pitchFamily="2" charset="-78"/>
                <a:ea typeface="Samim" panose="020B0603030804020204" pitchFamily="34" charset="0"/>
                <a:cs typeface="Sakkal Majalla" panose="02000000000000000000" pitchFamily="2" charset="-78"/>
                <a:sym typeface="Quicksand"/>
              </a:rPr>
              <a:t>دعم المدارس في إيجاد حلول مبتكرة وطرق إبداعية لتلبية احتياجاتها ومعالجة مشكلاتها.</a:t>
            </a:r>
          </a:p>
          <a:p>
            <a:pPr marL="241287" indent="-241287" algn="justLow" defTabSz="1625479">
              <a:lnSpc>
                <a:spcPct val="150000"/>
              </a:lnSpc>
              <a:buClr>
                <a:srgbClr val="FF6600"/>
              </a:buClr>
              <a:buFont typeface="Wingdings" panose="05000000000000000000" pitchFamily="2" charset="2"/>
              <a:buChar char="v"/>
              <a:defRPr/>
            </a:pPr>
            <a:r>
              <a:rPr lang="ar-SA" sz="2133" b="1" dirty="0">
                <a:solidFill>
                  <a:srgbClr val="3F007E"/>
                </a:solidFill>
                <a:latin typeface="Sakkal Majalla" panose="02000000000000000000" pitchFamily="2" charset="-78"/>
                <a:ea typeface="Samim" panose="020B0603030804020204" pitchFamily="34" charset="0"/>
                <a:cs typeface="Sakkal Majalla" panose="02000000000000000000" pitchFamily="2" charset="-78"/>
                <a:sym typeface="Quicksand"/>
              </a:rPr>
              <a:t> توفير بيانات موثوقة وشاملة عن أداء المدارس بأنواعها للمستفيدين. تساعد في اتخاذ القرارات وإدارة نظام التعليم بفاعلية.</a:t>
            </a:r>
          </a:p>
        </p:txBody>
      </p:sp>
    </p:spTree>
    <p:extLst>
      <p:ext uri="{BB962C8B-B14F-4D97-AF65-F5344CB8AC3E}">
        <p14:creationId xmlns:p14="http://schemas.microsoft.com/office/powerpoint/2010/main" val="25323181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barn(inVertical)">
                                      <p:cBhvr>
                                        <p:cTn id="7" dur="125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grpId="0" nodeType="clickEffect">
                                  <p:stCondLst>
                                    <p:cond delay="0"/>
                                  </p:stCondLst>
                                  <p:childTnLst>
                                    <p:set>
                                      <p:cBhvr>
                                        <p:cTn id="11" dur="1" fill="hold">
                                          <p:stCondLst>
                                            <p:cond delay="0"/>
                                          </p:stCondLst>
                                        </p:cTn>
                                        <p:tgtEl>
                                          <p:spTgt spid="25"/>
                                        </p:tgtEl>
                                        <p:attrNameLst>
                                          <p:attrName>style.visibility</p:attrName>
                                        </p:attrNameLst>
                                      </p:cBhvr>
                                      <p:to>
                                        <p:strVal val="visible"/>
                                      </p:to>
                                    </p:set>
                                    <p:animEffect transition="in" filter="barn(inVertical)">
                                      <p:cBhvr>
                                        <p:cTn id="12" dur="1250"/>
                                        <p:tgtEl>
                                          <p:spTgt spid="25"/>
                                        </p:tgtEl>
                                      </p:cBhvr>
                                    </p:animEffect>
                                  </p:childTnLst>
                                </p:cTn>
                              </p:par>
                            </p:childTnLst>
                          </p:cTn>
                        </p:par>
                      </p:childTnLst>
                    </p:cTn>
                  </p:par>
                  <p:par>
                    <p:cTn id="13" fill="hold">
                      <p:stCondLst>
                        <p:cond delay="indefinite"/>
                      </p:stCondLst>
                      <p:childTnLst>
                        <p:par>
                          <p:cTn id="14" fill="hold">
                            <p:stCondLst>
                              <p:cond delay="0"/>
                            </p:stCondLst>
                            <p:childTnLst>
                              <p:par>
                                <p:cTn id="15" presetID="16" presetClass="entr" presetSubtype="21" fill="hold"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barn(inVertical)">
                                      <p:cBhvr>
                                        <p:cTn id="17" dur="1000"/>
                                        <p:tgtEl>
                                          <p:spTgt spid="6"/>
                                        </p:tgtEl>
                                      </p:cBhvr>
                                    </p:animEffect>
                                  </p:childTnLst>
                                </p:cTn>
                              </p:par>
                            </p:childTnLst>
                          </p:cTn>
                        </p:par>
                      </p:childTnLst>
                    </p:cTn>
                  </p:par>
                  <p:par>
                    <p:cTn id="18" fill="hold">
                      <p:stCondLst>
                        <p:cond delay="indefinite"/>
                      </p:stCondLst>
                      <p:childTnLst>
                        <p:par>
                          <p:cTn id="19" fill="hold">
                            <p:stCondLst>
                              <p:cond delay="0"/>
                            </p:stCondLst>
                            <p:childTnLst>
                              <p:par>
                                <p:cTn id="20" presetID="16" presetClass="entr" presetSubtype="21" fill="hold" grpId="0" nodeType="clickEffect">
                                  <p:stCondLst>
                                    <p:cond delay="0"/>
                                  </p:stCondLst>
                                  <p:childTnLst>
                                    <p:set>
                                      <p:cBhvr>
                                        <p:cTn id="21" dur="1" fill="hold">
                                          <p:stCondLst>
                                            <p:cond delay="0"/>
                                          </p:stCondLst>
                                        </p:cTn>
                                        <p:tgtEl>
                                          <p:spTgt spid="2"/>
                                        </p:tgtEl>
                                        <p:attrNameLst>
                                          <p:attrName>style.visibility</p:attrName>
                                        </p:attrNameLst>
                                      </p:cBhvr>
                                      <p:to>
                                        <p:strVal val="visible"/>
                                      </p:to>
                                    </p:set>
                                    <p:animEffect transition="in" filter="barn(inVertical)">
                                      <p:cBhvr>
                                        <p:cTn id="22" dur="1250"/>
                                        <p:tgtEl>
                                          <p:spTgt spid="2"/>
                                        </p:tgtEl>
                                      </p:cBhvr>
                                    </p:animEffect>
                                  </p:childTnLst>
                                </p:cTn>
                              </p:par>
                            </p:childTnLst>
                          </p:cTn>
                        </p:par>
                      </p:childTnLst>
                    </p:cTn>
                  </p:par>
                  <p:par>
                    <p:cTn id="23" fill="hold">
                      <p:stCondLst>
                        <p:cond delay="indefinite"/>
                      </p:stCondLst>
                      <p:childTnLst>
                        <p:par>
                          <p:cTn id="24" fill="hold">
                            <p:stCondLst>
                              <p:cond delay="0"/>
                            </p:stCondLst>
                            <p:childTnLst>
                              <p:par>
                                <p:cTn id="25" presetID="16" presetClass="entr" presetSubtype="21" fill="hold" nodeType="click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barn(inVertical)">
                                      <p:cBhvr>
                                        <p:cTn id="27" dur="500"/>
                                        <p:tgtEl>
                                          <p:spTgt spid="8"/>
                                        </p:tgtEl>
                                      </p:cBhvr>
                                    </p:animEffect>
                                  </p:childTnLst>
                                </p:cTn>
                              </p:par>
                            </p:childTnLst>
                          </p:cTn>
                        </p:par>
                      </p:childTnLst>
                    </p:cTn>
                  </p:par>
                  <p:par>
                    <p:cTn id="28" fill="hold">
                      <p:stCondLst>
                        <p:cond delay="indefinite"/>
                      </p:stCondLst>
                      <p:childTnLst>
                        <p:par>
                          <p:cTn id="29" fill="hold">
                            <p:stCondLst>
                              <p:cond delay="0"/>
                            </p:stCondLst>
                            <p:childTnLst>
                              <p:par>
                                <p:cTn id="30" presetID="16" presetClass="entr" presetSubtype="21" fill="hold" grpId="0" nodeType="clickEffect">
                                  <p:stCondLst>
                                    <p:cond delay="0"/>
                                  </p:stCondLst>
                                  <p:childTnLst>
                                    <p:set>
                                      <p:cBhvr>
                                        <p:cTn id="31" dur="1" fill="hold">
                                          <p:stCondLst>
                                            <p:cond delay="0"/>
                                          </p:stCondLst>
                                        </p:cTn>
                                        <p:tgtEl>
                                          <p:spTgt spid="4"/>
                                        </p:tgtEl>
                                        <p:attrNameLst>
                                          <p:attrName>style.visibility</p:attrName>
                                        </p:attrNameLst>
                                      </p:cBhvr>
                                      <p:to>
                                        <p:strVal val="visible"/>
                                      </p:to>
                                    </p:set>
                                    <p:animEffect transition="in" filter="barn(inVertical)">
                                      <p:cBhvr>
                                        <p:cTn id="32" dur="500"/>
                                        <p:tgtEl>
                                          <p:spTgt spid="4"/>
                                        </p:tgtEl>
                                      </p:cBhvr>
                                    </p:animEffect>
                                  </p:childTnLst>
                                </p:cTn>
                              </p:par>
                            </p:childTnLst>
                          </p:cTn>
                        </p:par>
                      </p:childTnLst>
                    </p:cTn>
                  </p:par>
                  <p:par>
                    <p:cTn id="33" fill="hold">
                      <p:stCondLst>
                        <p:cond delay="indefinite"/>
                      </p:stCondLst>
                      <p:childTnLst>
                        <p:par>
                          <p:cTn id="34" fill="hold">
                            <p:stCondLst>
                              <p:cond delay="0"/>
                            </p:stCondLst>
                            <p:childTnLst>
                              <p:par>
                                <p:cTn id="35" presetID="47" presetClass="entr" presetSubtype="0" fill="hold" nodeType="clickEffect">
                                  <p:stCondLst>
                                    <p:cond delay="0"/>
                                  </p:stCondLst>
                                  <p:childTnLst>
                                    <p:set>
                                      <p:cBhvr>
                                        <p:cTn id="36" dur="1" fill="hold">
                                          <p:stCondLst>
                                            <p:cond delay="0"/>
                                          </p:stCondLst>
                                        </p:cTn>
                                        <p:tgtEl>
                                          <p:spTgt spid="11">
                                            <p:txEl>
                                              <p:pRg st="0" end="0"/>
                                            </p:txEl>
                                          </p:spTgt>
                                        </p:tgtEl>
                                        <p:attrNameLst>
                                          <p:attrName>style.visibility</p:attrName>
                                        </p:attrNameLst>
                                      </p:cBhvr>
                                      <p:to>
                                        <p:strVal val="visible"/>
                                      </p:to>
                                    </p:set>
                                    <p:animEffect transition="in" filter="fade">
                                      <p:cBhvr>
                                        <p:cTn id="37" dur="1000"/>
                                        <p:tgtEl>
                                          <p:spTgt spid="11">
                                            <p:txEl>
                                              <p:pRg st="0" end="0"/>
                                            </p:txEl>
                                          </p:spTgt>
                                        </p:tgtEl>
                                      </p:cBhvr>
                                    </p:animEffect>
                                    <p:anim calcmode="lin" valueType="num">
                                      <p:cBhvr>
                                        <p:cTn id="38" dur="1000" fill="hold"/>
                                        <p:tgtEl>
                                          <p:spTgt spid="11">
                                            <p:txEl>
                                              <p:pRg st="0" end="0"/>
                                            </p:txEl>
                                          </p:spTgt>
                                        </p:tgtEl>
                                        <p:attrNameLst>
                                          <p:attrName>ppt_x</p:attrName>
                                        </p:attrNameLst>
                                      </p:cBhvr>
                                      <p:tavLst>
                                        <p:tav tm="0">
                                          <p:val>
                                            <p:strVal val="#ppt_x"/>
                                          </p:val>
                                        </p:tav>
                                        <p:tav tm="100000">
                                          <p:val>
                                            <p:strVal val="#ppt_x"/>
                                          </p:val>
                                        </p:tav>
                                      </p:tavLst>
                                    </p:anim>
                                    <p:anim calcmode="lin" valueType="num">
                                      <p:cBhvr>
                                        <p:cTn id="39" dur="1000" fill="hold"/>
                                        <p:tgtEl>
                                          <p:spTgt spid="11">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40" fill="hold">
                      <p:stCondLst>
                        <p:cond delay="indefinite"/>
                      </p:stCondLst>
                      <p:childTnLst>
                        <p:par>
                          <p:cTn id="41" fill="hold">
                            <p:stCondLst>
                              <p:cond delay="0"/>
                            </p:stCondLst>
                            <p:childTnLst>
                              <p:par>
                                <p:cTn id="42" presetID="47" presetClass="entr" presetSubtype="0" fill="hold" nodeType="clickEffect">
                                  <p:stCondLst>
                                    <p:cond delay="0"/>
                                  </p:stCondLst>
                                  <p:childTnLst>
                                    <p:set>
                                      <p:cBhvr>
                                        <p:cTn id="43" dur="1" fill="hold">
                                          <p:stCondLst>
                                            <p:cond delay="0"/>
                                          </p:stCondLst>
                                        </p:cTn>
                                        <p:tgtEl>
                                          <p:spTgt spid="11">
                                            <p:txEl>
                                              <p:pRg st="1" end="1"/>
                                            </p:txEl>
                                          </p:spTgt>
                                        </p:tgtEl>
                                        <p:attrNameLst>
                                          <p:attrName>style.visibility</p:attrName>
                                        </p:attrNameLst>
                                      </p:cBhvr>
                                      <p:to>
                                        <p:strVal val="visible"/>
                                      </p:to>
                                    </p:set>
                                    <p:animEffect transition="in" filter="fade">
                                      <p:cBhvr>
                                        <p:cTn id="44" dur="1000"/>
                                        <p:tgtEl>
                                          <p:spTgt spid="11">
                                            <p:txEl>
                                              <p:pRg st="1" end="1"/>
                                            </p:txEl>
                                          </p:spTgt>
                                        </p:tgtEl>
                                      </p:cBhvr>
                                    </p:animEffect>
                                    <p:anim calcmode="lin" valueType="num">
                                      <p:cBhvr>
                                        <p:cTn id="45" dur="1000" fill="hold"/>
                                        <p:tgtEl>
                                          <p:spTgt spid="11">
                                            <p:txEl>
                                              <p:pRg st="1" end="1"/>
                                            </p:txEl>
                                          </p:spTgt>
                                        </p:tgtEl>
                                        <p:attrNameLst>
                                          <p:attrName>ppt_x</p:attrName>
                                        </p:attrNameLst>
                                      </p:cBhvr>
                                      <p:tavLst>
                                        <p:tav tm="0">
                                          <p:val>
                                            <p:strVal val="#ppt_x"/>
                                          </p:val>
                                        </p:tav>
                                        <p:tav tm="100000">
                                          <p:val>
                                            <p:strVal val="#ppt_x"/>
                                          </p:val>
                                        </p:tav>
                                      </p:tavLst>
                                    </p:anim>
                                    <p:anim calcmode="lin" valueType="num">
                                      <p:cBhvr>
                                        <p:cTn id="46" dur="1000" fill="hold"/>
                                        <p:tgtEl>
                                          <p:spTgt spid="11">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47" fill="hold">
                      <p:stCondLst>
                        <p:cond delay="indefinite"/>
                      </p:stCondLst>
                      <p:childTnLst>
                        <p:par>
                          <p:cTn id="48" fill="hold">
                            <p:stCondLst>
                              <p:cond delay="0"/>
                            </p:stCondLst>
                            <p:childTnLst>
                              <p:par>
                                <p:cTn id="49" presetID="47" presetClass="entr" presetSubtype="0" fill="hold" nodeType="clickEffect">
                                  <p:stCondLst>
                                    <p:cond delay="0"/>
                                  </p:stCondLst>
                                  <p:childTnLst>
                                    <p:set>
                                      <p:cBhvr>
                                        <p:cTn id="50" dur="1" fill="hold">
                                          <p:stCondLst>
                                            <p:cond delay="0"/>
                                          </p:stCondLst>
                                        </p:cTn>
                                        <p:tgtEl>
                                          <p:spTgt spid="11">
                                            <p:txEl>
                                              <p:pRg st="2" end="2"/>
                                            </p:txEl>
                                          </p:spTgt>
                                        </p:tgtEl>
                                        <p:attrNameLst>
                                          <p:attrName>style.visibility</p:attrName>
                                        </p:attrNameLst>
                                      </p:cBhvr>
                                      <p:to>
                                        <p:strVal val="visible"/>
                                      </p:to>
                                    </p:set>
                                    <p:animEffect transition="in" filter="fade">
                                      <p:cBhvr>
                                        <p:cTn id="51" dur="1000"/>
                                        <p:tgtEl>
                                          <p:spTgt spid="11">
                                            <p:txEl>
                                              <p:pRg st="2" end="2"/>
                                            </p:txEl>
                                          </p:spTgt>
                                        </p:tgtEl>
                                      </p:cBhvr>
                                    </p:animEffect>
                                    <p:anim calcmode="lin" valueType="num">
                                      <p:cBhvr>
                                        <p:cTn id="52" dur="1000" fill="hold"/>
                                        <p:tgtEl>
                                          <p:spTgt spid="11">
                                            <p:txEl>
                                              <p:pRg st="2" end="2"/>
                                            </p:txEl>
                                          </p:spTgt>
                                        </p:tgtEl>
                                        <p:attrNameLst>
                                          <p:attrName>ppt_x</p:attrName>
                                        </p:attrNameLst>
                                      </p:cBhvr>
                                      <p:tavLst>
                                        <p:tav tm="0">
                                          <p:val>
                                            <p:strVal val="#ppt_x"/>
                                          </p:val>
                                        </p:tav>
                                        <p:tav tm="100000">
                                          <p:val>
                                            <p:strVal val="#ppt_x"/>
                                          </p:val>
                                        </p:tav>
                                      </p:tavLst>
                                    </p:anim>
                                    <p:anim calcmode="lin" valueType="num">
                                      <p:cBhvr>
                                        <p:cTn id="53" dur="1000" fill="hold"/>
                                        <p:tgtEl>
                                          <p:spTgt spid="11">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54" fill="hold">
                      <p:stCondLst>
                        <p:cond delay="indefinite"/>
                      </p:stCondLst>
                      <p:childTnLst>
                        <p:par>
                          <p:cTn id="55" fill="hold">
                            <p:stCondLst>
                              <p:cond delay="0"/>
                            </p:stCondLst>
                            <p:childTnLst>
                              <p:par>
                                <p:cTn id="56" presetID="47" presetClass="entr" presetSubtype="0" fill="hold" nodeType="clickEffect">
                                  <p:stCondLst>
                                    <p:cond delay="0"/>
                                  </p:stCondLst>
                                  <p:childTnLst>
                                    <p:set>
                                      <p:cBhvr>
                                        <p:cTn id="57" dur="1" fill="hold">
                                          <p:stCondLst>
                                            <p:cond delay="0"/>
                                          </p:stCondLst>
                                        </p:cTn>
                                        <p:tgtEl>
                                          <p:spTgt spid="11">
                                            <p:txEl>
                                              <p:pRg st="3" end="3"/>
                                            </p:txEl>
                                          </p:spTgt>
                                        </p:tgtEl>
                                        <p:attrNameLst>
                                          <p:attrName>style.visibility</p:attrName>
                                        </p:attrNameLst>
                                      </p:cBhvr>
                                      <p:to>
                                        <p:strVal val="visible"/>
                                      </p:to>
                                    </p:set>
                                    <p:animEffect transition="in" filter="fade">
                                      <p:cBhvr>
                                        <p:cTn id="58" dur="1000"/>
                                        <p:tgtEl>
                                          <p:spTgt spid="11">
                                            <p:txEl>
                                              <p:pRg st="3" end="3"/>
                                            </p:txEl>
                                          </p:spTgt>
                                        </p:tgtEl>
                                      </p:cBhvr>
                                    </p:animEffect>
                                    <p:anim calcmode="lin" valueType="num">
                                      <p:cBhvr>
                                        <p:cTn id="59" dur="1000" fill="hold"/>
                                        <p:tgtEl>
                                          <p:spTgt spid="11">
                                            <p:txEl>
                                              <p:pRg st="3" end="3"/>
                                            </p:txEl>
                                          </p:spTgt>
                                        </p:tgtEl>
                                        <p:attrNameLst>
                                          <p:attrName>ppt_x</p:attrName>
                                        </p:attrNameLst>
                                      </p:cBhvr>
                                      <p:tavLst>
                                        <p:tav tm="0">
                                          <p:val>
                                            <p:strVal val="#ppt_x"/>
                                          </p:val>
                                        </p:tav>
                                        <p:tav tm="100000">
                                          <p:val>
                                            <p:strVal val="#ppt_x"/>
                                          </p:val>
                                        </p:tav>
                                      </p:tavLst>
                                    </p:anim>
                                    <p:anim calcmode="lin" valueType="num">
                                      <p:cBhvr>
                                        <p:cTn id="60" dur="1000" fill="hold"/>
                                        <p:tgtEl>
                                          <p:spTgt spid="11">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61" fill="hold">
                      <p:stCondLst>
                        <p:cond delay="indefinite"/>
                      </p:stCondLst>
                      <p:childTnLst>
                        <p:par>
                          <p:cTn id="62" fill="hold">
                            <p:stCondLst>
                              <p:cond delay="0"/>
                            </p:stCondLst>
                            <p:childTnLst>
                              <p:par>
                                <p:cTn id="63" presetID="47" presetClass="entr" presetSubtype="0" fill="hold" nodeType="clickEffect">
                                  <p:stCondLst>
                                    <p:cond delay="0"/>
                                  </p:stCondLst>
                                  <p:childTnLst>
                                    <p:set>
                                      <p:cBhvr>
                                        <p:cTn id="64" dur="1" fill="hold">
                                          <p:stCondLst>
                                            <p:cond delay="0"/>
                                          </p:stCondLst>
                                        </p:cTn>
                                        <p:tgtEl>
                                          <p:spTgt spid="11">
                                            <p:txEl>
                                              <p:pRg st="4" end="4"/>
                                            </p:txEl>
                                          </p:spTgt>
                                        </p:tgtEl>
                                        <p:attrNameLst>
                                          <p:attrName>style.visibility</p:attrName>
                                        </p:attrNameLst>
                                      </p:cBhvr>
                                      <p:to>
                                        <p:strVal val="visible"/>
                                      </p:to>
                                    </p:set>
                                    <p:animEffect transition="in" filter="fade">
                                      <p:cBhvr>
                                        <p:cTn id="65" dur="1000"/>
                                        <p:tgtEl>
                                          <p:spTgt spid="11">
                                            <p:txEl>
                                              <p:pRg st="4" end="4"/>
                                            </p:txEl>
                                          </p:spTgt>
                                        </p:tgtEl>
                                      </p:cBhvr>
                                    </p:animEffect>
                                    <p:anim calcmode="lin" valueType="num">
                                      <p:cBhvr>
                                        <p:cTn id="66" dur="1000" fill="hold"/>
                                        <p:tgtEl>
                                          <p:spTgt spid="11">
                                            <p:txEl>
                                              <p:pRg st="4" end="4"/>
                                            </p:txEl>
                                          </p:spTgt>
                                        </p:tgtEl>
                                        <p:attrNameLst>
                                          <p:attrName>ppt_x</p:attrName>
                                        </p:attrNameLst>
                                      </p:cBhvr>
                                      <p:tavLst>
                                        <p:tav tm="0">
                                          <p:val>
                                            <p:strVal val="#ppt_x"/>
                                          </p:val>
                                        </p:tav>
                                        <p:tav tm="100000">
                                          <p:val>
                                            <p:strVal val="#ppt_x"/>
                                          </p:val>
                                        </p:tav>
                                      </p:tavLst>
                                    </p:anim>
                                    <p:anim calcmode="lin" valueType="num">
                                      <p:cBhvr>
                                        <p:cTn id="67" dur="1000" fill="hold"/>
                                        <p:tgtEl>
                                          <p:spTgt spid="11">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68" fill="hold">
                      <p:stCondLst>
                        <p:cond delay="indefinite"/>
                      </p:stCondLst>
                      <p:childTnLst>
                        <p:par>
                          <p:cTn id="69" fill="hold">
                            <p:stCondLst>
                              <p:cond delay="0"/>
                            </p:stCondLst>
                            <p:childTnLst>
                              <p:par>
                                <p:cTn id="70" presetID="47" presetClass="entr" presetSubtype="0" fill="hold" nodeType="clickEffect">
                                  <p:stCondLst>
                                    <p:cond delay="0"/>
                                  </p:stCondLst>
                                  <p:childTnLst>
                                    <p:set>
                                      <p:cBhvr>
                                        <p:cTn id="71" dur="1" fill="hold">
                                          <p:stCondLst>
                                            <p:cond delay="0"/>
                                          </p:stCondLst>
                                        </p:cTn>
                                        <p:tgtEl>
                                          <p:spTgt spid="11">
                                            <p:txEl>
                                              <p:pRg st="5" end="5"/>
                                            </p:txEl>
                                          </p:spTgt>
                                        </p:tgtEl>
                                        <p:attrNameLst>
                                          <p:attrName>style.visibility</p:attrName>
                                        </p:attrNameLst>
                                      </p:cBhvr>
                                      <p:to>
                                        <p:strVal val="visible"/>
                                      </p:to>
                                    </p:set>
                                    <p:animEffect transition="in" filter="fade">
                                      <p:cBhvr>
                                        <p:cTn id="72" dur="1000"/>
                                        <p:tgtEl>
                                          <p:spTgt spid="11">
                                            <p:txEl>
                                              <p:pRg st="5" end="5"/>
                                            </p:txEl>
                                          </p:spTgt>
                                        </p:tgtEl>
                                      </p:cBhvr>
                                    </p:animEffect>
                                    <p:anim calcmode="lin" valueType="num">
                                      <p:cBhvr>
                                        <p:cTn id="73" dur="1000" fill="hold"/>
                                        <p:tgtEl>
                                          <p:spTgt spid="11">
                                            <p:txEl>
                                              <p:pRg st="5" end="5"/>
                                            </p:txEl>
                                          </p:spTgt>
                                        </p:tgtEl>
                                        <p:attrNameLst>
                                          <p:attrName>ppt_x</p:attrName>
                                        </p:attrNameLst>
                                      </p:cBhvr>
                                      <p:tavLst>
                                        <p:tav tm="0">
                                          <p:val>
                                            <p:strVal val="#ppt_x"/>
                                          </p:val>
                                        </p:tav>
                                        <p:tav tm="100000">
                                          <p:val>
                                            <p:strVal val="#ppt_x"/>
                                          </p:val>
                                        </p:tav>
                                      </p:tavLst>
                                    </p:anim>
                                    <p:anim calcmode="lin" valueType="num">
                                      <p:cBhvr>
                                        <p:cTn id="74" dur="1000" fill="hold"/>
                                        <p:tgtEl>
                                          <p:spTgt spid="11">
                                            <p:txEl>
                                              <p:pRg st="5" end="5"/>
                                            </p:txEl>
                                          </p:spTgt>
                                        </p:tgtEl>
                                        <p:attrNameLst>
                                          <p:attrName>ppt_y</p:attrName>
                                        </p:attrNameLst>
                                      </p:cBhvr>
                                      <p:tavLst>
                                        <p:tav tm="0">
                                          <p:val>
                                            <p:strVal val="#ppt_y-.1"/>
                                          </p:val>
                                        </p:tav>
                                        <p:tav tm="100000">
                                          <p:val>
                                            <p:strVal val="#ppt_y"/>
                                          </p:val>
                                        </p:tav>
                                      </p:tavLst>
                                    </p:anim>
                                  </p:childTnLst>
                                </p:cTn>
                              </p:par>
                            </p:childTnLst>
                          </p:cTn>
                        </p:par>
                      </p:childTnLst>
                    </p:cTn>
                  </p:par>
                  <p:par>
                    <p:cTn id="75" fill="hold">
                      <p:stCondLst>
                        <p:cond delay="indefinite"/>
                      </p:stCondLst>
                      <p:childTnLst>
                        <p:par>
                          <p:cTn id="76" fill="hold">
                            <p:stCondLst>
                              <p:cond delay="0"/>
                            </p:stCondLst>
                            <p:childTnLst>
                              <p:par>
                                <p:cTn id="77" presetID="47" presetClass="entr" presetSubtype="0" fill="hold" nodeType="clickEffect">
                                  <p:stCondLst>
                                    <p:cond delay="0"/>
                                  </p:stCondLst>
                                  <p:childTnLst>
                                    <p:set>
                                      <p:cBhvr>
                                        <p:cTn id="78" dur="1" fill="hold">
                                          <p:stCondLst>
                                            <p:cond delay="0"/>
                                          </p:stCondLst>
                                        </p:cTn>
                                        <p:tgtEl>
                                          <p:spTgt spid="11">
                                            <p:txEl>
                                              <p:pRg st="6" end="6"/>
                                            </p:txEl>
                                          </p:spTgt>
                                        </p:tgtEl>
                                        <p:attrNameLst>
                                          <p:attrName>style.visibility</p:attrName>
                                        </p:attrNameLst>
                                      </p:cBhvr>
                                      <p:to>
                                        <p:strVal val="visible"/>
                                      </p:to>
                                    </p:set>
                                    <p:animEffect transition="in" filter="fade">
                                      <p:cBhvr>
                                        <p:cTn id="79" dur="1000"/>
                                        <p:tgtEl>
                                          <p:spTgt spid="11">
                                            <p:txEl>
                                              <p:pRg st="6" end="6"/>
                                            </p:txEl>
                                          </p:spTgt>
                                        </p:tgtEl>
                                      </p:cBhvr>
                                    </p:animEffect>
                                    <p:anim calcmode="lin" valueType="num">
                                      <p:cBhvr>
                                        <p:cTn id="80" dur="1000" fill="hold"/>
                                        <p:tgtEl>
                                          <p:spTgt spid="11">
                                            <p:txEl>
                                              <p:pRg st="6" end="6"/>
                                            </p:txEl>
                                          </p:spTgt>
                                        </p:tgtEl>
                                        <p:attrNameLst>
                                          <p:attrName>ppt_x</p:attrName>
                                        </p:attrNameLst>
                                      </p:cBhvr>
                                      <p:tavLst>
                                        <p:tav tm="0">
                                          <p:val>
                                            <p:strVal val="#ppt_x"/>
                                          </p:val>
                                        </p:tav>
                                        <p:tav tm="100000">
                                          <p:val>
                                            <p:strVal val="#ppt_x"/>
                                          </p:val>
                                        </p:tav>
                                      </p:tavLst>
                                    </p:anim>
                                    <p:anim calcmode="lin" valueType="num">
                                      <p:cBhvr>
                                        <p:cTn id="81" dur="1000" fill="hold"/>
                                        <p:tgtEl>
                                          <p:spTgt spid="11">
                                            <p:txEl>
                                              <p:pRg st="6" end="6"/>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3" grpId="0" animBg="1"/>
      <p:bldP spid="4" grpId="0" animBg="1"/>
      <p:bldP spid="2"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Google Shape;3976;p29">
            <a:extLst>
              <a:ext uri="{FF2B5EF4-FFF2-40B4-BE49-F238E27FC236}">
                <a16:creationId xmlns:a16="http://schemas.microsoft.com/office/drawing/2014/main" id="{7CE7AF64-1642-26EE-4B0A-1BAEC5E12EC1}"/>
              </a:ext>
            </a:extLst>
          </p:cNvPr>
          <p:cNvSpPr txBox="1">
            <a:spLocks/>
          </p:cNvSpPr>
          <p:nvPr/>
        </p:nvSpPr>
        <p:spPr>
          <a:xfrm>
            <a:off x="2757053" y="263079"/>
            <a:ext cx="6761100" cy="523476"/>
          </a:xfrm>
          <a:prstGeom prst="rect">
            <a:avLst/>
          </a:prstGeom>
        </p:spPr>
        <p:txBody>
          <a:bodyPr spcFirstLastPara="1" wrap="square" lIns="91425" tIns="91425" rIns="91425" bIns="91425" anchor="b" anchorCtr="0">
            <a:noAutofit/>
          </a:bodyPr>
          <a:lstStyle>
            <a:lvl1pPr algn="r" defTabSz="914400" rtl="1" eaLnBrk="1" latinLnBrk="0" hangingPunct="1">
              <a:lnSpc>
                <a:spcPct val="90000"/>
              </a:lnSpc>
              <a:spcBef>
                <a:spcPct val="0"/>
              </a:spcBef>
              <a:buNone/>
              <a:defRPr sz="4400" kern="1200">
                <a:solidFill>
                  <a:schemeClr val="tx1"/>
                </a:solidFill>
                <a:latin typeface="+mj-lt"/>
                <a:ea typeface="+mj-ea"/>
                <a:cs typeface="+mj-cs"/>
              </a:defRPr>
            </a:lvl1pPr>
          </a:lstStyle>
          <a:p>
            <a:pPr algn="ctr">
              <a:spcBef>
                <a:spcPts val="0"/>
              </a:spcBef>
            </a:pPr>
            <a:r>
              <a:rPr lang="ar-SA" sz="3200" b="1" dirty="0">
                <a:solidFill>
                  <a:srgbClr val="002060"/>
                </a:solidFill>
                <a:latin typeface="Sakkal Majalla" panose="02000000000000000000" pitchFamily="2" charset="-78"/>
                <a:ea typeface="Samim" panose="020B0603030804020204" pitchFamily="34" charset="0"/>
                <a:cs typeface="Sakkal Majalla" panose="02000000000000000000" pitchFamily="2" charset="-78"/>
              </a:rPr>
              <a:t>التقويم المدرسي ( تقيم أداء المدارس )</a:t>
            </a:r>
            <a:endParaRPr lang="en-US" sz="3200" b="1" dirty="0">
              <a:solidFill>
                <a:srgbClr val="002060"/>
              </a:solidFill>
              <a:latin typeface="Sakkal Majalla" panose="02000000000000000000" pitchFamily="2" charset="-78"/>
              <a:ea typeface="Samim" panose="020B0603030804020204" pitchFamily="34" charset="0"/>
              <a:cs typeface="Sakkal Majalla" panose="02000000000000000000" pitchFamily="2" charset="-78"/>
            </a:endParaRPr>
          </a:p>
        </p:txBody>
      </p:sp>
      <p:sp>
        <p:nvSpPr>
          <p:cNvPr id="9" name="Google Shape;3978;p29">
            <a:extLst>
              <a:ext uri="{FF2B5EF4-FFF2-40B4-BE49-F238E27FC236}">
                <a16:creationId xmlns:a16="http://schemas.microsoft.com/office/drawing/2014/main" id="{76018162-8BCE-2464-0E85-5BB1A581EDCE}"/>
              </a:ext>
            </a:extLst>
          </p:cNvPr>
          <p:cNvSpPr/>
          <p:nvPr/>
        </p:nvSpPr>
        <p:spPr>
          <a:xfrm>
            <a:off x="6515600" y="1709598"/>
            <a:ext cx="4987135" cy="1801759"/>
          </a:xfrm>
          <a:prstGeom prst="rect">
            <a:avLst/>
          </a:prstGeom>
          <a:noFill/>
          <a:ln w="76200" cap="flat" cmpd="sng">
            <a:solidFill>
              <a:srgbClr val="0B87A1"/>
            </a:solidFill>
            <a:prstDash val="solid"/>
            <a:miter lim="8000"/>
            <a:headEnd type="none" w="sm" len="sm"/>
            <a:tailEnd type="none" w="sm" len="sm"/>
          </a:ln>
        </p:spPr>
        <p:txBody>
          <a:bodyPr spcFirstLastPara="1" wrap="square" lIns="91425" tIns="91425" rIns="91425" bIns="91425" anchor="t" anchorCtr="0">
            <a:noAutofit/>
          </a:bodyPr>
          <a:lstStyle/>
          <a:p>
            <a:pPr algn="justLow" defTabSz="914377" rtl="1" latinLnBrk="0"/>
            <a:r>
              <a:rPr lang="ar-SA" sz="2200" b="1" dirty="0">
                <a:solidFill>
                  <a:srgbClr val="003B55"/>
                </a:solidFill>
                <a:latin typeface="Sakkal Majalla" panose="02000000000000000000" pitchFamily="2" charset="-78"/>
                <a:ea typeface="Samim" panose="020B0603030804020204" pitchFamily="34" charset="0"/>
                <a:cs typeface="Sakkal Majalla" panose="02000000000000000000" pitchFamily="2" charset="-78"/>
                <a:sym typeface="Titillium Web Light"/>
              </a:rPr>
              <a:t>إجراءات تقوم بها المدرسة لمراقبة أدائها والتحقق من مدى فاعليته باستخدام  المعايير والأدوات المعتمدة من الهيئة لتمكين المدرسة من تطوير أدائها وتحسينه والوصول لمستوى التميز واستدامته.</a:t>
            </a:r>
            <a:endParaRPr sz="2200" b="1" dirty="0">
              <a:solidFill>
                <a:srgbClr val="003B55"/>
              </a:solidFill>
              <a:latin typeface="Sakkal Majalla" panose="02000000000000000000" pitchFamily="2" charset="-78"/>
              <a:ea typeface="Samim" panose="020B0603030804020204" pitchFamily="34" charset="0"/>
              <a:cs typeface="Sakkal Majalla" panose="02000000000000000000" pitchFamily="2" charset="-78"/>
              <a:sym typeface="Titillium Web Light"/>
            </a:endParaRPr>
          </a:p>
        </p:txBody>
      </p:sp>
      <p:sp>
        <p:nvSpPr>
          <p:cNvPr id="10" name="Google Shape;3979;p29">
            <a:extLst>
              <a:ext uri="{FF2B5EF4-FFF2-40B4-BE49-F238E27FC236}">
                <a16:creationId xmlns:a16="http://schemas.microsoft.com/office/drawing/2014/main" id="{3EA3BC4E-8968-3206-5D93-0B6108F213AC}"/>
              </a:ext>
            </a:extLst>
          </p:cNvPr>
          <p:cNvSpPr/>
          <p:nvPr/>
        </p:nvSpPr>
        <p:spPr>
          <a:xfrm>
            <a:off x="1073241" y="1709597"/>
            <a:ext cx="4987135" cy="1806488"/>
          </a:xfrm>
          <a:prstGeom prst="rect">
            <a:avLst/>
          </a:prstGeom>
          <a:noFill/>
          <a:ln w="76200" cap="flat" cmpd="sng">
            <a:solidFill>
              <a:srgbClr val="80BFB7"/>
            </a:solidFill>
            <a:prstDash val="solid"/>
            <a:miter lim="8000"/>
            <a:headEnd type="none" w="sm" len="sm"/>
            <a:tailEnd type="none" w="sm" len="sm"/>
          </a:ln>
        </p:spPr>
        <p:txBody>
          <a:bodyPr spcFirstLastPara="1" wrap="square" lIns="91425" tIns="91425" rIns="91425" bIns="91425" anchor="t" anchorCtr="0">
            <a:noAutofit/>
          </a:bodyPr>
          <a:lstStyle/>
          <a:p>
            <a:pPr algn="justLow" defTabSz="914377" rtl="1" latinLnBrk="0">
              <a:defRPr/>
            </a:pPr>
            <a:r>
              <a:rPr lang="ar-SA" sz="2200" b="1" dirty="0">
                <a:solidFill>
                  <a:srgbClr val="003B55"/>
                </a:solidFill>
                <a:latin typeface="Sakkal Majalla" panose="02000000000000000000" pitchFamily="2" charset="-78"/>
                <a:ea typeface="Samim" panose="020B0603030804020204" pitchFamily="34" charset="0"/>
                <a:cs typeface="Sakkal Majalla" panose="02000000000000000000" pitchFamily="2" charset="-78"/>
                <a:sym typeface="Titillium Web Light"/>
              </a:rPr>
              <a:t>عمليات وإجراءات يقوم بها فريق التقويم الخارجي التابعة لهيئة تقويم التعليم. لتقويم مستوى أداء المدرسة وقياس جودة مخرجاتها باستخدام الأدوات والمعايير المعتمدة من الهيئة للتقويم المدرسي لتمكين المدرسة من تطوير أدائها وتحسينه واستدامة التميز بها.</a:t>
            </a:r>
          </a:p>
        </p:txBody>
      </p:sp>
      <p:cxnSp>
        <p:nvCxnSpPr>
          <p:cNvPr id="11" name="Google Shape;3981;p29">
            <a:extLst>
              <a:ext uri="{FF2B5EF4-FFF2-40B4-BE49-F238E27FC236}">
                <a16:creationId xmlns:a16="http://schemas.microsoft.com/office/drawing/2014/main" id="{81E9AEE1-C56A-8CDC-B078-6933C65BB824}"/>
              </a:ext>
            </a:extLst>
          </p:cNvPr>
          <p:cNvCxnSpPr>
            <a:cxnSpLocks/>
          </p:cNvCxnSpPr>
          <p:nvPr/>
        </p:nvCxnSpPr>
        <p:spPr>
          <a:xfrm>
            <a:off x="6091548" y="2391166"/>
            <a:ext cx="396000" cy="0"/>
          </a:xfrm>
          <a:prstGeom prst="straightConnector1">
            <a:avLst/>
          </a:prstGeom>
          <a:ln w="19050">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Google Shape;1542;p53">
            <a:extLst>
              <a:ext uri="{FF2B5EF4-FFF2-40B4-BE49-F238E27FC236}">
                <a16:creationId xmlns:a16="http://schemas.microsoft.com/office/drawing/2014/main" id="{49178DD5-383F-A807-EDFD-C8F3F2ECA858}"/>
              </a:ext>
            </a:extLst>
          </p:cNvPr>
          <p:cNvSpPr txBox="1"/>
          <p:nvPr/>
        </p:nvSpPr>
        <p:spPr>
          <a:xfrm>
            <a:off x="7213096" y="1155577"/>
            <a:ext cx="4289639" cy="446551"/>
          </a:xfrm>
          <a:prstGeom prst="rect">
            <a:avLst/>
          </a:prstGeom>
          <a:solidFill>
            <a:srgbClr val="7030A0"/>
          </a:solidFill>
          <a:ln>
            <a:solidFill>
              <a:srgbClr val="5A60F1"/>
            </a:solidFill>
          </a:ln>
        </p:spPr>
        <p:txBody>
          <a:bodyPr spcFirstLastPara="1" wrap="square" lIns="121900" tIns="121900" rIns="121900" bIns="121900" anchor="ctr" anchorCtr="0">
            <a:noAutofit/>
          </a:bodyPr>
          <a:lstStyle/>
          <a:p>
            <a:pPr algn="ctr" defTabSz="1219140" rtl="1" latinLnBrk="0">
              <a:defRPr/>
            </a:pPr>
            <a:r>
              <a:rPr lang="ar-SA" sz="2400" b="1" kern="0" dirty="0">
                <a:solidFill>
                  <a:schemeClr val="bg1"/>
                </a:solidFill>
                <a:latin typeface="Sakkal Majalla" panose="02000000000000000000" pitchFamily="2" charset="-78"/>
                <a:ea typeface="Samim" panose="020B0603030804020204" pitchFamily="34" charset="0"/>
                <a:cs typeface="Sakkal Majalla" panose="02000000000000000000" pitchFamily="2" charset="-78"/>
                <a:sym typeface="Fira Sans Extra Condensed SemiBold"/>
              </a:rPr>
              <a:t>التقويم الذاتي لأداء المدرسة</a:t>
            </a:r>
            <a:endParaRPr sz="2400" b="1" kern="0" dirty="0">
              <a:solidFill>
                <a:schemeClr val="bg1"/>
              </a:solidFill>
              <a:latin typeface="Sakkal Majalla" panose="02000000000000000000" pitchFamily="2" charset="-78"/>
              <a:ea typeface="Samim" panose="020B0603030804020204" pitchFamily="34" charset="0"/>
              <a:cs typeface="Sakkal Majalla" panose="02000000000000000000" pitchFamily="2" charset="-78"/>
              <a:sym typeface="Fira Sans Extra Condensed SemiBold"/>
            </a:endParaRPr>
          </a:p>
        </p:txBody>
      </p:sp>
      <p:sp>
        <p:nvSpPr>
          <p:cNvPr id="14" name="Google Shape;1542;p53">
            <a:extLst>
              <a:ext uri="{FF2B5EF4-FFF2-40B4-BE49-F238E27FC236}">
                <a16:creationId xmlns:a16="http://schemas.microsoft.com/office/drawing/2014/main" id="{53E37A95-ECBF-9A86-9761-DA9A28F47A86}"/>
              </a:ext>
            </a:extLst>
          </p:cNvPr>
          <p:cNvSpPr txBox="1"/>
          <p:nvPr/>
        </p:nvSpPr>
        <p:spPr>
          <a:xfrm>
            <a:off x="1073241" y="1156867"/>
            <a:ext cx="4289639" cy="446551"/>
          </a:xfrm>
          <a:prstGeom prst="rect">
            <a:avLst/>
          </a:prstGeom>
          <a:solidFill>
            <a:srgbClr val="7030A0"/>
          </a:solidFill>
          <a:ln>
            <a:solidFill>
              <a:srgbClr val="5A60F1"/>
            </a:solidFill>
          </a:ln>
        </p:spPr>
        <p:txBody>
          <a:bodyPr spcFirstLastPara="1" wrap="square" lIns="121900" tIns="121900" rIns="121900" bIns="121900" anchor="ctr" anchorCtr="0">
            <a:noAutofit/>
          </a:bodyPr>
          <a:lstStyle/>
          <a:p>
            <a:pPr algn="ctr" defTabSz="1219140" rtl="1" latinLnBrk="0">
              <a:defRPr/>
            </a:pPr>
            <a:r>
              <a:rPr lang="ar-SA" sz="2400" b="1" kern="0" dirty="0">
                <a:solidFill>
                  <a:schemeClr val="bg1"/>
                </a:solidFill>
                <a:latin typeface="Sakkal Majalla" panose="02000000000000000000" pitchFamily="2" charset="-78"/>
                <a:ea typeface="Samim" panose="020B0603030804020204" pitchFamily="34" charset="0"/>
                <a:cs typeface="Sakkal Majalla" panose="02000000000000000000" pitchFamily="2" charset="-78"/>
                <a:sym typeface="Fira Sans Extra Condensed SemiBold"/>
              </a:rPr>
              <a:t>التقويم الخارجي لأداء المدرسة</a:t>
            </a:r>
            <a:endParaRPr sz="2400" b="1" kern="0" dirty="0">
              <a:solidFill>
                <a:schemeClr val="bg1"/>
              </a:solidFill>
              <a:latin typeface="Sakkal Majalla" panose="02000000000000000000" pitchFamily="2" charset="-78"/>
              <a:ea typeface="Samim" panose="020B0603030804020204" pitchFamily="34" charset="0"/>
              <a:cs typeface="Sakkal Majalla" panose="02000000000000000000" pitchFamily="2" charset="-78"/>
              <a:sym typeface="Fira Sans Extra Condensed SemiBold"/>
            </a:endParaRPr>
          </a:p>
        </p:txBody>
      </p:sp>
      <p:grpSp>
        <p:nvGrpSpPr>
          <p:cNvPr id="15" name="Google Shape;1483;p50">
            <a:extLst>
              <a:ext uri="{FF2B5EF4-FFF2-40B4-BE49-F238E27FC236}">
                <a16:creationId xmlns:a16="http://schemas.microsoft.com/office/drawing/2014/main" id="{EFE8EAAA-6AC0-9FB0-76F8-0061E8D4A5E4}"/>
              </a:ext>
            </a:extLst>
          </p:cNvPr>
          <p:cNvGrpSpPr/>
          <p:nvPr/>
        </p:nvGrpSpPr>
        <p:grpSpPr>
          <a:xfrm>
            <a:off x="5791689" y="839241"/>
            <a:ext cx="1080120" cy="812752"/>
            <a:chOff x="5292575" y="3681900"/>
            <a:chExt cx="420150" cy="373275"/>
          </a:xfrm>
        </p:grpSpPr>
        <p:sp>
          <p:nvSpPr>
            <p:cNvPr id="16" name="Google Shape;1484;p50">
              <a:extLst>
                <a:ext uri="{FF2B5EF4-FFF2-40B4-BE49-F238E27FC236}">
                  <a16:creationId xmlns:a16="http://schemas.microsoft.com/office/drawing/2014/main" id="{43A9068C-6C84-4E4F-9826-091550E81056}"/>
                </a:ext>
              </a:extLst>
            </p:cNvPr>
            <p:cNvSpPr/>
            <p:nvPr/>
          </p:nvSpPr>
          <p:spPr>
            <a:xfrm>
              <a:off x="5292575" y="3706875"/>
              <a:ext cx="420150" cy="266700"/>
            </a:xfrm>
            <a:custGeom>
              <a:avLst/>
              <a:gdLst/>
              <a:ahLst/>
              <a:cxnLst/>
              <a:rect l="l" t="t" r="r" b="b"/>
              <a:pathLst>
                <a:path w="16806" h="10668" fill="none" extrusionOk="0">
                  <a:moveTo>
                    <a:pt x="16319" y="0"/>
                  </a:moveTo>
                  <a:lnTo>
                    <a:pt x="488" y="0"/>
                  </a:lnTo>
                  <a:lnTo>
                    <a:pt x="488" y="0"/>
                  </a:lnTo>
                  <a:lnTo>
                    <a:pt x="390" y="0"/>
                  </a:lnTo>
                  <a:lnTo>
                    <a:pt x="293" y="25"/>
                  </a:lnTo>
                  <a:lnTo>
                    <a:pt x="196" y="73"/>
                  </a:lnTo>
                  <a:lnTo>
                    <a:pt x="123" y="146"/>
                  </a:lnTo>
                  <a:lnTo>
                    <a:pt x="74" y="219"/>
                  </a:lnTo>
                  <a:lnTo>
                    <a:pt x="25" y="292"/>
                  </a:lnTo>
                  <a:lnTo>
                    <a:pt x="1" y="390"/>
                  </a:lnTo>
                  <a:lnTo>
                    <a:pt x="1" y="487"/>
                  </a:lnTo>
                  <a:lnTo>
                    <a:pt x="1" y="10181"/>
                  </a:lnTo>
                  <a:lnTo>
                    <a:pt x="1" y="10181"/>
                  </a:lnTo>
                  <a:lnTo>
                    <a:pt x="1" y="10278"/>
                  </a:lnTo>
                  <a:lnTo>
                    <a:pt x="25" y="10375"/>
                  </a:lnTo>
                  <a:lnTo>
                    <a:pt x="74" y="10448"/>
                  </a:lnTo>
                  <a:lnTo>
                    <a:pt x="123" y="10522"/>
                  </a:lnTo>
                  <a:lnTo>
                    <a:pt x="196" y="10570"/>
                  </a:lnTo>
                  <a:lnTo>
                    <a:pt x="293" y="10619"/>
                  </a:lnTo>
                  <a:lnTo>
                    <a:pt x="390" y="10643"/>
                  </a:lnTo>
                  <a:lnTo>
                    <a:pt x="488" y="10668"/>
                  </a:lnTo>
                  <a:lnTo>
                    <a:pt x="16319" y="10668"/>
                  </a:lnTo>
                  <a:lnTo>
                    <a:pt x="16319" y="10668"/>
                  </a:lnTo>
                  <a:lnTo>
                    <a:pt x="16416" y="10643"/>
                  </a:lnTo>
                  <a:lnTo>
                    <a:pt x="16513" y="10619"/>
                  </a:lnTo>
                  <a:lnTo>
                    <a:pt x="16611" y="10570"/>
                  </a:lnTo>
                  <a:lnTo>
                    <a:pt x="16684" y="10522"/>
                  </a:lnTo>
                  <a:lnTo>
                    <a:pt x="16733" y="10448"/>
                  </a:lnTo>
                  <a:lnTo>
                    <a:pt x="16781" y="10375"/>
                  </a:lnTo>
                  <a:lnTo>
                    <a:pt x="16806" y="10278"/>
                  </a:lnTo>
                  <a:lnTo>
                    <a:pt x="16806" y="10181"/>
                  </a:lnTo>
                  <a:lnTo>
                    <a:pt x="16806" y="487"/>
                  </a:lnTo>
                  <a:lnTo>
                    <a:pt x="16806" y="487"/>
                  </a:lnTo>
                  <a:lnTo>
                    <a:pt x="16806" y="390"/>
                  </a:lnTo>
                  <a:lnTo>
                    <a:pt x="16781" y="292"/>
                  </a:lnTo>
                  <a:lnTo>
                    <a:pt x="16733" y="219"/>
                  </a:lnTo>
                  <a:lnTo>
                    <a:pt x="16684" y="146"/>
                  </a:lnTo>
                  <a:lnTo>
                    <a:pt x="16611" y="73"/>
                  </a:lnTo>
                  <a:lnTo>
                    <a:pt x="16513" y="25"/>
                  </a:lnTo>
                  <a:lnTo>
                    <a:pt x="16416" y="0"/>
                  </a:lnTo>
                  <a:lnTo>
                    <a:pt x="16319" y="0"/>
                  </a:lnTo>
                  <a:lnTo>
                    <a:pt x="16319" y="0"/>
                  </a:lnTo>
                  <a:close/>
                </a:path>
              </a:pathLst>
            </a:custGeom>
            <a:noFill/>
            <a:ln w="12175" cap="rnd" cmpd="sng">
              <a:solidFill>
                <a:srgbClr val="4472C4"/>
              </a:solidFill>
              <a:prstDash val="solid"/>
              <a:round/>
              <a:headEnd type="none" w="sm" len="sm"/>
              <a:tailEnd type="none" w="sm" len="sm"/>
            </a:ln>
          </p:spPr>
          <p:txBody>
            <a:bodyPr spcFirstLastPara="1" wrap="square" lIns="91425" tIns="91425" rIns="91425" bIns="91425" anchor="ctr" anchorCtr="0">
              <a:noAutofit/>
            </a:bodyPr>
            <a:lstStyle/>
            <a:p>
              <a:pPr defTabSz="914377" latinLnBrk="0">
                <a:defRPr/>
              </a:pPr>
              <a:endParaRPr kern="0">
                <a:solidFill>
                  <a:prstClr val="black"/>
                </a:solidFill>
                <a:latin typeface="Calibri" panose="020F0502020204030204"/>
              </a:endParaRPr>
            </a:p>
          </p:txBody>
        </p:sp>
        <p:sp>
          <p:nvSpPr>
            <p:cNvPr id="17" name="Google Shape;1485;p50">
              <a:extLst>
                <a:ext uri="{FF2B5EF4-FFF2-40B4-BE49-F238E27FC236}">
                  <a16:creationId xmlns:a16="http://schemas.microsoft.com/office/drawing/2014/main" id="{0F5C37B8-81AC-52A6-1EF9-11B7E4565618}"/>
                </a:ext>
              </a:extLst>
            </p:cNvPr>
            <p:cNvSpPr/>
            <p:nvPr/>
          </p:nvSpPr>
          <p:spPr>
            <a:xfrm>
              <a:off x="5490475" y="3681900"/>
              <a:ext cx="24375" cy="25000"/>
            </a:xfrm>
            <a:custGeom>
              <a:avLst/>
              <a:gdLst/>
              <a:ahLst/>
              <a:cxnLst/>
              <a:rect l="l" t="t" r="r" b="b"/>
              <a:pathLst>
                <a:path w="975" h="1000" fill="none" extrusionOk="0">
                  <a:moveTo>
                    <a:pt x="974" y="999"/>
                  </a:moveTo>
                  <a:lnTo>
                    <a:pt x="974" y="488"/>
                  </a:lnTo>
                  <a:lnTo>
                    <a:pt x="974" y="488"/>
                  </a:lnTo>
                  <a:lnTo>
                    <a:pt x="974" y="390"/>
                  </a:lnTo>
                  <a:lnTo>
                    <a:pt x="926" y="293"/>
                  </a:lnTo>
                  <a:lnTo>
                    <a:pt x="901" y="220"/>
                  </a:lnTo>
                  <a:lnTo>
                    <a:pt x="828" y="147"/>
                  </a:lnTo>
                  <a:lnTo>
                    <a:pt x="755" y="74"/>
                  </a:lnTo>
                  <a:lnTo>
                    <a:pt x="682" y="49"/>
                  </a:lnTo>
                  <a:lnTo>
                    <a:pt x="585" y="1"/>
                  </a:lnTo>
                  <a:lnTo>
                    <a:pt x="487" y="1"/>
                  </a:lnTo>
                  <a:lnTo>
                    <a:pt x="487" y="1"/>
                  </a:lnTo>
                  <a:lnTo>
                    <a:pt x="390" y="1"/>
                  </a:lnTo>
                  <a:lnTo>
                    <a:pt x="292" y="49"/>
                  </a:lnTo>
                  <a:lnTo>
                    <a:pt x="219" y="74"/>
                  </a:lnTo>
                  <a:lnTo>
                    <a:pt x="146" y="147"/>
                  </a:lnTo>
                  <a:lnTo>
                    <a:pt x="73" y="220"/>
                  </a:lnTo>
                  <a:lnTo>
                    <a:pt x="49" y="293"/>
                  </a:lnTo>
                  <a:lnTo>
                    <a:pt x="0" y="390"/>
                  </a:lnTo>
                  <a:lnTo>
                    <a:pt x="0" y="488"/>
                  </a:lnTo>
                  <a:lnTo>
                    <a:pt x="0" y="999"/>
                  </a:lnTo>
                </a:path>
              </a:pathLst>
            </a:custGeom>
            <a:noFill/>
            <a:ln w="12175" cap="rnd" cmpd="sng">
              <a:solidFill>
                <a:srgbClr val="4472C4"/>
              </a:solidFill>
              <a:prstDash val="solid"/>
              <a:round/>
              <a:headEnd type="none" w="sm" len="sm"/>
              <a:tailEnd type="none" w="sm" len="sm"/>
            </a:ln>
          </p:spPr>
          <p:txBody>
            <a:bodyPr spcFirstLastPara="1" wrap="square" lIns="91425" tIns="91425" rIns="91425" bIns="91425" anchor="ctr" anchorCtr="0">
              <a:noAutofit/>
            </a:bodyPr>
            <a:lstStyle/>
            <a:p>
              <a:pPr defTabSz="914377" latinLnBrk="0">
                <a:defRPr/>
              </a:pPr>
              <a:endParaRPr kern="0">
                <a:solidFill>
                  <a:prstClr val="black"/>
                </a:solidFill>
                <a:latin typeface="Calibri" panose="020F0502020204030204"/>
              </a:endParaRPr>
            </a:p>
          </p:txBody>
        </p:sp>
        <p:sp>
          <p:nvSpPr>
            <p:cNvPr id="18" name="Google Shape;1486;p50">
              <a:extLst>
                <a:ext uri="{FF2B5EF4-FFF2-40B4-BE49-F238E27FC236}">
                  <a16:creationId xmlns:a16="http://schemas.microsoft.com/office/drawing/2014/main" id="{CE8A7885-14B2-FE7D-80AD-5E32FA8A198A}"/>
                </a:ext>
              </a:extLst>
            </p:cNvPr>
            <p:cNvSpPr/>
            <p:nvPr/>
          </p:nvSpPr>
          <p:spPr>
            <a:xfrm>
              <a:off x="5358350" y="3973550"/>
              <a:ext cx="60900" cy="81625"/>
            </a:xfrm>
            <a:custGeom>
              <a:avLst/>
              <a:gdLst/>
              <a:ahLst/>
              <a:cxnLst/>
              <a:rect l="l" t="t" r="r" b="b"/>
              <a:pathLst>
                <a:path w="2436" h="3265" fill="none" extrusionOk="0">
                  <a:moveTo>
                    <a:pt x="1340" y="1"/>
                  </a:moveTo>
                  <a:lnTo>
                    <a:pt x="49" y="2558"/>
                  </a:lnTo>
                  <a:lnTo>
                    <a:pt x="49" y="2558"/>
                  </a:lnTo>
                  <a:lnTo>
                    <a:pt x="24" y="2631"/>
                  </a:lnTo>
                  <a:lnTo>
                    <a:pt x="0" y="2728"/>
                  </a:lnTo>
                  <a:lnTo>
                    <a:pt x="0" y="2826"/>
                  </a:lnTo>
                  <a:lnTo>
                    <a:pt x="24" y="2923"/>
                  </a:lnTo>
                  <a:lnTo>
                    <a:pt x="73" y="2996"/>
                  </a:lnTo>
                  <a:lnTo>
                    <a:pt x="122" y="3094"/>
                  </a:lnTo>
                  <a:lnTo>
                    <a:pt x="195" y="3142"/>
                  </a:lnTo>
                  <a:lnTo>
                    <a:pt x="268" y="3215"/>
                  </a:lnTo>
                  <a:lnTo>
                    <a:pt x="268" y="3215"/>
                  </a:lnTo>
                  <a:lnTo>
                    <a:pt x="390" y="3240"/>
                  </a:lnTo>
                  <a:lnTo>
                    <a:pt x="487" y="3264"/>
                  </a:lnTo>
                  <a:lnTo>
                    <a:pt x="487" y="3264"/>
                  </a:lnTo>
                  <a:lnTo>
                    <a:pt x="633" y="3240"/>
                  </a:lnTo>
                  <a:lnTo>
                    <a:pt x="755" y="3191"/>
                  </a:lnTo>
                  <a:lnTo>
                    <a:pt x="853" y="3094"/>
                  </a:lnTo>
                  <a:lnTo>
                    <a:pt x="926" y="2996"/>
                  </a:lnTo>
                  <a:lnTo>
                    <a:pt x="2436" y="1"/>
                  </a:lnTo>
                </a:path>
              </a:pathLst>
            </a:custGeom>
            <a:noFill/>
            <a:ln w="12175" cap="rnd" cmpd="sng">
              <a:solidFill>
                <a:srgbClr val="4472C4"/>
              </a:solidFill>
              <a:prstDash val="solid"/>
              <a:round/>
              <a:headEnd type="none" w="sm" len="sm"/>
              <a:tailEnd type="none" w="sm" len="sm"/>
            </a:ln>
          </p:spPr>
          <p:txBody>
            <a:bodyPr spcFirstLastPara="1" wrap="square" lIns="91425" tIns="91425" rIns="91425" bIns="91425" anchor="ctr" anchorCtr="0">
              <a:noAutofit/>
            </a:bodyPr>
            <a:lstStyle/>
            <a:p>
              <a:pPr defTabSz="914377" latinLnBrk="0">
                <a:defRPr/>
              </a:pPr>
              <a:endParaRPr kern="0">
                <a:solidFill>
                  <a:prstClr val="black"/>
                </a:solidFill>
                <a:latin typeface="Calibri" panose="020F0502020204030204"/>
              </a:endParaRPr>
            </a:p>
          </p:txBody>
        </p:sp>
        <p:sp>
          <p:nvSpPr>
            <p:cNvPr id="19" name="Google Shape;1487;p50">
              <a:extLst>
                <a:ext uri="{FF2B5EF4-FFF2-40B4-BE49-F238E27FC236}">
                  <a16:creationId xmlns:a16="http://schemas.microsoft.com/office/drawing/2014/main" id="{EFB89698-1401-BEF6-5FCE-C53C5E1D640C}"/>
                </a:ext>
              </a:extLst>
            </p:cNvPr>
            <p:cNvSpPr/>
            <p:nvPr/>
          </p:nvSpPr>
          <p:spPr>
            <a:xfrm>
              <a:off x="5586050" y="3973550"/>
              <a:ext cx="60925" cy="81625"/>
            </a:xfrm>
            <a:custGeom>
              <a:avLst/>
              <a:gdLst/>
              <a:ahLst/>
              <a:cxnLst/>
              <a:rect l="l" t="t" r="r" b="b"/>
              <a:pathLst>
                <a:path w="2437" h="3265" fill="none" extrusionOk="0">
                  <a:moveTo>
                    <a:pt x="1" y="1"/>
                  </a:moveTo>
                  <a:lnTo>
                    <a:pt x="1511" y="2996"/>
                  </a:lnTo>
                  <a:lnTo>
                    <a:pt x="1511" y="2996"/>
                  </a:lnTo>
                  <a:lnTo>
                    <a:pt x="1584" y="3094"/>
                  </a:lnTo>
                  <a:lnTo>
                    <a:pt x="1681" y="3191"/>
                  </a:lnTo>
                  <a:lnTo>
                    <a:pt x="1803" y="3240"/>
                  </a:lnTo>
                  <a:lnTo>
                    <a:pt x="1949" y="3264"/>
                  </a:lnTo>
                  <a:lnTo>
                    <a:pt x="1949" y="3264"/>
                  </a:lnTo>
                  <a:lnTo>
                    <a:pt x="2047" y="3240"/>
                  </a:lnTo>
                  <a:lnTo>
                    <a:pt x="2168" y="3215"/>
                  </a:lnTo>
                  <a:lnTo>
                    <a:pt x="2168" y="3215"/>
                  </a:lnTo>
                  <a:lnTo>
                    <a:pt x="2241" y="3142"/>
                  </a:lnTo>
                  <a:lnTo>
                    <a:pt x="2315" y="3094"/>
                  </a:lnTo>
                  <a:lnTo>
                    <a:pt x="2363" y="2996"/>
                  </a:lnTo>
                  <a:lnTo>
                    <a:pt x="2412" y="2923"/>
                  </a:lnTo>
                  <a:lnTo>
                    <a:pt x="2436" y="2826"/>
                  </a:lnTo>
                  <a:lnTo>
                    <a:pt x="2436" y="2728"/>
                  </a:lnTo>
                  <a:lnTo>
                    <a:pt x="2412" y="2631"/>
                  </a:lnTo>
                  <a:lnTo>
                    <a:pt x="2388" y="2558"/>
                  </a:lnTo>
                  <a:lnTo>
                    <a:pt x="1097" y="1"/>
                  </a:lnTo>
                </a:path>
              </a:pathLst>
            </a:custGeom>
            <a:noFill/>
            <a:ln w="12175" cap="rnd" cmpd="sng">
              <a:solidFill>
                <a:srgbClr val="4472C4"/>
              </a:solidFill>
              <a:prstDash val="solid"/>
              <a:round/>
              <a:headEnd type="none" w="sm" len="sm"/>
              <a:tailEnd type="none" w="sm" len="sm"/>
            </a:ln>
          </p:spPr>
          <p:txBody>
            <a:bodyPr spcFirstLastPara="1" wrap="square" lIns="91425" tIns="91425" rIns="91425" bIns="91425" anchor="ctr" anchorCtr="0">
              <a:noAutofit/>
            </a:bodyPr>
            <a:lstStyle/>
            <a:p>
              <a:pPr defTabSz="914377" latinLnBrk="0">
                <a:defRPr/>
              </a:pPr>
              <a:endParaRPr kern="0">
                <a:solidFill>
                  <a:prstClr val="black"/>
                </a:solidFill>
                <a:latin typeface="Calibri" panose="020F0502020204030204"/>
              </a:endParaRPr>
            </a:p>
          </p:txBody>
        </p:sp>
        <p:sp>
          <p:nvSpPr>
            <p:cNvPr id="20" name="Google Shape;1488;p50">
              <a:extLst>
                <a:ext uri="{FF2B5EF4-FFF2-40B4-BE49-F238E27FC236}">
                  <a16:creationId xmlns:a16="http://schemas.microsoft.com/office/drawing/2014/main" id="{4466D14D-E653-C24B-0B91-6DF7CF69F297}"/>
                </a:ext>
              </a:extLst>
            </p:cNvPr>
            <p:cNvSpPr/>
            <p:nvPr/>
          </p:nvSpPr>
          <p:spPr>
            <a:xfrm>
              <a:off x="5316925" y="3731225"/>
              <a:ext cx="371450" cy="218000"/>
            </a:xfrm>
            <a:custGeom>
              <a:avLst/>
              <a:gdLst/>
              <a:ahLst/>
              <a:cxnLst/>
              <a:rect l="l" t="t" r="r" b="b"/>
              <a:pathLst>
                <a:path w="14858" h="8720" fill="none" extrusionOk="0">
                  <a:moveTo>
                    <a:pt x="1" y="0"/>
                  </a:moveTo>
                  <a:lnTo>
                    <a:pt x="1" y="8719"/>
                  </a:lnTo>
                  <a:lnTo>
                    <a:pt x="14857" y="8719"/>
                  </a:lnTo>
                  <a:lnTo>
                    <a:pt x="14857" y="0"/>
                  </a:lnTo>
                  <a:lnTo>
                    <a:pt x="1" y="0"/>
                  </a:lnTo>
                  <a:close/>
                </a:path>
              </a:pathLst>
            </a:custGeom>
            <a:noFill/>
            <a:ln w="12175" cap="rnd" cmpd="sng">
              <a:solidFill>
                <a:srgbClr val="4472C4"/>
              </a:solidFill>
              <a:prstDash val="solid"/>
              <a:round/>
              <a:headEnd type="none" w="sm" len="sm"/>
              <a:tailEnd type="none" w="sm" len="sm"/>
            </a:ln>
          </p:spPr>
          <p:txBody>
            <a:bodyPr spcFirstLastPara="1" wrap="square" lIns="91425" tIns="91425" rIns="91425" bIns="91425" anchor="ctr" anchorCtr="0">
              <a:noAutofit/>
            </a:bodyPr>
            <a:lstStyle/>
            <a:p>
              <a:pPr defTabSz="914377" latinLnBrk="0">
                <a:defRPr/>
              </a:pPr>
              <a:endParaRPr kern="0">
                <a:solidFill>
                  <a:prstClr val="black"/>
                </a:solidFill>
                <a:latin typeface="Calibri" panose="020F0502020204030204"/>
              </a:endParaRPr>
            </a:p>
          </p:txBody>
        </p:sp>
        <p:sp>
          <p:nvSpPr>
            <p:cNvPr id="21" name="Google Shape;1489;p50">
              <a:extLst>
                <a:ext uri="{FF2B5EF4-FFF2-40B4-BE49-F238E27FC236}">
                  <a16:creationId xmlns:a16="http://schemas.microsoft.com/office/drawing/2014/main" id="{2D2F8509-741F-BA15-0805-2508A7699A8D}"/>
                </a:ext>
              </a:extLst>
            </p:cNvPr>
            <p:cNvSpPr/>
            <p:nvPr/>
          </p:nvSpPr>
          <p:spPr>
            <a:xfrm>
              <a:off x="5380250" y="3784800"/>
              <a:ext cx="230200" cy="115725"/>
            </a:xfrm>
            <a:custGeom>
              <a:avLst/>
              <a:gdLst/>
              <a:ahLst/>
              <a:cxnLst/>
              <a:rect l="l" t="t" r="r" b="b"/>
              <a:pathLst>
                <a:path w="9208" h="4629" fill="none" extrusionOk="0">
                  <a:moveTo>
                    <a:pt x="9207" y="1"/>
                  </a:moveTo>
                  <a:lnTo>
                    <a:pt x="5213" y="3995"/>
                  </a:lnTo>
                  <a:lnTo>
                    <a:pt x="5213" y="3995"/>
                  </a:lnTo>
                  <a:lnTo>
                    <a:pt x="5140" y="4044"/>
                  </a:lnTo>
                  <a:lnTo>
                    <a:pt x="5067" y="4092"/>
                  </a:lnTo>
                  <a:lnTo>
                    <a:pt x="4969" y="4117"/>
                  </a:lnTo>
                  <a:lnTo>
                    <a:pt x="4872" y="4141"/>
                  </a:lnTo>
                  <a:lnTo>
                    <a:pt x="4774" y="4117"/>
                  </a:lnTo>
                  <a:lnTo>
                    <a:pt x="4677" y="4092"/>
                  </a:lnTo>
                  <a:lnTo>
                    <a:pt x="4604" y="4044"/>
                  </a:lnTo>
                  <a:lnTo>
                    <a:pt x="4531" y="3995"/>
                  </a:lnTo>
                  <a:lnTo>
                    <a:pt x="2582" y="2046"/>
                  </a:lnTo>
                  <a:lnTo>
                    <a:pt x="1" y="4628"/>
                  </a:lnTo>
                </a:path>
              </a:pathLst>
            </a:custGeom>
            <a:solidFill>
              <a:srgbClr val="FF0000"/>
            </a:solidFill>
            <a:ln w="19050" cap="rnd" cmpd="sng">
              <a:solidFill>
                <a:srgbClr val="00B050"/>
              </a:solidFill>
              <a:prstDash val="solid"/>
              <a:round/>
              <a:headEnd type="none" w="sm" len="sm"/>
              <a:tailEnd type="none" w="sm" len="sm"/>
            </a:ln>
          </p:spPr>
          <p:txBody>
            <a:bodyPr spcFirstLastPara="1" wrap="square" lIns="91425" tIns="91425" rIns="91425" bIns="91425" anchor="ctr" anchorCtr="0">
              <a:noAutofit/>
            </a:bodyPr>
            <a:lstStyle/>
            <a:p>
              <a:pPr defTabSz="914377" latinLnBrk="0">
                <a:defRPr/>
              </a:pPr>
              <a:endParaRPr kern="0" dirty="0">
                <a:solidFill>
                  <a:prstClr val="black"/>
                </a:solidFill>
                <a:latin typeface="Calibri" panose="020F0502020204030204"/>
              </a:endParaRPr>
            </a:p>
          </p:txBody>
        </p:sp>
        <p:sp>
          <p:nvSpPr>
            <p:cNvPr id="22" name="Google Shape;1490;p50">
              <a:extLst>
                <a:ext uri="{FF2B5EF4-FFF2-40B4-BE49-F238E27FC236}">
                  <a16:creationId xmlns:a16="http://schemas.microsoft.com/office/drawing/2014/main" id="{53001E87-BF80-2797-2860-FCCDBCAAA70B}"/>
                </a:ext>
              </a:extLst>
            </p:cNvPr>
            <p:cNvSpPr/>
            <p:nvPr/>
          </p:nvSpPr>
          <p:spPr>
            <a:xfrm>
              <a:off x="5547700" y="3779925"/>
              <a:ext cx="68825" cy="68825"/>
            </a:xfrm>
            <a:custGeom>
              <a:avLst/>
              <a:gdLst/>
              <a:ahLst/>
              <a:cxnLst/>
              <a:rect l="l" t="t" r="r" b="b"/>
              <a:pathLst>
                <a:path w="2753" h="2753" fill="none" extrusionOk="0">
                  <a:moveTo>
                    <a:pt x="0" y="1"/>
                  </a:moveTo>
                  <a:lnTo>
                    <a:pt x="2265" y="1"/>
                  </a:lnTo>
                  <a:lnTo>
                    <a:pt x="2265" y="1"/>
                  </a:lnTo>
                  <a:lnTo>
                    <a:pt x="2363" y="1"/>
                  </a:lnTo>
                  <a:lnTo>
                    <a:pt x="2460" y="25"/>
                  </a:lnTo>
                  <a:lnTo>
                    <a:pt x="2533" y="74"/>
                  </a:lnTo>
                  <a:lnTo>
                    <a:pt x="2606" y="147"/>
                  </a:lnTo>
                  <a:lnTo>
                    <a:pt x="2680" y="220"/>
                  </a:lnTo>
                  <a:lnTo>
                    <a:pt x="2728" y="293"/>
                  </a:lnTo>
                  <a:lnTo>
                    <a:pt x="2753" y="390"/>
                  </a:lnTo>
                  <a:lnTo>
                    <a:pt x="2753" y="488"/>
                  </a:lnTo>
                  <a:lnTo>
                    <a:pt x="2753" y="2753"/>
                  </a:lnTo>
                </a:path>
              </a:pathLst>
            </a:custGeom>
            <a:noFill/>
            <a:ln w="19050" cap="rnd" cmpd="sng">
              <a:solidFill>
                <a:srgbClr val="00B050"/>
              </a:solidFill>
              <a:prstDash val="solid"/>
              <a:round/>
              <a:headEnd type="none" w="sm" len="sm"/>
              <a:tailEnd type="none" w="sm" len="sm"/>
            </a:ln>
          </p:spPr>
          <p:txBody>
            <a:bodyPr spcFirstLastPara="1" wrap="square" lIns="91425" tIns="91425" rIns="91425" bIns="91425" anchor="ctr" anchorCtr="0">
              <a:noAutofit/>
            </a:bodyPr>
            <a:lstStyle/>
            <a:p>
              <a:pPr defTabSz="914377" latinLnBrk="0">
                <a:defRPr/>
              </a:pPr>
              <a:endParaRPr kern="0" dirty="0">
                <a:solidFill>
                  <a:prstClr val="black"/>
                </a:solidFill>
                <a:latin typeface="Calibri" panose="020F0502020204030204"/>
              </a:endParaRPr>
            </a:p>
          </p:txBody>
        </p:sp>
      </p:grpSp>
      <p:sp>
        <p:nvSpPr>
          <p:cNvPr id="23" name="مربع نص 22">
            <a:extLst>
              <a:ext uri="{FF2B5EF4-FFF2-40B4-BE49-F238E27FC236}">
                <a16:creationId xmlns:a16="http://schemas.microsoft.com/office/drawing/2014/main" id="{178E5196-BDAE-45B0-7EFD-8FE3E6D3C8E6}"/>
              </a:ext>
            </a:extLst>
          </p:cNvPr>
          <p:cNvSpPr txBox="1"/>
          <p:nvPr/>
        </p:nvSpPr>
        <p:spPr>
          <a:xfrm>
            <a:off x="6530876" y="3900640"/>
            <a:ext cx="4956581" cy="1938992"/>
          </a:xfrm>
          <a:prstGeom prst="rect">
            <a:avLst/>
          </a:prstGeom>
          <a:noFill/>
        </p:spPr>
        <p:txBody>
          <a:bodyPr wrap="square">
            <a:spAutoFit/>
          </a:bodyPr>
          <a:lstStyle/>
          <a:p>
            <a:pPr algn="justLow" defTabSz="914377" rtl="1" latinLnBrk="0"/>
            <a:r>
              <a:rPr lang="ar-SA" sz="2000" b="1" dirty="0">
                <a:solidFill>
                  <a:srgbClr val="FF0066"/>
                </a:solidFill>
                <a:latin typeface="Sakkal Majalla" panose="02000000000000000000" pitchFamily="2" charset="-78"/>
                <a:ea typeface="Samim" panose="020B0603030804020204" pitchFamily="34" charset="0"/>
                <a:cs typeface="Sakkal Majalla" panose="02000000000000000000" pitchFamily="2" charset="-78"/>
              </a:rPr>
              <a:t>التقويـم الذاتـي للمدرسة: </a:t>
            </a:r>
            <a:r>
              <a:rPr lang="ar-SA" sz="2000" b="1" dirty="0">
                <a:solidFill>
                  <a:srgbClr val="003B55"/>
                </a:solidFill>
                <a:latin typeface="Sakkal Majalla" panose="02000000000000000000" pitchFamily="2" charset="-78"/>
                <a:ea typeface="Samim" panose="020B0603030804020204" pitchFamily="34" charset="0"/>
                <a:cs typeface="Sakkal Majalla" panose="02000000000000000000" pitchFamily="2" charset="-78"/>
              </a:rPr>
              <a:t>مرحلـة مـن مراحـل التقويـم المدرسـي التـي تسـبق التقويـم الخارجـي، وذلـك لتهيئـة المـدارس ونشــر ثقافــة التقويــم فيهــا، وتمكينهــا مــن تطويــر أدائهــا وتحســينه، واســتدامة التميــز، بمــا يســهم فــي رفــع جــودة الأداء التعليمـي، والوصـول بمخرجاتـه إلـى المنافسـة الدوليـة، وتحقيـق أهـداف رؤيـة المملكـة ،2030وبرنامـج تنميـة القــدرات البشــرية.</a:t>
            </a:r>
          </a:p>
        </p:txBody>
      </p:sp>
      <p:sp>
        <p:nvSpPr>
          <p:cNvPr id="24" name="Google Shape;1542;p53">
            <a:extLst>
              <a:ext uri="{FF2B5EF4-FFF2-40B4-BE49-F238E27FC236}">
                <a16:creationId xmlns:a16="http://schemas.microsoft.com/office/drawing/2014/main" id="{A693C639-E080-B7F0-FFD3-C97F84EAD289}"/>
              </a:ext>
            </a:extLst>
          </p:cNvPr>
          <p:cNvSpPr txBox="1"/>
          <p:nvPr/>
        </p:nvSpPr>
        <p:spPr>
          <a:xfrm>
            <a:off x="1073239" y="4118518"/>
            <a:ext cx="4289639" cy="446551"/>
          </a:xfrm>
          <a:prstGeom prst="rect">
            <a:avLst/>
          </a:prstGeom>
          <a:solidFill>
            <a:srgbClr val="7030A0"/>
          </a:solidFill>
          <a:ln>
            <a:solidFill>
              <a:srgbClr val="5A60F1"/>
            </a:solidFill>
          </a:ln>
        </p:spPr>
        <p:txBody>
          <a:bodyPr spcFirstLastPara="1" wrap="square" lIns="121900" tIns="121900" rIns="121900" bIns="121900" anchor="ctr" anchorCtr="0">
            <a:noAutofit/>
          </a:bodyPr>
          <a:lstStyle/>
          <a:p>
            <a:pPr algn="ctr" defTabSz="1219140" rtl="1" latinLnBrk="0">
              <a:defRPr/>
            </a:pPr>
            <a:r>
              <a:rPr lang="ar-SA" sz="2800" b="1" kern="0" dirty="0">
                <a:solidFill>
                  <a:schemeClr val="bg1"/>
                </a:solidFill>
                <a:latin typeface="Sakkal Majalla" panose="02000000000000000000" pitchFamily="2" charset="-78"/>
                <a:ea typeface="Samim" panose="020B0603030804020204" pitchFamily="34" charset="0"/>
                <a:cs typeface="Sakkal Majalla" panose="02000000000000000000" pitchFamily="2" charset="-78"/>
                <a:sym typeface="Fira Sans Extra Condensed SemiBold"/>
              </a:rPr>
              <a:t>الاعتماد المدرسي</a:t>
            </a:r>
            <a:endParaRPr sz="2800" b="1" kern="0" dirty="0">
              <a:solidFill>
                <a:schemeClr val="bg1"/>
              </a:solidFill>
              <a:latin typeface="Sakkal Majalla" panose="02000000000000000000" pitchFamily="2" charset="-78"/>
              <a:ea typeface="Samim" panose="020B0603030804020204" pitchFamily="34" charset="0"/>
              <a:cs typeface="Sakkal Majalla" panose="02000000000000000000" pitchFamily="2" charset="-78"/>
              <a:sym typeface="Fira Sans Extra Condensed SemiBold"/>
            </a:endParaRPr>
          </a:p>
        </p:txBody>
      </p:sp>
      <p:sp>
        <p:nvSpPr>
          <p:cNvPr id="25" name="مربع نص 24">
            <a:extLst>
              <a:ext uri="{FF2B5EF4-FFF2-40B4-BE49-F238E27FC236}">
                <a16:creationId xmlns:a16="http://schemas.microsoft.com/office/drawing/2014/main" id="{4F502DE8-7554-8750-24C9-C9419118EEC1}"/>
              </a:ext>
            </a:extLst>
          </p:cNvPr>
          <p:cNvSpPr txBox="1"/>
          <p:nvPr/>
        </p:nvSpPr>
        <p:spPr>
          <a:xfrm>
            <a:off x="1073240" y="4870136"/>
            <a:ext cx="4289639" cy="1015663"/>
          </a:xfrm>
          <a:prstGeom prst="rect">
            <a:avLst/>
          </a:prstGeom>
          <a:noFill/>
        </p:spPr>
        <p:txBody>
          <a:bodyPr wrap="square">
            <a:spAutoFit/>
          </a:bodyPr>
          <a:lstStyle/>
          <a:p>
            <a:pPr algn="justLow" defTabSz="914377" rtl="1" latinLnBrk="0"/>
            <a:r>
              <a:rPr lang="ar-SA" sz="2000" b="1" dirty="0">
                <a:solidFill>
                  <a:srgbClr val="3F007E"/>
                </a:solidFill>
                <a:latin typeface="Sakkal Majalla" panose="02000000000000000000" pitchFamily="2" charset="-78"/>
                <a:ea typeface="Samim" panose="020B0603030804020204" pitchFamily="34" charset="0"/>
                <a:cs typeface="Sakkal Majalla" panose="02000000000000000000" pitchFamily="2" charset="-78"/>
              </a:rPr>
              <a:t>اعتراف رسمي تمنحه الهيئة أو جهة مرخصة منها بأن المدرسة الأهلية أو العالمية قد استوفت شروط الاعتماد المدرسي ومعاييره المعتمدة لفترة زمنية محددة.</a:t>
            </a:r>
          </a:p>
        </p:txBody>
      </p:sp>
    </p:spTree>
    <p:extLst>
      <p:ext uri="{BB962C8B-B14F-4D97-AF65-F5344CB8AC3E}">
        <p14:creationId xmlns:p14="http://schemas.microsoft.com/office/powerpoint/2010/main" val="3587428746"/>
      </p:ext>
    </p:extLst>
  </p:cSld>
  <p:clrMapOvr>
    <a:masterClrMapping/>
  </p:clrMapOvr>
  <mc:AlternateContent xmlns:mc="http://schemas.openxmlformats.org/markup-compatibility/2006" xmlns:p14="http://schemas.microsoft.com/office/powerpoint/2010/main">
    <mc:Choice Requires="p14">
      <p:transition spd="slow" p14:dur="1200">
        <p14:prism dir="r"/>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barn(inVertical)">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nodeType="click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barn(inVertical)">
                                      <p:cBhvr>
                                        <p:cTn id="12" dur="500"/>
                                        <p:tgtEl>
                                          <p:spTgt spid="15"/>
                                        </p:tgtEl>
                                      </p:cBhvr>
                                    </p:animEffect>
                                  </p:childTnLst>
                                </p:cTn>
                              </p:par>
                            </p:childTnLst>
                          </p:cTn>
                        </p:par>
                      </p:childTnLst>
                    </p:cTn>
                  </p:par>
                  <p:par>
                    <p:cTn id="13" fill="hold">
                      <p:stCondLst>
                        <p:cond delay="indefinite"/>
                      </p:stCondLst>
                      <p:childTnLst>
                        <p:par>
                          <p:cTn id="14" fill="hold">
                            <p:stCondLst>
                              <p:cond delay="0"/>
                            </p:stCondLst>
                            <p:childTnLst>
                              <p:par>
                                <p:cTn id="15" presetID="16" presetClass="entr" presetSubtype="21" fill="hold" grpId="0" nodeType="click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barn(inVertical)">
                                      <p:cBhvr>
                                        <p:cTn id="17" dur="500"/>
                                        <p:tgtEl>
                                          <p:spTgt spid="12"/>
                                        </p:tgtEl>
                                      </p:cBhvr>
                                    </p:animEffect>
                                  </p:childTnLst>
                                </p:cTn>
                              </p:par>
                            </p:childTnLst>
                          </p:cTn>
                        </p:par>
                      </p:childTnLst>
                    </p:cTn>
                  </p:par>
                  <p:par>
                    <p:cTn id="18" fill="hold">
                      <p:stCondLst>
                        <p:cond delay="indefinite"/>
                      </p:stCondLst>
                      <p:childTnLst>
                        <p:par>
                          <p:cTn id="19" fill="hold">
                            <p:stCondLst>
                              <p:cond delay="0"/>
                            </p:stCondLst>
                            <p:childTnLst>
                              <p:par>
                                <p:cTn id="20" presetID="16" presetClass="entr" presetSubtype="21" fill="hold" grpId="0" nodeType="clickEffect">
                                  <p:stCondLst>
                                    <p:cond delay="0"/>
                                  </p:stCondLst>
                                  <p:childTnLst>
                                    <p:set>
                                      <p:cBhvr>
                                        <p:cTn id="21" dur="1" fill="hold">
                                          <p:stCondLst>
                                            <p:cond delay="0"/>
                                          </p:stCondLst>
                                        </p:cTn>
                                        <p:tgtEl>
                                          <p:spTgt spid="14"/>
                                        </p:tgtEl>
                                        <p:attrNameLst>
                                          <p:attrName>style.visibility</p:attrName>
                                        </p:attrNameLst>
                                      </p:cBhvr>
                                      <p:to>
                                        <p:strVal val="visible"/>
                                      </p:to>
                                    </p:set>
                                    <p:animEffect transition="in" filter="barn(inVertical)">
                                      <p:cBhvr>
                                        <p:cTn id="22" dur="500"/>
                                        <p:tgtEl>
                                          <p:spTgt spid="14"/>
                                        </p:tgtEl>
                                      </p:cBhvr>
                                    </p:animEffect>
                                  </p:childTnLst>
                                </p:cTn>
                              </p:par>
                            </p:childTnLst>
                          </p:cTn>
                        </p:par>
                      </p:childTnLst>
                    </p:cTn>
                  </p:par>
                  <p:par>
                    <p:cTn id="23" fill="hold">
                      <p:stCondLst>
                        <p:cond delay="indefinite"/>
                      </p:stCondLst>
                      <p:childTnLst>
                        <p:par>
                          <p:cTn id="24" fill="hold">
                            <p:stCondLst>
                              <p:cond delay="0"/>
                            </p:stCondLst>
                            <p:childTnLst>
                              <p:par>
                                <p:cTn id="25" presetID="16" presetClass="entr" presetSubtype="21" fill="hold" grpId="0" nodeType="click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barn(inVertical)">
                                      <p:cBhvr>
                                        <p:cTn id="27" dur="500"/>
                                        <p:tgtEl>
                                          <p:spTgt spid="9"/>
                                        </p:tgtEl>
                                      </p:cBhvr>
                                    </p:animEffect>
                                  </p:childTnLst>
                                </p:cTn>
                              </p:par>
                            </p:childTnLst>
                          </p:cTn>
                        </p:par>
                      </p:childTnLst>
                    </p:cTn>
                  </p:par>
                  <p:par>
                    <p:cTn id="28" fill="hold">
                      <p:stCondLst>
                        <p:cond delay="indefinite"/>
                      </p:stCondLst>
                      <p:childTnLst>
                        <p:par>
                          <p:cTn id="29" fill="hold">
                            <p:stCondLst>
                              <p:cond delay="0"/>
                            </p:stCondLst>
                            <p:childTnLst>
                              <p:par>
                                <p:cTn id="30" presetID="16" presetClass="entr" presetSubtype="21" fill="hold" nodeType="click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barn(inVertical)">
                                      <p:cBhvr>
                                        <p:cTn id="32" dur="500"/>
                                        <p:tgtEl>
                                          <p:spTgt spid="11"/>
                                        </p:tgtEl>
                                      </p:cBhvr>
                                    </p:animEffect>
                                  </p:childTnLst>
                                </p:cTn>
                              </p:par>
                            </p:childTnLst>
                          </p:cTn>
                        </p:par>
                      </p:childTnLst>
                    </p:cTn>
                  </p:par>
                  <p:par>
                    <p:cTn id="33" fill="hold">
                      <p:stCondLst>
                        <p:cond delay="indefinite"/>
                      </p:stCondLst>
                      <p:childTnLst>
                        <p:par>
                          <p:cTn id="34" fill="hold">
                            <p:stCondLst>
                              <p:cond delay="0"/>
                            </p:stCondLst>
                            <p:childTnLst>
                              <p:par>
                                <p:cTn id="35" presetID="16" presetClass="entr" presetSubtype="21" fill="hold" grpId="0" nodeType="clickEffect">
                                  <p:stCondLst>
                                    <p:cond delay="0"/>
                                  </p:stCondLst>
                                  <p:childTnLst>
                                    <p:set>
                                      <p:cBhvr>
                                        <p:cTn id="36" dur="1" fill="hold">
                                          <p:stCondLst>
                                            <p:cond delay="0"/>
                                          </p:stCondLst>
                                        </p:cTn>
                                        <p:tgtEl>
                                          <p:spTgt spid="10"/>
                                        </p:tgtEl>
                                        <p:attrNameLst>
                                          <p:attrName>style.visibility</p:attrName>
                                        </p:attrNameLst>
                                      </p:cBhvr>
                                      <p:to>
                                        <p:strVal val="visible"/>
                                      </p:to>
                                    </p:set>
                                    <p:animEffect transition="in" filter="barn(inVertical)">
                                      <p:cBhvr>
                                        <p:cTn id="37" dur="500"/>
                                        <p:tgtEl>
                                          <p:spTgt spid="10"/>
                                        </p:tgtEl>
                                      </p:cBhvr>
                                    </p:animEffect>
                                  </p:childTnLst>
                                </p:cTn>
                              </p:par>
                            </p:childTnLst>
                          </p:cTn>
                        </p:par>
                      </p:childTnLst>
                    </p:cTn>
                  </p:par>
                  <p:par>
                    <p:cTn id="38" fill="hold">
                      <p:stCondLst>
                        <p:cond delay="indefinite"/>
                      </p:stCondLst>
                      <p:childTnLst>
                        <p:par>
                          <p:cTn id="39" fill="hold">
                            <p:stCondLst>
                              <p:cond delay="0"/>
                            </p:stCondLst>
                            <p:childTnLst>
                              <p:par>
                                <p:cTn id="40" presetID="16" presetClass="entr" presetSubtype="21" fill="hold" grpId="0" nodeType="clickEffect">
                                  <p:stCondLst>
                                    <p:cond delay="0"/>
                                  </p:stCondLst>
                                  <p:childTnLst>
                                    <p:set>
                                      <p:cBhvr>
                                        <p:cTn id="41" dur="1" fill="hold">
                                          <p:stCondLst>
                                            <p:cond delay="0"/>
                                          </p:stCondLst>
                                        </p:cTn>
                                        <p:tgtEl>
                                          <p:spTgt spid="23"/>
                                        </p:tgtEl>
                                        <p:attrNameLst>
                                          <p:attrName>style.visibility</p:attrName>
                                        </p:attrNameLst>
                                      </p:cBhvr>
                                      <p:to>
                                        <p:strVal val="visible"/>
                                      </p:to>
                                    </p:set>
                                    <p:animEffect transition="in" filter="barn(inVertical)">
                                      <p:cBhvr>
                                        <p:cTn id="42" dur="500"/>
                                        <p:tgtEl>
                                          <p:spTgt spid="23"/>
                                        </p:tgtEl>
                                      </p:cBhvr>
                                    </p:animEffect>
                                  </p:childTnLst>
                                </p:cTn>
                              </p:par>
                            </p:childTnLst>
                          </p:cTn>
                        </p:par>
                      </p:childTnLst>
                    </p:cTn>
                  </p:par>
                  <p:par>
                    <p:cTn id="43" fill="hold">
                      <p:stCondLst>
                        <p:cond delay="indefinite"/>
                      </p:stCondLst>
                      <p:childTnLst>
                        <p:par>
                          <p:cTn id="44" fill="hold">
                            <p:stCondLst>
                              <p:cond delay="0"/>
                            </p:stCondLst>
                            <p:childTnLst>
                              <p:par>
                                <p:cTn id="45" presetID="16" presetClass="entr" presetSubtype="21" fill="hold" grpId="0" nodeType="clickEffect">
                                  <p:stCondLst>
                                    <p:cond delay="0"/>
                                  </p:stCondLst>
                                  <p:childTnLst>
                                    <p:set>
                                      <p:cBhvr>
                                        <p:cTn id="46" dur="1" fill="hold">
                                          <p:stCondLst>
                                            <p:cond delay="0"/>
                                          </p:stCondLst>
                                        </p:cTn>
                                        <p:tgtEl>
                                          <p:spTgt spid="24"/>
                                        </p:tgtEl>
                                        <p:attrNameLst>
                                          <p:attrName>style.visibility</p:attrName>
                                        </p:attrNameLst>
                                      </p:cBhvr>
                                      <p:to>
                                        <p:strVal val="visible"/>
                                      </p:to>
                                    </p:set>
                                    <p:animEffect transition="in" filter="barn(inVertical)">
                                      <p:cBhvr>
                                        <p:cTn id="47" dur="500"/>
                                        <p:tgtEl>
                                          <p:spTgt spid="24"/>
                                        </p:tgtEl>
                                      </p:cBhvr>
                                    </p:animEffect>
                                  </p:childTnLst>
                                </p:cTn>
                              </p:par>
                            </p:childTnLst>
                          </p:cTn>
                        </p:par>
                      </p:childTnLst>
                    </p:cTn>
                  </p:par>
                  <p:par>
                    <p:cTn id="48" fill="hold">
                      <p:stCondLst>
                        <p:cond delay="indefinite"/>
                      </p:stCondLst>
                      <p:childTnLst>
                        <p:par>
                          <p:cTn id="49" fill="hold">
                            <p:stCondLst>
                              <p:cond delay="0"/>
                            </p:stCondLst>
                            <p:childTnLst>
                              <p:par>
                                <p:cTn id="50" presetID="16" presetClass="entr" presetSubtype="21" fill="hold" grpId="0" nodeType="clickEffect">
                                  <p:stCondLst>
                                    <p:cond delay="0"/>
                                  </p:stCondLst>
                                  <p:childTnLst>
                                    <p:set>
                                      <p:cBhvr>
                                        <p:cTn id="51" dur="1" fill="hold">
                                          <p:stCondLst>
                                            <p:cond delay="0"/>
                                          </p:stCondLst>
                                        </p:cTn>
                                        <p:tgtEl>
                                          <p:spTgt spid="25"/>
                                        </p:tgtEl>
                                        <p:attrNameLst>
                                          <p:attrName>style.visibility</p:attrName>
                                        </p:attrNameLst>
                                      </p:cBhvr>
                                      <p:to>
                                        <p:strVal val="visible"/>
                                      </p:to>
                                    </p:set>
                                    <p:animEffect transition="in" filter="barn(inVertical)">
                                      <p:cBhvr>
                                        <p:cTn id="52"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9" grpId="0" animBg="1"/>
      <p:bldP spid="10" grpId="0" animBg="1"/>
      <p:bldP spid="12" grpId="0" animBg="1"/>
      <p:bldP spid="14" grpId="0" animBg="1"/>
      <p:bldP spid="23" grpId="0"/>
      <p:bldP spid="24" grpId="0" animBg="1"/>
      <p:bldP spid="25"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6">
            <a:extLst>
              <a:ext uri="{FF2B5EF4-FFF2-40B4-BE49-F238E27FC236}">
                <a16:creationId xmlns:a16="http://schemas.microsoft.com/office/drawing/2014/main" id="{50B0A865-F148-7EBB-EBCC-A0250DE9A15E}"/>
              </a:ext>
            </a:extLst>
          </p:cNvPr>
          <p:cNvGrpSpPr/>
          <p:nvPr/>
        </p:nvGrpSpPr>
        <p:grpSpPr>
          <a:xfrm>
            <a:off x="8481156" y="1812180"/>
            <a:ext cx="3759529" cy="808594"/>
            <a:chOff x="-475010" y="1079530"/>
            <a:chExt cx="3859356" cy="606444"/>
          </a:xfrm>
        </p:grpSpPr>
        <p:sp>
          <p:nvSpPr>
            <p:cNvPr id="10" name="TextBox 7">
              <a:extLst>
                <a:ext uri="{FF2B5EF4-FFF2-40B4-BE49-F238E27FC236}">
                  <a16:creationId xmlns:a16="http://schemas.microsoft.com/office/drawing/2014/main" id="{81373BE7-A757-4B6A-CB7B-9D2982D7A0B7}"/>
                </a:ext>
              </a:extLst>
            </p:cNvPr>
            <p:cNvSpPr txBox="1"/>
            <p:nvPr/>
          </p:nvSpPr>
          <p:spPr>
            <a:xfrm>
              <a:off x="-475010" y="1079530"/>
              <a:ext cx="3859356" cy="377074"/>
            </a:xfrm>
            <a:prstGeom prst="rect">
              <a:avLst/>
            </a:prstGeom>
            <a:noFill/>
          </p:spPr>
          <p:txBody>
            <a:bodyPr wrap="square" rtlCol="0" anchor="ctr">
              <a:spAutoFit/>
            </a:bodyPr>
            <a:lstStyle/>
            <a:p>
              <a:pPr algn="ctr" defTabSz="1219139"/>
              <a:r>
                <a:rPr lang="ar-SA" altLang="ko-KR" sz="2667" b="1" dirty="0">
                  <a:solidFill>
                    <a:srgbClr val="7030A0"/>
                  </a:solidFill>
                  <a:latin typeface="Sakkal Majalla" panose="02000000000000000000" pitchFamily="2" charset="-78"/>
                  <a:cs typeface="Sakkal Majalla" panose="02000000000000000000" pitchFamily="2" charset="-78"/>
                </a:rPr>
                <a:t>المستفيدون</a:t>
              </a:r>
              <a:endParaRPr lang="ko-KR" altLang="en-US" sz="2667" b="1" dirty="0">
                <a:solidFill>
                  <a:srgbClr val="7030A0"/>
                </a:solidFill>
                <a:latin typeface="Sakkal Majalla" panose="02000000000000000000" pitchFamily="2" charset="-78"/>
                <a:cs typeface="Sakkal Majalla" panose="02000000000000000000" pitchFamily="2" charset="-78"/>
              </a:endParaRPr>
            </a:p>
          </p:txBody>
        </p:sp>
        <p:sp>
          <p:nvSpPr>
            <p:cNvPr id="11" name="TextBox 8">
              <a:extLst>
                <a:ext uri="{FF2B5EF4-FFF2-40B4-BE49-F238E27FC236}">
                  <a16:creationId xmlns:a16="http://schemas.microsoft.com/office/drawing/2014/main" id="{1E065502-39B4-CF15-4969-6D3BC5B10141}"/>
                </a:ext>
              </a:extLst>
            </p:cNvPr>
            <p:cNvSpPr txBox="1"/>
            <p:nvPr/>
          </p:nvSpPr>
          <p:spPr>
            <a:xfrm>
              <a:off x="-460976" y="1339726"/>
              <a:ext cx="3845322" cy="346248"/>
            </a:xfrm>
            <a:prstGeom prst="rect">
              <a:avLst/>
            </a:prstGeom>
            <a:noFill/>
          </p:spPr>
          <p:txBody>
            <a:bodyPr wrap="square" rtlCol="0">
              <a:spAutoFit/>
            </a:bodyPr>
            <a:lstStyle/>
            <a:p>
              <a:pPr algn="ctr" defTabSz="1219139"/>
              <a:r>
                <a:rPr lang="ar-SA" altLang="ko-KR" sz="2400" dirty="0">
                  <a:solidFill>
                    <a:srgbClr val="0070C0"/>
                  </a:solidFill>
                  <a:latin typeface="Sakkal Majalla" panose="02000000000000000000" pitchFamily="2" charset="-78"/>
                  <a:cs typeface="Sakkal Majalla" panose="02000000000000000000" pitchFamily="2" charset="-78"/>
                </a:rPr>
                <a:t>جميع المدارس في المملكة</a:t>
              </a:r>
              <a:endParaRPr lang="en-US" altLang="ko-KR" sz="2400" dirty="0">
                <a:solidFill>
                  <a:srgbClr val="0070C0"/>
                </a:solidFill>
                <a:latin typeface="Sakkal Majalla" panose="02000000000000000000" pitchFamily="2" charset="-78"/>
                <a:cs typeface="Sakkal Majalla" panose="02000000000000000000" pitchFamily="2" charset="-78"/>
              </a:endParaRPr>
            </a:p>
          </p:txBody>
        </p:sp>
      </p:grpSp>
      <p:sp>
        <p:nvSpPr>
          <p:cNvPr id="26" name="Oval 23">
            <a:extLst>
              <a:ext uri="{FF2B5EF4-FFF2-40B4-BE49-F238E27FC236}">
                <a16:creationId xmlns:a16="http://schemas.microsoft.com/office/drawing/2014/main" id="{4E7ED022-56A3-7DB7-79A4-AA49C94C6FF3}"/>
              </a:ext>
            </a:extLst>
          </p:cNvPr>
          <p:cNvSpPr/>
          <p:nvPr/>
        </p:nvSpPr>
        <p:spPr>
          <a:xfrm rot="3600000">
            <a:off x="3256769" y="4695373"/>
            <a:ext cx="1440000" cy="1440000"/>
          </a:xfrm>
          <a:prstGeom prst="ellipse">
            <a:avLst/>
          </a:prstGeom>
          <a:solidFill>
            <a:sysClr val="window" lastClr="FFFFFF"/>
          </a:solidFill>
          <a:ln w="127000" cap="flat" cmpd="sng" algn="ctr">
            <a:solidFill>
              <a:srgbClr val="262626"/>
            </a:solidFill>
            <a:prstDash val="solid"/>
            <a:miter lim="800000"/>
          </a:ln>
          <a:effectLst/>
        </p:spPr>
        <p:txBody>
          <a:bodyPr rtlCol="0" anchor="ctr"/>
          <a:lstStyle/>
          <a:p>
            <a:pPr algn="ctr" defTabSz="1219139">
              <a:defRPr/>
            </a:pPr>
            <a:endParaRPr lang="ko-KR" altLang="en-US" sz="3600" kern="0">
              <a:solidFill>
                <a:prstClr val="white"/>
              </a:solidFill>
              <a:latin typeface="Arial"/>
            </a:endParaRPr>
          </a:p>
        </p:txBody>
      </p:sp>
      <p:sp>
        <p:nvSpPr>
          <p:cNvPr id="30" name="Oval 27">
            <a:extLst>
              <a:ext uri="{FF2B5EF4-FFF2-40B4-BE49-F238E27FC236}">
                <a16:creationId xmlns:a16="http://schemas.microsoft.com/office/drawing/2014/main" id="{7F858700-C9FF-300E-B084-219E33F47523}"/>
              </a:ext>
            </a:extLst>
          </p:cNvPr>
          <p:cNvSpPr/>
          <p:nvPr/>
        </p:nvSpPr>
        <p:spPr>
          <a:xfrm rot="7200000">
            <a:off x="3256772" y="1686649"/>
            <a:ext cx="1440000" cy="1440000"/>
          </a:xfrm>
          <a:prstGeom prst="ellipse">
            <a:avLst/>
          </a:prstGeom>
          <a:solidFill>
            <a:sysClr val="window" lastClr="FFFFFF"/>
          </a:solidFill>
          <a:ln w="127000" cap="flat" cmpd="sng" algn="ctr">
            <a:solidFill>
              <a:srgbClr val="FD2906"/>
            </a:solidFill>
            <a:prstDash val="solid"/>
            <a:miter lim="800000"/>
          </a:ln>
          <a:effectLst/>
        </p:spPr>
        <p:txBody>
          <a:bodyPr rtlCol="0" anchor="ctr"/>
          <a:lstStyle/>
          <a:p>
            <a:pPr algn="ctr" defTabSz="1219139">
              <a:defRPr/>
            </a:pPr>
            <a:endParaRPr lang="ko-KR" altLang="en-US" sz="3600" kern="0">
              <a:solidFill>
                <a:prstClr val="white"/>
              </a:solidFill>
              <a:latin typeface="Arial"/>
            </a:endParaRPr>
          </a:p>
        </p:txBody>
      </p:sp>
      <p:sp>
        <p:nvSpPr>
          <p:cNvPr id="34" name="Oval 31">
            <a:extLst>
              <a:ext uri="{FF2B5EF4-FFF2-40B4-BE49-F238E27FC236}">
                <a16:creationId xmlns:a16="http://schemas.microsoft.com/office/drawing/2014/main" id="{F42EAAEF-22FB-7761-8C6B-33F522CAD810}"/>
              </a:ext>
            </a:extLst>
          </p:cNvPr>
          <p:cNvSpPr/>
          <p:nvPr/>
        </p:nvSpPr>
        <p:spPr>
          <a:xfrm rot="14400000">
            <a:off x="7578599" y="1730588"/>
            <a:ext cx="1440000" cy="1440000"/>
          </a:xfrm>
          <a:prstGeom prst="ellipse">
            <a:avLst/>
          </a:prstGeom>
          <a:solidFill>
            <a:sysClr val="window" lastClr="FFFFFF"/>
          </a:solidFill>
          <a:ln w="127000" cap="flat" cmpd="sng" algn="ctr">
            <a:solidFill>
              <a:srgbClr val="262626"/>
            </a:solidFill>
            <a:prstDash val="solid"/>
            <a:miter lim="800000"/>
          </a:ln>
          <a:effectLst/>
        </p:spPr>
        <p:txBody>
          <a:bodyPr rtlCol="0" anchor="ctr"/>
          <a:lstStyle/>
          <a:p>
            <a:pPr algn="ctr" defTabSz="1219139">
              <a:defRPr/>
            </a:pPr>
            <a:endParaRPr lang="ko-KR" altLang="en-US" sz="3600" kern="0">
              <a:solidFill>
                <a:prstClr val="white"/>
              </a:solidFill>
              <a:latin typeface="Arial"/>
            </a:endParaRPr>
          </a:p>
        </p:txBody>
      </p:sp>
      <p:sp>
        <p:nvSpPr>
          <p:cNvPr id="38" name="Oval 35">
            <a:extLst>
              <a:ext uri="{FF2B5EF4-FFF2-40B4-BE49-F238E27FC236}">
                <a16:creationId xmlns:a16="http://schemas.microsoft.com/office/drawing/2014/main" id="{DA10E5D0-6062-A740-3876-B7780C3C8465}"/>
              </a:ext>
            </a:extLst>
          </p:cNvPr>
          <p:cNvSpPr/>
          <p:nvPr/>
        </p:nvSpPr>
        <p:spPr>
          <a:xfrm rot="18000000">
            <a:off x="7578601" y="4695373"/>
            <a:ext cx="1440000" cy="1440000"/>
          </a:xfrm>
          <a:prstGeom prst="ellipse">
            <a:avLst/>
          </a:prstGeom>
          <a:solidFill>
            <a:sysClr val="window" lastClr="FFFFFF"/>
          </a:solidFill>
          <a:ln w="127000" cap="flat" cmpd="sng" algn="ctr">
            <a:solidFill>
              <a:srgbClr val="FD2906"/>
            </a:solidFill>
            <a:prstDash val="solid"/>
            <a:miter lim="800000"/>
          </a:ln>
          <a:effectLst/>
        </p:spPr>
        <p:txBody>
          <a:bodyPr rtlCol="0" anchor="ctr"/>
          <a:lstStyle/>
          <a:p>
            <a:pPr algn="ctr" defTabSz="1219139">
              <a:defRPr/>
            </a:pPr>
            <a:endParaRPr lang="ko-KR" altLang="en-US" sz="3600" kern="0">
              <a:solidFill>
                <a:prstClr val="white"/>
              </a:solidFill>
              <a:latin typeface="Arial"/>
            </a:endParaRPr>
          </a:p>
        </p:txBody>
      </p:sp>
      <p:grpSp>
        <p:nvGrpSpPr>
          <p:cNvPr id="41" name="Group 38">
            <a:extLst>
              <a:ext uri="{FF2B5EF4-FFF2-40B4-BE49-F238E27FC236}">
                <a16:creationId xmlns:a16="http://schemas.microsoft.com/office/drawing/2014/main" id="{5DF2C9C5-5690-F8DB-607C-75BFE45D46FE}"/>
              </a:ext>
            </a:extLst>
          </p:cNvPr>
          <p:cNvGrpSpPr/>
          <p:nvPr/>
        </p:nvGrpSpPr>
        <p:grpSpPr>
          <a:xfrm>
            <a:off x="3351764" y="1716170"/>
            <a:ext cx="1323201" cy="1199681"/>
            <a:chOff x="4090635" y="1493239"/>
            <a:chExt cx="992401" cy="899761"/>
          </a:xfrm>
        </p:grpSpPr>
        <p:sp>
          <p:nvSpPr>
            <p:cNvPr id="42" name="TextBox 39">
              <a:extLst>
                <a:ext uri="{FF2B5EF4-FFF2-40B4-BE49-F238E27FC236}">
                  <a16:creationId xmlns:a16="http://schemas.microsoft.com/office/drawing/2014/main" id="{0651CA6C-23F2-0B44-6BE8-440DF2DE5908}"/>
                </a:ext>
              </a:extLst>
            </p:cNvPr>
            <p:cNvSpPr txBox="1"/>
            <p:nvPr/>
          </p:nvSpPr>
          <p:spPr>
            <a:xfrm>
              <a:off x="4090635" y="1769752"/>
              <a:ext cx="992401" cy="623248"/>
            </a:xfrm>
            <a:prstGeom prst="rect">
              <a:avLst/>
            </a:prstGeom>
            <a:noFill/>
          </p:spPr>
          <p:txBody>
            <a:bodyPr wrap="square" rtlCol="0">
              <a:spAutoFit/>
            </a:bodyPr>
            <a:lstStyle/>
            <a:p>
              <a:pPr algn="ctr" defTabSz="1219139"/>
              <a:r>
                <a:rPr lang="ar-SA" altLang="ko-KR" sz="2400" b="1" dirty="0">
                  <a:solidFill>
                    <a:prstClr val="black">
                      <a:lumMod val="75000"/>
                      <a:lumOff val="25000"/>
                    </a:prstClr>
                  </a:solidFill>
                  <a:latin typeface="Sakkal Majalla" panose="02000000000000000000" pitchFamily="2" charset="-78"/>
                  <a:cs typeface="Sakkal Majalla" panose="02000000000000000000" pitchFamily="2" charset="-78"/>
                </a:rPr>
                <a:t>الاعتماد المدرسي</a:t>
              </a:r>
              <a:endParaRPr lang="ko-KR" altLang="en-US" sz="2400" b="1" dirty="0">
                <a:solidFill>
                  <a:prstClr val="black">
                    <a:lumMod val="75000"/>
                    <a:lumOff val="25000"/>
                  </a:prstClr>
                </a:solidFill>
                <a:latin typeface="Sakkal Majalla" panose="02000000000000000000" pitchFamily="2" charset="-78"/>
                <a:cs typeface="Sakkal Majalla" panose="02000000000000000000" pitchFamily="2" charset="-78"/>
              </a:endParaRPr>
            </a:p>
          </p:txBody>
        </p:sp>
        <p:sp>
          <p:nvSpPr>
            <p:cNvPr id="43" name="Rectangle 40">
              <a:extLst>
                <a:ext uri="{FF2B5EF4-FFF2-40B4-BE49-F238E27FC236}">
                  <a16:creationId xmlns:a16="http://schemas.microsoft.com/office/drawing/2014/main" id="{190132A8-E123-7C27-D831-4B17AFEE102C}"/>
                </a:ext>
              </a:extLst>
            </p:cNvPr>
            <p:cNvSpPr/>
            <p:nvPr/>
          </p:nvSpPr>
          <p:spPr>
            <a:xfrm>
              <a:off x="4240478" y="1493239"/>
              <a:ext cx="638174" cy="377075"/>
            </a:xfrm>
            <a:prstGeom prst="rect">
              <a:avLst/>
            </a:prstGeom>
          </p:spPr>
          <p:txBody>
            <a:bodyPr wrap="square" anchor="ctr">
              <a:spAutoFit/>
            </a:bodyPr>
            <a:lstStyle/>
            <a:p>
              <a:pPr algn="ctr" defTabSz="1219139"/>
              <a:r>
                <a:rPr lang="en-US" altLang="ko-KR" sz="2667" b="1" dirty="0">
                  <a:solidFill>
                    <a:prstClr val="black">
                      <a:lumMod val="75000"/>
                      <a:lumOff val="25000"/>
                    </a:prstClr>
                  </a:solidFill>
                  <a:cs typeface="Arial" pitchFamily="34" charset="0"/>
                </a:rPr>
                <a:t>4</a:t>
              </a:r>
              <a:endParaRPr lang="ko-KR" altLang="en-US" sz="2667" dirty="0">
                <a:solidFill>
                  <a:prstClr val="black">
                    <a:lumMod val="75000"/>
                    <a:lumOff val="25000"/>
                  </a:prstClr>
                </a:solidFill>
                <a:cs typeface="Arial" pitchFamily="34" charset="0"/>
              </a:endParaRPr>
            </a:p>
          </p:txBody>
        </p:sp>
      </p:grpSp>
      <p:grpSp>
        <p:nvGrpSpPr>
          <p:cNvPr id="44" name="Group 41">
            <a:extLst>
              <a:ext uri="{FF2B5EF4-FFF2-40B4-BE49-F238E27FC236}">
                <a16:creationId xmlns:a16="http://schemas.microsoft.com/office/drawing/2014/main" id="{B2B35728-D07F-6813-A724-9D214E551407}"/>
              </a:ext>
            </a:extLst>
          </p:cNvPr>
          <p:cNvGrpSpPr/>
          <p:nvPr/>
        </p:nvGrpSpPr>
        <p:grpSpPr>
          <a:xfrm>
            <a:off x="7653122" y="1758756"/>
            <a:ext cx="1323201" cy="871390"/>
            <a:chOff x="4075455" y="1525176"/>
            <a:chExt cx="992401" cy="653541"/>
          </a:xfrm>
        </p:grpSpPr>
        <p:sp>
          <p:nvSpPr>
            <p:cNvPr id="45" name="TextBox 42">
              <a:extLst>
                <a:ext uri="{FF2B5EF4-FFF2-40B4-BE49-F238E27FC236}">
                  <a16:creationId xmlns:a16="http://schemas.microsoft.com/office/drawing/2014/main" id="{D50AB885-83AB-5D0E-475F-36C1B6D1E496}"/>
                </a:ext>
              </a:extLst>
            </p:cNvPr>
            <p:cNvSpPr txBox="1"/>
            <p:nvPr/>
          </p:nvSpPr>
          <p:spPr>
            <a:xfrm>
              <a:off x="4075455" y="1832469"/>
              <a:ext cx="992401" cy="346248"/>
            </a:xfrm>
            <a:prstGeom prst="rect">
              <a:avLst/>
            </a:prstGeom>
            <a:noFill/>
          </p:spPr>
          <p:txBody>
            <a:bodyPr wrap="square" rtlCol="0">
              <a:spAutoFit/>
            </a:bodyPr>
            <a:lstStyle/>
            <a:p>
              <a:pPr algn="ctr" defTabSz="1219139"/>
              <a:r>
                <a:rPr lang="ar-SA" altLang="ko-KR" sz="2400" b="1" dirty="0">
                  <a:solidFill>
                    <a:prstClr val="black">
                      <a:lumMod val="75000"/>
                      <a:lumOff val="25000"/>
                    </a:prstClr>
                  </a:solidFill>
                  <a:latin typeface="Sakkal Majalla" panose="02000000000000000000" pitchFamily="2" charset="-78"/>
                  <a:cs typeface="Sakkal Majalla" panose="02000000000000000000" pitchFamily="2" charset="-78"/>
                </a:rPr>
                <a:t>التسجيل</a:t>
              </a:r>
              <a:endParaRPr lang="ko-KR" altLang="en-US" sz="3200" b="1" dirty="0">
                <a:solidFill>
                  <a:prstClr val="black">
                    <a:lumMod val="75000"/>
                    <a:lumOff val="25000"/>
                  </a:prstClr>
                </a:solidFill>
                <a:latin typeface="Sakkal Majalla" panose="02000000000000000000" pitchFamily="2" charset="-78"/>
                <a:cs typeface="Sakkal Majalla" panose="02000000000000000000" pitchFamily="2" charset="-78"/>
              </a:endParaRPr>
            </a:p>
          </p:txBody>
        </p:sp>
        <p:sp>
          <p:nvSpPr>
            <p:cNvPr id="46" name="Rectangle 43">
              <a:extLst>
                <a:ext uri="{FF2B5EF4-FFF2-40B4-BE49-F238E27FC236}">
                  <a16:creationId xmlns:a16="http://schemas.microsoft.com/office/drawing/2014/main" id="{FD552F43-62FC-02B8-311A-37E11FBA4259}"/>
                </a:ext>
              </a:extLst>
            </p:cNvPr>
            <p:cNvSpPr/>
            <p:nvPr/>
          </p:nvSpPr>
          <p:spPr>
            <a:xfrm>
              <a:off x="4240479" y="1525176"/>
              <a:ext cx="619506" cy="377074"/>
            </a:xfrm>
            <a:prstGeom prst="rect">
              <a:avLst/>
            </a:prstGeom>
          </p:spPr>
          <p:txBody>
            <a:bodyPr wrap="square" anchor="ctr">
              <a:spAutoFit/>
            </a:bodyPr>
            <a:lstStyle/>
            <a:p>
              <a:pPr algn="ctr" defTabSz="1219139"/>
              <a:r>
                <a:rPr lang="en-US" altLang="ko-KR" sz="2667" b="1" dirty="0">
                  <a:solidFill>
                    <a:prstClr val="black">
                      <a:lumMod val="75000"/>
                      <a:lumOff val="25000"/>
                    </a:prstClr>
                  </a:solidFill>
                  <a:cs typeface="Arial" pitchFamily="34" charset="0"/>
                </a:rPr>
                <a:t>1</a:t>
              </a:r>
              <a:endParaRPr lang="ko-KR" altLang="en-US" sz="2667" dirty="0">
                <a:solidFill>
                  <a:prstClr val="black">
                    <a:lumMod val="75000"/>
                    <a:lumOff val="25000"/>
                  </a:prstClr>
                </a:solidFill>
                <a:cs typeface="Arial" pitchFamily="34" charset="0"/>
              </a:endParaRPr>
            </a:p>
          </p:txBody>
        </p:sp>
      </p:grpSp>
      <p:grpSp>
        <p:nvGrpSpPr>
          <p:cNvPr id="47" name="Group 44">
            <a:extLst>
              <a:ext uri="{FF2B5EF4-FFF2-40B4-BE49-F238E27FC236}">
                <a16:creationId xmlns:a16="http://schemas.microsoft.com/office/drawing/2014/main" id="{2C2E9FA6-7055-D8FA-8E29-C2A2BE1F244D}"/>
              </a:ext>
            </a:extLst>
          </p:cNvPr>
          <p:cNvGrpSpPr/>
          <p:nvPr/>
        </p:nvGrpSpPr>
        <p:grpSpPr>
          <a:xfrm>
            <a:off x="7494210" y="4692501"/>
            <a:ext cx="1594628" cy="1164261"/>
            <a:chOff x="3956272" y="1454172"/>
            <a:chExt cx="1195971" cy="873194"/>
          </a:xfrm>
        </p:grpSpPr>
        <p:sp>
          <p:nvSpPr>
            <p:cNvPr id="48" name="TextBox 45">
              <a:extLst>
                <a:ext uri="{FF2B5EF4-FFF2-40B4-BE49-F238E27FC236}">
                  <a16:creationId xmlns:a16="http://schemas.microsoft.com/office/drawing/2014/main" id="{88402837-931B-5156-8741-CA66FFF852A2}"/>
                </a:ext>
              </a:extLst>
            </p:cNvPr>
            <p:cNvSpPr txBox="1"/>
            <p:nvPr/>
          </p:nvSpPr>
          <p:spPr>
            <a:xfrm>
              <a:off x="3956272" y="1765771"/>
              <a:ext cx="1195971" cy="561595"/>
            </a:xfrm>
            <a:prstGeom prst="rect">
              <a:avLst/>
            </a:prstGeom>
            <a:noFill/>
          </p:spPr>
          <p:txBody>
            <a:bodyPr wrap="square" rtlCol="0">
              <a:spAutoFit/>
            </a:bodyPr>
            <a:lstStyle/>
            <a:p>
              <a:pPr algn="ctr" defTabSz="1219139"/>
              <a:r>
                <a:rPr lang="ar-SA" altLang="ko-KR" sz="2133" b="1" dirty="0">
                  <a:solidFill>
                    <a:prstClr val="black">
                      <a:lumMod val="75000"/>
                      <a:lumOff val="25000"/>
                    </a:prstClr>
                  </a:solidFill>
                  <a:latin typeface="Sakkal Majalla" panose="02000000000000000000" pitchFamily="2" charset="-78"/>
                  <a:cs typeface="Sakkal Majalla" panose="02000000000000000000" pitchFamily="2" charset="-78"/>
                </a:rPr>
                <a:t>التقويم المدرسي الذاتي</a:t>
              </a:r>
              <a:endParaRPr lang="ko-KR" altLang="en-US" sz="2133" b="1" dirty="0">
                <a:solidFill>
                  <a:prstClr val="black">
                    <a:lumMod val="75000"/>
                    <a:lumOff val="25000"/>
                  </a:prstClr>
                </a:solidFill>
                <a:latin typeface="Sakkal Majalla" panose="02000000000000000000" pitchFamily="2" charset="-78"/>
                <a:cs typeface="Sakkal Majalla" panose="02000000000000000000" pitchFamily="2" charset="-78"/>
              </a:endParaRPr>
            </a:p>
          </p:txBody>
        </p:sp>
        <p:sp>
          <p:nvSpPr>
            <p:cNvPr id="49" name="Rectangle 46">
              <a:extLst>
                <a:ext uri="{FF2B5EF4-FFF2-40B4-BE49-F238E27FC236}">
                  <a16:creationId xmlns:a16="http://schemas.microsoft.com/office/drawing/2014/main" id="{C5D92DD9-DC18-5A94-8C17-E2B6BC050406}"/>
                </a:ext>
              </a:extLst>
            </p:cNvPr>
            <p:cNvSpPr/>
            <p:nvPr/>
          </p:nvSpPr>
          <p:spPr>
            <a:xfrm>
              <a:off x="4240477" y="1454172"/>
              <a:ext cx="638175" cy="377074"/>
            </a:xfrm>
            <a:prstGeom prst="rect">
              <a:avLst/>
            </a:prstGeom>
          </p:spPr>
          <p:txBody>
            <a:bodyPr wrap="square" anchor="ctr">
              <a:spAutoFit/>
            </a:bodyPr>
            <a:lstStyle/>
            <a:p>
              <a:pPr algn="ctr" defTabSz="1219139"/>
              <a:r>
                <a:rPr lang="en-US" altLang="ko-KR" sz="2667" b="1" dirty="0">
                  <a:solidFill>
                    <a:prstClr val="black">
                      <a:lumMod val="75000"/>
                      <a:lumOff val="25000"/>
                    </a:prstClr>
                  </a:solidFill>
                  <a:cs typeface="Arial" pitchFamily="34" charset="0"/>
                </a:rPr>
                <a:t>2</a:t>
              </a:r>
              <a:endParaRPr lang="ko-KR" altLang="en-US" sz="2667" dirty="0">
                <a:solidFill>
                  <a:prstClr val="black">
                    <a:lumMod val="75000"/>
                    <a:lumOff val="25000"/>
                  </a:prstClr>
                </a:solidFill>
                <a:cs typeface="Arial" pitchFamily="34" charset="0"/>
              </a:endParaRPr>
            </a:p>
          </p:txBody>
        </p:sp>
      </p:grpSp>
      <p:grpSp>
        <p:nvGrpSpPr>
          <p:cNvPr id="50" name="Group 47">
            <a:extLst>
              <a:ext uri="{FF2B5EF4-FFF2-40B4-BE49-F238E27FC236}">
                <a16:creationId xmlns:a16="http://schemas.microsoft.com/office/drawing/2014/main" id="{DD1CF41E-12E5-7E95-3174-BEE1E605B3CB}"/>
              </a:ext>
            </a:extLst>
          </p:cNvPr>
          <p:cNvGrpSpPr/>
          <p:nvPr/>
        </p:nvGrpSpPr>
        <p:grpSpPr>
          <a:xfrm>
            <a:off x="3219133" y="4692499"/>
            <a:ext cx="1521737" cy="1213490"/>
            <a:chOff x="3991161" y="1454172"/>
            <a:chExt cx="1141303" cy="910116"/>
          </a:xfrm>
        </p:grpSpPr>
        <p:sp>
          <p:nvSpPr>
            <p:cNvPr id="51" name="TextBox 48">
              <a:extLst>
                <a:ext uri="{FF2B5EF4-FFF2-40B4-BE49-F238E27FC236}">
                  <a16:creationId xmlns:a16="http://schemas.microsoft.com/office/drawing/2014/main" id="{FE48E7BE-8E87-0F04-A632-A093716A7E15}"/>
                </a:ext>
              </a:extLst>
            </p:cNvPr>
            <p:cNvSpPr txBox="1"/>
            <p:nvPr/>
          </p:nvSpPr>
          <p:spPr>
            <a:xfrm>
              <a:off x="3991161" y="1802693"/>
              <a:ext cx="1141303" cy="561595"/>
            </a:xfrm>
            <a:prstGeom prst="rect">
              <a:avLst/>
            </a:prstGeom>
            <a:noFill/>
          </p:spPr>
          <p:txBody>
            <a:bodyPr wrap="square" rtlCol="0">
              <a:spAutoFit/>
            </a:bodyPr>
            <a:lstStyle/>
            <a:p>
              <a:pPr algn="ctr" defTabSz="1219139">
                <a:defRPr/>
              </a:pPr>
              <a:r>
                <a:rPr lang="ar-SA" altLang="ko-KR" sz="2133" b="1" dirty="0">
                  <a:solidFill>
                    <a:prstClr val="black">
                      <a:lumMod val="75000"/>
                      <a:lumOff val="25000"/>
                    </a:prstClr>
                  </a:solidFill>
                  <a:latin typeface="Sakkal Majalla" panose="02000000000000000000" pitchFamily="2" charset="-78"/>
                  <a:cs typeface="Sakkal Majalla" panose="02000000000000000000" pitchFamily="2" charset="-78"/>
                </a:rPr>
                <a:t>التقويم المدرسي الخارجي</a:t>
              </a:r>
              <a:endParaRPr lang="ko-KR" altLang="en-US" sz="2133" b="1" dirty="0">
                <a:solidFill>
                  <a:prstClr val="black">
                    <a:lumMod val="75000"/>
                    <a:lumOff val="25000"/>
                  </a:prstClr>
                </a:solidFill>
                <a:latin typeface="Sakkal Majalla" panose="02000000000000000000" pitchFamily="2" charset="-78"/>
                <a:cs typeface="Sakkal Majalla" panose="02000000000000000000" pitchFamily="2" charset="-78"/>
              </a:endParaRPr>
            </a:p>
          </p:txBody>
        </p:sp>
        <p:sp>
          <p:nvSpPr>
            <p:cNvPr id="52" name="Rectangle 49">
              <a:extLst>
                <a:ext uri="{FF2B5EF4-FFF2-40B4-BE49-F238E27FC236}">
                  <a16:creationId xmlns:a16="http://schemas.microsoft.com/office/drawing/2014/main" id="{A5510FD5-EFC7-2C96-B0D1-7EB51A76B7CD}"/>
                </a:ext>
              </a:extLst>
            </p:cNvPr>
            <p:cNvSpPr/>
            <p:nvPr/>
          </p:nvSpPr>
          <p:spPr>
            <a:xfrm>
              <a:off x="4240478" y="1454172"/>
              <a:ext cx="638175" cy="377074"/>
            </a:xfrm>
            <a:prstGeom prst="rect">
              <a:avLst/>
            </a:prstGeom>
          </p:spPr>
          <p:txBody>
            <a:bodyPr wrap="square" anchor="ctr">
              <a:spAutoFit/>
            </a:bodyPr>
            <a:lstStyle/>
            <a:p>
              <a:pPr algn="ctr" defTabSz="1219139"/>
              <a:r>
                <a:rPr lang="en-US" altLang="ko-KR" sz="2667" b="1" dirty="0">
                  <a:solidFill>
                    <a:prstClr val="black">
                      <a:lumMod val="75000"/>
                      <a:lumOff val="25000"/>
                    </a:prstClr>
                  </a:solidFill>
                  <a:cs typeface="Arial" pitchFamily="34" charset="0"/>
                </a:rPr>
                <a:t>3</a:t>
              </a:r>
              <a:endParaRPr lang="ko-KR" altLang="en-US" sz="2667" dirty="0">
                <a:solidFill>
                  <a:prstClr val="black">
                    <a:lumMod val="75000"/>
                    <a:lumOff val="25000"/>
                  </a:prstClr>
                </a:solidFill>
                <a:cs typeface="Arial" pitchFamily="34" charset="0"/>
              </a:endParaRPr>
            </a:p>
          </p:txBody>
        </p:sp>
      </p:grpSp>
      <p:grpSp>
        <p:nvGrpSpPr>
          <p:cNvPr id="53" name="Group 50">
            <a:extLst>
              <a:ext uri="{FF2B5EF4-FFF2-40B4-BE49-F238E27FC236}">
                <a16:creationId xmlns:a16="http://schemas.microsoft.com/office/drawing/2014/main" id="{E5F24D21-D6C1-960E-5ABC-571061595DA2}"/>
              </a:ext>
            </a:extLst>
          </p:cNvPr>
          <p:cNvGrpSpPr/>
          <p:nvPr/>
        </p:nvGrpSpPr>
        <p:grpSpPr>
          <a:xfrm>
            <a:off x="4327063" y="2064257"/>
            <a:ext cx="3648407" cy="3648407"/>
            <a:chOff x="3213372" y="2635804"/>
            <a:chExt cx="2736305" cy="2736305"/>
          </a:xfrm>
          <a:solidFill>
            <a:srgbClr val="00B0F0"/>
          </a:solidFill>
        </p:grpSpPr>
        <p:sp>
          <p:nvSpPr>
            <p:cNvPr id="54" name="Block Arc 51">
              <a:extLst>
                <a:ext uri="{FF2B5EF4-FFF2-40B4-BE49-F238E27FC236}">
                  <a16:creationId xmlns:a16="http://schemas.microsoft.com/office/drawing/2014/main" id="{DC5B6E24-C74C-6167-0F12-A819562DB18B}"/>
                </a:ext>
              </a:extLst>
            </p:cNvPr>
            <p:cNvSpPr/>
            <p:nvPr/>
          </p:nvSpPr>
          <p:spPr>
            <a:xfrm rot="5400000">
              <a:off x="3213372" y="2635804"/>
              <a:ext cx="2736304" cy="2736304"/>
            </a:xfrm>
            <a:prstGeom prst="blockArc">
              <a:avLst>
                <a:gd name="adj1" fmla="val 14685282"/>
                <a:gd name="adj2" fmla="val 17849732"/>
                <a:gd name="adj3" fmla="val 8730"/>
              </a:avLst>
            </a:prstGeom>
            <a:grpFill/>
            <a:ln w="12700" cap="flat" cmpd="sng" algn="ctr">
              <a:noFill/>
              <a:prstDash val="solid"/>
              <a:miter lim="800000"/>
            </a:ln>
            <a:effectLst/>
          </p:spPr>
          <p:txBody>
            <a:bodyPr rtlCol="0" anchor="ctr"/>
            <a:lstStyle/>
            <a:p>
              <a:pPr algn="ctr" defTabSz="1219139">
                <a:defRPr/>
              </a:pPr>
              <a:endParaRPr lang="ko-KR" altLang="en-US" sz="3600" kern="0">
                <a:solidFill>
                  <a:prstClr val="black"/>
                </a:solidFill>
                <a:latin typeface="Arial"/>
              </a:endParaRPr>
            </a:p>
          </p:txBody>
        </p:sp>
        <p:sp>
          <p:nvSpPr>
            <p:cNvPr id="55" name="Block Arc 52">
              <a:extLst>
                <a:ext uri="{FF2B5EF4-FFF2-40B4-BE49-F238E27FC236}">
                  <a16:creationId xmlns:a16="http://schemas.microsoft.com/office/drawing/2014/main" id="{0A94073C-C70D-F425-69EB-BF3C60E26D98}"/>
                </a:ext>
              </a:extLst>
            </p:cNvPr>
            <p:cNvSpPr/>
            <p:nvPr/>
          </p:nvSpPr>
          <p:spPr>
            <a:xfrm rot="16200000">
              <a:off x="3213372" y="2635805"/>
              <a:ext cx="2736304" cy="2736304"/>
            </a:xfrm>
            <a:prstGeom prst="blockArc">
              <a:avLst>
                <a:gd name="adj1" fmla="val 14543732"/>
                <a:gd name="adj2" fmla="val 17689195"/>
                <a:gd name="adj3" fmla="val 9238"/>
              </a:avLst>
            </a:prstGeom>
            <a:grpFill/>
            <a:ln w="12700" cap="flat" cmpd="sng" algn="ctr">
              <a:noFill/>
              <a:prstDash val="solid"/>
              <a:miter lim="800000"/>
            </a:ln>
            <a:effectLst/>
          </p:spPr>
          <p:txBody>
            <a:bodyPr rtlCol="0" anchor="ctr"/>
            <a:lstStyle/>
            <a:p>
              <a:pPr algn="ctr" defTabSz="1219139">
                <a:defRPr/>
              </a:pPr>
              <a:endParaRPr lang="ko-KR" altLang="en-US" sz="3600" kern="0">
                <a:solidFill>
                  <a:prstClr val="black"/>
                </a:solidFill>
                <a:latin typeface="Arial"/>
              </a:endParaRPr>
            </a:p>
          </p:txBody>
        </p:sp>
        <p:grpSp>
          <p:nvGrpSpPr>
            <p:cNvPr id="56" name="Group 53">
              <a:extLst>
                <a:ext uri="{FF2B5EF4-FFF2-40B4-BE49-F238E27FC236}">
                  <a16:creationId xmlns:a16="http://schemas.microsoft.com/office/drawing/2014/main" id="{B0BDAFDC-EBFB-F3D6-5043-2B51A2306199}"/>
                </a:ext>
              </a:extLst>
            </p:cNvPr>
            <p:cNvGrpSpPr/>
            <p:nvPr/>
          </p:nvGrpSpPr>
          <p:grpSpPr>
            <a:xfrm>
              <a:off x="3213372" y="2635804"/>
              <a:ext cx="2736304" cy="2736304"/>
              <a:chOff x="3203847" y="2060848"/>
              <a:chExt cx="2736304" cy="2736304"/>
            </a:xfrm>
            <a:grpFill/>
          </p:grpSpPr>
          <p:sp>
            <p:nvSpPr>
              <p:cNvPr id="60" name="Block Arc 57">
                <a:extLst>
                  <a:ext uri="{FF2B5EF4-FFF2-40B4-BE49-F238E27FC236}">
                    <a16:creationId xmlns:a16="http://schemas.microsoft.com/office/drawing/2014/main" id="{9BCFB1FC-9F78-837B-D550-76D092B41FE4}"/>
                  </a:ext>
                </a:extLst>
              </p:cNvPr>
              <p:cNvSpPr/>
              <p:nvPr/>
            </p:nvSpPr>
            <p:spPr>
              <a:xfrm>
                <a:off x="3203847" y="2060848"/>
                <a:ext cx="2736304" cy="2736304"/>
              </a:xfrm>
              <a:prstGeom prst="blockArc">
                <a:avLst>
                  <a:gd name="adj1" fmla="val 14111016"/>
                  <a:gd name="adj2" fmla="val 18363280"/>
                  <a:gd name="adj3" fmla="val 9044"/>
                </a:avLst>
              </a:prstGeom>
              <a:grpFill/>
              <a:ln w="12700" cap="flat" cmpd="sng" algn="ctr">
                <a:noFill/>
                <a:prstDash val="solid"/>
                <a:miter lim="800000"/>
              </a:ln>
              <a:effectLst/>
            </p:spPr>
            <p:txBody>
              <a:bodyPr rtlCol="0" anchor="ctr"/>
              <a:lstStyle/>
              <a:p>
                <a:pPr algn="ctr" defTabSz="1219139">
                  <a:defRPr/>
                </a:pPr>
                <a:endParaRPr lang="ko-KR" altLang="en-US" sz="3600" kern="0">
                  <a:solidFill>
                    <a:prstClr val="black"/>
                  </a:solidFill>
                  <a:latin typeface="Arial"/>
                </a:endParaRPr>
              </a:p>
            </p:txBody>
          </p:sp>
          <p:sp>
            <p:nvSpPr>
              <p:cNvPr id="61" name="Isosceles Triangle 58">
                <a:extLst>
                  <a:ext uri="{FF2B5EF4-FFF2-40B4-BE49-F238E27FC236}">
                    <a16:creationId xmlns:a16="http://schemas.microsoft.com/office/drawing/2014/main" id="{9B7B07D4-1D52-8621-705C-5B404A7CC84E}"/>
                  </a:ext>
                </a:extLst>
              </p:cNvPr>
              <p:cNvSpPr/>
              <p:nvPr/>
            </p:nvSpPr>
            <p:spPr>
              <a:xfrm rot="8100000">
                <a:off x="5029785" y="2216409"/>
                <a:ext cx="530352" cy="457200"/>
              </a:xfrm>
              <a:prstGeom prst="triangle">
                <a:avLst/>
              </a:prstGeom>
              <a:grpFill/>
              <a:ln w="12700" cap="flat" cmpd="sng" algn="ctr">
                <a:noFill/>
                <a:prstDash val="solid"/>
                <a:miter lim="800000"/>
              </a:ln>
              <a:effectLst/>
            </p:spPr>
            <p:txBody>
              <a:bodyPr rtlCol="0" anchor="ctr"/>
              <a:lstStyle/>
              <a:p>
                <a:pPr algn="ctr" defTabSz="1219139">
                  <a:defRPr/>
                </a:pPr>
                <a:endParaRPr lang="ko-KR" altLang="en-US" sz="3600" kern="0">
                  <a:solidFill>
                    <a:prstClr val="white"/>
                  </a:solidFill>
                  <a:latin typeface="Arial"/>
                </a:endParaRPr>
              </a:p>
            </p:txBody>
          </p:sp>
        </p:grpSp>
        <p:grpSp>
          <p:nvGrpSpPr>
            <p:cNvPr id="57" name="Group 54">
              <a:extLst>
                <a:ext uri="{FF2B5EF4-FFF2-40B4-BE49-F238E27FC236}">
                  <a16:creationId xmlns:a16="http://schemas.microsoft.com/office/drawing/2014/main" id="{EA6C269D-63A2-9EA8-0803-7AFCEFF56476}"/>
                </a:ext>
              </a:extLst>
            </p:cNvPr>
            <p:cNvGrpSpPr/>
            <p:nvPr/>
          </p:nvGrpSpPr>
          <p:grpSpPr>
            <a:xfrm>
              <a:off x="3213373" y="2635804"/>
              <a:ext cx="2736304" cy="2736304"/>
              <a:chOff x="3203848" y="2060848"/>
              <a:chExt cx="2736304" cy="2736304"/>
            </a:xfrm>
            <a:grpFill/>
          </p:grpSpPr>
          <p:sp>
            <p:nvSpPr>
              <p:cNvPr id="58" name="Block Arc 55">
                <a:extLst>
                  <a:ext uri="{FF2B5EF4-FFF2-40B4-BE49-F238E27FC236}">
                    <a16:creationId xmlns:a16="http://schemas.microsoft.com/office/drawing/2014/main" id="{64E37601-7351-121A-D768-4F9EA1471C8B}"/>
                  </a:ext>
                </a:extLst>
              </p:cNvPr>
              <p:cNvSpPr/>
              <p:nvPr/>
            </p:nvSpPr>
            <p:spPr>
              <a:xfrm rot="10800000">
                <a:off x="3203848" y="2060848"/>
                <a:ext cx="2736304" cy="2736304"/>
              </a:xfrm>
              <a:prstGeom prst="blockArc">
                <a:avLst>
                  <a:gd name="adj1" fmla="val 14111016"/>
                  <a:gd name="adj2" fmla="val 18363280"/>
                  <a:gd name="adj3" fmla="val 9044"/>
                </a:avLst>
              </a:prstGeom>
              <a:grpFill/>
              <a:ln w="12700" cap="flat" cmpd="sng" algn="ctr">
                <a:noFill/>
                <a:prstDash val="solid"/>
                <a:miter lim="800000"/>
              </a:ln>
              <a:effectLst/>
            </p:spPr>
            <p:txBody>
              <a:bodyPr rtlCol="0" anchor="ctr"/>
              <a:lstStyle/>
              <a:p>
                <a:pPr algn="ctr" defTabSz="1219139">
                  <a:defRPr/>
                </a:pPr>
                <a:endParaRPr lang="ko-KR" altLang="en-US" sz="3600" kern="0">
                  <a:solidFill>
                    <a:prstClr val="black"/>
                  </a:solidFill>
                  <a:latin typeface="Arial"/>
                </a:endParaRPr>
              </a:p>
            </p:txBody>
          </p:sp>
          <p:sp>
            <p:nvSpPr>
              <p:cNvPr id="59" name="Isosceles Triangle 56">
                <a:extLst>
                  <a:ext uri="{FF2B5EF4-FFF2-40B4-BE49-F238E27FC236}">
                    <a16:creationId xmlns:a16="http://schemas.microsoft.com/office/drawing/2014/main" id="{5F01A990-86E9-6230-981D-41B1305502D4}"/>
                  </a:ext>
                </a:extLst>
              </p:cNvPr>
              <p:cNvSpPr/>
              <p:nvPr/>
            </p:nvSpPr>
            <p:spPr>
              <a:xfrm rot="18000000">
                <a:off x="3577042" y="4220813"/>
                <a:ext cx="530352" cy="457200"/>
              </a:xfrm>
              <a:prstGeom prst="triangle">
                <a:avLst/>
              </a:prstGeom>
              <a:grpFill/>
              <a:ln w="12700" cap="flat" cmpd="sng" algn="ctr">
                <a:noFill/>
                <a:prstDash val="solid"/>
                <a:miter lim="800000"/>
              </a:ln>
              <a:effectLst/>
            </p:spPr>
            <p:txBody>
              <a:bodyPr rtlCol="0" anchor="ctr"/>
              <a:lstStyle/>
              <a:p>
                <a:pPr algn="ctr" defTabSz="1219139">
                  <a:defRPr/>
                </a:pPr>
                <a:endParaRPr lang="ko-KR" altLang="en-US" sz="3600" kern="0">
                  <a:solidFill>
                    <a:prstClr val="white"/>
                  </a:solidFill>
                  <a:latin typeface="Arial"/>
                </a:endParaRPr>
              </a:p>
            </p:txBody>
          </p:sp>
        </p:grpSp>
      </p:grpSp>
      <p:sp>
        <p:nvSpPr>
          <p:cNvPr id="62" name="Parallelogram 15">
            <a:extLst>
              <a:ext uri="{FF2B5EF4-FFF2-40B4-BE49-F238E27FC236}">
                <a16:creationId xmlns:a16="http://schemas.microsoft.com/office/drawing/2014/main" id="{89A219BE-8CEE-0FEC-AF8A-AE18E632E18C}"/>
              </a:ext>
            </a:extLst>
          </p:cNvPr>
          <p:cNvSpPr/>
          <p:nvPr/>
        </p:nvSpPr>
        <p:spPr>
          <a:xfrm flipH="1">
            <a:off x="6534367" y="3056935"/>
            <a:ext cx="476896" cy="476896"/>
          </a:xfrm>
          <a:custGeom>
            <a:avLst/>
            <a:gdLst/>
            <a:ahLst/>
            <a:cxnLst/>
            <a:rect l="l" t="t" r="r" b="b"/>
            <a:pathLst>
              <a:path w="3242753" h="3227814">
                <a:moveTo>
                  <a:pt x="1621376" y="1043635"/>
                </a:moveTo>
                <a:cubicBezTo>
                  <a:pt x="1557188" y="1043635"/>
                  <a:pt x="1505154" y="1095669"/>
                  <a:pt x="1505154" y="1159857"/>
                </a:cubicBezTo>
                <a:lnTo>
                  <a:pt x="1505154" y="1625483"/>
                </a:lnTo>
                <a:lnTo>
                  <a:pt x="1033577" y="1625483"/>
                </a:lnTo>
                <a:cubicBezTo>
                  <a:pt x="969389" y="1625483"/>
                  <a:pt x="917355" y="1677517"/>
                  <a:pt x="917355" y="1741705"/>
                </a:cubicBezTo>
                <a:cubicBezTo>
                  <a:pt x="917355" y="1805893"/>
                  <a:pt x="969389" y="1857927"/>
                  <a:pt x="1033577" y="1857927"/>
                </a:cubicBezTo>
                <a:lnTo>
                  <a:pt x="1614688" y="1857927"/>
                </a:lnTo>
                <a:lnTo>
                  <a:pt x="1619859" y="1856884"/>
                </a:lnTo>
                <a:cubicBezTo>
                  <a:pt x="1620361" y="1857187"/>
                  <a:pt x="1620868" y="1857190"/>
                  <a:pt x="1621376" y="1857190"/>
                </a:cubicBezTo>
                <a:cubicBezTo>
                  <a:pt x="1685564" y="1857190"/>
                  <a:pt x="1737598" y="1805156"/>
                  <a:pt x="1737598" y="1740968"/>
                </a:cubicBezTo>
                <a:lnTo>
                  <a:pt x="1737598" y="1159857"/>
                </a:lnTo>
                <a:cubicBezTo>
                  <a:pt x="1737598" y="1095669"/>
                  <a:pt x="1685564" y="1043635"/>
                  <a:pt x="1621376" y="1043635"/>
                </a:cubicBezTo>
                <a:close/>
                <a:moveTo>
                  <a:pt x="1621376" y="628818"/>
                </a:moveTo>
                <a:cubicBezTo>
                  <a:pt x="2206882" y="628818"/>
                  <a:pt x="2681529" y="1103464"/>
                  <a:pt x="2681529" y="1688970"/>
                </a:cubicBezTo>
                <a:cubicBezTo>
                  <a:pt x="2681529" y="2274476"/>
                  <a:pt x="2206882" y="2749122"/>
                  <a:pt x="1621376" y="2749122"/>
                </a:cubicBezTo>
                <a:cubicBezTo>
                  <a:pt x="1035870" y="2749122"/>
                  <a:pt x="561223" y="2274476"/>
                  <a:pt x="561223" y="1688970"/>
                </a:cubicBezTo>
                <a:cubicBezTo>
                  <a:pt x="561223" y="1103464"/>
                  <a:pt x="1035870" y="628818"/>
                  <a:pt x="1621376" y="628818"/>
                </a:cubicBezTo>
                <a:close/>
                <a:moveTo>
                  <a:pt x="1621376" y="424596"/>
                </a:moveTo>
                <a:cubicBezTo>
                  <a:pt x="923081" y="424596"/>
                  <a:pt x="357001" y="990676"/>
                  <a:pt x="357001" y="1688970"/>
                </a:cubicBezTo>
                <a:cubicBezTo>
                  <a:pt x="357001" y="2128645"/>
                  <a:pt x="581423" y="2515905"/>
                  <a:pt x="922189" y="2742109"/>
                </a:cubicBezTo>
                <a:lnTo>
                  <a:pt x="652992" y="3227814"/>
                </a:lnTo>
                <a:lnTo>
                  <a:pt x="911997" y="3227814"/>
                </a:lnTo>
                <a:lnTo>
                  <a:pt x="1121304" y="2850168"/>
                </a:lnTo>
                <a:cubicBezTo>
                  <a:pt x="1274563" y="2916691"/>
                  <a:pt x="1443689" y="2953344"/>
                  <a:pt x="1621376" y="2953344"/>
                </a:cubicBezTo>
                <a:cubicBezTo>
                  <a:pt x="1799063" y="2953344"/>
                  <a:pt x="1968189" y="2916691"/>
                  <a:pt x="2121449" y="2850168"/>
                </a:cubicBezTo>
                <a:lnTo>
                  <a:pt x="2330755" y="3227814"/>
                </a:lnTo>
                <a:lnTo>
                  <a:pt x="2589760" y="3227814"/>
                </a:lnTo>
                <a:lnTo>
                  <a:pt x="2320563" y="2742109"/>
                </a:lnTo>
                <a:cubicBezTo>
                  <a:pt x="2661329" y="2515905"/>
                  <a:pt x="2885751" y="2128645"/>
                  <a:pt x="2885751" y="1688970"/>
                </a:cubicBezTo>
                <a:cubicBezTo>
                  <a:pt x="2885751" y="990676"/>
                  <a:pt x="2319671" y="424596"/>
                  <a:pt x="1621376" y="424596"/>
                </a:cubicBezTo>
                <a:close/>
                <a:moveTo>
                  <a:pt x="2599800" y="123238"/>
                </a:moveTo>
                <a:cubicBezTo>
                  <a:pt x="2434609" y="120698"/>
                  <a:pt x="2268460" y="180476"/>
                  <a:pt x="2139563" y="303161"/>
                </a:cubicBezTo>
                <a:lnTo>
                  <a:pt x="3057258" y="1232053"/>
                </a:lnTo>
                <a:cubicBezTo>
                  <a:pt x="3305736" y="977255"/>
                  <a:pt x="3304415" y="570405"/>
                  <a:pt x="3054287" y="317226"/>
                </a:cubicBezTo>
                <a:cubicBezTo>
                  <a:pt x="2929224" y="190636"/>
                  <a:pt x="2764991" y="125778"/>
                  <a:pt x="2599800" y="123238"/>
                </a:cubicBezTo>
                <a:close/>
                <a:moveTo>
                  <a:pt x="642953" y="123238"/>
                </a:moveTo>
                <a:cubicBezTo>
                  <a:pt x="477762" y="125778"/>
                  <a:pt x="313529" y="190636"/>
                  <a:pt x="188466" y="317226"/>
                </a:cubicBezTo>
                <a:cubicBezTo>
                  <a:pt x="-61662" y="570405"/>
                  <a:pt x="-62983" y="977255"/>
                  <a:pt x="185495" y="1232053"/>
                </a:cubicBezTo>
                <a:lnTo>
                  <a:pt x="1103190" y="303161"/>
                </a:lnTo>
                <a:cubicBezTo>
                  <a:pt x="974294" y="180476"/>
                  <a:pt x="808144" y="120698"/>
                  <a:pt x="642953" y="123238"/>
                </a:cubicBezTo>
                <a:close/>
                <a:moveTo>
                  <a:pt x="1722692" y="0"/>
                </a:moveTo>
                <a:lnTo>
                  <a:pt x="1520061" y="0"/>
                </a:lnTo>
                <a:cubicBezTo>
                  <a:pt x="1440152" y="0"/>
                  <a:pt x="1375373" y="64779"/>
                  <a:pt x="1375373" y="144688"/>
                </a:cubicBezTo>
                <a:lnTo>
                  <a:pt x="1375373" y="289376"/>
                </a:lnTo>
                <a:lnTo>
                  <a:pt x="1867380" y="289376"/>
                </a:lnTo>
                <a:lnTo>
                  <a:pt x="1867380" y="144688"/>
                </a:lnTo>
                <a:cubicBezTo>
                  <a:pt x="1867380" y="64779"/>
                  <a:pt x="1802601" y="0"/>
                  <a:pt x="1722692" y="0"/>
                </a:cubicBezTo>
                <a:close/>
              </a:path>
            </a:pathLst>
          </a:custGeom>
          <a:solidFill>
            <a:sysClr val="window" lastClr="FFFFFF"/>
          </a:solidFill>
          <a:ln w="12700" cap="flat" cmpd="sng" algn="ctr">
            <a:noFill/>
            <a:prstDash val="solid"/>
            <a:miter lim="800000"/>
          </a:ln>
          <a:effectLst/>
        </p:spPr>
        <p:txBody>
          <a:bodyPr rot="0" spcFirstLastPara="0" vert="horz" wrap="square" lIns="121920" tIns="60960" rIns="121920" bIns="6096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defTabSz="1219139">
              <a:defRPr/>
            </a:pPr>
            <a:endParaRPr lang="ko-KR" altLang="en-US" sz="2400" dirty="0">
              <a:solidFill>
                <a:prstClr val="white"/>
              </a:solidFill>
              <a:latin typeface="Arial"/>
            </a:endParaRPr>
          </a:p>
        </p:txBody>
      </p:sp>
      <p:sp>
        <p:nvSpPr>
          <p:cNvPr id="63" name="Rectangle 30">
            <a:extLst>
              <a:ext uri="{FF2B5EF4-FFF2-40B4-BE49-F238E27FC236}">
                <a16:creationId xmlns:a16="http://schemas.microsoft.com/office/drawing/2014/main" id="{78FF631B-B741-F4AB-BE58-FFCC7ADBE30F}"/>
              </a:ext>
            </a:extLst>
          </p:cNvPr>
          <p:cNvSpPr/>
          <p:nvPr/>
        </p:nvSpPr>
        <p:spPr>
          <a:xfrm>
            <a:off x="6580918" y="4335727"/>
            <a:ext cx="422945" cy="421711"/>
          </a:xfrm>
          <a:custGeom>
            <a:avLst/>
            <a:gdLst/>
            <a:ahLst/>
            <a:cxnLst/>
            <a:rect l="l" t="t" r="r" b="b"/>
            <a:pathLst>
              <a:path w="3240000" h="3230531">
                <a:moveTo>
                  <a:pt x="720000" y="2697973"/>
                </a:moveTo>
                <a:cubicBezTo>
                  <a:pt x="680235" y="2697973"/>
                  <a:pt x="648000" y="2730208"/>
                  <a:pt x="648000" y="2769973"/>
                </a:cubicBezTo>
                <a:cubicBezTo>
                  <a:pt x="648000" y="2809738"/>
                  <a:pt x="680235" y="2841973"/>
                  <a:pt x="720000" y="2841973"/>
                </a:cubicBezTo>
                <a:lnTo>
                  <a:pt x="2520000" y="2841973"/>
                </a:lnTo>
                <a:cubicBezTo>
                  <a:pt x="2559765" y="2841973"/>
                  <a:pt x="2592000" y="2809738"/>
                  <a:pt x="2592000" y="2769973"/>
                </a:cubicBezTo>
                <a:cubicBezTo>
                  <a:pt x="2592000" y="2730208"/>
                  <a:pt x="2559765" y="2697973"/>
                  <a:pt x="2520000" y="2697973"/>
                </a:cubicBezTo>
                <a:close/>
                <a:moveTo>
                  <a:pt x="720000" y="2366733"/>
                </a:moveTo>
                <a:cubicBezTo>
                  <a:pt x="680235" y="2366733"/>
                  <a:pt x="648000" y="2398968"/>
                  <a:pt x="648000" y="2438733"/>
                </a:cubicBezTo>
                <a:cubicBezTo>
                  <a:pt x="648000" y="2478498"/>
                  <a:pt x="680235" y="2510733"/>
                  <a:pt x="720000" y="2510733"/>
                </a:cubicBezTo>
                <a:lnTo>
                  <a:pt x="2520000" y="2510733"/>
                </a:lnTo>
                <a:cubicBezTo>
                  <a:pt x="2559765" y="2510733"/>
                  <a:pt x="2592000" y="2478498"/>
                  <a:pt x="2592000" y="2438733"/>
                </a:cubicBezTo>
                <a:cubicBezTo>
                  <a:pt x="2592000" y="2398968"/>
                  <a:pt x="2559765" y="2366733"/>
                  <a:pt x="2520000" y="2366733"/>
                </a:cubicBezTo>
                <a:close/>
                <a:moveTo>
                  <a:pt x="720000" y="2035493"/>
                </a:moveTo>
                <a:cubicBezTo>
                  <a:pt x="680235" y="2035493"/>
                  <a:pt x="648000" y="2067728"/>
                  <a:pt x="648000" y="2107493"/>
                </a:cubicBezTo>
                <a:cubicBezTo>
                  <a:pt x="648000" y="2147258"/>
                  <a:pt x="680235" y="2179493"/>
                  <a:pt x="720000" y="2179493"/>
                </a:cubicBezTo>
                <a:lnTo>
                  <a:pt x="2520000" y="2179493"/>
                </a:lnTo>
                <a:cubicBezTo>
                  <a:pt x="2559765" y="2179493"/>
                  <a:pt x="2592000" y="2147258"/>
                  <a:pt x="2592000" y="2107493"/>
                </a:cubicBezTo>
                <a:cubicBezTo>
                  <a:pt x="2592000" y="2067728"/>
                  <a:pt x="2559765" y="2035493"/>
                  <a:pt x="2520000" y="2035493"/>
                </a:cubicBezTo>
                <a:close/>
                <a:moveTo>
                  <a:pt x="720000" y="1704253"/>
                </a:moveTo>
                <a:cubicBezTo>
                  <a:pt x="680235" y="1704253"/>
                  <a:pt x="648000" y="1736488"/>
                  <a:pt x="648000" y="1776253"/>
                </a:cubicBezTo>
                <a:cubicBezTo>
                  <a:pt x="648000" y="1816018"/>
                  <a:pt x="680235" y="1848253"/>
                  <a:pt x="720000" y="1848253"/>
                </a:cubicBezTo>
                <a:lnTo>
                  <a:pt x="2520000" y="1848253"/>
                </a:lnTo>
                <a:cubicBezTo>
                  <a:pt x="2559765" y="1848253"/>
                  <a:pt x="2592000" y="1816018"/>
                  <a:pt x="2592000" y="1776253"/>
                </a:cubicBezTo>
                <a:cubicBezTo>
                  <a:pt x="2592000" y="1736488"/>
                  <a:pt x="2559765" y="1704253"/>
                  <a:pt x="2520000" y="1704253"/>
                </a:cubicBezTo>
                <a:close/>
                <a:moveTo>
                  <a:pt x="720000" y="1373013"/>
                </a:moveTo>
                <a:cubicBezTo>
                  <a:pt x="680235" y="1373013"/>
                  <a:pt x="648000" y="1405248"/>
                  <a:pt x="648000" y="1445013"/>
                </a:cubicBezTo>
                <a:cubicBezTo>
                  <a:pt x="648000" y="1484778"/>
                  <a:pt x="680235" y="1517013"/>
                  <a:pt x="720000" y="1517013"/>
                </a:cubicBezTo>
                <a:lnTo>
                  <a:pt x="2520000" y="1517013"/>
                </a:lnTo>
                <a:cubicBezTo>
                  <a:pt x="2559765" y="1517013"/>
                  <a:pt x="2592000" y="1484778"/>
                  <a:pt x="2592000" y="1445013"/>
                </a:cubicBezTo>
                <a:cubicBezTo>
                  <a:pt x="2592000" y="1405248"/>
                  <a:pt x="2559765" y="1373013"/>
                  <a:pt x="2520000" y="1373013"/>
                </a:cubicBezTo>
                <a:close/>
                <a:moveTo>
                  <a:pt x="720000" y="1041773"/>
                </a:moveTo>
                <a:cubicBezTo>
                  <a:pt x="680235" y="1041773"/>
                  <a:pt x="648000" y="1074008"/>
                  <a:pt x="648000" y="1113773"/>
                </a:cubicBezTo>
                <a:cubicBezTo>
                  <a:pt x="648000" y="1153538"/>
                  <a:pt x="680235" y="1185773"/>
                  <a:pt x="720000" y="1185773"/>
                </a:cubicBezTo>
                <a:lnTo>
                  <a:pt x="2520000" y="1185773"/>
                </a:lnTo>
                <a:cubicBezTo>
                  <a:pt x="2559765" y="1185773"/>
                  <a:pt x="2592000" y="1153538"/>
                  <a:pt x="2592000" y="1113773"/>
                </a:cubicBezTo>
                <a:cubicBezTo>
                  <a:pt x="2592000" y="1074008"/>
                  <a:pt x="2559765" y="1041773"/>
                  <a:pt x="2520000" y="1041773"/>
                </a:cubicBezTo>
                <a:close/>
                <a:moveTo>
                  <a:pt x="0" y="305988"/>
                </a:moveTo>
                <a:lnTo>
                  <a:pt x="181957" y="305988"/>
                </a:lnTo>
                <a:lnTo>
                  <a:pt x="181957" y="470032"/>
                </a:lnTo>
                <a:cubicBezTo>
                  <a:pt x="181957" y="599267"/>
                  <a:pt x="286722" y="704032"/>
                  <a:pt x="415957" y="704032"/>
                </a:cubicBezTo>
                <a:cubicBezTo>
                  <a:pt x="545192" y="704032"/>
                  <a:pt x="649957" y="599267"/>
                  <a:pt x="649957" y="470032"/>
                </a:cubicBezTo>
                <a:lnTo>
                  <a:pt x="649957" y="305988"/>
                </a:lnTo>
                <a:lnTo>
                  <a:pt x="802357" y="305988"/>
                </a:lnTo>
                <a:lnTo>
                  <a:pt x="802357" y="470031"/>
                </a:lnTo>
                <a:cubicBezTo>
                  <a:pt x="802357" y="599266"/>
                  <a:pt x="907122" y="704031"/>
                  <a:pt x="1036357" y="704031"/>
                </a:cubicBezTo>
                <a:cubicBezTo>
                  <a:pt x="1165592" y="704031"/>
                  <a:pt x="1270357" y="599266"/>
                  <a:pt x="1270357" y="470031"/>
                </a:cubicBezTo>
                <a:lnTo>
                  <a:pt x="1270357" y="305988"/>
                </a:lnTo>
                <a:lnTo>
                  <a:pt x="1422757" y="305988"/>
                </a:lnTo>
                <a:lnTo>
                  <a:pt x="1422757" y="470030"/>
                </a:lnTo>
                <a:cubicBezTo>
                  <a:pt x="1422757" y="599265"/>
                  <a:pt x="1527522" y="704030"/>
                  <a:pt x="1656757" y="704030"/>
                </a:cubicBezTo>
                <a:cubicBezTo>
                  <a:pt x="1785992" y="704030"/>
                  <a:pt x="1890757" y="599265"/>
                  <a:pt x="1890757" y="470030"/>
                </a:cubicBezTo>
                <a:lnTo>
                  <a:pt x="1890757" y="305988"/>
                </a:lnTo>
                <a:lnTo>
                  <a:pt x="2043157" y="305988"/>
                </a:lnTo>
                <a:lnTo>
                  <a:pt x="2043157" y="470029"/>
                </a:lnTo>
                <a:cubicBezTo>
                  <a:pt x="2043157" y="599264"/>
                  <a:pt x="2147922" y="704029"/>
                  <a:pt x="2277157" y="704029"/>
                </a:cubicBezTo>
                <a:cubicBezTo>
                  <a:pt x="2406392" y="704029"/>
                  <a:pt x="2511157" y="599264"/>
                  <a:pt x="2511157" y="470029"/>
                </a:cubicBezTo>
                <a:lnTo>
                  <a:pt x="2511157" y="305988"/>
                </a:lnTo>
                <a:lnTo>
                  <a:pt x="2663557" y="305988"/>
                </a:lnTo>
                <a:lnTo>
                  <a:pt x="2663557" y="470028"/>
                </a:lnTo>
                <a:cubicBezTo>
                  <a:pt x="2663557" y="599263"/>
                  <a:pt x="2768322" y="704028"/>
                  <a:pt x="2897557" y="704028"/>
                </a:cubicBezTo>
                <a:cubicBezTo>
                  <a:pt x="3026792" y="704028"/>
                  <a:pt x="3131557" y="599263"/>
                  <a:pt x="3131557" y="470028"/>
                </a:cubicBezTo>
                <a:lnTo>
                  <a:pt x="3131557" y="305988"/>
                </a:lnTo>
                <a:lnTo>
                  <a:pt x="3240000" y="305988"/>
                </a:lnTo>
                <a:lnTo>
                  <a:pt x="3240000" y="3230531"/>
                </a:lnTo>
                <a:lnTo>
                  <a:pt x="0" y="3230531"/>
                </a:lnTo>
                <a:close/>
                <a:moveTo>
                  <a:pt x="415957" y="4"/>
                </a:moveTo>
                <a:cubicBezTo>
                  <a:pt x="485545" y="4"/>
                  <a:pt x="541957" y="56416"/>
                  <a:pt x="541957" y="126004"/>
                </a:cubicBezTo>
                <a:lnTo>
                  <a:pt x="541957" y="485972"/>
                </a:lnTo>
                <a:cubicBezTo>
                  <a:pt x="541957" y="555560"/>
                  <a:pt x="485545" y="611972"/>
                  <a:pt x="415957" y="611972"/>
                </a:cubicBezTo>
                <a:cubicBezTo>
                  <a:pt x="346369" y="611972"/>
                  <a:pt x="289957" y="555560"/>
                  <a:pt x="289957" y="485972"/>
                </a:cubicBezTo>
                <a:lnTo>
                  <a:pt x="289957" y="126004"/>
                </a:lnTo>
                <a:cubicBezTo>
                  <a:pt x="289957" y="56416"/>
                  <a:pt x="346369" y="4"/>
                  <a:pt x="415957" y="4"/>
                </a:cubicBezTo>
                <a:close/>
                <a:moveTo>
                  <a:pt x="1036357" y="3"/>
                </a:moveTo>
                <a:cubicBezTo>
                  <a:pt x="1105945" y="3"/>
                  <a:pt x="1162357" y="56415"/>
                  <a:pt x="1162357" y="126003"/>
                </a:cubicBezTo>
                <a:lnTo>
                  <a:pt x="1162357" y="485971"/>
                </a:lnTo>
                <a:cubicBezTo>
                  <a:pt x="1162357" y="555559"/>
                  <a:pt x="1105945" y="611971"/>
                  <a:pt x="1036357" y="611971"/>
                </a:cubicBezTo>
                <a:cubicBezTo>
                  <a:pt x="966769" y="611971"/>
                  <a:pt x="910357" y="555559"/>
                  <a:pt x="910357" y="485971"/>
                </a:cubicBezTo>
                <a:lnTo>
                  <a:pt x="910357" y="126003"/>
                </a:lnTo>
                <a:cubicBezTo>
                  <a:pt x="910357" y="56415"/>
                  <a:pt x="966769" y="3"/>
                  <a:pt x="1036357" y="3"/>
                </a:cubicBezTo>
                <a:close/>
                <a:moveTo>
                  <a:pt x="1656757" y="2"/>
                </a:moveTo>
                <a:cubicBezTo>
                  <a:pt x="1726345" y="2"/>
                  <a:pt x="1782757" y="56414"/>
                  <a:pt x="1782757" y="126002"/>
                </a:cubicBezTo>
                <a:lnTo>
                  <a:pt x="1782757" y="485970"/>
                </a:lnTo>
                <a:cubicBezTo>
                  <a:pt x="1782757" y="555558"/>
                  <a:pt x="1726345" y="611970"/>
                  <a:pt x="1656757" y="611970"/>
                </a:cubicBezTo>
                <a:cubicBezTo>
                  <a:pt x="1587169" y="611970"/>
                  <a:pt x="1530757" y="555558"/>
                  <a:pt x="1530757" y="485970"/>
                </a:cubicBezTo>
                <a:lnTo>
                  <a:pt x="1530757" y="126002"/>
                </a:lnTo>
                <a:cubicBezTo>
                  <a:pt x="1530757" y="56414"/>
                  <a:pt x="1587169" y="2"/>
                  <a:pt x="1656757" y="2"/>
                </a:cubicBezTo>
                <a:close/>
                <a:moveTo>
                  <a:pt x="2277157" y="1"/>
                </a:moveTo>
                <a:cubicBezTo>
                  <a:pt x="2346745" y="1"/>
                  <a:pt x="2403157" y="56413"/>
                  <a:pt x="2403157" y="126001"/>
                </a:cubicBezTo>
                <a:lnTo>
                  <a:pt x="2403157" y="485969"/>
                </a:lnTo>
                <a:cubicBezTo>
                  <a:pt x="2403157" y="555557"/>
                  <a:pt x="2346745" y="611969"/>
                  <a:pt x="2277157" y="611969"/>
                </a:cubicBezTo>
                <a:cubicBezTo>
                  <a:pt x="2207569" y="611969"/>
                  <a:pt x="2151157" y="555557"/>
                  <a:pt x="2151157" y="485969"/>
                </a:cubicBezTo>
                <a:lnTo>
                  <a:pt x="2151157" y="126001"/>
                </a:lnTo>
                <a:cubicBezTo>
                  <a:pt x="2151157" y="56413"/>
                  <a:pt x="2207569" y="1"/>
                  <a:pt x="2277157" y="1"/>
                </a:cubicBezTo>
                <a:close/>
                <a:moveTo>
                  <a:pt x="2897557" y="0"/>
                </a:moveTo>
                <a:cubicBezTo>
                  <a:pt x="2967145" y="0"/>
                  <a:pt x="3023557" y="56412"/>
                  <a:pt x="3023557" y="126000"/>
                </a:cubicBezTo>
                <a:lnTo>
                  <a:pt x="3023557" y="485968"/>
                </a:lnTo>
                <a:cubicBezTo>
                  <a:pt x="3023557" y="555556"/>
                  <a:pt x="2967145" y="611968"/>
                  <a:pt x="2897557" y="611968"/>
                </a:cubicBezTo>
                <a:cubicBezTo>
                  <a:pt x="2827969" y="611968"/>
                  <a:pt x="2771557" y="555556"/>
                  <a:pt x="2771557" y="485968"/>
                </a:cubicBezTo>
                <a:lnTo>
                  <a:pt x="2771557" y="126000"/>
                </a:lnTo>
                <a:cubicBezTo>
                  <a:pt x="2771557" y="56412"/>
                  <a:pt x="2827969" y="0"/>
                  <a:pt x="2897557" y="0"/>
                </a:cubicBezTo>
                <a:close/>
              </a:path>
            </a:pathLst>
          </a:custGeom>
          <a:solidFill>
            <a:sysClr val="window" lastClr="FFFFFF"/>
          </a:solidFill>
          <a:ln w="12700" cap="flat" cmpd="sng" algn="ctr">
            <a:noFill/>
            <a:prstDash val="solid"/>
            <a:miter lim="800000"/>
          </a:ln>
          <a:effectLst/>
        </p:spPr>
        <p:txBody>
          <a:bodyPr rot="0" spcFirstLastPara="0" vert="horz" wrap="square" lIns="121920" tIns="60960" rIns="121920" bIns="6096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defTabSz="1219139">
              <a:defRPr/>
            </a:pPr>
            <a:endParaRPr lang="ko-KR" altLang="en-US" sz="2400" dirty="0">
              <a:solidFill>
                <a:prstClr val="white"/>
              </a:solidFill>
              <a:latin typeface="Arial"/>
            </a:endParaRPr>
          </a:p>
        </p:txBody>
      </p:sp>
      <p:sp>
        <p:nvSpPr>
          <p:cNvPr id="65" name="Frame 17">
            <a:extLst>
              <a:ext uri="{FF2B5EF4-FFF2-40B4-BE49-F238E27FC236}">
                <a16:creationId xmlns:a16="http://schemas.microsoft.com/office/drawing/2014/main" id="{E613C915-0E36-160F-7DF4-45FF664022F7}"/>
              </a:ext>
            </a:extLst>
          </p:cNvPr>
          <p:cNvSpPr/>
          <p:nvPr/>
        </p:nvSpPr>
        <p:spPr>
          <a:xfrm>
            <a:off x="5286957" y="4314034"/>
            <a:ext cx="424580" cy="424580"/>
          </a:xfrm>
          <a:custGeom>
            <a:avLst/>
            <a:gdLst/>
            <a:ahLst/>
            <a:cxnLst/>
            <a:rect l="l" t="t" r="r" b="b"/>
            <a:pathLst>
              <a:path w="3240000" h="3240000">
                <a:moveTo>
                  <a:pt x="415456" y="380544"/>
                </a:moveTo>
                <a:lnTo>
                  <a:pt x="415456" y="385333"/>
                </a:lnTo>
                <a:lnTo>
                  <a:pt x="385333" y="385333"/>
                </a:lnTo>
                <a:lnTo>
                  <a:pt x="385333" y="2854667"/>
                </a:lnTo>
                <a:lnTo>
                  <a:pt x="1529120" y="2854667"/>
                </a:lnTo>
                <a:cubicBezTo>
                  <a:pt x="1267123" y="2430711"/>
                  <a:pt x="997530" y="1721825"/>
                  <a:pt x="436017" y="1672600"/>
                </a:cubicBezTo>
                <a:lnTo>
                  <a:pt x="600235" y="1185112"/>
                </a:lnTo>
                <a:cubicBezTo>
                  <a:pt x="1132790" y="1359573"/>
                  <a:pt x="1278822" y="1550851"/>
                  <a:pt x="1544730" y="1923929"/>
                </a:cubicBezTo>
                <a:cubicBezTo>
                  <a:pt x="1789452" y="1379400"/>
                  <a:pt x="1927092" y="1088696"/>
                  <a:pt x="2233403" y="596568"/>
                </a:cubicBezTo>
                <a:lnTo>
                  <a:pt x="2770666" y="596568"/>
                </a:lnTo>
                <a:cubicBezTo>
                  <a:pt x="2331495" y="1220469"/>
                  <a:pt x="1907612" y="2113878"/>
                  <a:pt x="1578489" y="2854667"/>
                </a:cubicBezTo>
                <a:lnTo>
                  <a:pt x="2854667" y="2854667"/>
                </a:lnTo>
                <a:lnTo>
                  <a:pt x="2854667" y="596568"/>
                </a:lnTo>
                <a:lnTo>
                  <a:pt x="2858395" y="596568"/>
                </a:lnTo>
                <a:lnTo>
                  <a:pt x="2858395" y="380544"/>
                </a:lnTo>
                <a:close/>
                <a:moveTo>
                  <a:pt x="0" y="0"/>
                </a:moveTo>
                <a:lnTo>
                  <a:pt x="3240000" y="0"/>
                </a:lnTo>
                <a:lnTo>
                  <a:pt x="3240000" y="3240000"/>
                </a:lnTo>
                <a:lnTo>
                  <a:pt x="0" y="3240000"/>
                </a:lnTo>
                <a:close/>
              </a:path>
            </a:pathLst>
          </a:custGeom>
          <a:solidFill>
            <a:sysClr val="window" lastClr="FFFFFF"/>
          </a:solidFill>
          <a:ln w="12700" cap="flat" cmpd="sng" algn="ctr">
            <a:noFill/>
            <a:prstDash val="solid"/>
            <a:miter lim="800000"/>
          </a:ln>
          <a:effectLst/>
        </p:spPr>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defTabSz="1219139">
              <a:defRPr/>
            </a:pPr>
            <a:endParaRPr lang="ko-KR" altLang="en-US" sz="2400" dirty="0">
              <a:solidFill>
                <a:prstClr val="black"/>
              </a:solidFill>
              <a:latin typeface="Arial"/>
            </a:endParaRPr>
          </a:p>
        </p:txBody>
      </p:sp>
      <p:grpSp>
        <p:nvGrpSpPr>
          <p:cNvPr id="66" name="Group 6">
            <a:extLst>
              <a:ext uri="{FF2B5EF4-FFF2-40B4-BE49-F238E27FC236}">
                <a16:creationId xmlns:a16="http://schemas.microsoft.com/office/drawing/2014/main" id="{C95C57BE-7450-E19A-3901-595D7D4BF39C}"/>
              </a:ext>
            </a:extLst>
          </p:cNvPr>
          <p:cNvGrpSpPr/>
          <p:nvPr/>
        </p:nvGrpSpPr>
        <p:grpSpPr>
          <a:xfrm>
            <a:off x="8400260" y="4980532"/>
            <a:ext cx="3759529" cy="808594"/>
            <a:chOff x="-475010" y="1079530"/>
            <a:chExt cx="3859356" cy="606444"/>
          </a:xfrm>
        </p:grpSpPr>
        <p:sp>
          <p:nvSpPr>
            <p:cNvPr id="67" name="TextBox 7">
              <a:extLst>
                <a:ext uri="{FF2B5EF4-FFF2-40B4-BE49-F238E27FC236}">
                  <a16:creationId xmlns:a16="http://schemas.microsoft.com/office/drawing/2014/main" id="{EC316F36-56D9-F8A9-365D-1C2E5BA2A855}"/>
                </a:ext>
              </a:extLst>
            </p:cNvPr>
            <p:cNvSpPr txBox="1"/>
            <p:nvPr/>
          </p:nvSpPr>
          <p:spPr>
            <a:xfrm>
              <a:off x="-475010" y="1079530"/>
              <a:ext cx="3859356" cy="377074"/>
            </a:xfrm>
            <a:prstGeom prst="rect">
              <a:avLst/>
            </a:prstGeom>
            <a:noFill/>
          </p:spPr>
          <p:txBody>
            <a:bodyPr wrap="square" rtlCol="0" anchor="ctr">
              <a:spAutoFit/>
            </a:bodyPr>
            <a:lstStyle/>
            <a:p>
              <a:pPr algn="ctr" defTabSz="1219139"/>
              <a:r>
                <a:rPr lang="ar-SA" altLang="ko-KR" sz="2667" b="1" dirty="0">
                  <a:solidFill>
                    <a:srgbClr val="7030A0"/>
                  </a:solidFill>
                  <a:latin typeface="Sakkal Majalla" panose="02000000000000000000" pitchFamily="2" charset="-78"/>
                  <a:cs typeface="Sakkal Majalla" panose="02000000000000000000" pitchFamily="2" charset="-78"/>
                </a:rPr>
                <a:t>المستفيدون</a:t>
              </a:r>
              <a:endParaRPr lang="ko-KR" altLang="en-US" sz="2667" b="1" dirty="0">
                <a:solidFill>
                  <a:srgbClr val="7030A0"/>
                </a:solidFill>
                <a:latin typeface="Sakkal Majalla" panose="02000000000000000000" pitchFamily="2" charset="-78"/>
                <a:cs typeface="Sakkal Majalla" panose="02000000000000000000" pitchFamily="2" charset="-78"/>
              </a:endParaRPr>
            </a:p>
          </p:txBody>
        </p:sp>
        <p:sp>
          <p:nvSpPr>
            <p:cNvPr id="68" name="TextBox 8">
              <a:extLst>
                <a:ext uri="{FF2B5EF4-FFF2-40B4-BE49-F238E27FC236}">
                  <a16:creationId xmlns:a16="http://schemas.microsoft.com/office/drawing/2014/main" id="{EDD8647B-B6B0-2ED3-203E-F610E6909D1D}"/>
                </a:ext>
              </a:extLst>
            </p:cNvPr>
            <p:cNvSpPr txBox="1"/>
            <p:nvPr/>
          </p:nvSpPr>
          <p:spPr>
            <a:xfrm>
              <a:off x="-460976" y="1339726"/>
              <a:ext cx="3845322" cy="346248"/>
            </a:xfrm>
            <a:prstGeom prst="rect">
              <a:avLst/>
            </a:prstGeom>
            <a:noFill/>
          </p:spPr>
          <p:txBody>
            <a:bodyPr wrap="square" rtlCol="0">
              <a:spAutoFit/>
            </a:bodyPr>
            <a:lstStyle/>
            <a:p>
              <a:pPr algn="ctr" defTabSz="1219139"/>
              <a:r>
                <a:rPr lang="ar-SA" altLang="ko-KR" sz="2400" dirty="0">
                  <a:solidFill>
                    <a:srgbClr val="0070C0"/>
                  </a:solidFill>
                  <a:latin typeface="Sakkal Majalla" panose="02000000000000000000" pitchFamily="2" charset="-78"/>
                  <a:cs typeface="Sakkal Majalla" panose="02000000000000000000" pitchFamily="2" charset="-78"/>
                </a:rPr>
                <a:t>جميع المدارس في المملكة</a:t>
              </a:r>
              <a:endParaRPr lang="en-US" altLang="ko-KR" sz="2400" dirty="0">
                <a:solidFill>
                  <a:srgbClr val="0070C0"/>
                </a:solidFill>
                <a:latin typeface="Sakkal Majalla" panose="02000000000000000000" pitchFamily="2" charset="-78"/>
                <a:cs typeface="Sakkal Majalla" panose="02000000000000000000" pitchFamily="2" charset="-78"/>
              </a:endParaRPr>
            </a:p>
          </p:txBody>
        </p:sp>
      </p:grpSp>
      <p:grpSp>
        <p:nvGrpSpPr>
          <p:cNvPr id="69" name="Group 6">
            <a:extLst>
              <a:ext uri="{FF2B5EF4-FFF2-40B4-BE49-F238E27FC236}">
                <a16:creationId xmlns:a16="http://schemas.microsoft.com/office/drawing/2014/main" id="{698D09C1-72DB-3D42-534C-49FEB8BB3BB5}"/>
              </a:ext>
            </a:extLst>
          </p:cNvPr>
          <p:cNvGrpSpPr/>
          <p:nvPr/>
        </p:nvGrpSpPr>
        <p:grpSpPr>
          <a:xfrm>
            <a:off x="232514" y="4959242"/>
            <a:ext cx="3759529" cy="808594"/>
            <a:chOff x="-475010" y="1079530"/>
            <a:chExt cx="3859356" cy="606444"/>
          </a:xfrm>
        </p:grpSpPr>
        <p:sp>
          <p:nvSpPr>
            <p:cNvPr id="70" name="TextBox 7">
              <a:extLst>
                <a:ext uri="{FF2B5EF4-FFF2-40B4-BE49-F238E27FC236}">
                  <a16:creationId xmlns:a16="http://schemas.microsoft.com/office/drawing/2014/main" id="{C6519044-7094-CE33-2E60-8F4C70E5EDA2}"/>
                </a:ext>
              </a:extLst>
            </p:cNvPr>
            <p:cNvSpPr txBox="1"/>
            <p:nvPr/>
          </p:nvSpPr>
          <p:spPr>
            <a:xfrm>
              <a:off x="-475010" y="1079530"/>
              <a:ext cx="3859356" cy="377074"/>
            </a:xfrm>
            <a:prstGeom prst="rect">
              <a:avLst/>
            </a:prstGeom>
            <a:noFill/>
          </p:spPr>
          <p:txBody>
            <a:bodyPr wrap="square" rtlCol="0" anchor="ctr">
              <a:spAutoFit/>
            </a:bodyPr>
            <a:lstStyle/>
            <a:p>
              <a:pPr algn="ctr" defTabSz="1219139"/>
              <a:r>
                <a:rPr lang="ar-SA" altLang="ko-KR" sz="2667" b="1" dirty="0">
                  <a:solidFill>
                    <a:srgbClr val="7030A0"/>
                  </a:solidFill>
                  <a:latin typeface="Sakkal Majalla" panose="02000000000000000000" pitchFamily="2" charset="-78"/>
                  <a:cs typeface="Sakkal Majalla" panose="02000000000000000000" pitchFamily="2" charset="-78"/>
                </a:rPr>
                <a:t>المستفيدون</a:t>
              </a:r>
              <a:endParaRPr lang="ko-KR" altLang="en-US" sz="2667" b="1" dirty="0">
                <a:solidFill>
                  <a:srgbClr val="7030A0"/>
                </a:solidFill>
                <a:latin typeface="Sakkal Majalla" panose="02000000000000000000" pitchFamily="2" charset="-78"/>
                <a:cs typeface="Sakkal Majalla" panose="02000000000000000000" pitchFamily="2" charset="-78"/>
              </a:endParaRPr>
            </a:p>
          </p:txBody>
        </p:sp>
        <p:sp>
          <p:nvSpPr>
            <p:cNvPr id="71" name="TextBox 8">
              <a:extLst>
                <a:ext uri="{FF2B5EF4-FFF2-40B4-BE49-F238E27FC236}">
                  <a16:creationId xmlns:a16="http://schemas.microsoft.com/office/drawing/2014/main" id="{CB60D9F9-201A-786E-E3CF-8A7A79D4E92E}"/>
                </a:ext>
              </a:extLst>
            </p:cNvPr>
            <p:cNvSpPr txBox="1"/>
            <p:nvPr/>
          </p:nvSpPr>
          <p:spPr>
            <a:xfrm>
              <a:off x="-460976" y="1339726"/>
              <a:ext cx="3845322" cy="346248"/>
            </a:xfrm>
            <a:prstGeom prst="rect">
              <a:avLst/>
            </a:prstGeom>
            <a:noFill/>
          </p:spPr>
          <p:txBody>
            <a:bodyPr wrap="square" rtlCol="0">
              <a:spAutoFit/>
            </a:bodyPr>
            <a:lstStyle/>
            <a:p>
              <a:pPr algn="ctr" defTabSz="1219139"/>
              <a:r>
                <a:rPr lang="ar-SA" altLang="ko-KR" sz="2400" dirty="0">
                  <a:solidFill>
                    <a:srgbClr val="0070C0"/>
                  </a:solidFill>
                  <a:latin typeface="Sakkal Majalla" panose="02000000000000000000" pitchFamily="2" charset="-78"/>
                  <a:cs typeface="Sakkal Majalla" panose="02000000000000000000" pitchFamily="2" charset="-78"/>
                </a:rPr>
                <a:t>جميع المدارس في المملكة</a:t>
              </a:r>
              <a:endParaRPr lang="en-US" altLang="ko-KR" sz="2400" dirty="0">
                <a:solidFill>
                  <a:srgbClr val="0070C0"/>
                </a:solidFill>
                <a:latin typeface="Sakkal Majalla" panose="02000000000000000000" pitchFamily="2" charset="-78"/>
                <a:cs typeface="Sakkal Majalla" panose="02000000000000000000" pitchFamily="2" charset="-78"/>
              </a:endParaRPr>
            </a:p>
          </p:txBody>
        </p:sp>
      </p:grpSp>
      <p:grpSp>
        <p:nvGrpSpPr>
          <p:cNvPr id="72" name="Group 6">
            <a:extLst>
              <a:ext uri="{FF2B5EF4-FFF2-40B4-BE49-F238E27FC236}">
                <a16:creationId xmlns:a16="http://schemas.microsoft.com/office/drawing/2014/main" id="{23F54E82-3292-F012-922C-09A1EA5AB040}"/>
              </a:ext>
            </a:extLst>
          </p:cNvPr>
          <p:cNvGrpSpPr/>
          <p:nvPr/>
        </p:nvGrpSpPr>
        <p:grpSpPr>
          <a:xfrm>
            <a:off x="232512" y="1955656"/>
            <a:ext cx="3759529" cy="808594"/>
            <a:chOff x="-475010" y="1079530"/>
            <a:chExt cx="3859356" cy="606444"/>
          </a:xfrm>
        </p:grpSpPr>
        <p:sp>
          <p:nvSpPr>
            <p:cNvPr id="73" name="TextBox 7">
              <a:extLst>
                <a:ext uri="{FF2B5EF4-FFF2-40B4-BE49-F238E27FC236}">
                  <a16:creationId xmlns:a16="http://schemas.microsoft.com/office/drawing/2014/main" id="{9FE9A61E-19DD-FA13-E0A2-356932C5240E}"/>
                </a:ext>
              </a:extLst>
            </p:cNvPr>
            <p:cNvSpPr txBox="1"/>
            <p:nvPr/>
          </p:nvSpPr>
          <p:spPr>
            <a:xfrm>
              <a:off x="-475010" y="1079530"/>
              <a:ext cx="3859356" cy="377074"/>
            </a:xfrm>
            <a:prstGeom prst="rect">
              <a:avLst/>
            </a:prstGeom>
            <a:noFill/>
          </p:spPr>
          <p:txBody>
            <a:bodyPr wrap="square" rtlCol="0" anchor="ctr">
              <a:spAutoFit/>
            </a:bodyPr>
            <a:lstStyle/>
            <a:p>
              <a:pPr algn="ctr" defTabSz="1219139"/>
              <a:r>
                <a:rPr lang="ar-SA" altLang="ko-KR" sz="2667" b="1" dirty="0">
                  <a:solidFill>
                    <a:srgbClr val="7030A0"/>
                  </a:solidFill>
                  <a:latin typeface="Sakkal Majalla" panose="02000000000000000000" pitchFamily="2" charset="-78"/>
                  <a:cs typeface="Sakkal Majalla" panose="02000000000000000000" pitchFamily="2" charset="-78"/>
                </a:rPr>
                <a:t>المستفيدون</a:t>
              </a:r>
              <a:endParaRPr lang="ko-KR" altLang="en-US" sz="2667" b="1" dirty="0">
                <a:solidFill>
                  <a:srgbClr val="7030A0"/>
                </a:solidFill>
                <a:latin typeface="Sakkal Majalla" panose="02000000000000000000" pitchFamily="2" charset="-78"/>
                <a:cs typeface="Sakkal Majalla" panose="02000000000000000000" pitchFamily="2" charset="-78"/>
              </a:endParaRPr>
            </a:p>
          </p:txBody>
        </p:sp>
        <p:sp>
          <p:nvSpPr>
            <p:cNvPr id="74" name="TextBox 8">
              <a:extLst>
                <a:ext uri="{FF2B5EF4-FFF2-40B4-BE49-F238E27FC236}">
                  <a16:creationId xmlns:a16="http://schemas.microsoft.com/office/drawing/2014/main" id="{F14F917D-93DA-0B31-DFF9-3DB3B3AAA7D8}"/>
                </a:ext>
              </a:extLst>
            </p:cNvPr>
            <p:cNvSpPr txBox="1"/>
            <p:nvPr/>
          </p:nvSpPr>
          <p:spPr>
            <a:xfrm>
              <a:off x="-460976" y="1339726"/>
              <a:ext cx="3845322" cy="346248"/>
            </a:xfrm>
            <a:prstGeom prst="rect">
              <a:avLst/>
            </a:prstGeom>
            <a:noFill/>
          </p:spPr>
          <p:txBody>
            <a:bodyPr wrap="square" rtlCol="0">
              <a:spAutoFit/>
            </a:bodyPr>
            <a:lstStyle/>
            <a:p>
              <a:pPr algn="ctr" defTabSz="1219139"/>
              <a:r>
                <a:rPr lang="ar-SA" altLang="ko-KR" sz="2400" dirty="0">
                  <a:solidFill>
                    <a:srgbClr val="0070C0"/>
                  </a:solidFill>
                  <a:latin typeface="Sakkal Majalla" panose="02000000000000000000" pitchFamily="2" charset="-78"/>
                  <a:cs typeface="Sakkal Majalla" panose="02000000000000000000" pitchFamily="2" charset="-78"/>
                </a:rPr>
                <a:t>المدارس الأهلية والعالمية</a:t>
              </a:r>
              <a:endParaRPr lang="en-US" altLang="ko-KR" sz="2400" dirty="0">
                <a:solidFill>
                  <a:srgbClr val="0070C0"/>
                </a:solidFill>
                <a:latin typeface="Sakkal Majalla" panose="02000000000000000000" pitchFamily="2" charset="-78"/>
                <a:cs typeface="Sakkal Majalla" panose="02000000000000000000" pitchFamily="2" charset="-78"/>
              </a:endParaRPr>
            </a:p>
          </p:txBody>
        </p:sp>
      </p:grpSp>
      <p:sp>
        <p:nvSpPr>
          <p:cNvPr id="75" name="Rectangle 28">
            <a:extLst>
              <a:ext uri="{FF2B5EF4-FFF2-40B4-BE49-F238E27FC236}">
                <a16:creationId xmlns:a16="http://schemas.microsoft.com/office/drawing/2014/main" id="{9C1DB9D7-EF1F-288C-9BFB-457AE6F51FB5}"/>
              </a:ext>
            </a:extLst>
          </p:cNvPr>
          <p:cNvSpPr/>
          <p:nvPr/>
        </p:nvSpPr>
        <p:spPr>
          <a:xfrm>
            <a:off x="1583499" y="452672"/>
            <a:ext cx="9268420" cy="743241"/>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1" tIns="60960" rIns="121921" bIns="60960" numCol="1" spcCol="0" rtlCol="0" fromWordArt="0" anchor="ctr" anchorCtr="0" forceAA="0" compatLnSpc="1">
            <a:prstTxWarp prst="textNoShape">
              <a:avLst/>
            </a:prstTxWarp>
            <a:noAutofit/>
          </a:bodyPr>
          <a:lstStyle/>
          <a:p>
            <a:pPr algn="ctr" rtl="1"/>
            <a:r>
              <a:rPr lang="ar-SA" altLang="ko-KR" sz="3733" b="1" dirty="0">
                <a:solidFill>
                  <a:schemeClr val="bg1"/>
                </a:solidFill>
                <a:latin typeface="Sakkal Majalla" panose="02000000000000000000" pitchFamily="2" charset="-78"/>
                <a:cs typeface="Sakkal Majalla" panose="02000000000000000000" pitchFamily="2" charset="-78"/>
              </a:rPr>
              <a:t>رحلة الإجراءات</a:t>
            </a:r>
            <a:endParaRPr lang="ko-KR" altLang="en-US" sz="3733" b="1" dirty="0">
              <a:solidFill>
                <a:schemeClr val="bg1"/>
              </a:solidFill>
              <a:latin typeface="Sakkal Majalla" panose="02000000000000000000" pitchFamily="2" charset="-78"/>
              <a:cs typeface="Sakkal Majalla" panose="02000000000000000000" pitchFamily="2" charset="-78"/>
            </a:endParaRPr>
          </a:p>
        </p:txBody>
      </p:sp>
    </p:spTree>
    <p:extLst>
      <p:ext uri="{BB962C8B-B14F-4D97-AF65-F5344CB8AC3E}">
        <p14:creationId xmlns:p14="http://schemas.microsoft.com/office/powerpoint/2010/main" val="11575234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75"/>
                                        </p:tgtEl>
                                        <p:attrNameLst>
                                          <p:attrName>style.visibility</p:attrName>
                                        </p:attrNameLst>
                                      </p:cBhvr>
                                      <p:to>
                                        <p:strVal val="visible"/>
                                      </p:to>
                                    </p:set>
                                    <p:animEffect transition="in" filter="barn(inVertical)">
                                      <p:cBhvr>
                                        <p:cTn id="7" dur="1250"/>
                                        <p:tgtEl>
                                          <p:spTgt spid="75"/>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nodeType="clickEffect">
                                  <p:stCondLst>
                                    <p:cond delay="0"/>
                                  </p:stCondLst>
                                  <p:childTnLst>
                                    <p:set>
                                      <p:cBhvr>
                                        <p:cTn id="11" dur="1" fill="hold">
                                          <p:stCondLst>
                                            <p:cond delay="0"/>
                                          </p:stCondLst>
                                        </p:cTn>
                                        <p:tgtEl>
                                          <p:spTgt spid="53"/>
                                        </p:tgtEl>
                                        <p:attrNameLst>
                                          <p:attrName>style.visibility</p:attrName>
                                        </p:attrNameLst>
                                      </p:cBhvr>
                                      <p:to>
                                        <p:strVal val="visible"/>
                                      </p:to>
                                    </p:set>
                                    <p:animEffect transition="in" filter="barn(inVertical)">
                                      <p:cBhvr>
                                        <p:cTn id="12" dur="500"/>
                                        <p:tgtEl>
                                          <p:spTgt spid="53"/>
                                        </p:tgtEl>
                                      </p:cBhvr>
                                    </p:animEffect>
                                  </p:childTnLst>
                                </p:cTn>
                              </p:par>
                            </p:childTnLst>
                          </p:cTn>
                        </p:par>
                      </p:childTnLst>
                    </p:cTn>
                  </p:par>
                  <p:par>
                    <p:cTn id="13" fill="hold">
                      <p:stCondLst>
                        <p:cond delay="indefinite"/>
                      </p:stCondLst>
                      <p:childTnLst>
                        <p:par>
                          <p:cTn id="14" fill="hold">
                            <p:stCondLst>
                              <p:cond delay="0"/>
                            </p:stCondLst>
                            <p:childTnLst>
                              <p:par>
                                <p:cTn id="15" presetID="16" presetClass="entr" presetSubtype="21" fill="hold" grpId="0" nodeType="clickEffect">
                                  <p:stCondLst>
                                    <p:cond delay="0"/>
                                  </p:stCondLst>
                                  <p:childTnLst>
                                    <p:set>
                                      <p:cBhvr>
                                        <p:cTn id="16" dur="1" fill="hold">
                                          <p:stCondLst>
                                            <p:cond delay="0"/>
                                          </p:stCondLst>
                                        </p:cTn>
                                        <p:tgtEl>
                                          <p:spTgt spid="34"/>
                                        </p:tgtEl>
                                        <p:attrNameLst>
                                          <p:attrName>style.visibility</p:attrName>
                                        </p:attrNameLst>
                                      </p:cBhvr>
                                      <p:to>
                                        <p:strVal val="visible"/>
                                      </p:to>
                                    </p:set>
                                    <p:animEffect transition="in" filter="barn(inVertical)">
                                      <p:cBhvr>
                                        <p:cTn id="17" dur="500"/>
                                        <p:tgtEl>
                                          <p:spTgt spid="34"/>
                                        </p:tgtEl>
                                      </p:cBhvr>
                                    </p:animEffect>
                                  </p:childTnLst>
                                </p:cTn>
                              </p:par>
                            </p:childTnLst>
                          </p:cTn>
                        </p:par>
                      </p:childTnLst>
                    </p:cTn>
                  </p:par>
                  <p:par>
                    <p:cTn id="18" fill="hold">
                      <p:stCondLst>
                        <p:cond delay="indefinite"/>
                      </p:stCondLst>
                      <p:childTnLst>
                        <p:par>
                          <p:cTn id="19" fill="hold">
                            <p:stCondLst>
                              <p:cond delay="0"/>
                            </p:stCondLst>
                            <p:childTnLst>
                              <p:par>
                                <p:cTn id="20" presetID="16" presetClass="entr" presetSubtype="21" fill="hold" nodeType="clickEffect">
                                  <p:stCondLst>
                                    <p:cond delay="0"/>
                                  </p:stCondLst>
                                  <p:childTnLst>
                                    <p:set>
                                      <p:cBhvr>
                                        <p:cTn id="21" dur="1" fill="hold">
                                          <p:stCondLst>
                                            <p:cond delay="0"/>
                                          </p:stCondLst>
                                        </p:cTn>
                                        <p:tgtEl>
                                          <p:spTgt spid="44"/>
                                        </p:tgtEl>
                                        <p:attrNameLst>
                                          <p:attrName>style.visibility</p:attrName>
                                        </p:attrNameLst>
                                      </p:cBhvr>
                                      <p:to>
                                        <p:strVal val="visible"/>
                                      </p:to>
                                    </p:set>
                                    <p:animEffect transition="in" filter="barn(inVertical)">
                                      <p:cBhvr>
                                        <p:cTn id="22" dur="500"/>
                                        <p:tgtEl>
                                          <p:spTgt spid="44"/>
                                        </p:tgtEl>
                                      </p:cBhvr>
                                    </p:animEffect>
                                  </p:childTnLst>
                                </p:cTn>
                              </p:par>
                            </p:childTnLst>
                          </p:cTn>
                        </p:par>
                      </p:childTnLst>
                    </p:cTn>
                  </p:par>
                  <p:par>
                    <p:cTn id="23" fill="hold">
                      <p:stCondLst>
                        <p:cond delay="indefinite"/>
                      </p:stCondLst>
                      <p:childTnLst>
                        <p:par>
                          <p:cTn id="24" fill="hold">
                            <p:stCondLst>
                              <p:cond delay="0"/>
                            </p:stCondLst>
                            <p:childTnLst>
                              <p:par>
                                <p:cTn id="25" presetID="16" presetClass="entr" presetSubtype="21" fill="hold" nodeType="click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barn(inVertical)">
                                      <p:cBhvr>
                                        <p:cTn id="27" dur="500"/>
                                        <p:tgtEl>
                                          <p:spTgt spid="9"/>
                                        </p:tgtEl>
                                      </p:cBhvr>
                                    </p:animEffect>
                                  </p:childTnLst>
                                </p:cTn>
                              </p:par>
                            </p:childTnLst>
                          </p:cTn>
                        </p:par>
                      </p:childTnLst>
                    </p:cTn>
                  </p:par>
                  <p:par>
                    <p:cTn id="28" fill="hold">
                      <p:stCondLst>
                        <p:cond delay="indefinite"/>
                      </p:stCondLst>
                      <p:childTnLst>
                        <p:par>
                          <p:cTn id="29" fill="hold">
                            <p:stCondLst>
                              <p:cond delay="0"/>
                            </p:stCondLst>
                            <p:childTnLst>
                              <p:par>
                                <p:cTn id="30" presetID="16" presetClass="entr" presetSubtype="21" fill="hold" grpId="0" nodeType="clickEffect">
                                  <p:stCondLst>
                                    <p:cond delay="0"/>
                                  </p:stCondLst>
                                  <p:childTnLst>
                                    <p:set>
                                      <p:cBhvr>
                                        <p:cTn id="31" dur="1" fill="hold">
                                          <p:stCondLst>
                                            <p:cond delay="0"/>
                                          </p:stCondLst>
                                        </p:cTn>
                                        <p:tgtEl>
                                          <p:spTgt spid="38"/>
                                        </p:tgtEl>
                                        <p:attrNameLst>
                                          <p:attrName>style.visibility</p:attrName>
                                        </p:attrNameLst>
                                      </p:cBhvr>
                                      <p:to>
                                        <p:strVal val="visible"/>
                                      </p:to>
                                    </p:set>
                                    <p:animEffect transition="in" filter="barn(inVertical)">
                                      <p:cBhvr>
                                        <p:cTn id="32" dur="500"/>
                                        <p:tgtEl>
                                          <p:spTgt spid="38"/>
                                        </p:tgtEl>
                                      </p:cBhvr>
                                    </p:animEffect>
                                  </p:childTnLst>
                                </p:cTn>
                              </p:par>
                            </p:childTnLst>
                          </p:cTn>
                        </p:par>
                      </p:childTnLst>
                    </p:cTn>
                  </p:par>
                  <p:par>
                    <p:cTn id="33" fill="hold">
                      <p:stCondLst>
                        <p:cond delay="indefinite"/>
                      </p:stCondLst>
                      <p:childTnLst>
                        <p:par>
                          <p:cTn id="34" fill="hold">
                            <p:stCondLst>
                              <p:cond delay="0"/>
                            </p:stCondLst>
                            <p:childTnLst>
                              <p:par>
                                <p:cTn id="35" presetID="16" presetClass="entr" presetSubtype="21" fill="hold" nodeType="clickEffect">
                                  <p:stCondLst>
                                    <p:cond delay="0"/>
                                  </p:stCondLst>
                                  <p:childTnLst>
                                    <p:set>
                                      <p:cBhvr>
                                        <p:cTn id="36" dur="1" fill="hold">
                                          <p:stCondLst>
                                            <p:cond delay="0"/>
                                          </p:stCondLst>
                                        </p:cTn>
                                        <p:tgtEl>
                                          <p:spTgt spid="47"/>
                                        </p:tgtEl>
                                        <p:attrNameLst>
                                          <p:attrName>style.visibility</p:attrName>
                                        </p:attrNameLst>
                                      </p:cBhvr>
                                      <p:to>
                                        <p:strVal val="visible"/>
                                      </p:to>
                                    </p:set>
                                    <p:animEffect transition="in" filter="barn(inVertical)">
                                      <p:cBhvr>
                                        <p:cTn id="37" dur="500"/>
                                        <p:tgtEl>
                                          <p:spTgt spid="47"/>
                                        </p:tgtEl>
                                      </p:cBhvr>
                                    </p:animEffect>
                                  </p:childTnLst>
                                </p:cTn>
                              </p:par>
                            </p:childTnLst>
                          </p:cTn>
                        </p:par>
                      </p:childTnLst>
                    </p:cTn>
                  </p:par>
                  <p:par>
                    <p:cTn id="38" fill="hold">
                      <p:stCondLst>
                        <p:cond delay="indefinite"/>
                      </p:stCondLst>
                      <p:childTnLst>
                        <p:par>
                          <p:cTn id="39" fill="hold">
                            <p:stCondLst>
                              <p:cond delay="0"/>
                            </p:stCondLst>
                            <p:childTnLst>
                              <p:par>
                                <p:cTn id="40" presetID="16" presetClass="entr" presetSubtype="21" fill="hold" nodeType="click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barn(inVertical)">
                                      <p:cBhvr>
                                        <p:cTn id="42" dur="500"/>
                                        <p:tgtEl>
                                          <p:spTgt spid="66"/>
                                        </p:tgtEl>
                                      </p:cBhvr>
                                    </p:animEffect>
                                  </p:childTnLst>
                                </p:cTn>
                              </p:par>
                            </p:childTnLst>
                          </p:cTn>
                        </p:par>
                      </p:childTnLst>
                    </p:cTn>
                  </p:par>
                  <p:par>
                    <p:cTn id="43" fill="hold">
                      <p:stCondLst>
                        <p:cond delay="indefinite"/>
                      </p:stCondLst>
                      <p:childTnLst>
                        <p:par>
                          <p:cTn id="44" fill="hold">
                            <p:stCondLst>
                              <p:cond delay="0"/>
                            </p:stCondLst>
                            <p:childTnLst>
                              <p:par>
                                <p:cTn id="45" presetID="16" presetClass="entr" presetSubtype="21" fill="hold" grpId="0" nodeType="clickEffect">
                                  <p:stCondLst>
                                    <p:cond delay="0"/>
                                  </p:stCondLst>
                                  <p:childTnLst>
                                    <p:set>
                                      <p:cBhvr>
                                        <p:cTn id="46" dur="1" fill="hold">
                                          <p:stCondLst>
                                            <p:cond delay="0"/>
                                          </p:stCondLst>
                                        </p:cTn>
                                        <p:tgtEl>
                                          <p:spTgt spid="26"/>
                                        </p:tgtEl>
                                        <p:attrNameLst>
                                          <p:attrName>style.visibility</p:attrName>
                                        </p:attrNameLst>
                                      </p:cBhvr>
                                      <p:to>
                                        <p:strVal val="visible"/>
                                      </p:to>
                                    </p:set>
                                    <p:animEffect transition="in" filter="barn(inVertical)">
                                      <p:cBhvr>
                                        <p:cTn id="47" dur="500"/>
                                        <p:tgtEl>
                                          <p:spTgt spid="26"/>
                                        </p:tgtEl>
                                      </p:cBhvr>
                                    </p:animEffect>
                                  </p:childTnLst>
                                </p:cTn>
                              </p:par>
                            </p:childTnLst>
                          </p:cTn>
                        </p:par>
                      </p:childTnLst>
                    </p:cTn>
                  </p:par>
                  <p:par>
                    <p:cTn id="48" fill="hold">
                      <p:stCondLst>
                        <p:cond delay="indefinite"/>
                      </p:stCondLst>
                      <p:childTnLst>
                        <p:par>
                          <p:cTn id="49" fill="hold">
                            <p:stCondLst>
                              <p:cond delay="0"/>
                            </p:stCondLst>
                            <p:childTnLst>
                              <p:par>
                                <p:cTn id="50" presetID="16" presetClass="entr" presetSubtype="21" fill="hold" nodeType="clickEffect">
                                  <p:stCondLst>
                                    <p:cond delay="0"/>
                                  </p:stCondLst>
                                  <p:childTnLst>
                                    <p:set>
                                      <p:cBhvr>
                                        <p:cTn id="51" dur="1" fill="hold">
                                          <p:stCondLst>
                                            <p:cond delay="0"/>
                                          </p:stCondLst>
                                        </p:cTn>
                                        <p:tgtEl>
                                          <p:spTgt spid="50"/>
                                        </p:tgtEl>
                                        <p:attrNameLst>
                                          <p:attrName>style.visibility</p:attrName>
                                        </p:attrNameLst>
                                      </p:cBhvr>
                                      <p:to>
                                        <p:strVal val="visible"/>
                                      </p:to>
                                    </p:set>
                                    <p:animEffect transition="in" filter="barn(inVertical)">
                                      <p:cBhvr>
                                        <p:cTn id="52" dur="500"/>
                                        <p:tgtEl>
                                          <p:spTgt spid="50"/>
                                        </p:tgtEl>
                                      </p:cBhvr>
                                    </p:animEffect>
                                  </p:childTnLst>
                                </p:cTn>
                              </p:par>
                            </p:childTnLst>
                          </p:cTn>
                        </p:par>
                      </p:childTnLst>
                    </p:cTn>
                  </p:par>
                  <p:par>
                    <p:cTn id="53" fill="hold">
                      <p:stCondLst>
                        <p:cond delay="indefinite"/>
                      </p:stCondLst>
                      <p:childTnLst>
                        <p:par>
                          <p:cTn id="54" fill="hold">
                            <p:stCondLst>
                              <p:cond delay="0"/>
                            </p:stCondLst>
                            <p:childTnLst>
                              <p:par>
                                <p:cTn id="55" presetID="16" presetClass="entr" presetSubtype="21" fill="hold" nodeType="clickEffect">
                                  <p:stCondLst>
                                    <p:cond delay="0"/>
                                  </p:stCondLst>
                                  <p:childTnLst>
                                    <p:set>
                                      <p:cBhvr>
                                        <p:cTn id="56" dur="1" fill="hold">
                                          <p:stCondLst>
                                            <p:cond delay="0"/>
                                          </p:stCondLst>
                                        </p:cTn>
                                        <p:tgtEl>
                                          <p:spTgt spid="69"/>
                                        </p:tgtEl>
                                        <p:attrNameLst>
                                          <p:attrName>style.visibility</p:attrName>
                                        </p:attrNameLst>
                                      </p:cBhvr>
                                      <p:to>
                                        <p:strVal val="visible"/>
                                      </p:to>
                                    </p:set>
                                    <p:animEffect transition="in" filter="barn(inVertical)">
                                      <p:cBhvr>
                                        <p:cTn id="57" dur="500"/>
                                        <p:tgtEl>
                                          <p:spTgt spid="69"/>
                                        </p:tgtEl>
                                      </p:cBhvr>
                                    </p:animEffect>
                                  </p:childTnLst>
                                </p:cTn>
                              </p:par>
                            </p:childTnLst>
                          </p:cTn>
                        </p:par>
                      </p:childTnLst>
                    </p:cTn>
                  </p:par>
                  <p:par>
                    <p:cTn id="58" fill="hold">
                      <p:stCondLst>
                        <p:cond delay="indefinite"/>
                      </p:stCondLst>
                      <p:childTnLst>
                        <p:par>
                          <p:cTn id="59" fill="hold">
                            <p:stCondLst>
                              <p:cond delay="0"/>
                            </p:stCondLst>
                            <p:childTnLst>
                              <p:par>
                                <p:cTn id="60" presetID="16" presetClass="entr" presetSubtype="21" fill="hold" grpId="0" nodeType="clickEffect">
                                  <p:stCondLst>
                                    <p:cond delay="0"/>
                                  </p:stCondLst>
                                  <p:childTnLst>
                                    <p:set>
                                      <p:cBhvr>
                                        <p:cTn id="61" dur="1" fill="hold">
                                          <p:stCondLst>
                                            <p:cond delay="0"/>
                                          </p:stCondLst>
                                        </p:cTn>
                                        <p:tgtEl>
                                          <p:spTgt spid="30"/>
                                        </p:tgtEl>
                                        <p:attrNameLst>
                                          <p:attrName>style.visibility</p:attrName>
                                        </p:attrNameLst>
                                      </p:cBhvr>
                                      <p:to>
                                        <p:strVal val="visible"/>
                                      </p:to>
                                    </p:set>
                                    <p:animEffect transition="in" filter="barn(inVertical)">
                                      <p:cBhvr>
                                        <p:cTn id="62" dur="500"/>
                                        <p:tgtEl>
                                          <p:spTgt spid="30"/>
                                        </p:tgtEl>
                                      </p:cBhvr>
                                    </p:animEffect>
                                  </p:childTnLst>
                                </p:cTn>
                              </p:par>
                            </p:childTnLst>
                          </p:cTn>
                        </p:par>
                      </p:childTnLst>
                    </p:cTn>
                  </p:par>
                  <p:par>
                    <p:cTn id="63" fill="hold">
                      <p:stCondLst>
                        <p:cond delay="indefinite"/>
                      </p:stCondLst>
                      <p:childTnLst>
                        <p:par>
                          <p:cTn id="64" fill="hold">
                            <p:stCondLst>
                              <p:cond delay="0"/>
                            </p:stCondLst>
                            <p:childTnLst>
                              <p:par>
                                <p:cTn id="65" presetID="16" presetClass="entr" presetSubtype="21" fill="hold" nodeType="clickEffect">
                                  <p:stCondLst>
                                    <p:cond delay="0"/>
                                  </p:stCondLst>
                                  <p:childTnLst>
                                    <p:set>
                                      <p:cBhvr>
                                        <p:cTn id="66" dur="1" fill="hold">
                                          <p:stCondLst>
                                            <p:cond delay="0"/>
                                          </p:stCondLst>
                                        </p:cTn>
                                        <p:tgtEl>
                                          <p:spTgt spid="41"/>
                                        </p:tgtEl>
                                        <p:attrNameLst>
                                          <p:attrName>style.visibility</p:attrName>
                                        </p:attrNameLst>
                                      </p:cBhvr>
                                      <p:to>
                                        <p:strVal val="visible"/>
                                      </p:to>
                                    </p:set>
                                    <p:animEffect transition="in" filter="barn(inVertical)">
                                      <p:cBhvr>
                                        <p:cTn id="67" dur="500"/>
                                        <p:tgtEl>
                                          <p:spTgt spid="41"/>
                                        </p:tgtEl>
                                      </p:cBhvr>
                                    </p:animEffect>
                                  </p:childTnLst>
                                </p:cTn>
                              </p:par>
                            </p:childTnLst>
                          </p:cTn>
                        </p:par>
                      </p:childTnLst>
                    </p:cTn>
                  </p:par>
                  <p:par>
                    <p:cTn id="68" fill="hold">
                      <p:stCondLst>
                        <p:cond delay="indefinite"/>
                      </p:stCondLst>
                      <p:childTnLst>
                        <p:par>
                          <p:cTn id="69" fill="hold">
                            <p:stCondLst>
                              <p:cond delay="0"/>
                            </p:stCondLst>
                            <p:childTnLst>
                              <p:par>
                                <p:cTn id="70" presetID="16" presetClass="entr" presetSubtype="21" fill="hold" nodeType="clickEffect">
                                  <p:stCondLst>
                                    <p:cond delay="0"/>
                                  </p:stCondLst>
                                  <p:childTnLst>
                                    <p:set>
                                      <p:cBhvr>
                                        <p:cTn id="71" dur="1" fill="hold">
                                          <p:stCondLst>
                                            <p:cond delay="0"/>
                                          </p:stCondLst>
                                        </p:cTn>
                                        <p:tgtEl>
                                          <p:spTgt spid="72"/>
                                        </p:tgtEl>
                                        <p:attrNameLst>
                                          <p:attrName>style.visibility</p:attrName>
                                        </p:attrNameLst>
                                      </p:cBhvr>
                                      <p:to>
                                        <p:strVal val="visible"/>
                                      </p:to>
                                    </p:set>
                                    <p:animEffect transition="in" filter="barn(inVertical)">
                                      <p:cBhvr>
                                        <p:cTn id="72" dur="500"/>
                                        <p:tgtEl>
                                          <p:spTgt spid="7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30" grpId="0" animBg="1"/>
      <p:bldP spid="34" grpId="0" animBg="1"/>
      <p:bldP spid="38" grpId="0" animBg="1"/>
      <p:bldP spid="75"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Google Shape;910;p31">
            <a:extLst>
              <a:ext uri="{FF2B5EF4-FFF2-40B4-BE49-F238E27FC236}">
                <a16:creationId xmlns:a16="http://schemas.microsoft.com/office/drawing/2014/main" id="{EE2AC09D-839A-6957-EF99-C7234E6AE5FE}"/>
              </a:ext>
            </a:extLst>
          </p:cNvPr>
          <p:cNvSpPr txBox="1"/>
          <p:nvPr/>
        </p:nvSpPr>
        <p:spPr>
          <a:xfrm>
            <a:off x="8306066" y="2213597"/>
            <a:ext cx="3491761" cy="418395"/>
          </a:xfrm>
          <a:prstGeom prst="rect">
            <a:avLst/>
          </a:prstGeom>
          <a:solidFill>
            <a:srgbClr val="00B0F0">
              <a:alpha val="55294"/>
            </a:srgbClr>
          </a:solidFill>
          <a:ln w="9525" cap="flat" cmpd="sng">
            <a:solidFill>
              <a:srgbClr val="97A4FF"/>
            </a:solidFill>
            <a:prstDash val="solid"/>
            <a:round/>
            <a:headEnd type="none" w="sm" len="sm"/>
            <a:tailEnd type="none" w="sm" len="sm"/>
          </a:ln>
        </p:spPr>
        <p:txBody>
          <a:bodyPr spcFirstLastPara="1" wrap="square" lIns="121900" tIns="121900" rIns="121900" bIns="121900" anchor="ctr" anchorCtr="0">
            <a:noAutofit/>
          </a:bodyPr>
          <a:lstStyle/>
          <a:p>
            <a:pPr algn="ctr" defTabSz="1219140" rtl="1" latinLnBrk="0">
              <a:defRPr/>
            </a:pPr>
            <a:r>
              <a:rPr lang="ar-SA" sz="2200" b="1" dirty="0">
                <a:solidFill>
                  <a:srgbClr val="01083A"/>
                </a:solidFill>
                <a:latin typeface="Sakkal Majalla" panose="02000000000000000000" pitchFamily="2" charset="-78"/>
                <a:ea typeface="Samim" panose="020B0603030804020204" pitchFamily="34" charset="0"/>
                <a:cs typeface="Sakkal Majalla" panose="02000000000000000000" pitchFamily="2" charset="-78"/>
                <a:sym typeface="Josefin Sans"/>
              </a:rPr>
              <a:t>مجال الإدارة( القيادة) المدرسية</a:t>
            </a:r>
            <a:endParaRPr sz="2200" b="1" dirty="0">
              <a:solidFill>
                <a:srgbClr val="01083A"/>
              </a:solidFill>
              <a:latin typeface="Sakkal Majalla" panose="02000000000000000000" pitchFamily="2" charset="-78"/>
              <a:ea typeface="Samim" panose="020B0603030804020204" pitchFamily="34" charset="0"/>
              <a:cs typeface="Sakkal Majalla" panose="02000000000000000000" pitchFamily="2" charset="-78"/>
              <a:sym typeface="Josefin Sans"/>
            </a:endParaRPr>
          </a:p>
        </p:txBody>
      </p:sp>
      <p:sp>
        <p:nvSpPr>
          <p:cNvPr id="3" name="Google Shape;911;p31">
            <a:extLst>
              <a:ext uri="{FF2B5EF4-FFF2-40B4-BE49-F238E27FC236}">
                <a16:creationId xmlns:a16="http://schemas.microsoft.com/office/drawing/2014/main" id="{CB10D576-2867-055E-4398-20C3D73A5981}"/>
              </a:ext>
            </a:extLst>
          </p:cNvPr>
          <p:cNvSpPr txBox="1"/>
          <p:nvPr/>
        </p:nvSpPr>
        <p:spPr>
          <a:xfrm>
            <a:off x="8306066" y="2655299"/>
            <a:ext cx="3489983" cy="1345379"/>
          </a:xfrm>
          <a:prstGeom prst="rect">
            <a:avLst/>
          </a:prstGeom>
          <a:noFill/>
          <a:ln w="9525" cap="flat" cmpd="sng">
            <a:solidFill>
              <a:srgbClr val="97A4FF"/>
            </a:solidFill>
            <a:prstDash val="solid"/>
            <a:round/>
            <a:headEnd type="none" w="sm" len="sm"/>
            <a:tailEnd type="none" w="sm" len="sm"/>
          </a:ln>
        </p:spPr>
        <p:txBody>
          <a:bodyPr spcFirstLastPara="1" wrap="square" lIns="60933" tIns="60933" rIns="60933" bIns="0" anchor="t" anchorCtr="0">
            <a:noAutofit/>
          </a:bodyPr>
          <a:lstStyle/>
          <a:p>
            <a:pPr marL="342891" indent="-342891" algn="r" defTabSz="1219140" rtl="1" latinLnBrk="0">
              <a:buClr>
                <a:srgbClr val="11C1FF"/>
              </a:buClr>
              <a:buFont typeface="Wingdings" panose="05000000000000000000" pitchFamily="2" charset="2"/>
              <a:buChar char="v"/>
              <a:defRPr/>
            </a:pPr>
            <a:r>
              <a:rPr lang="ar-SA" sz="2000" b="1" dirty="0">
                <a:solidFill>
                  <a:prstClr val="black"/>
                </a:solidFill>
                <a:latin typeface="Sakkal Majalla" panose="02000000000000000000" pitchFamily="2" charset="-78"/>
                <a:ea typeface="Samim" panose="020B0603030804020204" pitchFamily="34" charset="0"/>
                <a:cs typeface="Sakkal Majalla" panose="02000000000000000000" pitchFamily="2" charset="-78"/>
              </a:rPr>
              <a:t>التخطيط</a:t>
            </a:r>
          </a:p>
          <a:p>
            <a:pPr marL="342891" indent="-342891" algn="r" defTabSz="1219140" rtl="1" latinLnBrk="0">
              <a:buClr>
                <a:srgbClr val="11C1FF"/>
              </a:buClr>
              <a:buFont typeface="Wingdings" panose="05000000000000000000" pitchFamily="2" charset="2"/>
              <a:buChar char="v"/>
              <a:defRPr/>
            </a:pPr>
            <a:r>
              <a:rPr lang="ar-SA" sz="2000" b="1" kern="0" dirty="0">
                <a:solidFill>
                  <a:srgbClr val="01083A"/>
                </a:solidFill>
                <a:latin typeface="Sakkal Majalla" panose="02000000000000000000" pitchFamily="2" charset="-78"/>
                <a:ea typeface="Samim" panose="020B0603030804020204" pitchFamily="34" charset="0"/>
                <a:cs typeface="Sakkal Majalla" panose="02000000000000000000" pitchFamily="2" charset="-78"/>
                <a:sym typeface="Quicksand"/>
              </a:rPr>
              <a:t>قيادة العملية التعليمية</a:t>
            </a:r>
          </a:p>
          <a:p>
            <a:pPr marL="342891" indent="-342891" algn="r" defTabSz="1219140" rtl="1" latinLnBrk="0">
              <a:buClr>
                <a:srgbClr val="11C1FF"/>
              </a:buClr>
              <a:buFont typeface="Wingdings" panose="05000000000000000000" pitchFamily="2" charset="2"/>
              <a:buChar char="v"/>
              <a:defRPr/>
            </a:pPr>
            <a:r>
              <a:rPr lang="ar-SA" sz="2000" b="1" kern="0" dirty="0">
                <a:solidFill>
                  <a:srgbClr val="01083A"/>
                </a:solidFill>
                <a:latin typeface="Sakkal Majalla" panose="02000000000000000000" pitchFamily="2" charset="-78"/>
                <a:ea typeface="Samim" panose="020B0603030804020204" pitchFamily="34" charset="0"/>
                <a:cs typeface="Sakkal Majalla" panose="02000000000000000000" pitchFamily="2" charset="-78"/>
                <a:sym typeface="Quicksand"/>
              </a:rPr>
              <a:t>المجتمع المدرسي</a:t>
            </a:r>
          </a:p>
          <a:p>
            <a:pPr marL="342891" indent="-342891" algn="r" defTabSz="1219140" rtl="1" latinLnBrk="0">
              <a:buClr>
                <a:srgbClr val="11C1FF"/>
              </a:buClr>
              <a:buFont typeface="Wingdings" panose="05000000000000000000" pitchFamily="2" charset="2"/>
              <a:buChar char="v"/>
              <a:defRPr/>
            </a:pPr>
            <a:r>
              <a:rPr lang="ar-SA" sz="2000" b="1" kern="0" dirty="0">
                <a:solidFill>
                  <a:srgbClr val="01083A"/>
                </a:solidFill>
                <a:latin typeface="Sakkal Majalla" panose="02000000000000000000" pitchFamily="2" charset="-78"/>
                <a:ea typeface="Samim" panose="020B0603030804020204" pitchFamily="34" charset="0"/>
                <a:cs typeface="Sakkal Majalla" panose="02000000000000000000" pitchFamily="2" charset="-78"/>
                <a:sym typeface="Quicksand"/>
              </a:rPr>
              <a:t>التطوير المؤسسي</a:t>
            </a:r>
          </a:p>
          <a:p>
            <a:pPr marL="285744" indent="-285744" algn="r" defTabSz="1219140" rtl="1" latinLnBrk="0">
              <a:buFont typeface="Wingdings" panose="05000000000000000000" pitchFamily="2" charset="2"/>
              <a:buChar char="§"/>
              <a:defRPr/>
            </a:pPr>
            <a:endParaRPr sz="2000" b="1" kern="0" dirty="0">
              <a:solidFill>
                <a:srgbClr val="01083A"/>
              </a:solidFill>
              <a:latin typeface="Sakkal Majalla" panose="02000000000000000000" pitchFamily="2" charset="-78"/>
              <a:ea typeface="Samim" panose="020B0603030804020204" pitchFamily="34" charset="0"/>
              <a:cs typeface="Sakkal Majalla" panose="02000000000000000000" pitchFamily="2" charset="-78"/>
              <a:sym typeface="Quicksand"/>
            </a:endParaRPr>
          </a:p>
        </p:txBody>
      </p:sp>
      <p:sp>
        <p:nvSpPr>
          <p:cNvPr id="4" name="Google Shape;910;p31">
            <a:extLst>
              <a:ext uri="{FF2B5EF4-FFF2-40B4-BE49-F238E27FC236}">
                <a16:creationId xmlns:a16="http://schemas.microsoft.com/office/drawing/2014/main" id="{E57C9424-659B-3A1F-81F6-D4899DDD52ED}"/>
              </a:ext>
            </a:extLst>
          </p:cNvPr>
          <p:cNvSpPr txBox="1"/>
          <p:nvPr/>
        </p:nvSpPr>
        <p:spPr>
          <a:xfrm>
            <a:off x="4539614" y="2213595"/>
            <a:ext cx="3491761" cy="418395"/>
          </a:xfrm>
          <a:prstGeom prst="rect">
            <a:avLst/>
          </a:prstGeom>
          <a:solidFill>
            <a:srgbClr val="11C1FF">
              <a:alpha val="55294"/>
            </a:srgbClr>
          </a:solidFill>
          <a:ln w="9525" cap="flat" cmpd="sng">
            <a:solidFill>
              <a:srgbClr val="97A4FF"/>
            </a:solidFill>
            <a:prstDash val="solid"/>
            <a:round/>
            <a:headEnd type="none" w="sm" len="sm"/>
            <a:tailEnd type="none" w="sm" len="sm"/>
          </a:ln>
        </p:spPr>
        <p:txBody>
          <a:bodyPr spcFirstLastPara="1" wrap="square" lIns="121900" tIns="121900" rIns="121900" bIns="121900" anchor="ctr" anchorCtr="0">
            <a:noAutofit/>
          </a:bodyPr>
          <a:lstStyle/>
          <a:p>
            <a:pPr algn="ctr" defTabSz="1219140" rtl="1" latinLnBrk="0">
              <a:defRPr/>
            </a:pPr>
            <a:r>
              <a:rPr lang="ar-SA" sz="2200" b="1" dirty="0">
                <a:solidFill>
                  <a:srgbClr val="01083A"/>
                </a:solidFill>
                <a:latin typeface="Sakkal Majalla" panose="02000000000000000000" pitchFamily="2" charset="-78"/>
                <a:ea typeface="Samim" panose="020B0603030804020204" pitchFamily="34" charset="0"/>
                <a:cs typeface="Sakkal Majalla" panose="02000000000000000000" pitchFamily="2" charset="-78"/>
                <a:sym typeface="Josefin Sans"/>
              </a:rPr>
              <a:t>مجال التعليم والتعلم</a:t>
            </a:r>
            <a:endParaRPr sz="2200" b="1" dirty="0">
              <a:solidFill>
                <a:srgbClr val="01083A"/>
              </a:solidFill>
              <a:latin typeface="Sakkal Majalla" panose="02000000000000000000" pitchFamily="2" charset="-78"/>
              <a:ea typeface="Samim" panose="020B0603030804020204" pitchFamily="34" charset="0"/>
              <a:cs typeface="Sakkal Majalla" panose="02000000000000000000" pitchFamily="2" charset="-78"/>
              <a:sym typeface="Josefin Sans"/>
            </a:endParaRPr>
          </a:p>
        </p:txBody>
      </p:sp>
      <p:sp>
        <p:nvSpPr>
          <p:cNvPr id="5" name="Google Shape;911;p31">
            <a:extLst>
              <a:ext uri="{FF2B5EF4-FFF2-40B4-BE49-F238E27FC236}">
                <a16:creationId xmlns:a16="http://schemas.microsoft.com/office/drawing/2014/main" id="{404E1066-7FA1-526A-D00E-8F0AB7FC99F4}"/>
              </a:ext>
            </a:extLst>
          </p:cNvPr>
          <p:cNvSpPr txBox="1"/>
          <p:nvPr/>
        </p:nvSpPr>
        <p:spPr>
          <a:xfrm>
            <a:off x="4539614" y="2655298"/>
            <a:ext cx="3489983" cy="1345379"/>
          </a:xfrm>
          <a:prstGeom prst="rect">
            <a:avLst/>
          </a:prstGeom>
          <a:noFill/>
          <a:ln w="9525" cap="flat" cmpd="sng">
            <a:solidFill>
              <a:srgbClr val="97A4FF"/>
            </a:solidFill>
            <a:prstDash val="solid"/>
            <a:round/>
            <a:headEnd type="none" w="sm" len="sm"/>
            <a:tailEnd type="none" w="sm" len="sm"/>
          </a:ln>
        </p:spPr>
        <p:txBody>
          <a:bodyPr spcFirstLastPara="1" wrap="square" lIns="60933" tIns="60933" rIns="60933" bIns="0" anchor="t" anchorCtr="0">
            <a:noAutofit/>
          </a:bodyPr>
          <a:lstStyle/>
          <a:p>
            <a:pPr marL="342891" indent="-342891" algn="r" defTabSz="1219140" rtl="1" latinLnBrk="0">
              <a:buClr>
                <a:srgbClr val="11C1FF"/>
              </a:buClr>
              <a:buFont typeface="Wingdings" panose="05000000000000000000" pitchFamily="2" charset="2"/>
              <a:buChar char="v"/>
              <a:defRPr/>
            </a:pPr>
            <a:r>
              <a:rPr lang="ar-SA" sz="2000" b="1" dirty="0">
                <a:solidFill>
                  <a:prstClr val="black"/>
                </a:solidFill>
                <a:latin typeface="Sakkal Majalla" panose="02000000000000000000" pitchFamily="2" charset="-78"/>
                <a:ea typeface="Samim" panose="020B0603030804020204" pitchFamily="34" charset="0"/>
                <a:cs typeface="Sakkal Majalla" panose="02000000000000000000" pitchFamily="2" charset="-78"/>
              </a:rPr>
              <a:t>بناء خبرات التعلم</a:t>
            </a:r>
          </a:p>
          <a:p>
            <a:pPr marL="342891" indent="-342891" algn="r" defTabSz="1219140" rtl="1" latinLnBrk="0">
              <a:buClr>
                <a:srgbClr val="11C1FF"/>
              </a:buClr>
              <a:buFont typeface="Wingdings" panose="05000000000000000000" pitchFamily="2" charset="2"/>
              <a:buChar char="v"/>
              <a:defRPr/>
            </a:pPr>
            <a:r>
              <a:rPr lang="ar-SA" sz="2000" b="1" kern="0" dirty="0">
                <a:solidFill>
                  <a:srgbClr val="01083A"/>
                </a:solidFill>
                <a:latin typeface="Sakkal Majalla" panose="02000000000000000000" pitchFamily="2" charset="-78"/>
                <a:ea typeface="Samim" panose="020B0603030804020204" pitchFamily="34" charset="0"/>
                <a:cs typeface="Sakkal Majalla" panose="02000000000000000000" pitchFamily="2" charset="-78"/>
                <a:sym typeface="Quicksand"/>
              </a:rPr>
              <a:t>تقويم التعلم</a:t>
            </a:r>
          </a:p>
          <a:p>
            <a:pPr algn="r" defTabSz="1219140" rtl="1" latinLnBrk="0">
              <a:defRPr/>
            </a:pPr>
            <a:endParaRPr sz="2000" b="1" kern="0" dirty="0">
              <a:solidFill>
                <a:srgbClr val="01083A"/>
              </a:solidFill>
              <a:latin typeface="Sakkal Majalla" panose="02000000000000000000" pitchFamily="2" charset="-78"/>
              <a:ea typeface="Samim" panose="020B0603030804020204" pitchFamily="34" charset="0"/>
              <a:cs typeface="Sakkal Majalla" panose="02000000000000000000" pitchFamily="2" charset="-78"/>
              <a:sym typeface="Quicksand"/>
            </a:endParaRPr>
          </a:p>
        </p:txBody>
      </p:sp>
      <p:sp>
        <p:nvSpPr>
          <p:cNvPr id="6" name="Google Shape;910;p31">
            <a:extLst>
              <a:ext uri="{FF2B5EF4-FFF2-40B4-BE49-F238E27FC236}">
                <a16:creationId xmlns:a16="http://schemas.microsoft.com/office/drawing/2014/main" id="{7BAF674C-EE1D-0BA7-765B-ABBF7BC4C02D}"/>
              </a:ext>
            </a:extLst>
          </p:cNvPr>
          <p:cNvSpPr txBox="1"/>
          <p:nvPr/>
        </p:nvSpPr>
        <p:spPr>
          <a:xfrm>
            <a:off x="8284294" y="4072689"/>
            <a:ext cx="3491761" cy="418395"/>
          </a:xfrm>
          <a:prstGeom prst="rect">
            <a:avLst/>
          </a:prstGeom>
          <a:solidFill>
            <a:srgbClr val="11C1FF">
              <a:alpha val="55294"/>
            </a:srgbClr>
          </a:solidFill>
          <a:ln w="9525" cap="flat" cmpd="sng">
            <a:solidFill>
              <a:srgbClr val="97A4FF"/>
            </a:solidFill>
            <a:prstDash val="solid"/>
            <a:round/>
            <a:headEnd type="none" w="sm" len="sm"/>
            <a:tailEnd type="none" w="sm" len="sm"/>
          </a:ln>
        </p:spPr>
        <p:txBody>
          <a:bodyPr spcFirstLastPara="1" wrap="square" lIns="121900" tIns="121900" rIns="121900" bIns="121900" anchor="ctr" anchorCtr="0">
            <a:noAutofit/>
          </a:bodyPr>
          <a:lstStyle/>
          <a:p>
            <a:pPr algn="ctr" defTabSz="1219140" rtl="1" latinLnBrk="0">
              <a:defRPr/>
            </a:pPr>
            <a:r>
              <a:rPr lang="ar-SA" sz="2200" b="1" dirty="0">
                <a:solidFill>
                  <a:srgbClr val="01083A"/>
                </a:solidFill>
                <a:latin typeface="Sakkal Majalla" panose="02000000000000000000" pitchFamily="2" charset="-78"/>
                <a:ea typeface="Samim" panose="020B0603030804020204" pitchFamily="34" charset="0"/>
                <a:cs typeface="Sakkal Majalla" panose="02000000000000000000" pitchFamily="2" charset="-78"/>
                <a:sym typeface="Josefin Sans"/>
              </a:rPr>
              <a:t>مجال نواتج التعلم</a:t>
            </a:r>
            <a:endParaRPr sz="2200" b="1" dirty="0">
              <a:solidFill>
                <a:srgbClr val="01083A"/>
              </a:solidFill>
              <a:latin typeface="Sakkal Majalla" panose="02000000000000000000" pitchFamily="2" charset="-78"/>
              <a:ea typeface="Samim" panose="020B0603030804020204" pitchFamily="34" charset="0"/>
              <a:cs typeface="Sakkal Majalla" panose="02000000000000000000" pitchFamily="2" charset="-78"/>
              <a:sym typeface="Josefin Sans"/>
            </a:endParaRPr>
          </a:p>
        </p:txBody>
      </p:sp>
      <p:sp>
        <p:nvSpPr>
          <p:cNvPr id="7" name="Google Shape;911;p31">
            <a:extLst>
              <a:ext uri="{FF2B5EF4-FFF2-40B4-BE49-F238E27FC236}">
                <a16:creationId xmlns:a16="http://schemas.microsoft.com/office/drawing/2014/main" id="{B6D54585-2204-8BE5-B79F-240F0A9DC3A0}"/>
              </a:ext>
            </a:extLst>
          </p:cNvPr>
          <p:cNvSpPr txBox="1"/>
          <p:nvPr/>
        </p:nvSpPr>
        <p:spPr>
          <a:xfrm>
            <a:off x="8284295" y="4514391"/>
            <a:ext cx="3489983" cy="1008051"/>
          </a:xfrm>
          <a:prstGeom prst="rect">
            <a:avLst/>
          </a:prstGeom>
          <a:noFill/>
          <a:ln w="9525" cap="flat" cmpd="sng">
            <a:solidFill>
              <a:srgbClr val="97A4FF"/>
            </a:solidFill>
            <a:prstDash val="solid"/>
            <a:round/>
            <a:headEnd type="none" w="sm" len="sm"/>
            <a:tailEnd type="none" w="sm" len="sm"/>
          </a:ln>
        </p:spPr>
        <p:txBody>
          <a:bodyPr spcFirstLastPara="1" wrap="square" lIns="60933" tIns="60933" rIns="60933" bIns="0" anchor="t" anchorCtr="0">
            <a:noAutofit/>
          </a:bodyPr>
          <a:lstStyle/>
          <a:p>
            <a:pPr marL="342891" indent="-342891" algn="r" defTabSz="1219140" rtl="1" latinLnBrk="0">
              <a:buClr>
                <a:srgbClr val="11C1FF"/>
              </a:buClr>
              <a:buFont typeface="Wingdings" panose="05000000000000000000" pitchFamily="2" charset="2"/>
              <a:buChar char="v"/>
              <a:defRPr/>
            </a:pPr>
            <a:r>
              <a:rPr lang="ar-SA" sz="2000" b="1" dirty="0">
                <a:solidFill>
                  <a:prstClr val="black"/>
                </a:solidFill>
                <a:latin typeface="Sakkal Majalla" panose="02000000000000000000" pitchFamily="2" charset="-78"/>
                <a:ea typeface="Samim" panose="020B0603030804020204" pitchFamily="34" charset="0"/>
                <a:cs typeface="Sakkal Majalla" panose="02000000000000000000" pitchFamily="2" charset="-78"/>
              </a:rPr>
              <a:t>التحصيل التعليمي</a:t>
            </a:r>
          </a:p>
          <a:p>
            <a:pPr marL="342891" indent="-342891" algn="r" defTabSz="1219140" rtl="1" latinLnBrk="0">
              <a:buClr>
                <a:srgbClr val="11C1FF"/>
              </a:buClr>
              <a:buFont typeface="Wingdings" panose="05000000000000000000" pitchFamily="2" charset="2"/>
              <a:buChar char="v"/>
              <a:defRPr/>
            </a:pPr>
            <a:r>
              <a:rPr lang="ar-SA" sz="2000" b="1" kern="0" dirty="0">
                <a:solidFill>
                  <a:srgbClr val="01083A"/>
                </a:solidFill>
                <a:latin typeface="Sakkal Majalla" panose="02000000000000000000" pitchFamily="2" charset="-78"/>
                <a:ea typeface="Samim" panose="020B0603030804020204" pitchFamily="34" charset="0"/>
                <a:cs typeface="Sakkal Majalla" panose="02000000000000000000" pitchFamily="2" charset="-78"/>
                <a:sym typeface="Quicksand"/>
              </a:rPr>
              <a:t>التطور الشخصي والصحي والاجتماعي</a:t>
            </a:r>
          </a:p>
        </p:txBody>
      </p:sp>
      <p:sp>
        <p:nvSpPr>
          <p:cNvPr id="8" name="Google Shape;910;p31">
            <a:extLst>
              <a:ext uri="{FF2B5EF4-FFF2-40B4-BE49-F238E27FC236}">
                <a16:creationId xmlns:a16="http://schemas.microsoft.com/office/drawing/2014/main" id="{7EE04EF2-E3D3-2126-34DC-DBE2816A3298}"/>
              </a:ext>
            </a:extLst>
          </p:cNvPr>
          <p:cNvSpPr txBox="1"/>
          <p:nvPr/>
        </p:nvSpPr>
        <p:spPr>
          <a:xfrm>
            <a:off x="4517842" y="4072687"/>
            <a:ext cx="3491761" cy="418395"/>
          </a:xfrm>
          <a:prstGeom prst="rect">
            <a:avLst/>
          </a:prstGeom>
          <a:solidFill>
            <a:srgbClr val="11C1FF">
              <a:alpha val="55294"/>
            </a:srgbClr>
          </a:solidFill>
          <a:ln w="9525" cap="flat" cmpd="sng">
            <a:solidFill>
              <a:srgbClr val="97A4FF"/>
            </a:solidFill>
            <a:prstDash val="solid"/>
            <a:round/>
            <a:headEnd type="none" w="sm" len="sm"/>
            <a:tailEnd type="none" w="sm" len="sm"/>
          </a:ln>
        </p:spPr>
        <p:txBody>
          <a:bodyPr spcFirstLastPara="1" wrap="square" lIns="121900" tIns="121900" rIns="121900" bIns="121900" anchor="ctr" anchorCtr="0">
            <a:noAutofit/>
          </a:bodyPr>
          <a:lstStyle/>
          <a:p>
            <a:pPr algn="ctr" defTabSz="1219140" rtl="1" latinLnBrk="0">
              <a:defRPr/>
            </a:pPr>
            <a:r>
              <a:rPr lang="ar-SA" sz="2200" b="1" dirty="0">
                <a:solidFill>
                  <a:srgbClr val="01083A"/>
                </a:solidFill>
                <a:latin typeface="Sakkal Majalla" panose="02000000000000000000" pitchFamily="2" charset="-78"/>
                <a:ea typeface="Samim" panose="020B0603030804020204" pitchFamily="34" charset="0"/>
                <a:cs typeface="Sakkal Majalla" panose="02000000000000000000" pitchFamily="2" charset="-78"/>
                <a:sym typeface="Josefin Sans"/>
              </a:rPr>
              <a:t>مجال البيئة المدرسية</a:t>
            </a:r>
            <a:endParaRPr sz="2200" b="1" dirty="0">
              <a:solidFill>
                <a:srgbClr val="01083A"/>
              </a:solidFill>
              <a:latin typeface="Sakkal Majalla" panose="02000000000000000000" pitchFamily="2" charset="-78"/>
              <a:ea typeface="Samim" panose="020B0603030804020204" pitchFamily="34" charset="0"/>
              <a:cs typeface="Sakkal Majalla" panose="02000000000000000000" pitchFamily="2" charset="-78"/>
              <a:sym typeface="Josefin Sans"/>
            </a:endParaRPr>
          </a:p>
        </p:txBody>
      </p:sp>
      <p:sp>
        <p:nvSpPr>
          <p:cNvPr id="9" name="Google Shape;911;p31">
            <a:extLst>
              <a:ext uri="{FF2B5EF4-FFF2-40B4-BE49-F238E27FC236}">
                <a16:creationId xmlns:a16="http://schemas.microsoft.com/office/drawing/2014/main" id="{59BA60F7-5668-17F7-F6D9-0F677A349573}"/>
              </a:ext>
            </a:extLst>
          </p:cNvPr>
          <p:cNvSpPr txBox="1"/>
          <p:nvPr/>
        </p:nvSpPr>
        <p:spPr>
          <a:xfrm>
            <a:off x="4517843" y="4514390"/>
            <a:ext cx="3489983" cy="1008051"/>
          </a:xfrm>
          <a:prstGeom prst="rect">
            <a:avLst/>
          </a:prstGeom>
          <a:noFill/>
          <a:ln w="9525" cap="flat" cmpd="sng">
            <a:solidFill>
              <a:srgbClr val="97A4FF"/>
            </a:solidFill>
            <a:prstDash val="solid"/>
            <a:round/>
            <a:headEnd type="none" w="sm" len="sm"/>
            <a:tailEnd type="none" w="sm" len="sm"/>
          </a:ln>
        </p:spPr>
        <p:txBody>
          <a:bodyPr spcFirstLastPara="1" wrap="square" lIns="60933" tIns="60933" rIns="60933" bIns="0" anchor="t" anchorCtr="0">
            <a:noAutofit/>
          </a:bodyPr>
          <a:lstStyle/>
          <a:p>
            <a:pPr marL="342891" indent="-342891" algn="r" defTabSz="1219140" rtl="1" latinLnBrk="0">
              <a:buClr>
                <a:srgbClr val="11C1FF"/>
              </a:buClr>
              <a:buFont typeface="Wingdings" panose="05000000000000000000" pitchFamily="2" charset="2"/>
              <a:buChar char="v"/>
              <a:defRPr/>
            </a:pPr>
            <a:r>
              <a:rPr lang="ar-SA" sz="2000" b="1" dirty="0">
                <a:solidFill>
                  <a:prstClr val="black"/>
                </a:solidFill>
                <a:latin typeface="Sakkal Majalla" panose="02000000000000000000" pitchFamily="2" charset="-78"/>
                <a:ea typeface="Samim" panose="020B0603030804020204" pitchFamily="34" charset="0"/>
                <a:cs typeface="Sakkal Majalla" panose="02000000000000000000" pitchFamily="2" charset="-78"/>
              </a:rPr>
              <a:t>المبنى المدرسي</a:t>
            </a:r>
          </a:p>
          <a:p>
            <a:pPr marL="342891" indent="-342891" algn="r" defTabSz="1219140" rtl="1" latinLnBrk="0">
              <a:buClr>
                <a:srgbClr val="11C1FF"/>
              </a:buClr>
              <a:buFont typeface="Wingdings" panose="05000000000000000000" pitchFamily="2" charset="2"/>
              <a:buChar char="v"/>
              <a:defRPr/>
            </a:pPr>
            <a:r>
              <a:rPr lang="ar-SA" sz="2000" b="1" kern="0" dirty="0">
                <a:solidFill>
                  <a:srgbClr val="01083A"/>
                </a:solidFill>
                <a:latin typeface="Sakkal Majalla" panose="02000000000000000000" pitchFamily="2" charset="-78"/>
                <a:ea typeface="Samim" panose="020B0603030804020204" pitchFamily="34" charset="0"/>
                <a:cs typeface="Sakkal Majalla" panose="02000000000000000000" pitchFamily="2" charset="-78"/>
                <a:sym typeface="Quicksand"/>
              </a:rPr>
              <a:t>الأمن والسلامة</a:t>
            </a:r>
          </a:p>
          <a:p>
            <a:pPr algn="r" defTabSz="1219140" rtl="1" latinLnBrk="0">
              <a:defRPr/>
            </a:pPr>
            <a:endParaRPr sz="2000" b="1" kern="0" dirty="0">
              <a:solidFill>
                <a:srgbClr val="01083A"/>
              </a:solidFill>
              <a:latin typeface="Sakkal Majalla" panose="02000000000000000000" pitchFamily="2" charset="-78"/>
              <a:ea typeface="Samim" panose="020B0603030804020204" pitchFamily="34" charset="0"/>
              <a:cs typeface="Sakkal Majalla" panose="02000000000000000000" pitchFamily="2" charset="-78"/>
              <a:sym typeface="Quicksand"/>
            </a:endParaRPr>
          </a:p>
        </p:txBody>
      </p:sp>
      <p:sp>
        <p:nvSpPr>
          <p:cNvPr id="10" name="Google Shape;910;p31">
            <a:extLst>
              <a:ext uri="{FF2B5EF4-FFF2-40B4-BE49-F238E27FC236}">
                <a16:creationId xmlns:a16="http://schemas.microsoft.com/office/drawing/2014/main" id="{C0674156-5885-F77E-CEC8-1BCAF0DF0C95}"/>
              </a:ext>
            </a:extLst>
          </p:cNvPr>
          <p:cNvSpPr txBox="1"/>
          <p:nvPr/>
        </p:nvSpPr>
        <p:spPr>
          <a:xfrm>
            <a:off x="11518507" y="963897"/>
            <a:ext cx="272143" cy="418395"/>
          </a:xfrm>
          <a:prstGeom prst="rect">
            <a:avLst/>
          </a:prstGeom>
          <a:solidFill>
            <a:srgbClr val="FF6600"/>
          </a:solidFill>
          <a:ln w="9525" cap="flat" cmpd="sng">
            <a:solidFill>
              <a:srgbClr val="97A4FF"/>
            </a:solidFill>
            <a:prstDash val="solid"/>
            <a:round/>
            <a:headEnd type="none" w="sm" len="sm"/>
            <a:tailEnd type="none" w="sm" len="sm"/>
          </a:ln>
        </p:spPr>
        <p:txBody>
          <a:bodyPr spcFirstLastPara="1" wrap="square" lIns="121900" tIns="121900" rIns="121900" bIns="121900" anchor="ctr" anchorCtr="0">
            <a:noAutofit/>
          </a:bodyPr>
          <a:lstStyle/>
          <a:p>
            <a:pPr algn="ctr" defTabSz="1219140" rtl="1" latinLnBrk="0">
              <a:defRPr/>
            </a:pPr>
            <a:endParaRPr sz="2000" b="1" dirty="0">
              <a:solidFill>
                <a:srgbClr val="01083A"/>
              </a:solidFill>
              <a:latin typeface="Sakkal Majalla" panose="02000000000000000000" pitchFamily="2" charset="-78"/>
              <a:ea typeface="Samim" panose="020B0603030804020204" pitchFamily="34" charset="0"/>
              <a:cs typeface="Sakkal Majalla" panose="02000000000000000000" pitchFamily="2" charset="-78"/>
              <a:sym typeface="Josefin Sans"/>
            </a:endParaRPr>
          </a:p>
        </p:txBody>
      </p:sp>
      <p:sp>
        <p:nvSpPr>
          <p:cNvPr id="11" name="Google Shape;910;p31">
            <a:extLst>
              <a:ext uri="{FF2B5EF4-FFF2-40B4-BE49-F238E27FC236}">
                <a16:creationId xmlns:a16="http://schemas.microsoft.com/office/drawing/2014/main" id="{75E5AE39-2A32-6A15-C637-DC01CC27E428}"/>
              </a:ext>
            </a:extLst>
          </p:cNvPr>
          <p:cNvSpPr txBox="1"/>
          <p:nvPr/>
        </p:nvSpPr>
        <p:spPr>
          <a:xfrm>
            <a:off x="4573426" y="959989"/>
            <a:ext cx="6888099" cy="418395"/>
          </a:xfrm>
          <a:prstGeom prst="rect">
            <a:avLst/>
          </a:prstGeom>
          <a:solidFill>
            <a:srgbClr val="7030A0"/>
          </a:solidFill>
          <a:ln w="9525" cap="flat" cmpd="sng">
            <a:solidFill>
              <a:srgbClr val="97A4FF"/>
            </a:solidFill>
            <a:prstDash val="solid"/>
            <a:round/>
            <a:headEnd type="none" w="sm" len="sm"/>
            <a:tailEnd type="none" w="sm" len="sm"/>
          </a:ln>
        </p:spPr>
        <p:txBody>
          <a:bodyPr spcFirstLastPara="1" wrap="square" lIns="121900" tIns="121900" rIns="121900" bIns="121900" anchor="ctr" anchorCtr="0">
            <a:noAutofit/>
          </a:bodyPr>
          <a:lstStyle/>
          <a:p>
            <a:pPr algn="ctr" defTabSz="1219140" rtl="1" latinLnBrk="0">
              <a:defRPr/>
            </a:pPr>
            <a:r>
              <a:rPr lang="ar-SA" sz="2800" b="1" dirty="0">
                <a:solidFill>
                  <a:prstClr val="white"/>
                </a:solidFill>
                <a:latin typeface="Sakkal Majalla" panose="02000000000000000000" pitchFamily="2" charset="-78"/>
                <a:ea typeface="Samim" panose="020B0603030804020204" pitchFamily="34" charset="0"/>
                <a:cs typeface="Sakkal Majalla" panose="02000000000000000000" pitchFamily="2" charset="-78"/>
                <a:sym typeface="Josefin Sans"/>
              </a:rPr>
              <a:t>معايير التقويم والاعتماد المدرسي</a:t>
            </a:r>
            <a:endParaRPr sz="2800" b="1" dirty="0">
              <a:solidFill>
                <a:prstClr val="white"/>
              </a:solidFill>
              <a:latin typeface="Sakkal Majalla" panose="02000000000000000000" pitchFamily="2" charset="-78"/>
              <a:ea typeface="Samim" panose="020B0603030804020204" pitchFamily="34" charset="0"/>
              <a:cs typeface="Sakkal Majalla" panose="02000000000000000000" pitchFamily="2" charset="-78"/>
              <a:sym typeface="Josefin Sans"/>
            </a:endParaRPr>
          </a:p>
        </p:txBody>
      </p:sp>
      <p:sp>
        <p:nvSpPr>
          <p:cNvPr id="12" name="مربع نص 11">
            <a:extLst>
              <a:ext uri="{FF2B5EF4-FFF2-40B4-BE49-F238E27FC236}">
                <a16:creationId xmlns:a16="http://schemas.microsoft.com/office/drawing/2014/main" id="{CC342096-FF9E-7A5C-8648-32E3C09197EF}"/>
              </a:ext>
            </a:extLst>
          </p:cNvPr>
          <p:cNvSpPr txBox="1"/>
          <p:nvPr/>
        </p:nvSpPr>
        <p:spPr>
          <a:xfrm>
            <a:off x="4307665" y="1310679"/>
            <a:ext cx="7346912" cy="871008"/>
          </a:xfrm>
          <a:prstGeom prst="rect">
            <a:avLst/>
          </a:prstGeom>
          <a:noFill/>
        </p:spPr>
        <p:txBody>
          <a:bodyPr wrap="square">
            <a:spAutoFit/>
          </a:bodyPr>
          <a:lstStyle/>
          <a:p>
            <a:pPr marR="180335" algn="justLow" rtl="1">
              <a:lnSpc>
                <a:spcPct val="115000"/>
              </a:lnSpc>
            </a:pPr>
            <a:r>
              <a:rPr lang="ar-SA" sz="2200" b="1" dirty="0">
                <a:solidFill>
                  <a:srgbClr val="3F007E"/>
                </a:solidFill>
                <a:ea typeface="Calibri" panose="020F0502020204030204" pitchFamily="34" charset="0"/>
                <a:cs typeface="Sakkal Majalla" panose="02000000000000000000" pitchFamily="2" charset="-78"/>
              </a:rPr>
              <a:t>مجالات ومعايير التقويم المدرسي تغطي مختلف جوانب العملية التعليمية وهي مهام تمارس بشكل يومي وتركز على نواتح التعلم وتتضمن:</a:t>
            </a:r>
            <a:endParaRPr lang="ar-SA" sz="2200" dirty="0">
              <a:solidFill>
                <a:srgbClr val="3F007E"/>
              </a:solidFill>
            </a:endParaRPr>
          </a:p>
        </p:txBody>
      </p:sp>
      <p:sp>
        <p:nvSpPr>
          <p:cNvPr id="13" name="Rectangle 24">
            <a:extLst>
              <a:ext uri="{FF2B5EF4-FFF2-40B4-BE49-F238E27FC236}">
                <a16:creationId xmlns:a16="http://schemas.microsoft.com/office/drawing/2014/main" id="{F43AE0F5-1F19-E580-92AD-B30C74136427}"/>
              </a:ext>
            </a:extLst>
          </p:cNvPr>
          <p:cNvSpPr/>
          <p:nvPr/>
        </p:nvSpPr>
        <p:spPr>
          <a:xfrm>
            <a:off x="3532666" y="938353"/>
            <a:ext cx="774999" cy="46166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1" tIns="45720" rIns="91441" bIns="45720" numCol="1" spcCol="0" rtlCol="0" fromWordArt="0" anchor="ctr" anchorCtr="0" forceAA="0" compatLnSpc="1">
            <a:prstTxWarp prst="textNoShape">
              <a:avLst/>
            </a:prstTxWarp>
            <a:noAutofit/>
          </a:bodyPr>
          <a:lstStyle/>
          <a:p>
            <a:pPr algn="ctr"/>
            <a:endParaRPr lang="ko-KR" altLang="en-US" sz="1815">
              <a:solidFill>
                <a:schemeClr val="tx1">
                  <a:lumMod val="75000"/>
                  <a:lumOff val="25000"/>
                </a:schemeClr>
              </a:solidFill>
            </a:endParaRPr>
          </a:p>
        </p:txBody>
      </p:sp>
      <p:sp>
        <p:nvSpPr>
          <p:cNvPr id="14" name="TextBox 23">
            <a:extLst>
              <a:ext uri="{FF2B5EF4-FFF2-40B4-BE49-F238E27FC236}">
                <a16:creationId xmlns:a16="http://schemas.microsoft.com/office/drawing/2014/main" id="{25FA5FB1-CA99-DABF-E9FD-DC9C420DBD74}"/>
              </a:ext>
            </a:extLst>
          </p:cNvPr>
          <p:cNvSpPr txBox="1"/>
          <p:nvPr/>
        </p:nvSpPr>
        <p:spPr>
          <a:xfrm>
            <a:off x="401350" y="915239"/>
            <a:ext cx="3131316" cy="461665"/>
          </a:xfrm>
          <a:prstGeom prst="rect">
            <a:avLst/>
          </a:prstGeom>
          <a:noFill/>
        </p:spPr>
        <p:txBody>
          <a:bodyPr wrap="square" rtlCol="0">
            <a:spAutoFit/>
          </a:bodyPr>
          <a:lstStyle/>
          <a:p>
            <a:pPr algn="justLow" defTabSz="914377" rtl="1" latinLnBrk="0"/>
            <a:r>
              <a:rPr lang="ar-SA" sz="2400" b="1" dirty="0">
                <a:solidFill>
                  <a:srgbClr val="002060"/>
                </a:solidFill>
                <a:latin typeface="Sakkal Majalla" panose="02000000000000000000" pitchFamily="2" charset="-78"/>
                <a:cs typeface="Sakkal Majalla" panose="02000000000000000000" pitchFamily="2" charset="-78"/>
              </a:rPr>
              <a:t>معايير التقويم والاعتماد المدرسي</a:t>
            </a:r>
          </a:p>
        </p:txBody>
      </p:sp>
      <p:graphicFrame>
        <p:nvGraphicFramePr>
          <p:cNvPr id="15" name="جدول 14">
            <a:extLst>
              <a:ext uri="{FF2B5EF4-FFF2-40B4-BE49-F238E27FC236}">
                <a16:creationId xmlns:a16="http://schemas.microsoft.com/office/drawing/2014/main" id="{31A88633-F504-3147-E0ED-332CD8266BBE}"/>
              </a:ext>
            </a:extLst>
          </p:cNvPr>
          <p:cNvGraphicFramePr>
            <a:graphicFrameLocks noGrp="1"/>
          </p:cNvGraphicFramePr>
          <p:nvPr>
            <p:extLst>
              <p:ext uri="{D42A27DB-BD31-4B8C-83A1-F6EECF244321}">
                <p14:modId xmlns:p14="http://schemas.microsoft.com/office/powerpoint/2010/main" val="1833454019"/>
              </p:ext>
            </p:extLst>
          </p:nvPr>
        </p:nvGraphicFramePr>
        <p:xfrm>
          <a:off x="285560" y="1573065"/>
          <a:ext cx="4022105" cy="4151836"/>
        </p:xfrm>
        <a:graphic>
          <a:graphicData uri="http://schemas.openxmlformats.org/drawingml/2006/table">
            <a:tbl>
              <a:tblPr rtl="1" firstRow="1" firstCol="1" bandRow="1"/>
              <a:tblGrid>
                <a:gridCol w="1401179">
                  <a:extLst>
                    <a:ext uri="{9D8B030D-6E8A-4147-A177-3AD203B41FA5}">
                      <a16:colId xmlns:a16="http://schemas.microsoft.com/office/drawing/2014/main" val="2156753106"/>
                    </a:ext>
                  </a:extLst>
                </a:gridCol>
                <a:gridCol w="815422">
                  <a:extLst>
                    <a:ext uri="{9D8B030D-6E8A-4147-A177-3AD203B41FA5}">
                      <a16:colId xmlns:a16="http://schemas.microsoft.com/office/drawing/2014/main" val="152680773"/>
                    </a:ext>
                  </a:extLst>
                </a:gridCol>
                <a:gridCol w="902752">
                  <a:extLst>
                    <a:ext uri="{9D8B030D-6E8A-4147-A177-3AD203B41FA5}">
                      <a16:colId xmlns:a16="http://schemas.microsoft.com/office/drawing/2014/main" val="2072828143"/>
                    </a:ext>
                  </a:extLst>
                </a:gridCol>
                <a:gridCol w="902752">
                  <a:extLst>
                    <a:ext uri="{9D8B030D-6E8A-4147-A177-3AD203B41FA5}">
                      <a16:colId xmlns:a16="http://schemas.microsoft.com/office/drawing/2014/main" val="3949275405"/>
                    </a:ext>
                  </a:extLst>
                </a:gridCol>
              </a:tblGrid>
              <a:tr h="954490">
                <a:tc>
                  <a:txBody>
                    <a:bodyPr/>
                    <a:lstStyle/>
                    <a:p>
                      <a:pPr marL="0" marR="180340" algn="ctr" rtl="1">
                        <a:lnSpc>
                          <a:spcPct val="100000"/>
                        </a:lnSpc>
                        <a:spcAft>
                          <a:spcPts val="0"/>
                        </a:spcAft>
                      </a:pPr>
                      <a:r>
                        <a:rPr lang="ar-SA" sz="1600" b="1" dirty="0">
                          <a:solidFill>
                            <a:srgbClr val="FFFFFF"/>
                          </a:solidFill>
                          <a:effectLst/>
                          <a:latin typeface="Sakkal Majalla" panose="02000000000000000000" pitchFamily="2" charset="-78"/>
                          <a:ea typeface="Times New Roman" panose="02020603050405020304" pitchFamily="18" charset="0"/>
                          <a:cs typeface="Sakkal Majalla" panose="02000000000000000000" pitchFamily="2" charset="-78"/>
                        </a:rPr>
                        <a:t>المجالات</a:t>
                      </a:r>
                      <a:endParaRPr lang="en-US" sz="1600" b="1" dirty="0">
                        <a:effectLst/>
                        <a:latin typeface="Sakkal Majalla" panose="02000000000000000000" pitchFamily="2" charset="-78"/>
                        <a:ea typeface="Times New Roman" panose="02020603050405020304" pitchFamily="18" charset="0"/>
                        <a:cs typeface="Sakkal Majalla" panose="02000000000000000000" pitchFamily="2" charset="-78"/>
                      </a:endParaRPr>
                    </a:p>
                    <a:p>
                      <a:pPr marL="0" marR="180340" algn="ctr" rtl="1">
                        <a:lnSpc>
                          <a:spcPct val="100000"/>
                        </a:lnSpc>
                        <a:spcAft>
                          <a:spcPts val="0"/>
                        </a:spcAft>
                      </a:pPr>
                      <a:r>
                        <a:rPr lang="ar-SA" sz="1600" b="1" dirty="0">
                          <a:solidFill>
                            <a:srgbClr val="FFFFFF"/>
                          </a:solidFill>
                          <a:effectLst/>
                          <a:latin typeface="Sakkal Majalla" panose="02000000000000000000" pitchFamily="2" charset="-78"/>
                          <a:ea typeface="Times New Roman" panose="02020603050405020304" pitchFamily="18" charset="0"/>
                          <a:cs typeface="Sakkal Majalla" panose="02000000000000000000" pitchFamily="2" charset="-78"/>
                        </a:rPr>
                        <a:t>(</a:t>
                      </a:r>
                      <a:r>
                        <a:rPr lang="en-US" sz="1600" b="1" dirty="0">
                          <a:solidFill>
                            <a:srgbClr val="FFFFFF"/>
                          </a:solidFill>
                          <a:effectLst/>
                          <a:latin typeface="Sakkal Majalla" panose="02000000000000000000" pitchFamily="2" charset="-78"/>
                          <a:ea typeface="Times New Roman" panose="02020603050405020304" pitchFamily="18" charset="0"/>
                          <a:cs typeface="Sakkal Majalla" panose="02000000000000000000" pitchFamily="2" charset="-78"/>
                        </a:rPr>
                        <a:t>4</a:t>
                      </a:r>
                      <a:r>
                        <a:rPr lang="ar-SA" sz="1600" b="1" dirty="0">
                          <a:solidFill>
                            <a:srgbClr val="FFFFFF"/>
                          </a:solidFill>
                          <a:effectLst/>
                          <a:latin typeface="Sakkal Majalla" panose="02000000000000000000" pitchFamily="2" charset="-78"/>
                          <a:ea typeface="Times New Roman" panose="02020603050405020304" pitchFamily="18" charset="0"/>
                          <a:cs typeface="Sakkal Majalla" panose="02000000000000000000" pitchFamily="2" charset="-78"/>
                        </a:rPr>
                        <a:t>)</a:t>
                      </a:r>
                      <a:endParaRPr lang="en-US" sz="1600" b="1" dirty="0">
                        <a:effectLst/>
                        <a:latin typeface="Sakkal Majalla" panose="02000000000000000000" pitchFamily="2" charset="-78"/>
                        <a:ea typeface="Times New Roman" panose="02020603050405020304" pitchFamily="18" charset="0"/>
                        <a:cs typeface="Sakkal Majalla" panose="02000000000000000000" pitchFamily="2" charset="-78"/>
                      </a:endParaRPr>
                    </a:p>
                  </a:txBody>
                  <a:tcPr marL="56864" marR="5686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7030A0"/>
                    </a:solidFill>
                  </a:tcPr>
                </a:tc>
                <a:tc>
                  <a:txBody>
                    <a:bodyPr/>
                    <a:lstStyle/>
                    <a:p>
                      <a:pPr marL="0" marR="180340" algn="ctr" rtl="1">
                        <a:lnSpc>
                          <a:spcPct val="100000"/>
                        </a:lnSpc>
                        <a:spcAft>
                          <a:spcPts val="0"/>
                        </a:spcAft>
                      </a:pPr>
                      <a:r>
                        <a:rPr lang="ar-SA" sz="1600" b="1" dirty="0">
                          <a:solidFill>
                            <a:srgbClr val="FFFFFF"/>
                          </a:solidFill>
                          <a:effectLst/>
                          <a:latin typeface="Sakkal Majalla" panose="02000000000000000000" pitchFamily="2" charset="-78"/>
                          <a:ea typeface="Times New Roman" panose="02020603050405020304" pitchFamily="18" charset="0"/>
                          <a:cs typeface="Sakkal Majalla" panose="02000000000000000000" pitchFamily="2" charset="-78"/>
                        </a:rPr>
                        <a:t>عدد المعايير الرئيسية</a:t>
                      </a:r>
                      <a:endParaRPr lang="en-US" sz="1600" b="1" dirty="0">
                        <a:effectLst/>
                        <a:latin typeface="Sakkal Majalla" panose="02000000000000000000" pitchFamily="2" charset="-78"/>
                        <a:ea typeface="Times New Roman" panose="02020603050405020304" pitchFamily="18" charset="0"/>
                        <a:cs typeface="Sakkal Majalla" panose="02000000000000000000" pitchFamily="2" charset="-78"/>
                      </a:endParaRPr>
                    </a:p>
                    <a:p>
                      <a:pPr marL="0" marR="180340" algn="ctr" rtl="1">
                        <a:lnSpc>
                          <a:spcPct val="100000"/>
                        </a:lnSpc>
                        <a:spcAft>
                          <a:spcPts val="0"/>
                        </a:spcAft>
                      </a:pPr>
                      <a:r>
                        <a:rPr lang="ar-SA" sz="1600" b="1" dirty="0">
                          <a:solidFill>
                            <a:srgbClr val="FFFFFF"/>
                          </a:solidFill>
                          <a:effectLst/>
                          <a:latin typeface="Sakkal Majalla" panose="02000000000000000000" pitchFamily="2" charset="-78"/>
                          <a:ea typeface="Times New Roman" panose="02020603050405020304" pitchFamily="18" charset="0"/>
                          <a:cs typeface="Sakkal Majalla" panose="02000000000000000000" pitchFamily="2" charset="-78"/>
                        </a:rPr>
                        <a:t>( </a:t>
                      </a:r>
                      <a:r>
                        <a:rPr lang="en-US" sz="1600" b="1" dirty="0">
                          <a:solidFill>
                            <a:srgbClr val="FFFFFF"/>
                          </a:solidFill>
                          <a:effectLst/>
                          <a:latin typeface="Sakkal Majalla" panose="02000000000000000000" pitchFamily="2" charset="-78"/>
                          <a:ea typeface="Times New Roman" panose="02020603050405020304" pitchFamily="18" charset="0"/>
                          <a:cs typeface="Sakkal Majalla" panose="02000000000000000000" pitchFamily="2" charset="-78"/>
                        </a:rPr>
                        <a:t>10</a:t>
                      </a:r>
                      <a:r>
                        <a:rPr lang="ar-SA" sz="1600" b="1" dirty="0">
                          <a:solidFill>
                            <a:srgbClr val="FFFFFF"/>
                          </a:solidFill>
                          <a:effectLst/>
                          <a:latin typeface="Sakkal Majalla" panose="02000000000000000000" pitchFamily="2" charset="-78"/>
                          <a:ea typeface="Times New Roman" panose="02020603050405020304" pitchFamily="18" charset="0"/>
                          <a:cs typeface="Sakkal Majalla" panose="02000000000000000000" pitchFamily="2" charset="-78"/>
                        </a:rPr>
                        <a:t> )</a:t>
                      </a:r>
                      <a:endParaRPr lang="en-US" sz="1600" b="1" dirty="0">
                        <a:effectLst/>
                        <a:latin typeface="Sakkal Majalla" panose="02000000000000000000" pitchFamily="2" charset="-78"/>
                        <a:ea typeface="Times New Roman" panose="02020603050405020304" pitchFamily="18" charset="0"/>
                        <a:cs typeface="Sakkal Majalla" panose="02000000000000000000" pitchFamily="2" charset="-78"/>
                      </a:endParaRPr>
                    </a:p>
                  </a:txBody>
                  <a:tcPr marL="56864" marR="5686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7030A0"/>
                    </a:solidFill>
                  </a:tcPr>
                </a:tc>
                <a:tc>
                  <a:txBody>
                    <a:bodyPr/>
                    <a:lstStyle/>
                    <a:p>
                      <a:pPr marL="0" marR="180340" algn="ctr" rtl="1">
                        <a:lnSpc>
                          <a:spcPct val="100000"/>
                        </a:lnSpc>
                        <a:spcAft>
                          <a:spcPts val="0"/>
                        </a:spcAft>
                      </a:pPr>
                      <a:r>
                        <a:rPr lang="ar-SA" sz="1600" b="1" dirty="0">
                          <a:solidFill>
                            <a:srgbClr val="FFFFFF"/>
                          </a:solidFill>
                          <a:effectLst/>
                          <a:latin typeface="Sakkal Majalla" panose="02000000000000000000" pitchFamily="2" charset="-78"/>
                          <a:ea typeface="Times New Roman" panose="02020603050405020304" pitchFamily="18" charset="0"/>
                          <a:cs typeface="Sakkal Majalla" panose="02000000000000000000" pitchFamily="2" charset="-78"/>
                        </a:rPr>
                        <a:t>المعايير الفرعية  المدارس الحكومية</a:t>
                      </a:r>
                      <a:endParaRPr lang="en-US" sz="1600" b="1" dirty="0">
                        <a:effectLst/>
                        <a:latin typeface="Sakkal Majalla" panose="02000000000000000000" pitchFamily="2" charset="-78"/>
                        <a:ea typeface="Times New Roman" panose="02020603050405020304" pitchFamily="18" charset="0"/>
                        <a:cs typeface="Sakkal Majalla" panose="02000000000000000000" pitchFamily="2" charset="-78"/>
                      </a:endParaRPr>
                    </a:p>
                    <a:p>
                      <a:pPr marL="0" marR="180340" algn="ctr" rtl="1">
                        <a:lnSpc>
                          <a:spcPct val="100000"/>
                        </a:lnSpc>
                        <a:spcAft>
                          <a:spcPts val="0"/>
                        </a:spcAft>
                      </a:pPr>
                      <a:r>
                        <a:rPr lang="ar-SA" sz="1600" b="1" dirty="0">
                          <a:solidFill>
                            <a:srgbClr val="FFFFFF"/>
                          </a:solidFill>
                          <a:effectLst/>
                          <a:latin typeface="Sakkal Majalla" panose="02000000000000000000" pitchFamily="2" charset="-78"/>
                          <a:ea typeface="Times New Roman" panose="02020603050405020304" pitchFamily="18" charset="0"/>
                          <a:cs typeface="Sakkal Majalla" panose="02000000000000000000" pitchFamily="2" charset="-78"/>
                        </a:rPr>
                        <a:t>( </a:t>
                      </a:r>
                      <a:r>
                        <a:rPr lang="en-US" sz="1600" b="1" dirty="0">
                          <a:solidFill>
                            <a:srgbClr val="FFFFFF"/>
                          </a:solidFill>
                          <a:effectLst/>
                          <a:latin typeface="Sakkal Majalla" panose="02000000000000000000" pitchFamily="2" charset="-78"/>
                          <a:ea typeface="Times New Roman" panose="02020603050405020304" pitchFamily="18" charset="0"/>
                          <a:cs typeface="Sakkal Majalla" panose="02000000000000000000" pitchFamily="2" charset="-78"/>
                        </a:rPr>
                        <a:t>47</a:t>
                      </a:r>
                      <a:r>
                        <a:rPr lang="ar-SA" sz="1600" b="1" dirty="0">
                          <a:solidFill>
                            <a:srgbClr val="FFFFFF"/>
                          </a:solidFill>
                          <a:effectLst/>
                          <a:latin typeface="Sakkal Majalla" panose="02000000000000000000" pitchFamily="2" charset="-78"/>
                          <a:ea typeface="Times New Roman" panose="02020603050405020304" pitchFamily="18" charset="0"/>
                          <a:cs typeface="Sakkal Majalla" panose="02000000000000000000" pitchFamily="2" charset="-78"/>
                        </a:rPr>
                        <a:t> )</a:t>
                      </a:r>
                      <a:endParaRPr lang="en-US" sz="1600" b="1" dirty="0">
                        <a:effectLst/>
                        <a:latin typeface="Sakkal Majalla" panose="02000000000000000000" pitchFamily="2" charset="-78"/>
                        <a:ea typeface="Times New Roman" panose="02020603050405020304" pitchFamily="18" charset="0"/>
                        <a:cs typeface="Sakkal Majalla" panose="02000000000000000000" pitchFamily="2" charset="-78"/>
                      </a:endParaRPr>
                    </a:p>
                  </a:txBody>
                  <a:tcPr marL="56864" marR="5686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7030A0"/>
                    </a:solidFill>
                  </a:tcPr>
                </a:tc>
                <a:tc>
                  <a:txBody>
                    <a:bodyPr/>
                    <a:lstStyle/>
                    <a:p>
                      <a:pPr marL="0" marR="180340" algn="ctr" rtl="1">
                        <a:lnSpc>
                          <a:spcPct val="100000"/>
                        </a:lnSpc>
                        <a:spcAft>
                          <a:spcPts val="0"/>
                        </a:spcAft>
                      </a:pPr>
                      <a:r>
                        <a:rPr lang="ar-SA" sz="1600" b="1" dirty="0">
                          <a:solidFill>
                            <a:srgbClr val="FFFFFF"/>
                          </a:solidFill>
                          <a:effectLst/>
                          <a:latin typeface="Sakkal Majalla" panose="02000000000000000000" pitchFamily="2" charset="-78"/>
                          <a:ea typeface="Times New Roman" panose="02020603050405020304" pitchFamily="18" charset="0"/>
                          <a:cs typeface="Sakkal Majalla" panose="02000000000000000000" pitchFamily="2" charset="-78"/>
                        </a:rPr>
                        <a:t>المعايير الفرعية المدارس الأهلية والعالمية</a:t>
                      </a:r>
                      <a:endParaRPr lang="en-US" sz="1600" b="1" dirty="0">
                        <a:effectLst/>
                        <a:latin typeface="Sakkal Majalla" panose="02000000000000000000" pitchFamily="2" charset="-78"/>
                        <a:ea typeface="Times New Roman" panose="02020603050405020304" pitchFamily="18" charset="0"/>
                        <a:cs typeface="Sakkal Majalla" panose="02000000000000000000" pitchFamily="2" charset="-78"/>
                      </a:endParaRPr>
                    </a:p>
                    <a:p>
                      <a:pPr marL="0" marR="180340" algn="ctr" rtl="1">
                        <a:lnSpc>
                          <a:spcPct val="100000"/>
                        </a:lnSpc>
                        <a:spcAft>
                          <a:spcPts val="0"/>
                        </a:spcAft>
                      </a:pPr>
                      <a:r>
                        <a:rPr lang="ar-SA" sz="1600" b="1" dirty="0">
                          <a:solidFill>
                            <a:srgbClr val="FFFFFF"/>
                          </a:solidFill>
                          <a:effectLst/>
                          <a:latin typeface="Sakkal Majalla" panose="02000000000000000000" pitchFamily="2" charset="-78"/>
                          <a:ea typeface="Times New Roman" panose="02020603050405020304" pitchFamily="18" charset="0"/>
                          <a:cs typeface="Sakkal Majalla" panose="02000000000000000000" pitchFamily="2" charset="-78"/>
                        </a:rPr>
                        <a:t>( </a:t>
                      </a:r>
                      <a:r>
                        <a:rPr lang="en-US" sz="1600" b="1" dirty="0">
                          <a:solidFill>
                            <a:srgbClr val="FFFFFF"/>
                          </a:solidFill>
                          <a:effectLst/>
                          <a:latin typeface="Sakkal Majalla" panose="02000000000000000000" pitchFamily="2" charset="-78"/>
                          <a:ea typeface="Times New Roman" panose="02020603050405020304" pitchFamily="18" charset="0"/>
                          <a:cs typeface="Sakkal Majalla" panose="02000000000000000000" pitchFamily="2" charset="-78"/>
                        </a:rPr>
                        <a:t>50</a:t>
                      </a:r>
                      <a:r>
                        <a:rPr lang="ar-SA" sz="1600" b="1" dirty="0">
                          <a:solidFill>
                            <a:srgbClr val="FFFFFF"/>
                          </a:solidFill>
                          <a:effectLst/>
                          <a:latin typeface="Sakkal Majalla" panose="02000000000000000000" pitchFamily="2" charset="-78"/>
                          <a:ea typeface="Times New Roman" panose="02020603050405020304" pitchFamily="18" charset="0"/>
                          <a:cs typeface="Sakkal Majalla" panose="02000000000000000000" pitchFamily="2" charset="-78"/>
                        </a:rPr>
                        <a:t>)</a:t>
                      </a:r>
                      <a:endParaRPr lang="en-US" sz="1600" b="1" dirty="0">
                        <a:effectLst/>
                        <a:latin typeface="Sakkal Majalla" panose="02000000000000000000" pitchFamily="2" charset="-78"/>
                        <a:ea typeface="Times New Roman" panose="02020603050405020304" pitchFamily="18" charset="0"/>
                        <a:cs typeface="Sakkal Majalla" panose="02000000000000000000" pitchFamily="2" charset="-78"/>
                      </a:endParaRPr>
                    </a:p>
                  </a:txBody>
                  <a:tcPr marL="56864" marR="5686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7030A0"/>
                    </a:solidFill>
                  </a:tcPr>
                </a:tc>
                <a:extLst>
                  <a:ext uri="{0D108BD9-81ED-4DB2-BD59-A6C34878D82A}">
                    <a16:rowId xmlns:a16="http://schemas.microsoft.com/office/drawing/2014/main" val="154160462"/>
                  </a:ext>
                </a:extLst>
              </a:tr>
              <a:tr h="658598">
                <a:tc>
                  <a:txBody>
                    <a:bodyPr/>
                    <a:lstStyle/>
                    <a:p>
                      <a:pPr marL="457200" marR="180340" algn="ctr" rtl="1">
                        <a:lnSpc>
                          <a:spcPct val="100000"/>
                        </a:lnSpc>
                        <a:spcAft>
                          <a:spcPts val="0"/>
                        </a:spcAft>
                      </a:pPr>
                      <a:r>
                        <a:rPr lang="ar-SA" sz="1800" b="1" dirty="0">
                          <a:solidFill>
                            <a:srgbClr val="002060"/>
                          </a:solidFill>
                          <a:effectLst/>
                          <a:latin typeface="Sakkal Majalla" panose="02000000000000000000" pitchFamily="2" charset="-78"/>
                          <a:ea typeface="Times New Roman" panose="02020603050405020304" pitchFamily="18" charset="0"/>
                          <a:cs typeface="Sakkal Majalla" panose="02000000000000000000" pitchFamily="2" charset="-78"/>
                        </a:rPr>
                        <a:t>الإدارة (القيادة) المدرسية</a:t>
                      </a:r>
                      <a:endParaRPr lang="en-US" sz="1800" b="1" dirty="0">
                        <a:effectLst/>
                        <a:latin typeface="Sakkal Majalla" panose="02000000000000000000" pitchFamily="2" charset="-78"/>
                        <a:ea typeface="Times New Roman" panose="02020603050405020304" pitchFamily="18" charset="0"/>
                        <a:cs typeface="Sakkal Majalla" panose="02000000000000000000" pitchFamily="2" charset="-78"/>
                      </a:endParaRPr>
                    </a:p>
                  </a:txBody>
                  <a:tcPr marL="56864" marR="5686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180340" algn="ctr" rtl="0">
                        <a:lnSpc>
                          <a:spcPct val="100000"/>
                        </a:lnSpc>
                        <a:spcAft>
                          <a:spcPts val="0"/>
                        </a:spcAft>
                      </a:pPr>
                      <a:r>
                        <a:rPr lang="en-US" sz="2000" b="1" dirty="0">
                          <a:solidFill>
                            <a:srgbClr val="3F007E"/>
                          </a:solidFill>
                          <a:effectLst/>
                          <a:latin typeface="Sakkal Majalla" panose="02000000000000000000" pitchFamily="2" charset="-78"/>
                          <a:ea typeface="Times New Roman" panose="02020603050405020304" pitchFamily="18" charset="0"/>
                          <a:cs typeface="Sakkal Majalla" panose="02000000000000000000" pitchFamily="2" charset="-78"/>
                        </a:rPr>
                        <a:t>4</a:t>
                      </a:r>
                    </a:p>
                  </a:txBody>
                  <a:tcPr marL="56864" marR="5686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180340" algn="ctr" rtl="0">
                        <a:lnSpc>
                          <a:spcPct val="100000"/>
                        </a:lnSpc>
                        <a:spcAft>
                          <a:spcPts val="0"/>
                        </a:spcAft>
                      </a:pPr>
                      <a:r>
                        <a:rPr lang="en-US" sz="2000" b="1" dirty="0">
                          <a:solidFill>
                            <a:srgbClr val="3F007E"/>
                          </a:solidFill>
                          <a:effectLst/>
                          <a:latin typeface="Sakkal Majalla" panose="02000000000000000000" pitchFamily="2" charset="-78"/>
                          <a:ea typeface="Times New Roman" panose="02020603050405020304" pitchFamily="18" charset="0"/>
                          <a:cs typeface="Sakkal Majalla" panose="02000000000000000000" pitchFamily="2" charset="-78"/>
                        </a:rPr>
                        <a:t>15</a:t>
                      </a:r>
                    </a:p>
                  </a:txBody>
                  <a:tcPr marL="56864" marR="5686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180340" algn="ctr" rtl="0">
                        <a:lnSpc>
                          <a:spcPct val="100000"/>
                        </a:lnSpc>
                        <a:spcAft>
                          <a:spcPts val="0"/>
                        </a:spcAft>
                      </a:pPr>
                      <a:r>
                        <a:rPr lang="en-US" sz="2000" b="1" dirty="0">
                          <a:solidFill>
                            <a:srgbClr val="3F007E"/>
                          </a:solidFill>
                          <a:effectLst/>
                          <a:latin typeface="Sakkal Majalla" panose="02000000000000000000" pitchFamily="2" charset="-78"/>
                          <a:ea typeface="Times New Roman" panose="02020603050405020304" pitchFamily="18" charset="0"/>
                          <a:cs typeface="Sakkal Majalla" panose="02000000000000000000" pitchFamily="2" charset="-78"/>
                        </a:rPr>
                        <a:t>18</a:t>
                      </a:r>
                    </a:p>
                  </a:txBody>
                  <a:tcPr marL="56864" marR="5686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04325278"/>
                  </a:ext>
                </a:extLst>
              </a:tr>
              <a:tr h="658598">
                <a:tc>
                  <a:txBody>
                    <a:bodyPr/>
                    <a:lstStyle/>
                    <a:p>
                      <a:pPr marL="457200" marR="180340" algn="ctr" rtl="1">
                        <a:lnSpc>
                          <a:spcPct val="100000"/>
                        </a:lnSpc>
                        <a:spcAft>
                          <a:spcPts val="0"/>
                        </a:spcAft>
                      </a:pPr>
                      <a:r>
                        <a:rPr lang="ar-SA" sz="1800" b="1" dirty="0">
                          <a:solidFill>
                            <a:srgbClr val="002060"/>
                          </a:solidFill>
                          <a:effectLst/>
                          <a:latin typeface="Sakkal Majalla" panose="02000000000000000000" pitchFamily="2" charset="-78"/>
                          <a:ea typeface="Times New Roman" panose="02020603050405020304" pitchFamily="18" charset="0"/>
                          <a:cs typeface="Sakkal Majalla" panose="02000000000000000000" pitchFamily="2" charset="-78"/>
                        </a:rPr>
                        <a:t>التعليم والتعلم</a:t>
                      </a:r>
                      <a:endParaRPr lang="en-US" sz="1800" b="1" dirty="0">
                        <a:effectLst/>
                        <a:latin typeface="Sakkal Majalla" panose="02000000000000000000" pitchFamily="2" charset="-78"/>
                        <a:ea typeface="Times New Roman" panose="02020603050405020304" pitchFamily="18" charset="0"/>
                        <a:cs typeface="Sakkal Majalla" panose="02000000000000000000" pitchFamily="2" charset="-78"/>
                      </a:endParaRPr>
                    </a:p>
                  </a:txBody>
                  <a:tcPr marL="56864" marR="5686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180340" algn="ctr" rtl="0">
                        <a:lnSpc>
                          <a:spcPct val="100000"/>
                        </a:lnSpc>
                        <a:spcAft>
                          <a:spcPts val="0"/>
                        </a:spcAft>
                      </a:pPr>
                      <a:r>
                        <a:rPr lang="en-US" sz="2000" b="1">
                          <a:solidFill>
                            <a:srgbClr val="3F007E"/>
                          </a:solidFill>
                          <a:effectLst/>
                          <a:latin typeface="Sakkal Majalla" panose="02000000000000000000" pitchFamily="2" charset="-78"/>
                          <a:ea typeface="Times New Roman" panose="02020603050405020304" pitchFamily="18" charset="0"/>
                          <a:cs typeface="Sakkal Majalla" panose="02000000000000000000" pitchFamily="2" charset="-78"/>
                        </a:rPr>
                        <a:t>2</a:t>
                      </a:r>
                    </a:p>
                  </a:txBody>
                  <a:tcPr marL="56864" marR="5686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180340" algn="ctr" rtl="0">
                        <a:lnSpc>
                          <a:spcPct val="100000"/>
                        </a:lnSpc>
                        <a:spcAft>
                          <a:spcPts val="0"/>
                        </a:spcAft>
                      </a:pPr>
                      <a:r>
                        <a:rPr lang="en-US" sz="2000" b="1" dirty="0">
                          <a:solidFill>
                            <a:srgbClr val="3F007E"/>
                          </a:solidFill>
                          <a:effectLst/>
                          <a:latin typeface="Sakkal Majalla" panose="02000000000000000000" pitchFamily="2" charset="-78"/>
                          <a:ea typeface="Times New Roman" panose="02020603050405020304" pitchFamily="18" charset="0"/>
                          <a:cs typeface="Sakkal Majalla" panose="02000000000000000000" pitchFamily="2" charset="-78"/>
                        </a:rPr>
                        <a:t>13</a:t>
                      </a:r>
                    </a:p>
                  </a:txBody>
                  <a:tcPr marL="56864" marR="5686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180340" algn="ctr" rtl="0">
                        <a:lnSpc>
                          <a:spcPct val="100000"/>
                        </a:lnSpc>
                        <a:spcAft>
                          <a:spcPts val="0"/>
                        </a:spcAft>
                      </a:pPr>
                      <a:r>
                        <a:rPr lang="en-US" sz="2000" b="1" dirty="0">
                          <a:solidFill>
                            <a:srgbClr val="3F007E"/>
                          </a:solidFill>
                          <a:effectLst/>
                          <a:latin typeface="Sakkal Majalla" panose="02000000000000000000" pitchFamily="2" charset="-78"/>
                          <a:ea typeface="Times New Roman" panose="02020603050405020304" pitchFamily="18" charset="0"/>
                          <a:cs typeface="Sakkal Majalla" panose="02000000000000000000" pitchFamily="2" charset="-78"/>
                        </a:rPr>
                        <a:t>13</a:t>
                      </a:r>
                    </a:p>
                  </a:txBody>
                  <a:tcPr marL="56864" marR="5686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49798560"/>
                  </a:ext>
                </a:extLst>
              </a:tr>
              <a:tr h="658598">
                <a:tc>
                  <a:txBody>
                    <a:bodyPr/>
                    <a:lstStyle/>
                    <a:p>
                      <a:pPr marL="457200" marR="180340" algn="ctr" rtl="1">
                        <a:lnSpc>
                          <a:spcPct val="100000"/>
                        </a:lnSpc>
                        <a:spcAft>
                          <a:spcPts val="0"/>
                        </a:spcAft>
                      </a:pPr>
                      <a:r>
                        <a:rPr lang="ar-SA" sz="1800" b="1" dirty="0">
                          <a:solidFill>
                            <a:srgbClr val="002060"/>
                          </a:solidFill>
                          <a:effectLst/>
                          <a:latin typeface="Sakkal Majalla" panose="02000000000000000000" pitchFamily="2" charset="-78"/>
                          <a:ea typeface="Times New Roman" panose="02020603050405020304" pitchFamily="18" charset="0"/>
                          <a:cs typeface="Sakkal Majalla" panose="02000000000000000000" pitchFamily="2" charset="-78"/>
                        </a:rPr>
                        <a:t>نواتج التعلم</a:t>
                      </a:r>
                      <a:endParaRPr lang="en-US" sz="1800" b="1" dirty="0">
                        <a:effectLst/>
                        <a:latin typeface="Sakkal Majalla" panose="02000000000000000000" pitchFamily="2" charset="-78"/>
                        <a:ea typeface="Times New Roman" panose="02020603050405020304" pitchFamily="18" charset="0"/>
                        <a:cs typeface="Sakkal Majalla" panose="02000000000000000000" pitchFamily="2" charset="-78"/>
                      </a:endParaRPr>
                    </a:p>
                  </a:txBody>
                  <a:tcPr marL="56864" marR="5686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180340" algn="ctr" rtl="0">
                        <a:lnSpc>
                          <a:spcPct val="100000"/>
                        </a:lnSpc>
                        <a:spcAft>
                          <a:spcPts val="0"/>
                        </a:spcAft>
                      </a:pPr>
                      <a:r>
                        <a:rPr lang="en-US" sz="2000" b="1">
                          <a:solidFill>
                            <a:srgbClr val="3F007E"/>
                          </a:solidFill>
                          <a:effectLst/>
                          <a:latin typeface="Sakkal Majalla" panose="02000000000000000000" pitchFamily="2" charset="-78"/>
                          <a:ea typeface="Times New Roman" panose="02020603050405020304" pitchFamily="18" charset="0"/>
                          <a:cs typeface="Sakkal Majalla" panose="02000000000000000000" pitchFamily="2" charset="-78"/>
                        </a:rPr>
                        <a:t>2</a:t>
                      </a:r>
                    </a:p>
                  </a:txBody>
                  <a:tcPr marL="56864" marR="5686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180340" algn="ctr" rtl="0">
                        <a:lnSpc>
                          <a:spcPct val="100000"/>
                        </a:lnSpc>
                        <a:spcAft>
                          <a:spcPts val="0"/>
                        </a:spcAft>
                      </a:pPr>
                      <a:r>
                        <a:rPr lang="en-US" sz="2000" b="1" dirty="0">
                          <a:solidFill>
                            <a:srgbClr val="3F007E"/>
                          </a:solidFill>
                          <a:effectLst/>
                          <a:latin typeface="Sakkal Majalla" panose="02000000000000000000" pitchFamily="2" charset="-78"/>
                          <a:ea typeface="Times New Roman" panose="02020603050405020304" pitchFamily="18" charset="0"/>
                          <a:cs typeface="Sakkal Majalla" panose="02000000000000000000" pitchFamily="2" charset="-78"/>
                        </a:rPr>
                        <a:t>13</a:t>
                      </a:r>
                    </a:p>
                  </a:txBody>
                  <a:tcPr marL="56864" marR="5686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180340" algn="ctr" rtl="0">
                        <a:lnSpc>
                          <a:spcPct val="100000"/>
                        </a:lnSpc>
                        <a:spcAft>
                          <a:spcPts val="0"/>
                        </a:spcAft>
                      </a:pPr>
                      <a:r>
                        <a:rPr lang="en-US" sz="2000" b="1" dirty="0">
                          <a:solidFill>
                            <a:srgbClr val="3F007E"/>
                          </a:solidFill>
                          <a:effectLst/>
                          <a:latin typeface="Sakkal Majalla" panose="02000000000000000000" pitchFamily="2" charset="-78"/>
                          <a:ea typeface="Times New Roman" panose="02020603050405020304" pitchFamily="18" charset="0"/>
                          <a:cs typeface="Sakkal Majalla" panose="02000000000000000000" pitchFamily="2" charset="-78"/>
                        </a:rPr>
                        <a:t>13</a:t>
                      </a:r>
                    </a:p>
                  </a:txBody>
                  <a:tcPr marL="56864" marR="5686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38625335"/>
                  </a:ext>
                </a:extLst>
              </a:tr>
              <a:tr h="439065">
                <a:tc>
                  <a:txBody>
                    <a:bodyPr/>
                    <a:lstStyle/>
                    <a:p>
                      <a:pPr marL="457200" marR="180340" algn="ctr" rtl="1">
                        <a:lnSpc>
                          <a:spcPct val="100000"/>
                        </a:lnSpc>
                        <a:spcAft>
                          <a:spcPts val="0"/>
                        </a:spcAft>
                      </a:pPr>
                      <a:r>
                        <a:rPr lang="ar-SA" sz="1800" b="1" dirty="0">
                          <a:solidFill>
                            <a:srgbClr val="002060"/>
                          </a:solidFill>
                          <a:effectLst/>
                          <a:latin typeface="Sakkal Majalla" panose="02000000000000000000" pitchFamily="2" charset="-78"/>
                          <a:ea typeface="Times New Roman" panose="02020603050405020304" pitchFamily="18" charset="0"/>
                          <a:cs typeface="Sakkal Majalla" panose="02000000000000000000" pitchFamily="2" charset="-78"/>
                        </a:rPr>
                        <a:t>البيئة المدرسي</a:t>
                      </a:r>
                      <a:endParaRPr lang="en-US" sz="1800" b="1" dirty="0">
                        <a:effectLst/>
                        <a:latin typeface="Sakkal Majalla" panose="02000000000000000000" pitchFamily="2" charset="-78"/>
                        <a:ea typeface="Times New Roman" panose="02020603050405020304" pitchFamily="18" charset="0"/>
                        <a:cs typeface="Sakkal Majalla" panose="02000000000000000000" pitchFamily="2" charset="-78"/>
                      </a:endParaRPr>
                    </a:p>
                  </a:txBody>
                  <a:tcPr marL="56864" marR="5686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180340" algn="ctr" rtl="0">
                        <a:lnSpc>
                          <a:spcPct val="100000"/>
                        </a:lnSpc>
                        <a:spcAft>
                          <a:spcPts val="0"/>
                        </a:spcAft>
                      </a:pPr>
                      <a:r>
                        <a:rPr lang="en-US" sz="2000" b="1" dirty="0">
                          <a:solidFill>
                            <a:srgbClr val="3F007E"/>
                          </a:solidFill>
                          <a:effectLst/>
                          <a:latin typeface="Sakkal Majalla" panose="02000000000000000000" pitchFamily="2" charset="-78"/>
                          <a:ea typeface="Times New Roman" panose="02020603050405020304" pitchFamily="18" charset="0"/>
                          <a:cs typeface="Sakkal Majalla" panose="02000000000000000000" pitchFamily="2" charset="-78"/>
                        </a:rPr>
                        <a:t>2</a:t>
                      </a:r>
                    </a:p>
                  </a:txBody>
                  <a:tcPr marL="56864" marR="5686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180340" algn="ctr" rtl="0">
                        <a:lnSpc>
                          <a:spcPct val="100000"/>
                        </a:lnSpc>
                        <a:spcAft>
                          <a:spcPts val="0"/>
                        </a:spcAft>
                      </a:pPr>
                      <a:r>
                        <a:rPr lang="en-US" sz="2000" b="1">
                          <a:solidFill>
                            <a:srgbClr val="3F007E"/>
                          </a:solidFill>
                          <a:effectLst/>
                          <a:latin typeface="Sakkal Majalla" panose="02000000000000000000" pitchFamily="2" charset="-78"/>
                          <a:ea typeface="Times New Roman" panose="02020603050405020304" pitchFamily="18" charset="0"/>
                          <a:cs typeface="Sakkal Majalla" panose="02000000000000000000" pitchFamily="2" charset="-78"/>
                        </a:rPr>
                        <a:t>6</a:t>
                      </a:r>
                    </a:p>
                  </a:txBody>
                  <a:tcPr marL="56864" marR="5686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180340" algn="ctr" rtl="0">
                        <a:lnSpc>
                          <a:spcPct val="100000"/>
                        </a:lnSpc>
                        <a:spcAft>
                          <a:spcPts val="0"/>
                        </a:spcAft>
                      </a:pPr>
                      <a:r>
                        <a:rPr lang="en-US" sz="2000" b="1" dirty="0">
                          <a:solidFill>
                            <a:srgbClr val="3F007E"/>
                          </a:solidFill>
                          <a:effectLst/>
                          <a:latin typeface="Sakkal Majalla" panose="02000000000000000000" pitchFamily="2" charset="-78"/>
                          <a:ea typeface="Times New Roman" panose="02020603050405020304" pitchFamily="18" charset="0"/>
                          <a:cs typeface="Sakkal Majalla" panose="02000000000000000000" pitchFamily="2" charset="-78"/>
                        </a:rPr>
                        <a:t>6</a:t>
                      </a:r>
                    </a:p>
                  </a:txBody>
                  <a:tcPr marL="56864" marR="5686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98465760"/>
                  </a:ext>
                </a:extLst>
              </a:tr>
            </a:tbl>
          </a:graphicData>
        </a:graphic>
      </p:graphicFrame>
    </p:spTree>
    <p:extLst>
      <p:ext uri="{BB962C8B-B14F-4D97-AF65-F5344CB8AC3E}">
        <p14:creationId xmlns:p14="http://schemas.microsoft.com/office/powerpoint/2010/main" val="30977825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barn(inVertical)">
                                      <p:cBhvr>
                                        <p:cTn id="7" dur="1000"/>
                                        <p:tgtEl>
                                          <p:spTgt spid="10"/>
                                        </p:tgtEl>
                                      </p:cBhvr>
                                    </p:animEffect>
                                  </p:childTnLst>
                                </p:cTn>
                              </p:par>
                              <p:par>
                                <p:cTn id="8" presetID="16" presetClass="entr" presetSubtype="21"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barn(inVertical)">
                                      <p:cBhvr>
                                        <p:cTn id="10" dur="1000"/>
                                        <p:tgtEl>
                                          <p:spTgt spid="11"/>
                                        </p:tgtEl>
                                      </p:cBhvr>
                                    </p:animEffect>
                                  </p:childTnLst>
                                </p:cTn>
                              </p:par>
                            </p:childTnLst>
                          </p:cTn>
                        </p:par>
                      </p:childTnLst>
                    </p:cTn>
                  </p:par>
                  <p:par>
                    <p:cTn id="11" fill="hold">
                      <p:stCondLst>
                        <p:cond delay="indefinite"/>
                      </p:stCondLst>
                      <p:childTnLst>
                        <p:par>
                          <p:cTn id="12" fill="hold">
                            <p:stCondLst>
                              <p:cond delay="0"/>
                            </p:stCondLst>
                            <p:childTnLst>
                              <p:par>
                                <p:cTn id="13" presetID="16" presetClass="entr" presetSubtype="21" fill="hold" grpId="0" nodeType="click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barn(inVertical)">
                                      <p:cBhvr>
                                        <p:cTn id="15" dur="500"/>
                                        <p:tgtEl>
                                          <p:spTgt spid="12"/>
                                        </p:tgtEl>
                                      </p:cBhvr>
                                    </p:animEffect>
                                  </p:childTnLst>
                                </p:cTn>
                              </p:par>
                            </p:childTnLst>
                          </p:cTn>
                        </p:par>
                      </p:childTnLst>
                    </p:cTn>
                  </p:par>
                  <p:par>
                    <p:cTn id="16" fill="hold">
                      <p:stCondLst>
                        <p:cond delay="indefinite"/>
                      </p:stCondLst>
                      <p:childTnLst>
                        <p:par>
                          <p:cTn id="17" fill="hold">
                            <p:stCondLst>
                              <p:cond delay="0"/>
                            </p:stCondLst>
                            <p:childTnLst>
                              <p:par>
                                <p:cTn id="18" presetID="16" presetClass="entr" presetSubtype="21" fill="hold" grpId="0" nodeType="clickEffect">
                                  <p:stCondLst>
                                    <p:cond delay="0"/>
                                  </p:stCondLst>
                                  <p:childTnLst>
                                    <p:set>
                                      <p:cBhvr>
                                        <p:cTn id="19" dur="1" fill="hold">
                                          <p:stCondLst>
                                            <p:cond delay="0"/>
                                          </p:stCondLst>
                                        </p:cTn>
                                        <p:tgtEl>
                                          <p:spTgt spid="2"/>
                                        </p:tgtEl>
                                        <p:attrNameLst>
                                          <p:attrName>style.visibility</p:attrName>
                                        </p:attrNameLst>
                                      </p:cBhvr>
                                      <p:to>
                                        <p:strVal val="visible"/>
                                      </p:to>
                                    </p:set>
                                    <p:animEffect transition="in" filter="barn(inVertical)">
                                      <p:cBhvr>
                                        <p:cTn id="20" dur="1000"/>
                                        <p:tgtEl>
                                          <p:spTgt spid="2"/>
                                        </p:tgtEl>
                                      </p:cBhvr>
                                    </p:animEffect>
                                  </p:childTnLst>
                                </p:cTn>
                              </p:par>
                            </p:childTnLst>
                          </p:cTn>
                        </p:par>
                      </p:childTnLst>
                    </p:cTn>
                  </p:par>
                  <p:par>
                    <p:cTn id="21" fill="hold">
                      <p:stCondLst>
                        <p:cond delay="indefinite"/>
                      </p:stCondLst>
                      <p:childTnLst>
                        <p:par>
                          <p:cTn id="22" fill="hold">
                            <p:stCondLst>
                              <p:cond delay="0"/>
                            </p:stCondLst>
                            <p:childTnLst>
                              <p:par>
                                <p:cTn id="23" presetID="16" presetClass="entr" presetSubtype="21" fill="hold" grpId="0" nodeType="clickEffect">
                                  <p:stCondLst>
                                    <p:cond delay="0"/>
                                  </p:stCondLst>
                                  <p:childTnLst>
                                    <p:set>
                                      <p:cBhvr>
                                        <p:cTn id="24" dur="1" fill="hold">
                                          <p:stCondLst>
                                            <p:cond delay="0"/>
                                          </p:stCondLst>
                                        </p:cTn>
                                        <p:tgtEl>
                                          <p:spTgt spid="3"/>
                                        </p:tgtEl>
                                        <p:attrNameLst>
                                          <p:attrName>style.visibility</p:attrName>
                                        </p:attrNameLst>
                                      </p:cBhvr>
                                      <p:to>
                                        <p:strVal val="visible"/>
                                      </p:to>
                                    </p:set>
                                    <p:animEffect transition="in" filter="barn(inVertical)">
                                      <p:cBhvr>
                                        <p:cTn id="25" dur="500"/>
                                        <p:tgtEl>
                                          <p:spTgt spid="3"/>
                                        </p:tgtEl>
                                      </p:cBhvr>
                                    </p:animEffect>
                                  </p:childTnLst>
                                </p:cTn>
                              </p:par>
                            </p:childTnLst>
                          </p:cTn>
                        </p:par>
                      </p:childTnLst>
                    </p:cTn>
                  </p:par>
                  <p:par>
                    <p:cTn id="26" fill="hold">
                      <p:stCondLst>
                        <p:cond delay="indefinite"/>
                      </p:stCondLst>
                      <p:childTnLst>
                        <p:par>
                          <p:cTn id="27" fill="hold">
                            <p:stCondLst>
                              <p:cond delay="0"/>
                            </p:stCondLst>
                            <p:childTnLst>
                              <p:par>
                                <p:cTn id="28" presetID="16" presetClass="entr" presetSubtype="21" fill="hold" grpId="0" nodeType="clickEffect">
                                  <p:stCondLst>
                                    <p:cond delay="0"/>
                                  </p:stCondLst>
                                  <p:childTnLst>
                                    <p:set>
                                      <p:cBhvr>
                                        <p:cTn id="29" dur="1" fill="hold">
                                          <p:stCondLst>
                                            <p:cond delay="0"/>
                                          </p:stCondLst>
                                        </p:cTn>
                                        <p:tgtEl>
                                          <p:spTgt spid="4"/>
                                        </p:tgtEl>
                                        <p:attrNameLst>
                                          <p:attrName>style.visibility</p:attrName>
                                        </p:attrNameLst>
                                      </p:cBhvr>
                                      <p:to>
                                        <p:strVal val="visible"/>
                                      </p:to>
                                    </p:set>
                                    <p:animEffect transition="in" filter="barn(inVertical)">
                                      <p:cBhvr>
                                        <p:cTn id="30" dur="1000"/>
                                        <p:tgtEl>
                                          <p:spTgt spid="4"/>
                                        </p:tgtEl>
                                      </p:cBhvr>
                                    </p:animEffect>
                                  </p:childTnLst>
                                </p:cTn>
                              </p:par>
                            </p:childTnLst>
                          </p:cTn>
                        </p:par>
                      </p:childTnLst>
                    </p:cTn>
                  </p:par>
                  <p:par>
                    <p:cTn id="31" fill="hold">
                      <p:stCondLst>
                        <p:cond delay="indefinite"/>
                      </p:stCondLst>
                      <p:childTnLst>
                        <p:par>
                          <p:cTn id="32" fill="hold">
                            <p:stCondLst>
                              <p:cond delay="0"/>
                            </p:stCondLst>
                            <p:childTnLst>
                              <p:par>
                                <p:cTn id="33" presetID="16" presetClass="entr" presetSubtype="21" fill="hold" grpId="0" nodeType="clickEffect">
                                  <p:stCondLst>
                                    <p:cond delay="0"/>
                                  </p:stCondLst>
                                  <p:childTnLst>
                                    <p:set>
                                      <p:cBhvr>
                                        <p:cTn id="34" dur="1" fill="hold">
                                          <p:stCondLst>
                                            <p:cond delay="0"/>
                                          </p:stCondLst>
                                        </p:cTn>
                                        <p:tgtEl>
                                          <p:spTgt spid="5"/>
                                        </p:tgtEl>
                                        <p:attrNameLst>
                                          <p:attrName>style.visibility</p:attrName>
                                        </p:attrNameLst>
                                      </p:cBhvr>
                                      <p:to>
                                        <p:strVal val="visible"/>
                                      </p:to>
                                    </p:set>
                                    <p:animEffect transition="in" filter="barn(inVertical)">
                                      <p:cBhvr>
                                        <p:cTn id="35" dur="1000"/>
                                        <p:tgtEl>
                                          <p:spTgt spid="5"/>
                                        </p:tgtEl>
                                      </p:cBhvr>
                                    </p:animEffect>
                                  </p:childTnLst>
                                </p:cTn>
                              </p:par>
                            </p:childTnLst>
                          </p:cTn>
                        </p:par>
                      </p:childTnLst>
                    </p:cTn>
                  </p:par>
                  <p:par>
                    <p:cTn id="36" fill="hold">
                      <p:stCondLst>
                        <p:cond delay="indefinite"/>
                      </p:stCondLst>
                      <p:childTnLst>
                        <p:par>
                          <p:cTn id="37" fill="hold">
                            <p:stCondLst>
                              <p:cond delay="0"/>
                            </p:stCondLst>
                            <p:childTnLst>
                              <p:par>
                                <p:cTn id="38" presetID="16" presetClass="entr" presetSubtype="21" fill="hold" grpId="0" nodeType="clickEffect">
                                  <p:stCondLst>
                                    <p:cond delay="0"/>
                                  </p:stCondLst>
                                  <p:childTnLst>
                                    <p:set>
                                      <p:cBhvr>
                                        <p:cTn id="39" dur="1" fill="hold">
                                          <p:stCondLst>
                                            <p:cond delay="0"/>
                                          </p:stCondLst>
                                        </p:cTn>
                                        <p:tgtEl>
                                          <p:spTgt spid="6"/>
                                        </p:tgtEl>
                                        <p:attrNameLst>
                                          <p:attrName>style.visibility</p:attrName>
                                        </p:attrNameLst>
                                      </p:cBhvr>
                                      <p:to>
                                        <p:strVal val="visible"/>
                                      </p:to>
                                    </p:set>
                                    <p:animEffect transition="in" filter="barn(inVertical)">
                                      <p:cBhvr>
                                        <p:cTn id="40" dur="1000"/>
                                        <p:tgtEl>
                                          <p:spTgt spid="6"/>
                                        </p:tgtEl>
                                      </p:cBhvr>
                                    </p:animEffect>
                                  </p:childTnLst>
                                </p:cTn>
                              </p:par>
                            </p:childTnLst>
                          </p:cTn>
                        </p:par>
                      </p:childTnLst>
                    </p:cTn>
                  </p:par>
                  <p:par>
                    <p:cTn id="41" fill="hold">
                      <p:stCondLst>
                        <p:cond delay="indefinite"/>
                      </p:stCondLst>
                      <p:childTnLst>
                        <p:par>
                          <p:cTn id="42" fill="hold">
                            <p:stCondLst>
                              <p:cond delay="0"/>
                            </p:stCondLst>
                            <p:childTnLst>
                              <p:par>
                                <p:cTn id="43" presetID="16" presetClass="entr" presetSubtype="21" fill="hold" grpId="0" nodeType="clickEffect">
                                  <p:stCondLst>
                                    <p:cond delay="0"/>
                                  </p:stCondLst>
                                  <p:childTnLst>
                                    <p:set>
                                      <p:cBhvr>
                                        <p:cTn id="44" dur="1" fill="hold">
                                          <p:stCondLst>
                                            <p:cond delay="0"/>
                                          </p:stCondLst>
                                        </p:cTn>
                                        <p:tgtEl>
                                          <p:spTgt spid="7"/>
                                        </p:tgtEl>
                                        <p:attrNameLst>
                                          <p:attrName>style.visibility</p:attrName>
                                        </p:attrNameLst>
                                      </p:cBhvr>
                                      <p:to>
                                        <p:strVal val="visible"/>
                                      </p:to>
                                    </p:set>
                                    <p:animEffect transition="in" filter="barn(inVertical)">
                                      <p:cBhvr>
                                        <p:cTn id="45" dur="1000"/>
                                        <p:tgtEl>
                                          <p:spTgt spid="7"/>
                                        </p:tgtEl>
                                      </p:cBhvr>
                                    </p:animEffect>
                                  </p:childTnLst>
                                </p:cTn>
                              </p:par>
                            </p:childTnLst>
                          </p:cTn>
                        </p:par>
                      </p:childTnLst>
                    </p:cTn>
                  </p:par>
                  <p:par>
                    <p:cTn id="46" fill="hold">
                      <p:stCondLst>
                        <p:cond delay="indefinite"/>
                      </p:stCondLst>
                      <p:childTnLst>
                        <p:par>
                          <p:cTn id="47" fill="hold">
                            <p:stCondLst>
                              <p:cond delay="0"/>
                            </p:stCondLst>
                            <p:childTnLst>
                              <p:par>
                                <p:cTn id="48" presetID="16" presetClass="entr" presetSubtype="21" fill="hold" grpId="0" nodeType="clickEffect">
                                  <p:stCondLst>
                                    <p:cond delay="0"/>
                                  </p:stCondLst>
                                  <p:childTnLst>
                                    <p:set>
                                      <p:cBhvr>
                                        <p:cTn id="49" dur="1" fill="hold">
                                          <p:stCondLst>
                                            <p:cond delay="0"/>
                                          </p:stCondLst>
                                        </p:cTn>
                                        <p:tgtEl>
                                          <p:spTgt spid="8"/>
                                        </p:tgtEl>
                                        <p:attrNameLst>
                                          <p:attrName>style.visibility</p:attrName>
                                        </p:attrNameLst>
                                      </p:cBhvr>
                                      <p:to>
                                        <p:strVal val="visible"/>
                                      </p:to>
                                    </p:set>
                                    <p:animEffect transition="in" filter="barn(inVertical)">
                                      <p:cBhvr>
                                        <p:cTn id="50" dur="1000"/>
                                        <p:tgtEl>
                                          <p:spTgt spid="8"/>
                                        </p:tgtEl>
                                      </p:cBhvr>
                                    </p:animEffect>
                                  </p:childTnLst>
                                </p:cTn>
                              </p:par>
                            </p:childTnLst>
                          </p:cTn>
                        </p:par>
                      </p:childTnLst>
                    </p:cTn>
                  </p:par>
                  <p:par>
                    <p:cTn id="51" fill="hold">
                      <p:stCondLst>
                        <p:cond delay="indefinite"/>
                      </p:stCondLst>
                      <p:childTnLst>
                        <p:par>
                          <p:cTn id="52" fill="hold">
                            <p:stCondLst>
                              <p:cond delay="0"/>
                            </p:stCondLst>
                            <p:childTnLst>
                              <p:par>
                                <p:cTn id="53" presetID="16" presetClass="entr" presetSubtype="21" fill="hold" grpId="0" nodeType="clickEffect">
                                  <p:stCondLst>
                                    <p:cond delay="0"/>
                                  </p:stCondLst>
                                  <p:childTnLst>
                                    <p:set>
                                      <p:cBhvr>
                                        <p:cTn id="54" dur="1" fill="hold">
                                          <p:stCondLst>
                                            <p:cond delay="0"/>
                                          </p:stCondLst>
                                        </p:cTn>
                                        <p:tgtEl>
                                          <p:spTgt spid="9"/>
                                        </p:tgtEl>
                                        <p:attrNameLst>
                                          <p:attrName>style.visibility</p:attrName>
                                        </p:attrNameLst>
                                      </p:cBhvr>
                                      <p:to>
                                        <p:strVal val="visible"/>
                                      </p:to>
                                    </p:set>
                                    <p:animEffect transition="in" filter="barn(inVertical)">
                                      <p:cBhvr>
                                        <p:cTn id="55" dur="1000"/>
                                        <p:tgtEl>
                                          <p:spTgt spid="9"/>
                                        </p:tgtEl>
                                      </p:cBhvr>
                                    </p:animEffect>
                                  </p:childTnLst>
                                </p:cTn>
                              </p:par>
                            </p:childTnLst>
                          </p:cTn>
                        </p:par>
                      </p:childTnLst>
                    </p:cTn>
                  </p:par>
                  <p:par>
                    <p:cTn id="56" fill="hold">
                      <p:stCondLst>
                        <p:cond delay="indefinite"/>
                      </p:stCondLst>
                      <p:childTnLst>
                        <p:par>
                          <p:cTn id="57" fill="hold">
                            <p:stCondLst>
                              <p:cond delay="0"/>
                            </p:stCondLst>
                            <p:childTnLst>
                              <p:par>
                                <p:cTn id="58" presetID="16" presetClass="entr" presetSubtype="21" fill="hold" grpId="0" nodeType="clickEffect">
                                  <p:stCondLst>
                                    <p:cond delay="0"/>
                                  </p:stCondLst>
                                  <p:childTnLst>
                                    <p:set>
                                      <p:cBhvr>
                                        <p:cTn id="59" dur="1" fill="hold">
                                          <p:stCondLst>
                                            <p:cond delay="0"/>
                                          </p:stCondLst>
                                        </p:cTn>
                                        <p:tgtEl>
                                          <p:spTgt spid="13"/>
                                        </p:tgtEl>
                                        <p:attrNameLst>
                                          <p:attrName>style.visibility</p:attrName>
                                        </p:attrNameLst>
                                      </p:cBhvr>
                                      <p:to>
                                        <p:strVal val="visible"/>
                                      </p:to>
                                    </p:set>
                                    <p:animEffect transition="in" filter="barn(inVertical)">
                                      <p:cBhvr>
                                        <p:cTn id="60" dur="1250"/>
                                        <p:tgtEl>
                                          <p:spTgt spid="13"/>
                                        </p:tgtEl>
                                      </p:cBhvr>
                                    </p:animEffect>
                                  </p:childTnLst>
                                </p:cTn>
                              </p:par>
                            </p:childTnLst>
                          </p:cTn>
                        </p:par>
                      </p:childTnLst>
                    </p:cTn>
                  </p:par>
                  <p:par>
                    <p:cTn id="61" fill="hold">
                      <p:stCondLst>
                        <p:cond delay="indefinite"/>
                      </p:stCondLst>
                      <p:childTnLst>
                        <p:par>
                          <p:cTn id="62" fill="hold">
                            <p:stCondLst>
                              <p:cond delay="0"/>
                            </p:stCondLst>
                            <p:childTnLst>
                              <p:par>
                                <p:cTn id="63" presetID="16" presetClass="entr" presetSubtype="21" fill="hold" grpId="0" nodeType="clickEffect">
                                  <p:stCondLst>
                                    <p:cond delay="0"/>
                                  </p:stCondLst>
                                  <p:childTnLst>
                                    <p:set>
                                      <p:cBhvr>
                                        <p:cTn id="64" dur="1" fill="hold">
                                          <p:stCondLst>
                                            <p:cond delay="0"/>
                                          </p:stCondLst>
                                        </p:cTn>
                                        <p:tgtEl>
                                          <p:spTgt spid="14"/>
                                        </p:tgtEl>
                                        <p:attrNameLst>
                                          <p:attrName>style.visibility</p:attrName>
                                        </p:attrNameLst>
                                      </p:cBhvr>
                                      <p:to>
                                        <p:strVal val="visible"/>
                                      </p:to>
                                    </p:set>
                                    <p:animEffect transition="in" filter="barn(inVertical)">
                                      <p:cBhvr>
                                        <p:cTn id="65" dur="1250"/>
                                        <p:tgtEl>
                                          <p:spTgt spid="14"/>
                                        </p:tgtEl>
                                      </p:cBhvr>
                                    </p:animEffect>
                                  </p:childTnLst>
                                </p:cTn>
                              </p:par>
                            </p:childTnLst>
                          </p:cTn>
                        </p:par>
                      </p:childTnLst>
                    </p:cTn>
                  </p:par>
                  <p:par>
                    <p:cTn id="66" fill="hold">
                      <p:stCondLst>
                        <p:cond delay="indefinite"/>
                      </p:stCondLst>
                      <p:childTnLst>
                        <p:par>
                          <p:cTn id="67" fill="hold">
                            <p:stCondLst>
                              <p:cond delay="0"/>
                            </p:stCondLst>
                            <p:childTnLst>
                              <p:par>
                                <p:cTn id="68" presetID="16" presetClass="entr" presetSubtype="21" fill="hold" nodeType="clickEffect">
                                  <p:stCondLst>
                                    <p:cond delay="0"/>
                                  </p:stCondLst>
                                  <p:childTnLst>
                                    <p:set>
                                      <p:cBhvr>
                                        <p:cTn id="69" dur="1" fill="hold">
                                          <p:stCondLst>
                                            <p:cond delay="0"/>
                                          </p:stCondLst>
                                        </p:cTn>
                                        <p:tgtEl>
                                          <p:spTgt spid="15"/>
                                        </p:tgtEl>
                                        <p:attrNameLst>
                                          <p:attrName>style.visibility</p:attrName>
                                        </p:attrNameLst>
                                      </p:cBhvr>
                                      <p:to>
                                        <p:strVal val="visible"/>
                                      </p:to>
                                    </p:set>
                                    <p:animEffect transition="in" filter="barn(inVertical)">
                                      <p:cBhvr>
                                        <p:cTn id="70"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4" grpId="0" animBg="1"/>
      <p:bldP spid="5" grpId="0" animBg="1"/>
      <p:bldP spid="6" grpId="0" animBg="1"/>
      <p:bldP spid="7" grpId="0" animBg="1"/>
      <p:bldP spid="8" grpId="0" animBg="1"/>
      <p:bldP spid="9" grpId="0" animBg="1"/>
      <p:bldP spid="10" grpId="0" animBg="1"/>
      <p:bldP spid="11" grpId="0" animBg="1"/>
      <p:bldP spid="12" grpId="0"/>
      <p:bldP spid="13" grpId="0" animBg="1"/>
      <p:bldP spid="14"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جدول 3">
            <a:extLst>
              <a:ext uri="{FF2B5EF4-FFF2-40B4-BE49-F238E27FC236}">
                <a16:creationId xmlns:a16="http://schemas.microsoft.com/office/drawing/2014/main" id="{3B05404E-9A46-507D-259B-29B95E15F4D5}"/>
              </a:ext>
            </a:extLst>
          </p:cNvPr>
          <p:cNvGraphicFramePr>
            <a:graphicFrameLocks noGrp="1"/>
          </p:cNvGraphicFramePr>
          <p:nvPr>
            <p:extLst>
              <p:ext uri="{D42A27DB-BD31-4B8C-83A1-F6EECF244321}">
                <p14:modId xmlns:p14="http://schemas.microsoft.com/office/powerpoint/2010/main" val="4054575816"/>
              </p:ext>
            </p:extLst>
          </p:nvPr>
        </p:nvGraphicFramePr>
        <p:xfrm>
          <a:off x="457199" y="488822"/>
          <a:ext cx="11330019" cy="6248400"/>
        </p:xfrm>
        <a:graphic>
          <a:graphicData uri="http://schemas.openxmlformats.org/drawingml/2006/table">
            <a:tbl>
              <a:tblPr rtl="1" firstRow="1" bandRow="1">
                <a:tableStyleId>{69012ECD-51FC-41F1-AA8D-1B2483CD663E}</a:tableStyleId>
              </a:tblPr>
              <a:tblGrid>
                <a:gridCol w="2366068">
                  <a:extLst>
                    <a:ext uri="{9D8B030D-6E8A-4147-A177-3AD203B41FA5}">
                      <a16:colId xmlns:a16="http://schemas.microsoft.com/office/drawing/2014/main" val="613761669"/>
                    </a:ext>
                  </a:extLst>
                </a:gridCol>
                <a:gridCol w="1910875">
                  <a:extLst>
                    <a:ext uri="{9D8B030D-6E8A-4147-A177-3AD203B41FA5}">
                      <a16:colId xmlns:a16="http://schemas.microsoft.com/office/drawing/2014/main" val="697828213"/>
                    </a:ext>
                  </a:extLst>
                </a:gridCol>
                <a:gridCol w="7053076">
                  <a:extLst>
                    <a:ext uri="{9D8B030D-6E8A-4147-A177-3AD203B41FA5}">
                      <a16:colId xmlns:a16="http://schemas.microsoft.com/office/drawing/2014/main" val="1232613845"/>
                    </a:ext>
                  </a:extLst>
                </a:gridCol>
              </a:tblGrid>
              <a:tr h="352141">
                <a:tc>
                  <a:txBody>
                    <a:bodyPr/>
                    <a:lstStyle/>
                    <a:p>
                      <a:pPr algn="ctr"/>
                      <a:r>
                        <a:rPr lang="ar-SA" sz="2000" b="1" kern="1200" dirty="0">
                          <a:solidFill>
                            <a:schemeClr val="bg1"/>
                          </a:solidFill>
                          <a:latin typeface="Sakkal Majalla" panose="02000000000000000000" pitchFamily="2" charset="-78"/>
                          <a:ea typeface="+mn-ea"/>
                          <a:cs typeface="Sakkal Majalla" panose="02000000000000000000" pitchFamily="2" charset="-78"/>
                        </a:rPr>
                        <a:t>المجال</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1"/>
                      <a:r>
                        <a:rPr lang="ar-SA" sz="2000" b="1" kern="1200" dirty="0">
                          <a:solidFill>
                            <a:schemeClr val="bg1"/>
                          </a:solidFill>
                          <a:latin typeface="Sakkal Majalla" panose="02000000000000000000" pitchFamily="2" charset="-78"/>
                          <a:ea typeface="+mn-ea"/>
                          <a:cs typeface="Sakkal Majalla" panose="02000000000000000000" pitchFamily="2" charset="-78"/>
                        </a:rPr>
                        <a:t>المعيار الرئيسي</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1"/>
                      <a:r>
                        <a:rPr lang="ar-SA" sz="2000" b="1" kern="1200" dirty="0">
                          <a:solidFill>
                            <a:schemeClr val="bg1"/>
                          </a:solidFill>
                          <a:latin typeface="Sakkal Majalla" panose="02000000000000000000" pitchFamily="2" charset="-78"/>
                          <a:ea typeface="+mn-ea"/>
                          <a:cs typeface="Sakkal Majalla" panose="02000000000000000000" pitchFamily="2" charset="-78"/>
                        </a:rPr>
                        <a:t>المعايير الفرعية</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71395868"/>
                  </a:ext>
                </a:extLst>
              </a:tr>
              <a:tr h="623019">
                <a:tc rowSpan="4">
                  <a:txBody>
                    <a:bodyPr/>
                    <a:lstStyle/>
                    <a:p>
                      <a:pPr algn="ctr" rtl="1"/>
                      <a:r>
                        <a:rPr lang="ar-SA" sz="2000" b="1" u="sng" dirty="0">
                          <a:solidFill>
                            <a:srgbClr val="C00000"/>
                          </a:solidFill>
                          <a:latin typeface="Sakkal Majalla" panose="02000000000000000000" pitchFamily="2" charset="-78"/>
                          <a:cs typeface="Sakkal Majalla" panose="02000000000000000000" pitchFamily="2" charset="-78"/>
                        </a:rPr>
                        <a:t> </a:t>
                      </a:r>
                      <a:r>
                        <a:rPr lang="ar-SA" sz="2400" b="1" u="sng" dirty="0">
                          <a:solidFill>
                            <a:srgbClr val="C00000"/>
                          </a:solidFill>
                          <a:latin typeface="Sakkal Majalla" panose="02000000000000000000" pitchFamily="2" charset="-78"/>
                          <a:cs typeface="Sakkal Majalla" panose="02000000000000000000" pitchFamily="2" charset="-78"/>
                        </a:rPr>
                        <a:t>الإدارة المدرسية (</a:t>
                      </a:r>
                      <a:r>
                        <a:rPr lang="en-US" sz="2400" b="1" u="sng" dirty="0">
                          <a:solidFill>
                            <a:srgbClr val="C00000"/>
                          </a:solidFill>
                          <a:latin typeface="Sakkal Majalla" panose="02000000000000000000" pitchFamily="2" charset="-78"/>
                          <a:cs typeface="Sakkal Majalla" panose="02000000000000000000" pitchFamily="2" charset="-78"/>
                        </a:rPr>
                        <a:t>20</a:t>
                      </a:r>
                      <a:r>
                        <a:rPr lang="ar-SA" sz="2400" b="1" u="sng" dirty="0">
                          <a:solidFill>
                            <a:srgbClr val="C00000"/>
                          </a:solidFill>
                          <a:latin typeface="Sakkal Majalla" panose="02000000000000000000" pitchFamily="2" charset="-78"/>
                          <a:cs typeface="Sakkal Majalla" panose="02000000000000000000" pitchFamily="2" charset="-78"/>
                        </a:rPr>
                        <a:t>%):</a:t>
                      </a:r>
                    </a:p>
                    <a:p>
                      <a:pPr algn="justLow" rtl="1"/>
                      <a:r>
                        <a:rPr lang="ar-SA" sz="2000" b="1" dirty="0">
                          <a:latin typeface="Sakkal Majalla" panose="02000000000000000000" pitchFamily="2" charset="-78"/>
                          <a:cs typeface="Sakkal Majalla" panose="02000000000000000000" pitchFamily="2" charset="-78"/>
                        </a:rPr>
                        <a:t>تركـز الإدارة المدرسـية علـى عمليـات التأثيـر الفاعـل فـي المجتمـع المدرسـي؛ لتحقيـق مسـتويات متقدمـة مـن الأداء المتميــز، ودعــم تنفيــذ الخطــط وإدارة عمليــات التعليــم والتعلــم والتطويــر المهنــي المســتمر لمنســوبيها؛ وتحســين نواتـج التعلـم، وتعزيـز الشـراكة مـع الأسـرة والمجتمـع المحلـي</a:t>
                      </a:r>
                    </a:p>
                    <a:p>
                      <a:pPr algn="ctr" rtl="1"/>
                      <a:r>
                        <a:rPr lang="ar-SA" sz="2400" b="1" dirty="0">
                          <a:latin typeface="Sakkal Majalla" panose="02000000000000000000" pitchFamily="2" charset="-78"/>
                          <a:cs typeface="Sakkal Majalla" panose="02000000000000000000" pitchFamily="2" charset="-78"/>
                        </a:rPr>
                        <a:t> </a:t>
                      </a:r>
                      <a:endParaRPr lang="ar-SA" sz="2400" b="1" dirty="0">
                        <a:solidFill>
                          <a:srgbClr val="FF0000"/>
                        </a:solidFill>
                        <a:latin typeface="Sakkal Majalla" panose="02000000000000000000" pitchFamily="2" charset="-78"/>
                        <a:cs typeface="Sakkal Majalla" panose="02000000000000000000" pitchFamily="2" charset="-7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1"/>
                      <a:r>
                        <a:rPr lang="ar-SA" sz="2000" b="1" dirty="0">
                          <a:solidFill>
                            <a:srgbClr val="002060"/>
                          </a:solidFill>
                          <a:latin typeface="Sakkal Majalla" panose="02000000000000000000" pitchFamily="2" charset="-78"/>
                          <a:cs typeface="Sakkal Majalla" panose="02000000000000000000" pitchFamily="2" charset="-78"/>
                        </a:rPr>
                        <a:t>التخطيط</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6213" lvl="0" indent="-176213" algn="r" rtl="1">
                        <a:buFont typeface="+mj-lt"/>
                        <a:buAutoNum type="arabicPeriod"/>
                        <a:tabLst>
                          <a:tab pos="176213" algn="l"/>
                        </a:tabLst>
                      </a:pPr>
                      <a:r>
                        <a:rPr lang="ar-SA" sz="2000" dirty="0">
                          <a:latin typeface="Sakkal Majalla" panose="02000000000000000000" pitchFamily="2" charset="-78"/>
                          <a:cs typeface="Sakkal Majalla" panose="02000000000000000000" pitchFamily="2" charset="-78"/>
                        </a:rPr>
                        <a:t>تضع المدرسة خطة تشغيلية مكتملة العناصر، وفق أهداف تطويرية محدد</a:t>
                      </a:r>
                    </a:p>
                    <a:p>
                      <a:pPr marL="176213" lvl="0" indent="-176213" algn="r" defTabSz="914400" rtl="1" eaLnBrk="1" latinLnBrk="0" hangingPunct="1">
                        <a:buFont typeface="+mj-lt"/>
                        <a:buAutoNum type="arabicPeriod"/>
                        <a:tabLst>
                          <a:tab pos="176213" algn="l"/>
                        </a:tabLst>
                      </a:pPr>
                      <a:r>
                        <a:rPr lang="ar-SA" sz="2000" kern="1200" dirty="0">
                          <a:solidFill>
                            <a:schemeClr val="tx1"/>
                          </a:solidFill>
                          <a:latin typeface="Sakkal Majalla" panose="02000000000000000000" pitchFamily="2" charset="-78"/>
                          <a:ea typeface="+mn-ea"/>
                          <a:cs typeface="Sakkal Majalla" panose="02000000000000000000" pitchFamily="2" charset="-78"/>
                        </a:rPr>
                        <a:t>تتابع المدرسة تنفيذ خطتها وتطورها بما يضمن تحقيق أهدافها.</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13350815"/>
                  </a:ext>
                </a:extLst>
              </a:tr>
              <a:tr h="1706529">
                <a:tc vMerge="1">
                  <a:txBody>
                    <a:bodyPr/>
                    <a:lstStyle/>
                    <a:p>
                      <a:pPr algn="ctr" rtl="1"/>
                      <a:endParaRPr lang="ar-SA" sz="1600" kern="1200" dirty="0">
                        <a:solidFill>
                          <a:schemeClr val="tx1"/>
                        </a:solidFill>
                        <a:latin typeface="Sakkal Majalla" panose="02000000000000000000" pitchFamily="2" charset="-78"/>
                        <a:ea typeface="+mn-ea"/>
                        <a:cs typeface="Sakkal Majalla" panose="02000000000000000000" pitchFamily="2" charset="-7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1"/>
                      <a:r>
                        <a:rPr lang="ar-SA" sz="2000" b="1" kern="1200" dirty="0">
                          <a:solidFill>
                            <a:srgbClr val="002060"/>
                          </a:solidFill>
                          <a:latin typeface="Sakkal Majalla" panose="02000000000000000000" pitchFamily="2" charset="-78"/>
                          <a:ea typeface="+mn-ea"/>
                          <a:cs typeface="Sakkal Majalla" panose="02000000000000000000" pitchFamily="2" charset="-78"/>
                        </a:rPr>
                        <a:t>قيادة العملية التعليمية</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6213" lvl="0" indent="-176213" algn="r" defTabSz="914400" rtl="1" eaLnBrk="1" latinLnBrk="0" hangingPunct="1">
                        <a:buFont typeface="+mj-lt"/>
                        <a:buAutoNum type="arabicPeriod"/>
                        <a:tabLst>
                          <a:tab pos="176213" algn="l"/>
                        </a:tabLst>
                      </a:pPr>
                      <a:r>
                        <a:rPr lang="ar-SA" sz="2000" kern="1200" dirty="0">
                          <a:solidFill>
                            <a:schemeClr val="tx1"/>
                          </a:solidFill>
                          <a:latin typeface="Sakkal Majalla" panose="02000000000000000000" pitchFamily="2" charset="-78"/>
                          <a:ea typeface="+mn-ea"/>
                          <a:cs typeface="Sakkal Majalla" panose="02000000000000000000" pitchFamily="2" charset="-78"/>
                        </a:rPr>
                        <a:t>تعزز المدرسة القيم الإسلامية والهوية الوطنية.</a:t>
                      </a:r>
                    </a:p>
                    <a:p>
                      <a:pPr marL="176213" lvl="0" indent="-176213" algn="r" defTabSz="914400" rtl="1" eaLnBrk="1" latinLnBrk="0" hangingPunct="1">
                        <a:buFont typeface="+mj-lt"/>
                        <a:buAutoNum type="arabicPeriod"/>
                        <a:tabLst>
                          <a:tab pos="176213" algn="l"/>
                        </a:tabLst>
                      </a:pPr>
                      <a:r>
                        <a:rPr lang="ar-SA" sz="2000" kern="1200" dirty="0">
                          <a:solidFill>
                            <a:schemeClr val="tx1"/>
                          </a:solidFill>
                          <a:latin typeface="Sakkal Majalla" panose="02000000000000000000" pitchFamily="2" charset="-78"/>
                          <a:ea typeface="+mn-ea"/>
                          <a:cs typeface="Sakkal Majalla" panose="02000000000000000000" pitchFamily="2" charset="-78"/>
                        </a:rPr>
                        <a:t>تلتزم المدرسة بقيم مهنة التعليم وأخلاقياتها.</a:t>
                      </a:r>
                    </a:p>
                    <a:p>
                      <a:pPr marL="176213" lvl="0" indent="-176213" algn="r" defTabSz="914400" rtl="1" eaLnBrk="1" latinLnBrk="0" hangingPunct="1">
                        <a:buFont typeface="+mj-lt"/>
                        <a:buAutoNum type="arabicPeriod"/>
                        <a:tabLst>
                          <a:tab pos="176213" algn="l"/>
                        </a:tabLst>
                      </a:pPr>
                      <a:r>
                        <a:rPr lang="ar-SA" sz="2000" kern="1200" dirty="0">
                          <a:solidFill>
                            <a:schemeClr val="tx1"/>
                          </a:solidFill>
                          <a:latin typeface="Sakkal Majalla" panose="02000000000000000000" pitchFamily="2" charset="-78"/>
                          <a:ea typeface="+mn-ea"/>
                          <a:cs typeface="Sakkal Majalla" panose="02000000000000000000" pitchFamily="2" charset="-78"/>
                        </a:rPr>
                        <a:t>توفر المدرسة مناخاً آمناً للتعلم والنمو نفسياً واجتماعياً.</a:t>
                      </a:r>
                    </a:p>
                    <a:p>
                      <a:pPr marL="176213" lvl="0" indent="-176213" algn="r" defTabSz="914400" rtl="1" eaLnBrk="1" latinLnBrk="0" hangingPunct="1">
                        <a:buFont typeface="+mj-lt"/>
                        <a:buAutoNum type="arabicPeriod"/>
                        <a:tabLst>
                          <a:tab pos="176213" algn="l"/>
                        </a:tabLst>
                      </a:pPr>
                      <a:r>
                        <a:rPr lang="ar-SA" sz="2000" kern="1200" dirty="0">
                          <a:solidFill>
                            <a:schemeClr val="tx1"/>
                          </a:solidFill>
                          <a:latin typeface="Sakkal Majalla" panose="02000000000000000000" pitchFamily="2" charset="-78"/>
                          <a:ea typeface="+mn-ea"/>
                          <a:cs typeface="Sakkal Majalla" panose="02000000000000000000" pitchFamily="2" charset="-78"/>
                        </a:rPr>
                        <a:t>تنشر المدرسة قواعد السلوك والمواظبة، وتتابع تطبيقها.</a:t>
                      </a:r>
                    </a:p>
                    <a:p>
                      <a:pPr marL="176213" lvl="0" indent="-176213" algn="r" defTabSz="914400" rtl="1" eaLnBrk="1" latinLnBrk="0" hangingPunct="1">
                        <a:buFont typeface="+mj-lt"/>
                        <a:buAutoNum type="arabicPeriod"/>
                        <a:tabLst>
                          <a:tab pos="176213" algn="l"/>
                        </a:tabLst>
                      </a:pPr>
                      <a:r>
                        <a:rPr lang="ar-SA" sz="2000" kern="1200" dirty="0">
                          <a:solidFill>
                            <a:schemeClr val="tx1"/>
                          </a:solidFill>
                          <a:latin typeface="Sakkal Majalla" panose="02000000000000000000" pitchFamily="2" charset="-78"/>
                          <a:ea typeface="+mn-ea"/>
                          <a:cs typeface="Sakkal Majalla" panose="02000000000000000000" pitchFamily="2" charset="-78"/>
                        </a:rPr>
                        <a:t>توفر المدرسة برامج وأنشطة تربوية داعمة للسلوك الإيجابي.</a:t>
                      </a:r>
                    </a:p>
                    <a:p>
                      <a:pPr marL="176213" lvl="0" indent="-176213" algn="r" defTabSz="914400" rtl="1" eaLnBrk="1" latinLnBrk="0" hangingPunct="1">
                        <a:buFont typeface="+mj-lt"/>
                        <a:buAutoNum type="arabicPeriod"/>
                        <a:tabLst>
                          <a:tab pos="176213" algn="l"/>
                        </a:tabLst>
                      </a:pPr>
                      <a:r>
                        <a:rPr lang="ar-SA" sz="2000" kern="1200" dirty="0">
                          <a:solidFill>
                            <a:schemeClr val="tx1"/>
                          </a:solidFill>
                          <a:latin typeface="Sakkal Majalla" panose="02000000000000000000" pitchFamily="2" charset="-78"/>
                          <a:ea typeface="+mn-ea"/>
                          <a:cs typeface="Sakkal Majalla" panose="02000000000000000000" pitchFamily="2" charset="-78"/>
                        </a:rPr>
                        <a:t>توفر المدرسة برامج وأنشطة إثرائية غير صفية؛ لتطوير مواهب المتعلمين وتهيئتهم للمستقبل</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63550129"/>
                  </a:ext>
                </a:extLst>
              </a:tr>
              <a:tr h="893896">
                <a:tc vMerge="1">
                  <a:txBody>
                    <a:bodyPr/>
                    <a:lstStyle/>
                    <a:p>
                      <a:pPr algn="ctr" rtl="1"/>
                      <a:endParaRPr lang="ar-SA" sz="1600" dirty="0">
                        <a:latin typeface="Sakkal Majalla" panose="02000000000000000000" pitchFamily="2" charset="-78"/>
                        <a:cs typeface="Sakkal Majalla" panose="02000000000000000000" pitchFamily="2" charset="-7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1"/>
                      <a:r>
                        <a:rPr lang="ar-SA" sz="2000" b="1" dirty="0">
                          <a:solidFill>
                            <a:srgbClr val="002060"/>
                          </a:solidFill>
                          <a:latin typeface="Sakkal Majalla" panose="02000000000000000000" pitchFamily="2" charset="-78"/>
                          <a:cs typeface="Sakkal Majalla" panose="02000000000000000000" pitchFamily="2" charset="-78"/>
                        </a:rPr>
                        <a:t>المجتمع المدرسي</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6213" lvl="0" indent="-176213" algn="r" defTabSz="914400" rtl="1" eaLnBrk="1" latinLnBrk="0" hangingPunct="1">
                        <a:buFont typeface="+mj-lt"/>
                        <a:buAutoNum type="arabicPeriod"/>
                        <a:tabLst>
                          <a:tab pos="176213" algn="l"/>
                        </a:tabLst>
                      </a:pPr>
                      <a:r>
                        <a:rPr lang="ar-SA" sz="2000" kern="1200" dirty="0">
                          <a:solidFill>
                            <a:schemeClr val="tx1"/>
                          </a:solidFill>
                          <a:latin typeface="Sakkal Majalla" panose="02000000000000000000" pitchFamily="2" charset="-78"/>
                          <a:ea typeface="+mn-ea"/>
                          <a:cs typeface="Sakkal Majalla" panose="02000000000000000000" pitchFamily="2" charset="-78"/>
                        </a:rPr>
                        <a:t>تعزز المدرسة بناء العلاقات الإيجابية والتعاون في المجتمع المدرسي.</a:t>
                      </a:r>
                    </a:p>
                    <a:p>
                      <a:pPr marL="176213" lvl="0" indent="-176213" algn="r" defTabSz="914400" rtl="1" eaLnBrk="1" latinLnBrk="0" hangingPunct="1">
                        <a:buFont typeface="+mj-lt"/>
                        <a:buAutoNum type="arabicPeriod"/>
                        <a:tabLst>
                          <a:tab pos="176213" algn="l"/>
                        </a:tabLst>
                      </a:pPr>
                      <a:r>
                        <a:rPr lang="ar-SA" sz="2000" kern="1200" dirty="0">
                          <a:solidFill>
                            <a:schemeClr val="tx1"/>
                          </a:solidFill>
                          <a:latin typeface="Sakkal Majalla" panose="02000000000000000000" pitchFamily="2" charset="-78"/>
                          <a:ea typeface="+mn-ea"/>
                          <a:cs typeface="Sakkal Majalla" panose="02000000000000000000" pitchFamily="2" charset="-78"/>
                        </a:rPr>
                        <a:t>تعزز المدرسة مشاركة الأسرة في تعلم أبنائها، والتحضير لمستقبلهم.</a:t>
                      </a:r>
                    </a:p>
                    <a:p>
                      <a:pPr marL="176213" lvl="0" indent="-176213" algn="r" defTabSz="914400" rtl="1" eaLnBrk="1" latinLnBrk="0" hangingPunct="1">
                        <a:buFont typeface="+mj-lt"/>
                        <a:buAutoNum type="arabicPeriod"/>
                        <a:tabLst>
                          <a:tab pos="176213" algn="l"/>
                        </a:tabLst>
                      </a:pPr>
                      <a:r>
                        <a:rPr lang="ar-SA" sz="2000" kern="1200" dirty="0">
                          <a:solidFill>
                            <a:schemeClr val="tx1"/>
                          </a:solidFill>
                          <a:latin typeface="Sakkal Majalla" panose="02000000000000000000" pitchFamily="2" charset="-78"/>
                          <a:ea typeface="+mn-ea"/>
                          <a:cs typeface="Sakkal Majalla" panose="02000000000000000000" pitchFamily="2" charset="-78"/>
                        </a:rPr>
                        <a:t>تعزز المدرسة الشراكة المجتمعية؛ لدعم التعلم والتأثير الإيجابي في المجتمع المحلي</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57747361"/>
                  </a:ext>
                </a:extLst>
              </a:tr>
              <a:tr h="1221696">
                <a:tc vMerge="1">
                  <a:txBody>
                    <a:bodyPr/>
                    <a:lstStyle/>
                    <a:p>
                      <a:pPr algn="ctr" rtl="1"/>
                      <a:endParaRPr lang="ar-SA" sz="1600" dirty="0">
                        <a:latin typeface="Sakkal Majalla" panose="02000000000000000000" pitchFamily="2" charset="-78"/>
                        <a:cs typeface="Sakkal Majalla" panose="02000000000000000000" pitchFamily="2" charset="-7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1"/>
                      <a:r>
                        <a:rPr lang="ar-SA" sz="2000" b="1" dirty="0">
                          <a:solidFill>
                            <a:srgbClr val="002060"/>
                          </a:solidFill>
                          <a:latin typeface="Sakkal Majalla" panose="02000000000000000000" pitchFamily="2" charset="-78"/>
                          <a:cs typeface="Sakkal Majalla" panose="02000000000000000000" pitchFamily="2" charset="-78"/>
                        </a:rPr>
                        <a:t>التطوير المؤسسي</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6213" lvl="0" indent="-176213" algn="r" defTabSz="914400" rtl="1" eaLnBrk="1" latinLnBrk="0" hangingPunct="1">
                        <a:buFont typeface="+mj-lt"/>
                        <a:buAutoNum type="arabicPeriod"/>
                        <a:tabLst>
                          <a:tab pos="176213" algn="l"/>
                        </a:tabLst>
                      </a:pPr>
                      <a:r>
                        <a:rPr lang="ar-SA" sz="2000" kern="1200" dirty="0">
                          <a:solidFill>
                            <a:schemeClr val="tx1"/>
                          </a:solidFill>
                          <a:latin typeface="Sakkal Majalla" panose="02000000000000000000" pitchFamily="2" charset="-78"/>
                          <a:ea typeface="+mn-ea"/>
                          <a:cs typeface="Sakkal Majalla" panose="02000000000000000000" pitchFamily="2" charset="-78"/>
                        </a:rPr>
                        <a:t>توفر المدرسة كادرًا تعليميًا مكتملًا ومؤهلًا.*</a:t>
                      </a:r>
                    </a:p>
                    <a:p>
                      <a:pPr marL="176213" lvl="0" indent="-176213" algn="r" defTabSz="914400" rtl="1" eaLnBrk="1" latinLnBrk="0" hangingPunct="1">
                        <a:buFont typeface="+mj-lt"/>
                        <a:buAutoNum type="arabicPeriod"/>
                        <a:tabLst>
                          <a:tab pos="176213" algn="l"/>
                        </a:tabLst>
                      </a:pPr>
                      <a:r>
                        <a:rPr lang="ar-SA" sz="2000" kern="1200" dirty="0">
                          <a:solidFill>
                            <a:schemeClr val="tx1"/>
                          </a:solidFill>
                          <a:latin typeface="Sakkal Majalla" panose="02000000000000000000" pitchFamily="2" charset="-78"/>
                          <a:ea typeface="+mn-ea"/>
                          <a:cs typeface="Sakkal Majalla" panose="02000000000000000000" pitchFamily="2" charset="-78"/>
                        </a:rPr>
                        <a:t>توفر المدرسة كادرًا إداريًا مكتملًا ومؤهلًا.*</a:t>
                      </a:r>
                    </a:p>
                    <a:p>
                      <a:pPr marL="176213" lvl="0" indent="-176213" algn="r" defTabSz="914400" rtl="1" eaLnBrk="1" latinLnBrk="0" hangingPunct="1">
                        <a:buFont typeface="+mj-lt"/>
                        <a:buAutoNum type="arabicPeriod"/>
                        <a:tabLst>
                          <a:tab pos="176213" algn="l"/>
                        </a:tabLst>
                      </a:pPr>
                      <a:r>
                        <a:rPr lang="ar-SA" sz="2000" kern="1200" dirty="0">
                          <a:solidFill>
                            <a:schemeClr val="tx1"/>
                          </a:solidFill>
                          <a:latin typeface="Sakkal Majalla" panose="02000000000000000000" pitchFamily="2" charset="-78"/>
                          <a:ea typeface="+mn-ea"/>
                          <a:cs typeface="Sakkal Majalla" panose="02000000000000000000" pitchFamily="2" charset="-78"/>
                        </a:rPr>
                        <a:t>توفر المدرسة ثباتًا ماليًا واستدامة ماليًا.*</a:t>
                      </a:r>
                    </a:p>
                    <a:p>
                      <a:pPr marL="176213" lvl="0" indent="-176213" algn="r" defTabSz="914400" rtl="1" eaLnBrk="1" latinLnBrk="0" hangingPunct="1">
                        <a:buFont typeface="+mj-lt"/>
                        <a:buAutoNum type="arabicPeriod"/>
                        <a:tabLst>
                          <a:tab pos="176213" algn="l"/>
                        </a:tabLst>
                      </a:pPr>
                      <a:r>
                        <a:rPr lang="ar-SA" sz="2000" kern="1200" dirty="0">
                          <a:solidFill>
                            <a:schemeClr val="tx1"/>
                          </a:solidFill>
                          <a:latin typeface="Sakkal Majalla" panose="02000000000000000000" pitchFamily="2" charset="-78"/>
                          <a:ea typeface="+mn-ea"/>
                          <a:cs typeface="Sakkal Majalla" panose="02000000000000000000" pitchFamily="2" charset="-78"/>
                        </a:rPr>
                        <a:t>تشجع المدرسة منسوبيها للحصول على الرخصة المهنية.</a:t>
                      </a:r>
                    </a:p>
                    <a:p>
                      <a:pPr marL="176213" lvl="0" indent="-176213" algn="r" defTabSz="914400" rtl="1" eaLnBrk="1" latinLnBrk="0" hangingPunct="1">
                        <a:buFont typeface="+mj-lt"/>
                        <a:buAutoNum type="arabicPeriod"/>
                        <a:tabLst>
                          <a:tab pos="176213" algn="l"/>
                        </a:tabLst>
                      </a:pPr>
                      <a:r>
                        <a:rPr lang="ar-SA" sz="2000" kern="1200" dirty="0">
                          <a:solidFill>
                            <a:schemeClr val="tx1"/>
                          </a:solidFill>
                          <a:latin typeface="Sakkal Majalla" panose="02000000000000000000" pitchFamily="2" charset="-78"/>
                          <a:ea typeface="+mn-ea"/>
                          <a:cs typeface="Sakkal Majalla" panose="02000000000000000000" pitchFamily="2" charset="-78"/>
                        </a:rPr>
                        <a:t>تدعم المدرسة التطوير المهني لمنسوبيها وفقاً  لنتائج تقويم الأداء الوظيفي واحتياجاتهم.</a:t>
                      </a:r>
                    </a:p>
                    <a:p>
                      <a:pPr marL="176213" lvl="0" indent="-176213" algn="r" defTabSz="914400" rtl="1" eaLnBrk="1" latinLnBrk="0" hangingPunct="1">
                        <a:buFont typeface="+mj-lt"/>
                        <a:buAutoNum type="arabicPeriod"/>
                        <a:tabLst>
                          <a:tab pos="176213" algn="l"/>
                        </a:tabLst>
                      </a:pPr>
                      <a:r>
                        <a:rPr lang="ar-SA" sz="2000" kern="1200" dirty="0">
                          <a:solidFill>
                            <a:schemeClr val="tx1"/>
                          </a:solidFill>
                          <a:latin typeface="Sakkal Majalla" panose="02000000000000000000" pitchFamily="2" charset="-78"/>
                          <a:ea typeface="+mn-ea"/>
                          <a:cs typeface="Sakkal Majalla" panose="02000000000000000000" pitchFamily="2" charset="-78"/>
                        </a:rPr>
                        <a:t>تطبق المدرسة التقويم الذاتي المبني على المعايير المعتمدة من الهيئة.</a:t>
                      </a:r>
                    </a:p>
                    <a:p>
                      <a:pPr marL="176213" lvl="0" indent="-176213" algn="r" defTabSz="914400" rtl="1" eaLnBrk="1" latinLnBrk="0" hangingPunct="1">
                        <a:buFont typeface="+mj-lt"/>
                        <a:buAutoNum type="arabicPeriod"/>
                        <a:tabLst>
                          <a:tab pos="176213" algn="l"/>
                        </a:tabLst>
                      </a:pPr>
                      <a:r>
                        <a:rPr lang="ar-SA" sz="2000" kern="1200" dirty="0">
                          <a:solidFill>
                            <a:schemeClr val="tx1"/>
                          </a:solidFill>
                          <a:latin typeface="Sakkal Majalla" panose="02000000000000000000" pitchFamily="2" charset="-78"/>
                          <a:ea typeface="+mn-ea"/>
                          <a:cs typeface="Sakkal Majalla" panose="02000000000000000000" pitchFamily="2" charset="-78"/>
                        </a:rPr>
                        <a:t>تنفذ المدرسة خطة للتحسين بناء على نتائج التقويم المدرسي، وتتابعها.</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35683600"/>
                  </a:ext>
                </a:extLst>
              </a:tr>
            </a:tbl>
          </a:graphicData>
        </a:graphic>
      </p:graphicFrame>
      <p:sp>
        <p:nvSpPr>
          <p:cNvPr id="6" name="Google Shape;1313;p30">
            <a:extLst>
              <a:ext uri="{FF2B5EF4-FFF2-40B4-BE49-F238E27FC236}">
                <a16:creationId xmlns:a16="http://schemas.microsoft.com/office/drawing/2014/main" id="{40C0671A-A3A2-EB88-2AA4-BE95B0797311}"/>
              </a:ext>
            </a:extLst>
          </p:cNvPr>
          <p:cNvSpPr txBox="1"/>
          <p:nvPr/>
        </p:nvSpPr>
        <p:spPr>
          <a:xfrm>
            <a:off x="2471057" y="27541"/>
            <a:ext cx="6683335" cy="539788"/>
          </a:xfrm>
          <a:prstGeom prst="rect">
            <a:avLst/>
          </a:prstGeom>
          <a:noFill/>
          <a:ln>
            <a:noFill/>
          </a:ln>
        </p:spPr>
        <p:txBody>
          <a:bodyPr spcFirstLastPara="1" wrap="square" lIns="121900" tIns="121900" rIns="121900" bIns="121900" anchor="ctr" anchorCtr="0">
            <a:noAutofit/>
          </a:bodyPr>
          <a:lstStyle/>
          <a:p>
            <a:pPr algn="ctr"/>
            <a:r>
              <a:rPr lang="ar-SA" sz="2400" b="1" kern="0" dirty="0">
                <a:solidFill>
                  <a:srgbClr val="002060"/>
                </a:solidFill>
                <a:latin typeface="Sakkal Majalla" panose="02000000000000000000" pitchFamily="2" charset="-78"/>
                <a:ea typeface="Samim" panose="020B0603030804020204" pitchFamily="34" charset="0"/>
                <a:cs typeface="Sakkal Majalla" panose="02000000000000000000" pitchFamily="2" charset="-78"/>
                <a:sym typeface="Barlow Light"/>
              </a:rPr>
              <a:t>مهام المدرسة ( معايير الأداء المدرسي )- معايير برنامج التقويم المدرسي</a:t>
            </a:r>
          </a:p>
        </p:txBody>
      </p:sp>
    </p:spTree>
    <p:extLst>
      <p:ext uri="{BB962C8B-B14F-4D97-AF65-F5344CB8AC3E}">
        <p14:creationId xmlns:p14="http://schemas.microsoft.com/office/powerpoint/2010/main" val="2995037878"/>
      </p:ext>
    </p:extLst>
  </p:cSld>
  <p:clrMapOvr>
    <a:masterClrMapping/>
  </p:clrMapOvr>
  <mc:AlternateContent xmlns:mc="http://schemas.openxmlformats.org/markup-compatibility/2006" xmlns:p14="http://schemas.microsoft.com/office/powerpoint/2010/main">
    <mc:Choice Requires="p14">
      <p:transition spd="slow" p14:dur="1200">
        <p14:prism dir="r"/>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arn(inVertical)">
                                      <p:cBhvr>
                                        <p:cTn id="7" dur="1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barn(inVertical)">
                                      <p:cBhvr>
                                        <p:cTn id="12" dur="1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جدول 2">
            <a:extLst>
              <a:ext uri="{FF2B5EF4-FFF2-40B4-BE49-F238E27FC236}">
                <a16:creationId xmlns:a16="http://schemas.microsoft.com/office/drawing/2014/main" id="{986E5B90-E666-4538-B78F-821602160C8B}"/>
              </a:ext>
            </a:extLst>
          </p:cNvPr>
          <p:cNvGraphicFramePr>
            <a:graphicFrameLocks noGrp="1"/>
          </p:cNvGraphicFramePr>
          <p:nvPr>
            <p:extLst>
              <p:ext uri="{D42A27DB-BD31-4B8C-83A1-F6EECF244321}">
                <p14:modId xmlns:p14="http://schemas.microsoft.com/office/powerpoint/2010/main" val="2069279510"/>
              </p:ext>
            </p:extLst>
          </p:nvPr>
        </p:nvGraphicFramePr>
        <p:xfrm>
          <a:off x="563535" y="1139290"/>
          <a:ext cx="11064930" cy="4511040"/>
        </p:xfrm>
        <a:graphic>
          <a:graphicData uri="http://schemas.openxmlformats.org/drawingml/2006/table">
            <a:tbl>
              <a:tblPr rtl="1" firstRow="1" bandRow="1">
                <a:tableStyleId>{69012ECD-51FC-41F1-AA8D-1B2483CD663E}</a:tableStyleId>
              </a:tblPr>
              <a:tblGrid>
                <a:gridCol w="2338992">
                  <a:extLst>
                    <a:ext uri="{9D8B030D-6E8A-4147-A177-3AD203B41FA5}">
                      <a16:colId xmlns:a16="http://schemas.microsoft.com/office/drawing/2014/main" val="613761669"/>
                    </a:ext>
                  </a:extLst>
                </a:gridCol>
                <a:gridCol w="1837883">
                  <a:extLst>
                    <a:ext uri="{9D8B030D-6E8A-4147-A177-3AD203B41FA5}">
                      <a16:colId xmlns:a16="http://schemas.microsoft.com/office/drawing/2014/main" val="697828213"/>
                    </a:ext>
                  </a:extLst>
                </a:gridCol>
                <a:gridCol w="6888055">
                  <a:extLst>
                    <a:ext uri="{9D8B030D-6E8A-4147-A177-3AD203B41FA5}">
                      <a16:colId xmlns:a16="http://schemas.microsoft.com/office/drawing/2014/main" val="1232613845"/>
                    </a:ext>
                  </a:extLst>
                </a:gridCol>
              </a:tblGrid>
              <a:tr h="297282">
                <a:tc>
                  <a:txBody>
                    <a:bodyPr/>
                    <a:lstStyle/>
                    <a:p>
                      <a:pPr algn="ctr"/>
                      <a:r>
                        <a:rPr lang="ar-SA" sz="2000" b="1" kern="1200" dirty="0">
                          <a:solidFill>
                            <a:schemeClr val="bg1"/>
                          </a:solidFill>
                          <a:latin typeface="Sakkal Majalla" panose="02000000000000000000" pitchFamily="2" charset="-78"/>
                          <a:ea typeface="+mn-ea"/>
                          <a:cs typeface="Sakkal Majalla" panose="02000000000000000000" pitchFamily="2" charset="-78"/>
                        </a:rPr>
                        <a:t>المجال</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1"/>
                      <a:r>
                        <a:rPr lang="ar-SA" sz="2000" b="1" kern="1200" dirty="0">
                          <a:solidFill>
                            <a:schemeClr val="bg1"/>
                          </a:solidFill>
                          <a:latin typeface="Sakkal Majalla" panose="02000000000000000000" pitchFamily="2" charset="-78"/>
                          <a:ea typeface="+mn-ea"/>
                          <a:cs typeface="Sakkal Majalla" panose="02000000000000000000" pitchFamily="2" charset="-78"/>
                        </a:rPr>
                        <a:t>المعيار الرئيسي</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1"/>
                      <a:r>
                        <a:rPr lang="ar-SA" sz="2000" b="1" kern="1200" dirty="0">
                          <a:solidFill>
                            <a:schemeClr val="bg1"/>
                          </a:solidFill>
                          <a:latin typeface="Sakkal Majalla" panose="02000000000000000000" pitchFamily="2" charset="-78"/>
                          <a:ea typeface="+mn-ea"/>
                          <a:cs typeface="Sakkal Majalla" panose="02000000000000000000" pitchFamily="2" charset="-78"/>
                        </a:rPr>
                        <a:t>المعايير الفرعية</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71395868"/>
                  </a:ext>
                </a:extLst>
              </a:tr>
              <a:tr h="1280406">
                <a:tc rowSpan="2">
                  <a:txBody>
                    <a:bodyPr/>
                    <a:lstStyle/>
                    <a:p>
                      <a:pPr algn="ctr" defTabSz="914377" rtl="1" latinLnBrk="0"/>
                      <a:r>
                        <a:rPr lang="ar-SA" sz="2400" b="1" u="sng" dirty="0">
                          <a:solidFill>
                            <a:srgbClr val="C00000"/>
                          </a:solidFill>
                          <a:latin typeface="Sakkal Majalla" panose="02000000000000000000" pitchFamily="2" charset="-78"/>
                          <a:cs typeface="Sakkal Majalla" panose="02000000000000000000" pitchFamily="2" charset="-78"/>
                        </a:rPr>
                        <a:t>البيئة المدرسية(</a:t>
                      </a:r>
                      <a:r>
                        <a:rPr lang="en-US" sz="2400" b="1" u="sng" dirty="0">
                          <a:solidFill>
                            <a:srgbClr val="C00000"/>
                          </a:solidFill>
                          <a:latin typeface="Sakkal Majalla" panose="02000000000000000000" pitchFamily="2" charset="-78"/>
                          <a:cs typeface="Sakkal Majalla" panose="02000000000000000000" pitchFamily="2" charset="-78"/>
                        </a:rPr>
                        <a:t>10</a:t>
                      </a:r>
                      <a:r>
                        <a:rPr lang="ar-SA" sz="2400" b="1" u="sng" dirty="0">
                          <a:solidFill>
                            <a:srgbClr val="C00000"/>
                          </a:solidFill>
                          <a:latin typeface="Sakkal Majalla" panose="02000000000000000000" pitchFamily="2" charset="-78"/>
                          <a:cs typeface="Sakkal Majalla" panose="02000000000000000000" pitchFamily="2" charset="-78"/>
                        </a:rPr>
                        <a:t>%):</a:t>
                      </a:r>
                    </a:p>
                    <a:p>
                      <a:pPr algn="justLow" defTabSz="914377" rtl="1" latinLnBrk="0"/>
                      <a:r>
                        <a:rPr lang="ar-SA" sz="2400" dirty="0">
                          <a:solidFill>
                            <a:schemeClr val="tx1"/>
                          </a:solidFill>
                          <a:latin typeface="Sakkal Majalla" panose="02000000000000000000" pitchFamily="2" charset="-78"/>
                          <a:cs typeface="Sakkal Majalla" panose="02000000000000000000" pitchFamily="2" charset="-78"/>
                        </a:rPr>
                        <a:t>تحقــق البيئــة المدرســية المتطلبــات الأساســية وضمــان جــودة عناصــر الأمــن والســلامة؛ لتمكيــن مجتمــع المدرســة بمختلـف فئاتهـم مـن تحقيـق الأهـداف التعليميـة والتوقعـات العاليـة لنواتـج التعلـم المسـتهدفة لـدى المتعلميـن</a:t>
                      </a:r>
                      <a:endParaRPr lang="ar-SA" sz="2400" b="1" dirty="0">
                        <a:solidFill>
                          <a:schemeClr val="tx1"/>
                        </a:solidFill>
                        <a:latin typeface="Sakkal Majalla" panose="02000000000000000000" pitchFamily="2" charset="-78"/>
                        <a:ea typeface="Samim" panose="020B0603030804020204" pitchFamily="34" charset="0"/>
                        <a:cs typeface="Sakkal Majalla" panose="02000000000000000000" pitchFamily="2" charset="-7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r" defTabSz="914400" rtl="1" eaLnBrk="1" latinLnBrk="0" hangingPunct="1">
                        <a:defRPr sz="1800" kern="1200">
                          <a:solidFill>
                            <a:schemeClr val="tx1"/>
                          </a:solidFill>
                          <a:latin typeface="Arial"/>
                        </a:defRPr>
                      </a:lvl1pPr>
                      <a:lvl2pPr marL="457200" algn="r" defTabSz="914400" rtl="1" eaLnBrk="1" latinLnBrk="0" hangingPunct="1">
                        <a:defRPr sz="1800" kern="1200">
                          <a:solidFill>
                            <a:schemeClr val="tx1"/>
                          </a:solidFill>
                          <a:latin typeface="Arial"/>
                        </a:defRPr>
                      </a:lvl2pPr>
                      <a:lvl3pPr marL="914400" algn="r" defTabSz="914400" rtl="1" eaLnBrk="1" latinLnBrk="0" hangingPunct="1">
                        <a:defRPr sz="1800" kern="1200">
                          <a:solidFill>
                            <a:schemeClr val="tx1"/>
                          </a:solidFill>
                          <a:latin typeface="Arial"/>
                        </a:defRPr>
                      </a:lvl3pPr>
                      <a:lvl4pPr marL="1371600" algn="r" defTabSz="914400" rtl="1" eaLnBrk="1" latinLnBrk="0" hangingPunct="1">
                        <a:defRPr sz="1800" kern="1200">
                          <a:solidFill>
                            <a:schemeClr val="tx1"/>
                          </a:solidFill>
                          <a:latin typeface="Arial"/>
                        </a:defRPr>
                      </a:lvl4pPr>
                      <a:lvl5pPr marL="1828800" algn="r" defTabSz="914400" rtl="1" eaLnBrk="1" latinLnBrk="0" hangingPunct="1">
                        <a:defRPr sz="1800" kern="1200">
                          <a:solidFill>
                            <a:schemeClr val="tx1"/>
                          </a:solidFill>
                          <a:latin typeface="Arial"/>
                        </a:defRPr>
                      </a:lvl5pPr>
                      <a:lvl6pPr marL="2286000" algn="r" defTabSz="914400" rtl="1" eaLnBrk="1" latinLnBrk="0" hangingPunct="1">
                        <a:defRPr sz="1800" kern="1200">
                          <a:solidFill>
                            <a:schemeClr val="tx1"/>
                          </a:solidFill>
                          <a:latin typeface="Arial"/>
                        </a:defRPr>
                      </a:lvl6pPr>
                      <a:lvl7pPr marL="2743200" algn="r" defTabSz="914400" rtl="1" eaLnBrk="1" latinLnBrk="0" hangingPunct="1">
                        <a:defRPr sz="1800" kern="1200">
                          <a:solidFill>
                            <a:schemeClr val="tx1"/>
                          </a:solidFill>
                          <a:latin typeface="Arial"/>
                        </a:defRPr>
                      </a:lvl7pPr>
                      <a:lvl8pPr marL="3200400" algn="r" defTabSz="914400" rtl="1" eaLnBrk="1" latinLnBrk="0" hangingPunct="1">
                        <a:defRPr sz="1800" kern="1200">
                          <a:solidFill>
                            <a:schemeClr val="tx1"/>
                          </a:solidFill>
                          <a:latin typeface="Arial"/>
                        </a:defRPr>
                      </a:lvl8pPr>
                      <a:lvl9pPr marL="3657600" algn="r" defTabSz="914400" rtl="1" eaLnBrk="1" latinLnBrk="0" hangingPunct="1">
                        <a:defRPr sz="1800" kern="1200">
                          <a:solidFill>
                            <a:schemeClr val="tx1"/>
                          </a:solidFill>
                          <a:latin typeface="Arial"/>
                        </a:defRPr>
                      </a:lvl9pPr>
                    </a:lstStyle>
                    <a:p>
                      <a:pPr marL="0" marR="0" lvl="0" indent="0" algn="ctr" defTabSz="914400" rtl="1" eaLnBrk="1" fontAlgn="auto" latinLnBrk="0" hangingPunct="1">
                        <a:lnSpc>
                          <a:spcPct val="100000"/>
                        </a:lnSpc>
                        <a:spcBef>
                          <a:spcPts val="0"/>
                        </a:spcBef>
                        <a:spcAft>
                          <a:spcPts val="0"/>
                        </a:spcAft>
                        <a:buClr>
                          <a:srgbClr val="CB1B4A"/>
                        </a:buClr>
                        <a:buSzTx/>
                        <a:buFont typeface="Wingdings" panose="05000000000000000000" pitchFamily="2" charset="2"/>
                        <a:buNone/>
                        <a:tabLst/>
                        <a:defRPr/>
                      </a:pPr>
                      <a:r>
                        <a:rPr kumimoji="0" lang="ar-SA" sz="2000" b="1" i="0" u="none" strike="noStrike" kern="1200" cap="none" spc="0" normalizeH="0" baseline="0" noProof="0" dirty="0">
                          <a:ln>
                            <a:noFill/>
                          </a:ln>
                          <a:solidFill>
                            <a:srgbClr val="002060"/>
                          </a:solidFill>
                          <a:effectLst/>
                          <a:uLnTx/>
                          <a:uFillTx/>
                          <a:latin typeface="Sakkal Majalla" panose="02000000000000000000" pitchFamily="2" charset="-78"/>
                          <a:ea typeface="Samim" panose="020B0603030804020204" pitchFamily="34" charset="0"/>
                          <a:cs typeface="Sakkal Majalla" panose="02000000000000000000" pitchFamily="2" charset="-78"/>
                          <a:sym typeface="Titillium Web"/>
                        </a:rPr>
                        <a:t>المبنى المدرسي</a:t>
                      </a:r>
                    </a:p>
                  </a:txBody>
                  <a:tcPr marL="91425" marR="91425" marT="68575" marB="685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6213" lvl="0" indent="-176213" algn="r" rtl="1">
                        <a:buFont typeface="+mj-lt"/>
                        <a:buAutoNum type="arabicPeriod"/>
                        <a:tabLst>
                          <a:tab pos="176213" algn="l"/>
                        </a:tabLst>
                      </a:pPr>
                      <a:r>
                        <a:rPr lang="ar-SA" sz="2000" dirty="0">
                          <a:latin typeface="Sakkal Majalla" panose="02000000000000000000" pitchFamily="2" charset="-78"/>
                          <a:cs typeface="Sakkal Majalla" panose="02000000000000000000" pitchFamily="2" charset="-78"/>
                        </a:rPr>
                        <a:t>تنظيم مبنى المدرسة ملائم لعدد المتعلمين والمرحلة العمرية.</a:t>
                      </a:r>
                    </a:p>
                    <a:p>
                      <a:pPr marL="176213" lvl="0" indent="-176213" algn="r" rtl="1">
                        <a:buFont typeface="+mj-lt"/>
                        <a:buAutoNum type="arabicPeriod"/>
                        <a:tabLst>
                          <a:tab pos="176213" algn="l"/>
                        </a:tabLst>
                      </a:pPr>
                      <a:r>
                        <a:rPr lang="ar-SA" sz="2000" dirty="0">
                          <a:latin typeface="Sakkal Majalla" panose="02000000000000000000" pitchFamily="2" charset="-78"/>
                          <a:cs typeface="Sakkal Majalla" panose="02000000000000000000" pitchFamily="2" charset="-78"/>
                        </a:rPr>
                        <a:t>تتوافر فصول ومعامل ملائمة للعملية التعليمية تلبي احتياجات المتعلمين ومنهم ذوو الإعاقة.</a:t>
                      </a:r>
                    </a:p>
                    <a:p>
                      <a:pPr marL="176213" lvl="0" indent="-176213" algn="r" rtl="1">
                        <a:buFont typeface="+mj-lt"/>
                        <a:buAutoNum type="arabicPeriod"/>
                        <a:tabLst>
                          <a:tab pos="176213" algn="l"/>
                        </a:tabLst>
                      </a:pPr>
                      <a:r>
                        <a:rPr lang="ar-SA" sz="2000" dirty="0">
                          <a:latin typeface="Sakkal Majalla" panose="02000000000000000000" pitchFamily="2" charset="-78"/>
                          <a:cs typeface="Sakkal Majalla" panose="02000000000000000000" pitchFamily="2" charset="-78"/>
                        </a:rPr>
                        <a:t>تلبي المرافق والخدمات المساندة احتياجات المتعلمين ومنهم ذوو الإعاقة</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13350815"/>
                  </a:ext>
                </a:extLst>
              </a:tr>
              <a:tr h="1120774">
                <a:tc vMerge="1">
                  <a:txBody>
                    <a:bodyPr/>
                    <a:lstStyle/>
                    <a:p>
                      <a:pPr algn="ctr" rtl="1"/>
                      <a:endParaRPr lang="ar-SA" sz="1600" dirty="0">
                        <a:latin typeface="Sakkal Majalla" panose="02000000000000000000" pitchFamily="2" charset="-78"/>
                        <a:cs typeface="Sakkal Majalla" panose="02000000000000000000" pitchFamily="2" charset="-7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1" eaLnBrk="1" fontAlgn="auto" latinLnBrk="0" hangingPunct="1">
                        <a:lnSpc>
                          <a:spcPct val="100000"/>
                        </a:lnSpc>
                        <a:spcBef>
                          <a:spcPts val="0"/>
                        </a:spcBef>
                        <a:spcAft>
                          <a:spcPts val="0"/>
                        </a:spcAft>
                        <a:buClr>
                          <a:srgbClr val="CB1B4A"/>
                        </a:buClr>
                        <a:buSzTx/>
                        <a:buFont typeface="Wingdings" panose="05000000000000000000" pitchFamily="2" charset="2"/>
                        <a:buNone/>
                        <a:tabLst/>
                        <a:defRPr/>
                      </a:pPr>
                      <a:r>
                        <a:rPr kumimoji="0" lang="ar-SA" sz="2000" b="1" i="0" u="none" strike="noStrike" kern="1200" cap="none" spc="0" normalizeH="0" baseline="0" noProof="0" dirty="0">
                          <a:ln>
                            <a:noFill/>
                          </a:ln>
                          <a:solidFill>
                            <a:srgbClr val="002060"/>
                          </a:solidFill>
                          <a:effectLst/>
                          <a:uLnTx/>
                          <a:uFillTx/>
                          <a:latin typeface="Sakkal Majalla" panose="02000000000000000000" pitchFamily="2" charset="-78"/>
                          <a:ea typeface="Samim" panose="020B0603030804020204" pitchFamily="34" charset="0"/>
                          <a:cs typeface="Sakkal Majalla" panose="02000000000000000000" pitchFamily="2" charset="-78"/>
                          <a:sym typeface="Titillium Web"/>
                        </a:rPr>
                        <a:t>الأمن والسلامة</a:t>
                      </a:r>
                    </a:p>
                  </a:txBody>
                  <a:tcPr marL="91425" marR="91425" marT="68575" marB="6857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6213" lvl="0" indent="-176213" algn="r" defTabSz="914400" rtl="1" eaLnBrk="1" latinLnBrk="0" hangingPunct="1">
                        <a:buFont typeface="+mj-lt"/>
                        <a:buAutoNum type="arabicPeriod"/>
                        <a:tabLst>
                          <a:tab pos="176213" algn="l"/>
                        </a:tabLst>
                      </a:pPr>
                      <a:r>
                        <a:rPr lang="ar-SA" sz="2000" kern="1200" dirty="0">
                          <a:solidFill>
                            <a:schemeClr val="tx1"/>
                          </a:solidFill>
                          <a:latin typeface="Sakkal Majalla" panose="02000000000000000000" pitchFamily="2" charset="-78"/>
                          <a:ea typeface="+mn-ea"/>
                          <a:cs typeface="Sakkal Majalla" panose="02000000000000000000" pitchFamily="2" charset="-78"/>
                        </a:rPr>
                        <a:t>تتوافر في فصول المدرسة ومعاملها وجميع مرافقها متطلبات الأمن والسلامة.</a:t>
                      </a:r>
                    </a:p>
                    <a:p>
                      <a:pPr marL="176213" lvl="0" indent="-176213" algn="r" defTabSz="914400" rtl="1" eaLnBrk="1" latinLnBrk="0" hangingPunct="1">
                        <a:buFont typeface="+mj-lt"/>
                        <a:buAutoNum type="arabicPeriod"/>
                        <a:tabLst>
                          <a:tab pos="176213" algn="l"/>
                        </a:tabLst>
                      </a:pPr>
                      <a:r>
                        <a:rPr lang="ar-SA" sz="2000" kern="1200" dirty="0">
                          <a:solidFill>
                            <a:schemeClr val="tx1"/>
                          </a:solidFill>
                          <a:latin typeface="Sakkal Majalla" panose="02000000000000000000" pitchFamily="2" charset="-78"/>
                          <a:ea typeface="+mn-ea"/>
                          <a:cs typeface="Sakkal Majalla" panose="02000000000000000000" pitchFamily="2" charset="-78"/>
                        </a:rPr>
                        <a:t>تعمل المدرسة على صيانة جميع مرافق المبنى وتجهيزاته بانتظام.</a:t>
                      </a:r>
                    </a:p>
                    <a:p>
                      <a:pPr marL="176213" lvl="0" indent="-176213" algn="r" defTabSz="914400" rtl="1" eaLnBrk="1" latinLnBrk="0" hangingPunct="1">
                        <a:buFont typeface="+mj-lt"/>
                        <a:buAutoNum type="arabicPeriod"/>
                        <a:tabLst>
                          <a:tab pos="176213" algn="l"/>
                        </a:tabLst>
                      </a:pPr>
                      <a:r>
                        <a:rPr lang="ar-SA" sz="2000" kern="1200" dirty="0">
                          <a:solidFill>
                            <a:schemeClr val="tx1"/>
                          </a:solidFill>
                          <a:latin typeface="Sakkal Majalla" panose="02000000000000000000" pitchFamily="2" charset="-78"/>
                          <a:ea typeface="+mn-ea"/>
                          <a:cs typeface="Sakkal Majalla" panose="02000000000000000000" pitchFamily="2" charset="-78"/>
                        </a:rPr>
                        <a:t>تعمل المدرسة على نظافة المبنى المدرسي وجميع مرافقه بانتظام.</a:t>
                      </a:r>
                    </a:p>
                    <a:p>
                      <a:pPr marL="176213" lvl="0" indent="-176213" algn="r" defTabSz="914400" rtl="1" eaLnBrk="1" latinLnBrk="0" hangingPunct="1">
                        <a:buFont typeface="+mj-lt"/>
                        <a:buAutoNum type="arabicPeriod"/>
                        <a:tabLst>
                          <a:tab pos="176213" algn="l"/>
                        </a:tabLst>
                      </a:pPr>
                      <a:endParaRPr lang="ar-SA" sz="2000" kern="1200" dirty="0">
                        <a:solidFill>
                          <a:schemeClr val="tx1"/>
                        </a:solidFill>
                        <a:latin typeface="Sakkal Majalla" panose="02000000000000000000" pitchFamily="2" charset="-78"/>
                        <a:ea typeface="+mn-ea"/>
                        <a:cs typeface="Sakkal Majalla" panose="02000000000000000000" pitchFamily="2" charset="-7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35683600"/>
                  </a:ext>
                </a:extLst>
              </a:tr>
            </a:tbl>
          </a:graphicData>
        </a:graphic>
      </p:graphicFrame>
      <p:sp>
        <p:nvSpPr>
          <p:cNvPr id="4" name="Google Shape;1313;p30">
            <a:extLst>
              <a:ext uri="{FF2B5EF4-FFF2-40B4-BE49-F238E27FC236}">
                <a16:creationId xmlns:a16="http://schemas.microsoft.com/office/drawing/2014/main" id="{9999AE2E-D215-7EEC-DA5A-EE8948B5D785}"/>
              </a:ext>
            </a:extLst>
          </p:cNvPr>
          <p:cNvSpPr txBox="1"/>
          <p:nvPr/>
        </p:nvSpPr>
        <p:spPr>
          <a:xfrm>
            <a:off x="2757054" y="438790"/>
            <a:ext cx="6324602" cy="539788"/>
          </a:xfrm>
          <a:prstGeom prst="rect">
            <a:avLst/>
          </a:prstGeom>
          <a:noFill/>
          <a:ln>
            <a:noFill/>
          </a:ln>
        </p:spPr>
        <p:txBody>
          <a:bodyPr spcFirstLastPara="1" wrap="square" lIns="121900" tIns="121900" rIns="121900" bIns="121900" anchor="ctr" anchorCtr="0">
            <a:noAutofit/>
          </a:bodyPr>
          <a:lstStyle/>
          <a:p>
            <a:pPr algn="ctr"/>
            <a:r>
              <a:rPr lang="ar-SA" sz="2400" b="1" kern="0" dirty="0">
                <a:solidFill>
                  <a:srgbClr val="002060"/>
                </a:solidFill>
                <a:latin typeface="Sakkal Majalla" panose="02000000000000000000" pitchFamily="2" charset="-78"/>
                <a:ea typeface="Samim" panose="020B0603030804020204" pitchFamily="34" charset="0"/>
                <a:cs typeface="Sakkal Majalla" panose="02000000000000000000" pitchFamily="2" charset="-78"/>
                <a:sym typeface="Barlow Light"/>
              </a:rPr>
              <a:t>مهام المدرسة ( معايير الأداء المدرسي )- معايير برنامج التقويم المدرسي</a:t>
            </a:r>
          </a:p>
        </p:txBody>
      </p:sp>
    </p:spTree>
    <p:extLst>
      <p:ext uri="{BB962C8B-B14F-4D97-AF65-F5344CB8AC3E}">
        <p14:creationId xmlns:p14="http://schemas.microsoft.com/office/powerpoint/2010/main" val="3420400599"/>
      </p:ext>
    </p:extLst>
  </p:cSld>
  <p:clrMapOvr>
    <a:masterClrMapping/>
  </p:clrMapOvr>
  <mc:AlternateContent xmlns:mc="http://schemas.openxmlformats.org/markup-compatibility/2006" xmlns:p14="http://schemas.microsoft.com/office/powerpoint/2010/main">
    <mc:Choice Requires="p14">
      <p:transition spd="slow" p14:dur="1200">
        <p14:prism dir="r"/>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arn(inVertical)">
                                      <p:cBhvr>
                                        <p:cTn id="7" dur="1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barn(inVertical)">
                                      <p:cBhvr>
                                        <p:cTn id="12" dur="1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 Box 3">
            <a:extLst>
              <a:ext uri="{FF2B5EF4-FFF2-40B4-BE49-F238E27FC236}">
                <a16:creationId xmlns:a16="http://schemas.microsoft.com/office/drawing/2014/main" id="{55AB8342-7FD9-4BFB-E611-8FB09CE649D7}"/>
              </a:ext>
            </a:extLst>
          </p:cNvPr>
          <p:cNvSpPr txBox="1">
            <a:spLocks noChangeArrowheads="1"/>
          </p:cNvSpPr>
          <p:nvPr/>
        </p:nvSpPr>
        <p:spPr bwMode="auto">
          <a:xfrm>
            <a:off x="1007435" y="260648"/>
            <a:ext cx="5743872" cy="5027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107763" dir="18900000" algn="ctr" rotWithShape="0">
                    <a:schemeClr val="bg2"/>
                  </a:outerShdw>
                </a:effectLst>
              </a14:hiddenEffects>
            </a:ext>
          </a:extLst>
        </p:spPr>
        <p:txBody>
          <a:bodyPr wrap="square">
            <a:spAutoFit/>
          </a:bodyPr>
          <a:lstStyle/>
          <a:p>
            <a:pPr algn="ctr" defTabSz="1219139" eaLnBrk="0" hangingPunct="0">
              <a:spcBef>
                <a:spcPct val="50000"/>
              </a:spcBef>
            </a:pPr>
            <a:r>
              <a:rPr lang="ar-SA" altLang="ar-SA" sz="2667" b="1" dirty="0">
                <a:solidFill>
                  <a:srgbClr val="C00000"/>
                </a:solidFill>
                <a:latin typeface="Sakkal Majalla" panose="02000000000000000000" pitchFamily="2" charset="-78"/>
                <a:cs typeface="Sakkal Majalla" panose="02000000000000000000" pitchFamily="2" charset="-78"/>
              </a:rPr>
              <a:t>العملية التربوية</a:t>
            </a:r>
            <a:endParaRPr lang="en-US" altLang="ar-SA" sz="2667" b="1" dirty="0">
              <a:solidFill>
                <a:srgbClr val="C00000"/>
              </a:solidFill>
              <a:latin typeface="Sakkal Majalla" panose="02000000000000000000" pitchFamily="2" charset="-78"/>
              <a:cs typeface="Sakkal Majalla" panose="02000000000000000000" pitchFamily="2" charset="-78"/>
            </a:endParaRPr>
          </a:p>
        </p:txBody>
      </p:sp>
      <p:grpSp>
        <p:nvGrpSpPr>
          <p:cNvPr id="25" name="مجموعة 24">
            <a:extLst>
              <a:ext uri="{FF2B5EF4-FFF2-40B4-BE49-F238E27FC236}">
                <a16:creationId xmlns:a16="http://schemas.microsoft.com/office/drawing/2014/main" id="{D17D9B1A-984B-EBEC-D132-4F61B501547A}"/>
              </a:ext>
            </a:extLst>
          </p:cNvPr>
          <p:cNvGrpSpPr/>
          <p:nvPr/>
        </p:nvGrpSpPr>
        <p:grpSpPr>
          <a:xfrm>
            <a:off x="2336762" y="1078256"/>
            <a:ext cx="3046345" cy="2501209"/>
            <a:chOff x="0" y="72001"/>
            <a:chExt cx="2284758" cy="1875906"/>
          </a:xfrm>
        </p:grpSpPr>
        <p:sp>
          <p:nvSpPr>
            <p:cNvPr id="26" name="شبه منحرف 25">
              <a:extLst>
                <a:ext uri="{FF2B5EF4-FFF2-40B4-BE49-F238E27FC236}">
                  <a16:creationId xmlns:a16="http://schemas.microsoft.com/office/drawing/2014/main" id="{07F0C0C1-D17A-D654-33CE-97AD535FCAEF}"/>
                </a:ext>
              </a:extLst>
            </p:cNvPr>
            <p:cNvSpPr/>
            <p:nvPr/>
          </p:nvSpPr>
          <p:spPr>
            <a:xfrm>
              <a:off x="0" y="72001"/>
              <a:ext cx="2284758" cy="1875906"/>
            </a:xfrm>
            <a:prstGeom prst="trapezoid">
              <a:avLst>
                <a:gd name="adj" fmla="val 60897"/>
              </a:avLst>
            </a:prstGeom>
            <a:solidFill>
              <a:srgbClr val="F5C201">
                <a:hueOff val="0"/>
                <a:satOff val="0"/>
                <a:lumOff val="0"/>
                <a:alphaOff val="0"/>
              </a:srgbClr>
            </a:solidFill>
            <a:ln w="25400" cap="flat" cmpd="sng" algn="ctr">
              <a:solidFill>
                <a:srgbClr val="FFFFFF">
                  <a:hueOff val="0"/>
                  <a:satOff val="0"/>
                  <a:lumOff val="0"/>
                  <a:alphaOff val="0"/>
                </a:srgbClr>
              </a:solidFill>
              <a:prstDash val="solid"/>
            </a:ln>
            <a:effectLst/>
          </p:spPr>
          <p:txBody>
            <a:bodyPr/>
            <a:lstStyle/>
            <a:p>
              <a:pPr defTabSz="1219139">
                <a:defRPr/>
              </a:pPr>
              <a:endParaRPr lang="ar-SA" sz="2667" kern="0">
                <a:solidFill>
                  <a:prstClr val="black"/>
                </a:solidFill>
              </a:endParaRPr>
            </a:p>
          </p:txBody>
        </p:sp>
        <p:sp>
          <p:nvSpPr>
            <p:cNvPr id="27" name="شبه منحرف 4">
              <a:extLst>
                <a:ext uri="{FF2B5EF4-FFF2-40B4-BE49-F238E27FC236}">
                  <a16:creationId xmlns:a16="http://schemas.microsoft.com/office/drawing/2014/main" id="{A0305C92-D836-66A7-1C98-CCD22D3A7925}"/>
                </a:ext>
              </a:extLst>
            </p:cNvPr>
            <p:cNvSpPr/>
            <p:nvPr/>
          </p:nvSpPr>
          <p:spPr>
            <a:xfrm>
              <a:off x="0" y="72001"/>
              <a:ext cx="2284758" cy="1875906"/>
            </a:xfrm>
            <a:prstGeom prst="rect">
              <a:avLst/>
            </a:prstGeom>
            <a:noFill/>
            <a:ln>
              <a:noFill/>
            </a:ln>
            <a:effectLst/>
          </p:spPr>
          <p:txBody>
            <a:bodyPr spcFirstLastPara="0" vert="horz" wrap="square" lIns="54187" tIns="54187" rIns="54187" bIns="54187" numCol="1" spcCol="1270" anchor="ctr" anchorCtr="0">
              <a:noAutofit/>
            </a:bodyPr>
            <a:lstStyle/>
            <a:p>
              <a:pPr algn="ctr" defTabSz="1896438">
                <a:spcBef>
                  <a:spcPct val="0"/>
                </a:spcBef>
                <a:defRPr/>
              </a:pPr>
              <a:endParaRPr lang="ar-SA" sz="2667" b="1" kern="0" dirty="0">
                <a:solidFill>
                  <a:srgbClr val="002060"/>
                </a:solidFill>
                <a:latin typeface="Sakkal Majalla" panose="02000000000000000000" pitchFamily="2" charset="-78"/>
                <a:cs typeface="Sakkal Majalla" panose="02000000000000000000" pitchFamily="2" charset="-78"/>
              </a:endParaRPr>
            </a:p>
          </p:txBody>
        </p:sp>
      </p:grpSp>
      <p:grpSp>
        <p:nvGrpSpPr>
          <p:cNvPr id="28" name="مجموعة 27">
            <a:extLst>
              <a:ext uri="{FF2B5EF4-FFF2-40B4-BE49-F238E27FC236}">
                <a16:creationId xmlns:a16="http://schemas.microsoft.com/office/drawing/2014/main" id="{A8488327-E869-708E-BAC2-C67DD2710094}"/>
              </a:ext>
            </a:extLst>
          </p:cNvPr>
          <p:cNvGrpSpPr/>
          <p:nvPr/>
        </p:nvGrpSpPr>
        <p:grpSpPr>
          <a:xfrm>
            <a:off x="1697365" y="3574534"/>
            <a:ext cx="4307716" cy="1078183"/>
            <a:chOff x="1804986" y="1875906"/>
            <a:chExt cx="3230786" cy="808637"/>
          </a:xfrm>
        </p:grpSpPr>
        <p:sp>
          <p:nvSpPr>
            <p:cNvPr id="29" name="شبه منحرف 28">
              <a:extLst>
                <a:ext uri="{FF2B5EF4-FFF2-40B4-BE49-F238E27FC236}">
                  <a16:creationId xmlns:a16="http://schemas.microsoft.com/office/drawing/2014/main" id="{DCA2F88A-04F5-77B1-0C7C-3982563A5C45}"/>
                </a:ext>
              </a:extLst>
            </p:cNvPr>
            <p:cNvSpPr/>
            <p:nvPr/>
          </p:nvSpPr>
          <p:spPr>
            <a:xfrm>
              <a:off x="1804986" y="1875906"/>
              <a:ext cx="3230786" cy="776738"/>
            </a:xfrm>
            <a:prstGeom prst="trapezoid">
              <a:avLst>
                <a:gd name="adj" fmla="val 60897"/>
              </a:avLst>
            </a:prstGeom>
            <a:solidFill>
              <a:srgbClr val="9AD3E9"/>
            </a:solidFill>
            <a:ln w="38100" cap="flat" cmpd="sng" algn="ctr">
              <a:solidFill>
                <a:sysClr val="window" lastClr="FFFFFF"/>
              </a:solidFill>
              <a:prstDash val="solid"/>
            </a:ln>
            <a:effectLst>
              <a:outerShdw blurRad="40000" dist="20000" dir="5400000" rotWithShape="0">
                <a:srgbClr val="000000">
                  <a:alpha val="38000"/>
                </a:srgbClr>
              </a:outerShdw>
            </a:effectLst>
          </p:spPr>
          <p:txBody>
            <a:bodyPr/>
            <a:lstStyle/>
            <a:p>
              <a:pPr defTabSz="1219139">
                <a:defRPr/>
              </a:pPr>
              <a:endParaRPr lang="ar-SA" sz="2667" kern="0">
                <a:solidFill>
                  <a:prstClr val="white"/>
                </a:solidFill>
                <a:latin typeface="Arial"/>
              </a:endParaRPr>
            </a:p>
          </p:txBody>
        </p:sp>
        <p:sp>
          <p:nvSpPr>
            <p:cNvPr id="30" name="شبه منحرف 4">
              <a:extLst>
                <a:ext uri="{FF2B5EF4-FFF2-40B4-BE49-F238E27FC236}">
                  <a16:creationId xmlns:a16="http://schemas.microsoft.com/office/drawing/2014/main" id="{6D57EDC5-0C44-1CF6-DE35-55EFBAECF5F9}"/>
                </a:ext>
              </a:extLst>
            </p:cNvPr>
            <p:cNvSpPr/>
            <p:nvPr/>
          </p:nvSpPr>
          <p:spPr>
            <a:xfrm>
              <a:off x="2151635" y="1907805"/>
              <a:ext cx="2520279" cy="776738"/>
            </a:xfrm>
            <a:prstGeom prst="rect">
              <a:avLst/>
            </a:prstGeom>
            <a:noFill/>
            <a:ln>
              <a:noFill/>
            </a:ln>
            <a:effectLst/>
          </p:spPr>
          <p:txBody>
            <a:bodyPr spcFirstLastPara="0" vert="horz" wrap="square" lIns="47413" tIns="47413" rIns="47413" bIns="47413" numCol="1" spcCol="1270" anchor="ctr" anchorCtr="0">
              <a:noAutofit/>
            </a:bodyPr>
            <a:lstStyle/>
            <a:p>
              <a:pPr algn="ctr" defTabSz="1659384">
                <a:lnSpc>
                  <a:spcPct val="60000"/>
                </a:lnSpc>
                <a:spcBef>
                  <a:spcPct val="0"/>
                </a:spcBef>
                <a:spcAft>
                  <a:spcPts val="800"/>
                </a:spcAft>
                <a:defRPr/>
              </a:pPr>
              <a:r>
                <a:rPr lang="ar-SA" sz="2667" b="1" kern="0" dirty="0">
                  <a:solidFill>
                    <a:srgbClr val="002060"/>
                  </a:solidFill>
                  <a:latin typeface="Sakkal Majalla" panose="02000000000000000000" pitchFamily="2" charset="-78"/>
                  <a:cs typeface="Sakkal Majalla" panose="02000000000000000000" pitchFamily="2" charset="-78"/>
                </a:rPr>
                <a:t>النظرية التربوية</a:t>
              </a:r>
            </a:p>
          </p:txBody>
        </p:sp>
      </p:grpSp>
      <p:grpSp>
        <p:nvGrpSpPr>
          <p:cNvPr id="31" name="مجموعة 30">
            <a:extLst>
              <a:ext uri="{FF2B5EF4-FFF2-40B4-BE49-F238E27FC236}">
                <a16:creationId xmlns:a16="http://schemas.microsoft.com/office/drawing/2014/main" id="{103B559C-ABF3-98F4-5266-055EE52B5D6A}"/>
              </a:ext>
            </a:extLst>
          </p:cNvPr>
          <p:cNvGrpSpPr/>
          <p:nvPr/>
        </p:nvGrpSpPr>
        <p:grpSpPr>
          <a:xfrm>
            <a:off x="815414" y="4566309"/>
            <a:ext cx="6072399" cy="1448897"/>
            <a:chOff x="1143230" y="2652645"/>
            <a:chExt cx="4554298" cy="1086673"/>
          </a:xfrm>
        </p:grpSpPr>
        <p:sp>
          <p:nvSpPr>
            <p:cNvPr id="32" name="شبه منحرف 31">
              <a:extLst>
                <a:ext uri="{FF2B5EF4-FFF2-40B4-BE49-F238E27FC236}">
                  <a16:creationId xmlns:a16="http://schemas.microsoft.com/office/drawing/2014/main" id="{5CC649C7-B402-C2D7-2390-F33399DDABD4}"/>
                </a:ext>
              </a:extLst>
            </p:cNvPr>
            <p:cNvSpPr/>
            <p:nvPr/>
          </p:nvSpPr>
          <p:spPr>
            <a:xfrm>
              <a:off x="1143230" y="2652645"/>
              <a:ext cx="4554298" cy="1086673"/>
            </a:xfrm>
            <a:prstGeom prst="trapezoid">
              <a:avLst>
                <a:gd name="adj" fmla="val 60897"/>
              </a:avLst>
            </a:prstGeom>
            <a:solidFill>
              <a:srgbClr val="98DFBB"/>
            </a:solidFill>
            <a:ln w="38100" cap="flat" cmpd="sng" algn="ctr">
              <a:solidFill>
                <a:sysClr val="window" lastClr="FFFFFF"/>
              </a:solidFill>
              <a:prstDash val="solid"/>
            </a:ln>
            <a:effectLst>
              <a:outerShdw blurRad="40000" dist="20000" dir="5400000" rotWithShape="0">
                <a:srgbClr val="000000">
                  <a:alpha val="38000"/>
                </a:srgbClr>
              </a:outerShdw>
            </a:effectLst>
          </p:spPr>
          <p:txBody>
            <a:bodyPr/>
            <a:lstStyle/>
            <a:p>
              <a:pPr defTabSz="1219139">
                <a:defRPr/>
              </a:pPr>
              <a:endParaRPr lang="ar-SA" sz="2667" kern="0">
                <a:solidFill>
                  <a:prstClr val="white"/>
                </a:solidFill>
                <a:latin typeface="Arial"/>
              </a:endParaRPr>
            </a:p>
          </p:txBody>
        </p:sp>
        <p:sp>
          <p:nvSpPr>
            <p:cNvPr id="33" name="شبه منحرف 4">
              <a:extLst>
                <a:ext uri="{FF2B5EF4-FFF2-40B4-BE49-F238E27FC236}">
                  <a16:creationId xmlns:a16="http://schemas.microsoft.com/office/drawing/2014/main" id="{DF75F3DE-87D9-14A8-E62A-2377BB7B2F04}"/>
                </a:ext>
              </a:extLst>
            </p:cNvPr>
            <p:cNvSpPr/>
            <p:nvPr/>
          </p:nvSpPr>
          <p:spPr>
            <a:xfrm>
              <a:off x="1940232" y="2652645"/>
              <a:ext cx="2960294" cy="1086673"/>
            </a:xfrm>
            <a:prstGeom prst="rect">
              <a:avLst/>
            </a:prstGeom>
            <a:noFill/>
            <a:ln>
              <a:noFill/>
            </a:ln>
            <a:effectLst/>
          </p:spPr>
          <p:txBody>
            <a:bodyPr spcFirstLastPara="0" vert="horz" wrap="square" lIns="47413" tIns="47413" rIns="47413" bIns="47413" numCol="1" spcCol="1270" anchor="ctr" anchorCtr="0">
              <a:noAutofit/>
            </a:bodyPr>
            <a:lstStyle/>
            <a:p>
              <a:pPr algn="ctr" defTabSz="1659384">
                <a:lnSpc>
                  <a:spcPct val="90000"/>
                </a:lnSpc>
                <a:spcBef>
                  <a:spcPct val="0"/>
                </a:spcBef>
                <a:spcAft>
                  <a:spcPct val="35000"/>
                </a:spcAft>
                <a:defRPr/>
              </a:pPr>
              <a:r>
                <a:rPr lang="ar-SA" sz="2667" b="1" kern="0" dirty="0">
                  <a:solidFill>
                    <a:srgbClr val="002060"/>
                  </a:solidFill>
                  <a:latin typeface="Sakkal Majalla" panose="02000000000000000000" pitchFamily="2" charset="-78"/>
                  <a:cs typeface="Sakkal Majalla" panose="02000000000000000000" pitchFamily="2" charset="-78"/>
                </a:rPr>
                <a:t>الممارسات التربوية</a:t>
              </a:r>
              <a:endParaRPr lang="ar-SA" sz="2667" b="1" kern="0" dirty="0">
                <a:solidFill>
                  <a:srgbClr val="002060"/>
                </a:solidFill>
                <a:latin typeface="Georgia"/>
                <a:cs typeface="Times New Roman"/>
              </a:endParaRPr>
            </a:p>
          </p:txBody>
        </p:sp>
      </p:grpSp>
      <p:sp>
        <p:nvSpPr>
          <p:cNvPr id="40" name="مستطيل 39">
            <a:extLst>
              <a:ext uri="{FF2B5EF4-FFF2-40B4-BE49-F238E27FC236}">
                <a16:creationId xmlns:a16="http://schemas.microsoft.com/office/drawing/2014/main" id="{1D3FF42C-1118-026D-24AF-0EDE0C4011B4}"/>
              </a:ext>
            </a:extLst>
          </p:cNvPr>
          <p:cNvSpPr/>
          <p:nvPr/>
        </p:nvSpPr>
        <p:spPr>
          <a:xfrm>
            <a:off x="2526837" y="2415468"/>
            <a:ext cx="2592288" cy="502766"/>
          </a:xfrm>
          <a:prstGeom prst="rect">
            <a:avLst/>
          </a:prstGeom>
        </p:spPr>
        <p:txBody>
          <a:bodyPr wrap="square">
            <a:spAutoFit/>
          </a:bodyPr>
          <a:lstStyle/>
          <a:p>
            <a:pPr algn="ctr" defTabSz="1896438">
              <a:spcBef>
                <a:spcPct val="0"/>
              </a:spcBef>
              <a:defRPr/>
            </a:pPr>
            <a:r>
              <a:rPr lang="ar-SA" sz="2667" b="1" kern="0" dirty="0">
                <a:solidFill>
                  <a:srgbClr val="002060"/>
                </a:solidFill>
                <a:latin typeface="Sakkal Majalla" panose="02000000000000000000" pitchFamily="2" charset="-78"/>
                <a:cs typeface="Sakkal Majalla" panose="02000000000000000000" pitchFamily="2" charset="-78"/>
              </a:rPr>
              <a:t>فلسفة التربية</a:t>
            </a:r>
          </a:p>
        </p:txBody>
      </p:sp>
      <p:sp>
        <p:nvSpPr>
          <p:cNvPr id="43" name="مستطيل 42">
            <a:extLst>
              <a:ext uri="{FF2B5EF4-FFF2-40B4-BE49-F238E27FC236}">
                <a16:creationId xmlns:a16="http://schemas.microsoft.com/office/drawing/2014/main" id="{A100DC2F-8585-31E1-DDEB-0A60A4094A0D}"/>
              </a:ext>
            </a:extLst>
          </p:cNvPr>
          <p:cNvSpPr/>
          <p:nvPr/>
        </p:nvSpPr>
        <p:spPr>
          <a:xfrm>
            <a:off x="6751309" y="4566307"/>
            <a:ext cx="4667564" cy="1323632"/>
          </a:xfrm>
          <a:prstGeom prst="rect">
            <a:avLst/>
          </a:prstGeom>
        </p:spPr>
        <p:txBody>
          <a:bodyPr wrap="square">
            <a:spAutoFit/>
          </a:bodyPr>
          <a:lstStyle/>
          <a:p>
            <a:pPr algn="justLow" defTabSz="1896438">
              <a:spcBef>
                <a:spcPct val="0"/>
              </a:spcBef>
              <a:defRPr/>
            </a:pPr>
            <a:r>
              <a:rPr lang="ar-SA" sz="2667" kern="0" dirty="0">
                <a:solidFill>
                  <a:srgbClr val="002060"/>
                </a:solidFill>
                <a:latin typeface="Sakkal Majalla" panose="02000000000000000000" pitchFamily="2" charset="-78"/>
                <a:cs typeface="Sakkal Majalla" panose="02000000000000000000" pitchFamily="2" charset="-78"/>
              </a:rPr>
              <a:t>كل الممارسات التي يشترك فيها المعلمين والطلاب والإدارة المدرسية من الأنشطة التعليمية والتدريس وما يرتبط به.</a:t>
            </a:r>
          </a:p>
        </p:txBody>
      </p:sp>
      <p:cxnSp>
        <p:nvCxnSpPr>
          <p:cNvPr id="45" name="رابط مستقيم 44">
            <a:extLst>
              <a:ext uri="{FF2B5EF4-FFF2-40B4-BE49-F238E27FC236}">
                <a16:creationId xmlns:a16="http://schemas.microsoft.com/office/drawing/2014/main" id="{A550C0C5-D6DB-ABDD-3EB0-39894CBAD84F}"/>
              </a:ext>
            </a:extLst>
          </p:cNvPr>
          <p:cNvCxnSpPr/>
          <p:nvPr/>
        </p:nvCxnSpPr>
        <p:spPr>
          <a:xfrm>
            <a:off x="6005081" y="4566305"/>
            <a:ext cx="5275497"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6" name="مستطيل 45">
            <a:extLst>
              <a:ext uri="{FF2B5EF4-FFF2-40B4-BE49-F238E27FC236}">
                <a16:creationId xmlns:a16="http://schemas.microsoft.com/office/drawing/2014/main" id="{34EFF258-C981-0F29-9827-4DEDB0BEC241}"/>
              </a:ext>
            </a:extLst>
          </p:cNvPr>
          <p:cNvSpPr/>
          <p:nvPr/>
        </p:nvSpPr>
        <p:spPr>
          <a:xfrm>
            <a:off x="5801415" y="3549824"/>
            <a:ext cx="6151236" cy="913199"/>
          </a:xfrm>
          <a:prstGeom prst="rect">
            <a:avLst/>
          </a:prstGeom>
        </p:spPr>
        <p:txBody>
          <a:bodyPr wrap="square">
            <a:spAutoFit/>
          </a:bodyPr>
          <a:lstStyle/>
          <a:p>
            <a:pPr algn="justLow" defTabSz="1896438">
              <a:spcBef>
                <a:spcPct val="0"/>
              </a:spcBef>
              <a:defRPr/>
            </a:pPr>
            <a:r>
              <a:rPr lang="ar-SA" sz="2667" kern="0" dirty="0">
                <a:solidFill>
                  <a:srgbClr val="002060"/>
                </a:solidFill>
                <a:latin typeface="Sakkal Majalla" panose="02000000000000000000" pitchFamily="2" charset="-78"/>
                <a:cs typeface="Sakkal Majalla" panose="02000000000000000000" pitchFamily="2" charset="-78"/>
              </a:rPr>
              <a:t>المبادئ والأفكار والتوجهات التي تهدف إلى توجيه وإرشاد الممارسات التعليمية الجارية في الطابق الأول(الممارسات التربوية)</a:t>
            </a:r>
          </a:p>
        </p:txBody>
      </p:sp>
      <p:cxnSp>
        <p:nvCxnSpPr>
          <p:cNvPr id="47" name="رابط مستقيم 46">
            <a:extLst>
              <a:ext uri="{FF2B5EF4-FFF2-40B4-BE49-F238E27FC236}">
                <a16:creationId xmlns:a16="http://schemas.microsoft.com/office/drawing/2014/main" id="{ABACA63F-B39B-306E-E22F-6F7855F724FE}"/>
              </a:ext>
            </a:extLst>
          </p:cNvPr>
          <p:cNvCxnSpPr>
            <a:cxnSpLocks/>
          </p:cNvCxnSpPr>
          <p:nvPr/>
        </p:nvCxnSpPr>
        <p:spPr>
          <a:xfrm>
            <a:off x="5344192" y="3549825"/>
            <a:ext cx="5936384"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9" name="مستطيل 48">
            <a:extLst>
              <a:ext uri="{FF2B5EF4-FFF2-40B4-BE49-F238E27FC236}">
                <a16:creationId xmlns:a16="http://schemas.microsoft.com/office/drawing/2014/main" id="{7A8DB023-3677-47EA-A107-AF4C067D0677}"/>
              </a:ext>
            </a:extLst>
          </p:cNvPr>
          <p:cNvSpPr/>
          <p:nvPr/>
        </p:nvSpPr>
        <p:spPr>
          <a:xfrm>
            <a:off x="6086896" y="2061422"/>
            <a:ext cx="5577723" cy="1323632"/>
          </a:xfrm>
          <a:prstGeom prst="rect">
            <a:avLst/>
          </a:prstGeom>
        </p:spPr>
        <p:txBody>
          <a:bodyPr wrap="square">
            <a:spAutoFit/>
          </a:bodyPr>
          <a:lstStyle/>
          <a:p>
            <a:pPr algn="justLow" defTabSz="1896438">
              <a:spcBef>
                <a:spcPct val="0"/>
              </a:spcBef>
              <a:defRPr/>
            </a:pPr>
            <a:r>
              <a:rPr lang="ar-SA" sz="2667" kern="0" dirty="0">
                <a:solidFill>
                  <a:srgbClr val="002060"/>
                </a:solidFill>
                <a:latin typeface="Sakkal Majalla" panose="02000000000000000000" pitchFamily="2" charset="-78"/>
                <a:cs typeface="Sakkal Majalla" panose="02000000000000000000" pitchFamily="2" charset="-78"/>
              </a:rPr>
              <a:t>تعنى بتحليل كل ما يجري في المستوى الثاني، تحلل المفاهيم والتوجهات والأفكار وتحدد المعاني والمفاهيم التي تدخل في بناء النظرية التي تغذي الممارسات التربوية.</a:t>
            </a:r>
          </a:p>
        </p:txBody>
      </p:sp>
    </p:spTree>
    <p:extLst>
      <p:ext uri="{BB962C8B-B14F-4D97-AF65-F5344CB8AC3E}">
        <p14:creationId xmlns:p14="http://schemas.microsoft.com/office/powerpoint/2010/main" val="36874231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7"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1000"/>
                                        <p:tgtEl>
                                          <p:spTgt spid="24"/>
                                        </p:tgtEl>
                                      </p:cBhvr>
                                    </p:animEffect>
                                    <p:anim calcmode="lin" valueType="num">
                                      <p:cBhvr>
                                        <p:cTn id="8" dur="1000" fill="hold"/>
                                        <p:tgtEl>
                                          <p:spTgt spid="24"/>
                                        </p:tgtEl>
                                        <p:attrNameLst>
                                          <p:attrName>ppt_x</p:attrName>
                                        </p:attrNameLst>
                                      </p:cBhvr>
                                      <p:tavLst>
                                        <p:tav tm="0">
                                          <p:val>
                                            <p:strVal val="#ppt_x"/>
                                          </p:val>
                                        </p:tav>
                                        <p:tav tm="100000">
                                          <p:val>
                                            <p:strVal val="#ppt_x"/>
                                          </p:val>
                                        </p:tav>
                                      </p:tavLst>
                                    </p:anim>
                                    <p:anim calcmode="lin" valueType="num">
                                      <p:cBhvr>
                                        <p:cTn id="9" dur="1000" fill="hold"/>
                                        <p:tgtEl>
                                          <p:spTgt spid="24"/>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22" presetClass="entr" presetSubtype="4" fill="hold" nodeType="clickEffect">
                                  <p:stCondLst>
                                    <p:cond delay="0"/>
                                  </p:stCondLst>
                                  <p:childTnLst>
                                    <p:set>
                                      <p:cBhvr>
                                        <p:cTn id="13" dur="1" fill="hold">
                                          <p:stCondLst>
                                            <p:cond delay="0"/>
                                          </p:stCondLst>
                                        </p:cTn>
                                        <p:tgtEl>
                                          <p:spTgt spid="25"/>
                                        </p:tgtEl>
                                        <p:attrNameLst>
                                          <p:attrName>style.visibility</p:attrName>
                                        </p:attrNameLst>
                                      </p:cBhvr>
                                      <p:to>
                                        <p:strVal val="visible"/>
                                      </p:to>
                                    </p:set>
                                    <p:animEffect transition="in" filter="wipe(down)">
                                      <p:cBhvr>
                                        <p:cTn id="14" dur="500"/>
                                        <p:tgtEl>
                                          <p:spTgt spid="25"/>
                                        </p:tgtEl>
                                      </p:cBhvr>
                                    </p:animEffect>
                                  </p:childTnLst>
                                </p:cTn>
                              </p:par>
                              <p:par>
                                <p:cTn id="15" presetID="22" presetClass="entr" presetSubtype="4" fill="hold" grpId="0" nodeType="withEffect">
                                  <p:stCondLst>
                                    <p:cond delay="0"/>
                                  </p:stCondLst>
                                  <p:childTnLst>
                                    <p:set>
                                      <p:cBhvr>
                                        <p:cTn id="16" dur="1" fill="hold">
                                          <p:stCondLst>
                                            <p:cond delay="0"/>
                                          </p:stCondLst>
                                        </p:cTn>
                                        <p:tgtEl>
                                          <p:spTgt spid="40"/>
                                        </p:tgtEl>
                                        <p:attrNameLst>
                                          <p:attrName>style.visibility</p:attrName>
                                        </p:attrNameLst>
                                      </p:cBhvr>
                                      <p:to>
                                        <p:strVal val="visible"/>
                                      </p:to>
                                    </p:set>
                                    <p:animEffect transition="in" filter="wipe(down)">
                                      <p:cBhvr>
                                        <p:cTn id="17" dur="500"/>
                                        <p:tgtEl>
                                          <p:spTgt spid="40"/>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4" fill="hold" nodeType="clickEffect">
                                  <p:stCondLst>
                                    <p:cond delay="0"/>
                                  </p:stCondLst>
                                  <p:childTnLst>
                                    <p:set>
                                      <p:cBhvr>
                                        <p:cTn id="21" dur="1" fill="hold">
                                          <p:stCondLst>
                                            <p:cond delay="0"/>
                                          </p:stCondLst>
                                        </p:cTn>
                                        <p:tgtEl>
                                          <p:spTgt spid="28"/>
                                        </p:tgtEl>
                                        <p:attrNameLst>
                                          <p:attrName>style.visibility</p:attrName>
                                        </p:attrNameLst>
                                      </p:cBhvr>
                                      <p:to>
                                        <p:strVal val="visible"/>
                                      </p:to>
                                    </p:set>
                                    <p:animEffect transition="in" filter="wipe(down)">
                                      <p:cBhvr>
                                        <p:cTn id="22" dur="500"/>
                                        <p:tgtEl>
                                          <p:spTgt spid="28"/>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4" fill="hold" nodeType="clickEffect">
                                  <p:stCondLst>
                                    <p:cond delay="0"/>
                                  </p:stCondLst>
                                  <p:childTnLst>
                                    <p:set>
                                      <p:cBhvr>
                                        <p:cTn id="26" dur="1" fill="hold">
                                          <p:stCondLst>
                                            <p:cond delay="0"/>
                                          </p:stCondLst>
                                        </p:cTn>
                                        <p:tgtEl>
                                          <p:spTgt spid="31"/>
                                        </p:tgtEl>
                                        <p:attrNameLst>
                                          <p:attrName>style.visibility</p:attrName>
                                        </p:attrNameLst>
                                      </p:cBhvr>
                                      <p:to>
                                        <p:strVal val="visible"/>
                                      </p:to>
                                    </p:set>
                                    <p:animEffect transition="in" filter="wipe(down)">
                                      <p:cBhvr>
                                        <p:cTn id="27" dur="500"/>
                                        <p:tgtEl>
                                          <p:spTgt spid="31"/>
                                        </p:tgtEl>
                                      </p:cBhvr>
                                    </p:animEffect>
                                  </p:childTnLst>
                                </p:cTn>
                              </p:par>
                            </p:childTnLst>
                          </p:cTn>
                        </p:par>
                      </p:childTnLst>
                    </p:cTn>
                  </p:par>
                  <p:par>
                    <p:cTn id="28" fill="hold">
                      <p:stCondLst>
                        <p:cond delay="indefinite"/>
                      </p:stCondLst>
                      <p:childTnLst>
                        <p:par>
                          <p:cTn id="29" fill="hold">
                            <p:stCondLst>
                              <p:cond delay="0"/>
                            </p:stCondLst>
                            <p:childTnLst>
                              <p:par>
                                <p:cTn id="30" presetID="16" presetClass="entr" presetSubtype="21" fill="hold" grpId="0" nodeType="clickEffect">
                                  <p:stCondLst>
                                    <p:cond delay="0"/>
                                  </p:stCondLst>
                                  <p:childTnLst>
                                    <p:set>
                                      <p:cBhvr>
                                        <p:cTn id="31" dur="1" fill="hold">
                                          <p:stCondLst>
                                            <p:cond delay="0"/>
                                          </p:stCondLst>
                                        </p:cTn>
                                        <p:tgtEl>
                                          <p:spTgt spid="43"/>
                                        </p:tgtEl>
                                        <p:attrNameLst>
                                          <p:attrName>style.visibility</p:attrName>
                                        </p:attrNameLst>
                                      </p:cBhvr>
                                      <p:to>
                                        <p:strVal val="visible"/>
                                      </p:to>
                                    </p:set>
                                    <p:animEffect transition="in" filter="barn(inVertical)">
                                      <p:cBhvr>
                                        <p:cTn id="32" dur="500"/>
                                        <p:tgtEl>
                                          <p:spTgt spid="43"/>
                                        </p:tgtEl>
                                      </p:cBhvr>
                                    </p:animEffect>
                                  </p:childTnLst>
                                </p:cTn>
                              </p:par>
                            </p:childTnLst>
                          </p:cTn>
                        </p:par>
                      </p:childTnLst>
                    </p:cTn>
                  </p:par>
                  <p:par>
                    <p:cTn id="33" fill="hold">
                      <p:stCondLst>
                        <p:cond delay="indefinite"/>
                      </p:stCondLst>
                      <p:childTnLst>
                        <p:par>
                          <p:cTn id="34" fill="hold">
                            <p:stCondLst>
                              <p:cond delay="0"/>
                            </p:stCondLst>
                            <p:childTnLst>
                              <p:par>
                                <p:cTn id="35" presetID="16" presetClass="entr" presetSubtype="21" fill="hold" nodeType="clickEffect">
                                  <p:stCondLst>
                                    <p:cond delay="0"/>
                                  </p:stCondLst>
                                  <p:childTnLst>
                                    <p:set>
                                      <p:cBhvr>
                                        <p:cTn id="36" dur="1" fill="hold">
                                          <p:stCondLst>
                                            <p:cond delay="0"/>
                                          </p:stCondLst>
                                        </p:cTn>
                                        <p:tgtEl>
                                          <p:spTgt spid="45"/>
                                        </p:tgtEl>
                                        <p:attrNameLst>
                                          <p:attrName>style.visibility</p:attrName>
                                        </p:attrNameLst>
                                      </p:cBhvr>
                                      <p:to>
                                        <p:strVal val="visible"/>
                                      </p:to>
                                    </p:set>
                                    <p:animEffect transition="in" filter="barn(inVertical)">
                                      <p:cBhvr>
                                        <p:cTn id="37" dur="500"/>
                                        <p:tgtEl>
                                          <p:spTgt spid="45"/>
                                        </p:tgtEl>
                                      </p:cBhvr>
                                    </p:animEffect>
                                  </p:childTnLst>
                                </p:cTn>
                              </p:par>
                            </p:childTnLst>
                          </p:cTn>
                        </p:par>
                      </p:childTnLst>
                    </p:cTn>
                  </p:par>
                  <p:par>
                    <p:cTn id="38" fill="hold">
                      <p:stCondLst>
                        <p:cond delay="indefinite"/>
                      </p:stCondLst>
                      <p:childTnLst>
                        <p:par>
                          <p:cTn id="39" fill="hold">
                            <p:stCondLst>
                              <p:cond delay="0"/>
                            </p:stCondLst>
                            <p:childTnLst>
                              <p:par>
                                <p:cTn id="40" presetID="16" presetClass="entr" presetSubtype="21" fill="hold" grpId="0" nodeType="clickEffect">
                                  <p:stCondLst>
                                    <p:cond delay="0"/>
                                  </p:stCondLst>
                                  <p:childTnLst>
                                    <p:set>
                                      <p:cBhvr>
                                        <p:cTn id="41" dur="1" fill="hold">
                                          <p:stCondLst>
                                            <p:cond delay="0"/>
                                          </p:stCondLst>
                                        </p:cTn>
                                        <p:tgtEl>
                                          <p:spTgt spid="46"/>
                                        </p:tgtEl>
                                        <p:attrNameLst>
                                          <p:attrName>style.visibility</p:attrName>
                                        </p:attrNameLst>
                                      </p:cBhvr>
                                      <p:to>
                                        <p:strVal val="visible"/>
                                      </p:to>
                                    </p:set>
                                    <p:animEffect transition="in" filter="barn(inVertical)">
                                      <p:cBhvr>
                                        <p:cTn id="42" dur="500"/>
                                        <p:tgtEl>
                                          <p:spTgt spid="46"/>
                                        </p:tgtEl>
                                      </p:cBhvr>
                                    </p:animEffect>
                                  </p:childTnLst>
                                </p:cTn>
                              </p:par>
                            </p:childTnLst>
                          </p:cTn>
                        </p:par>
                      </p:childTnLst>
                    </p:cTn>
                  </p:par>
                  <p:par>
                    <p:cTn id="43" fill="hold">
                      <p:stCondLst>
                        <p:cond delay="indefinite"/>
                      </p:stCondLst>
                      <p:childTnLst>
                        <p:par>
                          <p:cTn id="44" fill="hold">
                            <p:stCondLst>
                              <p:cond delay="0"/>
                            </p:stCondLst>
                            <p:childTnLst>
                              <p:par>
                                <p:cTn id="45" presetID="16" presetClass="entr" presetSubtype="21" fill="hold" nodeType="clickEffect">
                                  <p:stCondLst>
                                    <p:cond delay="0"/>
                                  </p:stCondLst>
                                  <p:childTnLst>
                                    <p:set>
                                      <p:cBhvr>
                                        <p:cTn id="46" dur="1" fill="hold">
                                          <p:stCondLst>
                                            <p:cond delay="0"/>
                                          </p:stCondLst>
                                        </p:cTn>
                                        <p:tgtEl>
                                          <p:spTgt spid="47"/>
                                        </p:tgtEl>
                                        <p:attrNameLst>
                                          <p:attrName>style.visibility</p:attrName>
                                        </p:attrNameLst>
                                      </p:cBhvr>
                                      <p:to>
                                        <p:strVal val="visible"/>
                                      </p:to>
                                    </p:set>
                                    <p:animEffect transition="in" filter="barn(inVertical)">
                                      <p:cBhvr>
                                        <p:cTn id="47" dur="500"/>
                                        <p:tgtEl>
                                          <p:spTgt spid="47"/>
                                        </p:tgtEl>
                                      </p:cBhvr>
                                    </p:animEffect>
                                  </p:childTnLst>
                                </p:cTn>
                              </p:par>
                            </p:childTnLst>
                          </p:cTn>
                        </p:par>
                      </p:childTnLst>
                    </p:cTn>
                  </p:par>
                  <p:par>
                    <p:cTn id="48" fill="hold">
                      <p:stCondLst>
                        <p:cond delay="indefinite"/>
                      </p:stCondLst>
                      <p:childTnLst>
                        <p:par>
                          <p:cTn id="49" fill="hold">
                            <p:stCondLst>
                              <p:cond delay="0"/>
                            </p:stCondLst>
                            <p:childTnLst>
                              <p:par>
                                <p:cTn id="50" presetID="16" presetClass="entr" presetSubtype="21" fill="hold" grpId="0" nodeType="clickEffect">
                                  <p:stCondLst>
                                    <p:cond delay="0"/>
                                  </p:stCondLst>
                                  <p:childTnLst>
                                    <p:set>
                                      <p:cBhvr>
                                        <p:cTn id="51" dur="1" fill="hold">
                                          <p:stCondLst>
                                            <p:cond delay="0"/>
                                          </p:stCondLst>
                                        </p:cTn>
                                        <p:tgtEl>
                                          <p:spTgt spid="49"/>
                                        </p:tgtEl>
                                        <p:attrNameLst>
                                          <p:attrName>style.visibility</p:attrName>
                                        </p:attrNameLst>
                                      </p:cBhvr>
                                      <p:to>
                                        <p:strVal val="visible"/>
                                      </p:to>
                                    </p:set>
                                    <p:animEffect transition="in" filter="barn(inVertical)">
                                      <p:cBhvr>
                                        <p:cTn id="52" dur="5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p:bldP spid="40" grpId="0"/>
      <p:bldP spid="43" grpId="0"/>
      <p:bldP spid="46" grpId="0"/>
      <p:bldP spid="49"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جدول 2">
            <a:extLst>
              <a:ext uri="{FF2B5EF4-FFF2-40B4-BE49-F238E27FC236}">
                <a16:creationId xmlns:a16="http://schemas.microsoft.com/office/drawing/2014/main" id="{89B6AB6C-F3CC-5EAB-CB29-3A5C665D7805}"/>
              </a:ext>
            </a:extLst>
          </p:cNvPr>
          <p:cNvGraphicFramePr>
            <a:graphicFrameLocks noGrp="1"/>
          </p:cNvGraphicFramePr>
          <p:nvPr>
            <p:extLst>
              <p:ext uri="{D42A27DB-BD31-4B8C-83A1-F6EECF244321}">
                <p14:modId xmlns:p14="http://schemas.microsoft.com/office/powerpoint/2010/main" val="3943253255"/>
              </p:ext>
            </p:extLst>
          </p:nvPr>
        </p:nvGraphicFramePr>
        <p:xfrm>
          <a:off x="613430" y="983032"/>
          <a:ext cx="11064930" cy="4937760"/>
        </p:xfrm>
        <a:graphic>
          <a:graphicData uri="http://schemas.openxmlformats.org/drawingml/2006/table">
            <a:tbl>
              <a:tblPr rtl="1" firstRow="1" bandRow="1">
                <a:tableStyleId>{69012ECD-51FC-41F1-AA8D-1B2483CD663E}</a:tableStyleId>
              </a:tblPr>
              <a:tblGrid>
                <a:gridCol w="2617487">
                  <a:extLst>
                    <a:ext uri="{9D8B030D-6E8A-4147-A177-3AD203B41FA5}">
                      <a16:colId xmlns:a16="http://schemas.microsoft.com/office/drawing/2014/main" val="613761669"/>
                    </a:ext>
                  </a:extLst>
                </a:gridCol>
                <a:gridCol w="1559388">
                  <a:extLst>
                    <a:ext uri="{9D8B030D-6E8A-4147-A177-3AD203B41FA5}">
                      <a16:colId xmlns:a16="http://schemas.microsoft.com/office/drawing/2014/main" val="697828213"/>
                    </a:ext>
                  </a:extLst>
                </a:gridCol>
                <a:gridCol w="6888055">
                  <a:extLst>
                    <a:ext uri="{9D8B030D-6E8A-4147-A177-3AD203B41FA5}">
                      <a16:colId xmlns:a16="http://schemas.microsoft.com/office/drawing/2014/main" val="1232613845"/>
                    </a:ext>
                  </a:extLst>
                </a:gridCol>
              </a:tblGrid>
              <a:tr h="297282">
                <a:tc>
                  <a:txBody>
                    <a:bodyPr/>
                    <a:lstStyle/>
                    <a:p>
                      <a:pPr algn="ctr"/>
                      <a:r>
                        <a:rPr lang="ar-SA" sz="2000" b="1" kern="1200" dirty="0">
                          <a:solidFill>
                            <a:schemeClr val="bg1"/>
                          </a:solidFill>
                          <a:latin typeface="Sakkal Majalla" panose="02000000000000000000" pitchFamily="2" charset="-78"/>
                          <a:ea typeface="+mn-ea"/>
                          <a:cs typeface="Sakkal Majalla" panose="02000000000000000000" pitchFamily="2" charset="-78"/>
                        </a:rPr>
                        <a:t>المجال</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1"/>
                      <a:r>
                        <a:rPr lang="ar-SA" sz="2000" b="1" kern="1200" dirty="0">
                          <a:solidFill>
                            <a:schemeClr val="bg1"/>
                          </a:solidFill>
                          <a:latin typeface="Sakkal Majalla" panose="02000000000000000000" pitchFamily="2" charset="-78"/>
                          <a:ea typeface="+mn-ea"/>
                          <a:cs typeface="Sakkal Majalla" panose="02000000000000000000" pitchFamily="2" charset="-78"/>
                        </a:rPr>
                        <a:t>المعيار الرئيسي</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1"/>
                      <a:r>
                        <a:rPr lang="ar-SA" sz="2000" b="1" kern="1200" dirty="0">
                          <a:solidFill>
                            <a:schemeClr val="bg1"/>
                          </a:solidFill>
                          <a:latin typeface="Sakkal Majalla" panose="02000000000000000000" pitchFamily="2" charset="-78"/>
                          <a:ea typeface="+mn-ea"/>
                          <a:cs typeface="Sakkal Majalla" panose="02000000000000000000" pitchFamily="2" charset="-78"/>
                        </a:rPr>
                        <a:t>المعايير الفرعية</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71395868"/>
                  </a:ext>
                </a:extLst>
              </a:tr>
              <a:tr h="2171500">
                <a:tc rowSpan="2">
                  <a: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2800" b="1" i="0" u="sng" strike="noStrike" kern="1200" cap="none" spc="0" normalizeH="0" baseline="0" noProof="0" dirty="0">
                          <a:ln>
                            <a:noFill/>
                          </a:ln>
                          <a:solidFill>
                            <a:srgbClr val="C00000"/>
                          </a:solidFill>
                          <a:effectLst/>
                          <a:uLnTx/>
                          <a:uFillTx/>
                          <a:latin typeface="Sakkal Majalla" panose="02000000000000000000" pitchFamily="2" charset="-78"/>
                          <a:ea typeface="+mn-ea"/>
                          <a:cs typeface="Sakkal Majalla" panose="02000000000000000000" pitchFamily="2" charset="-78"/>
                        </a:rPr>
                        <a:t>التعليم والتعلم (</a:t>
                      </a:r>
                      <a:r>
                        <a:rPr kumimoji="0" lang="en-US" sz="2800" b="1" i="0" u="sng" strike="noStrike" kern="1200" cap="none" spc="0" normalizeH="0" baseline="0" noProof="0" dirty="0">
                          <a:ln>
                            <a:noFill/>
                          </a:ln>
                          <a:solidFill>
                            <a:srgbClr val="C00000"/>
                          </a:solidFill>
                          <a:effectLst/>
                          <a:uLnTx/>
                          <a:uFillTx/>
                          <a:latin typeface="Sakkal Majalla" panose="02000000000000000000" pitchFamily="2" charset="-78"/>
                          <a:ea typeface="+mn-ea"/>
                          <a:cs typeface="Sakkal Majalla" panose="02000000000000000000" pitchFamily="2" charset="-78"/>
                        </a:rPr>
                        <a:t>30 </a:t>
                      </a:r>
                      <a:r>
                        <a:rPr kumimoji="0" lang="ar-SA" sz="2800" b="1" i="0" u="sng" strike="noStrike" kern="1200" cap="none" spc="0" normalizeH="0" baseline="0" noProof="0" dirty="0">
                          <a:ln>
                            <a:noFill/>
                          </a:ln>
                          <a:solidFill>
                            <a:srgbClr val="C00000"/>
                          </a:solidFill>
                          <a:effectLst/>
                          <a:uLnTx/>
                          <a:uFillTx/>
                          <a:latin typeface="Sakkal Majalla" panose="02000000000000000000" pitchFamily="2" charset="-78"/>
                          <a:ea typeface="+mn-ea"/>
                          <a:cs typeface="Sakkal Majalla" panose="02000000000000000000" pitchFamily="2" charset="-78"/>
                        </a:rPr>
                        <a:t>%):</a:t>
                      </a:r>
                      <a:endParaRPr lang="ar-SA" sz="2800" dirty="0">
                        <a:solidFill>
                          <a:schemeClr val="tx1"/>
                        </a:solidFill>
                        <a:latin typeface="Sakkal Majalla" panose="02000000000000000000" pitchFamily="2" charset="-78"/>
                        <a:cs typeface="Sakkal Majalla" panose="02000000000000000000" pitchFamily="2" charset="-78"/>
                      </a:endParaRPr>
                    </a:p>
                    <a:p>
                      <a:pPr algn="justLow" defTabSz="914377" rtl="1" latinLnBrk="0"/>
                      <a:r>
                        <a:rPr lang="ar-SA" sz="2400" dirty="0">
                          <a:solidFill>
                            <a:schemeClr val="tx1"/>
                          </a:solidFill>
                          <a:latin typeface="Sakkal Majalla" panose="02000000000000000000" pitchFamily="2" charset="-78"/>
                          <a:cs typeface="Sakkal Majalla" panose="02000000000000000000" pitchFamily="2" charset="-78"/>
                        </a:rPr>
                        <a:t>ترتكز بيئـة التعلم حـول المتعلم ، وتتنـوع إسـتراتيجيات وأنشـطة التعليم والتعلـم فيها؛ لتلبيـة احتياجـات المتعلمين، وتنميــة قدراتهــم فــي اكتســاب المعــارف والمهــارات وتطبيقهــا وتحليلهــا وتقويمهــا، وتطبيــق أســاليب وأدوات تقويـم متنوعـة وفاعلـة لدعـم تعلمهـم، وتحسـين أدائهـم </a:t>
                      </a:r>
                      <a:endParaRPr lang="ar-SA" sz="2400" b="1" dirty="0">
                        <a:solidFill>
                          <a:schemeClr val="tx1"/>
                        </a:solidFill>
                        <a:latin typeface="Sakkal Majalla" panose="02000000000000000000" pitchFamily="2" charset="-78"/>
                        <a:ea typeface="Samim" panose="020B0603030804020204" pitchFamily="34" charset="0"/>
                        <a:cs typeface="Sakkal Majalla" panose="02000000000000000000" pitchFamily="2" charset="-7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1"/>
                      <a:r>
                        <a:rPr lang="ar-SA" sz="2000" b="1" dirty="0">
                          <a:solidFill>
                            <a:srgbClr val="002060"/>
                          </a:solidFill>
                          <a:latin typeface="Sakkal Majalla" panose="02000000000000000000" pitchFamily="2" charset="-78"/>
                          <a:cs typeface="Sakkal Majalla" panose="02000000000000000000" pitchFamily="2" charset="-78"/>
                        </a:rPr>
                        <a:t>بناء خبرات التعلم</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6213" lvl="0" indent="-176213" algn="r" rtl="1">
                        <a:buFont typeface="+mj-lt"/>
                        <a:buAutoNum type="arabicPeriod"/>
                        <a:tabLst>
                          <a:tab pos="176213" algn="l"/>
                        </a:tabLst>
                      </a:pPr>
                      <a:r>
                        <a:rPr lang="ar-SA" sz="2000" dirty="0">
                          <a:latin typeface="Sakkal Majalla" panose="02000000000000000000" pitchFamily="2" charset="-78"/>
                          <a:cs typeface="Sakkal Majalla" panose="02000000000000000000" pitchFamily="2" charset="-78"/>
                        </a:rPr>
                        <a:t>توفر المدرسة فرصا متكافئة للتعلم تلبي احتياجات المتعلمين ومنهم ذوو الإعاقة والموهوبون.</a:t>
                      </a:r>
                    </a:p>
                    <a:p>
                      <a:pPr marL="176213" lvl="0" indent="-176213" algn="r" rtl="1">
                        <a:buFont typeface="+mj-lt"/>
                        <a:buAutoNum type="arabicPeriod"/>
                        <a:tabLst>
                          <a:tab pos="176213" algn="l"/>
                        </a:tabLst>
                      </a:pPr>
                      <a:r>
                        <a:rPr lang="ar-SA" sz="2000" dirty="0">
                          <a:latin typeface="Sakkal Majalla" panose="02000000000000000000" pitchFamily="2" charset="-78"/>
                          <a:cs typeface="Sakkal Majalla" panose="02000000000000000000" pitchFamily="2" charset="-78"/>
                        </a:rPr>
                        <a:t>تدعم المدرسة تنفيذ المناهج؛ لتحقيق نواتج التعلم المستهدفة وفق الخطة الدراسية.</a:t>
                      </a:r>
                    </a:p>
                    <a:p>
                      <a:pPr marL="176213" lvl="0" indent="-176213" algn="r" rtl="1">
                        <a:buFont typeface="+mj-lt"/>
                        <a:buAutoNum type="arabicPeriod"/>
                        <a:tabLst>
                          <a:tab pos="176213" algn="l"/>
                        </a:tabLst>
                      </a:pPr>
                      <a:r>
                        <a:rPr lang="ar-SA" sz="2000" dirty="0">
                          <a:latin typeface="Sakkal Majalla" panose="02000000000000000000" pitchFamily="2" charset="-78"/>
                          <a:cs typeface="Sakkal Majalla" panose="02000000000000000000" pitchFamily="2" charset="-78"/>
                        </a:rPr>
                        <a:t>تنوع المدرسة في إستراتيجيات التدريس لتلبية احتياجات المتعلمين، ودعم تعلمهم.</a:t>
                      </a:r>
                    </a:p>
                    <a:p>
                      <a:pPr marL="176213" lvl="0" indent="-176213" algn="r" rtl="1">
                        <a:buFont typeface="+mj-lt"/>
                        <a:buAutoNum type="arabicPeriod"/>
                        <a:tabLst>
                          <a:tab pos="176213" algn="l"/>
                        </a:tabLst>
                      </a:pPr>
                      <a:r>
                        <a:rPr lang="ar-SA" sz="2000" dirty="0">
                          <a:latin typeface="Sakkal Majalla" panose="02000000000000000000" pitchFamily="2" charset="-78"/>
                          <a:cs typeface="Sakkal Majalla" panose="02000000000000000000" pitchFamily="2" charset="-78"/>
                        </a:rPr>
                        <a:t>تفعل المدرسة التعلم الإلكتروني؛ لتلبية احتياجات المتعلمين، ودعم تعلمهم.</a:t>
                      </a:r>
                    </a:p>
                    <a:p>
                      <a:pPr marL="176213" lvl="0" indent="-176213" algn="r" rtl="1">
                        <a:buFont typeface="+mj-lt"/>
                        <a:buAutoNum type="arabicPeriod"/>
                        <a:tabLst>
                          <a:tab pos="176213" algn="l"/>
                        </a:tabLst>
                      </a:pPr>
                      <a:r>
                        <a:rPr lang="ar-SA" sz="2000" dirty="0">
                          <a:latin typeface="Sakkal Majalla" panose="02000000000000000000" pitchFamily="2" charset="-78"/>
                          <a:cs typeface="Sakkal Majalla" panose="02000000000000000000" pitchFamily="2" charset="-78"/>
                        </a:rPr>
                        <a:t>توفر المدرسة أنشطة تعلم تطبيقية ترتبط بحياة المتعلمين.</a:t>
                      </a:r>
                    </a:p>
                    <a:p>
                      <a:pPr marL="176213" lvl="0" indent="-176213" algn="r" rtl="1">
                        <a:buFont typeface="+mj-lt"/>
                        <a:buAutoNum type="arabicPeriod"/>
                        <a:tabLst>
                          <a:tab pos="176213" algn="l"/>
                        </a:tabLst>
                      </a:pPr>
                      <a:r>
                        <a:rPr lang="ar-SA" sz="2000" dirty="0">
                          <a:latin typeface="Sakkal Majalla" panose="02000000000000000000" pitchFamily="2" charset="-78"/>
                          <a:cs typeface="Sakkal Majalla" panose="02000000000000000000" pitchFamily="2" charset="-78"/>
                        </a:rPr>
                        <a:t>تنمي المدرسة المهارات القرائية والعددية الأساسية لدى المتعلمين.</a:t>
                      </a:r>
                    </a:p>
                    <a:p>
                      <a:pPr marL="176213" lvl="0" indent="-176213" algn="r" rtl="1">
                        <a:buFont typeface="+mj-lt"/>
                        <a:buAutoNum type="arabicPeriod"/>
                        <a:tabLst>
                          <a:tab pos="176213" algn="l"/>
                        </a:tabLst>
                      </a:pPr>
                      <a:r>
                        <a:rPr lang="ar-SA" sz="2000" dirty="0">
                          <a:latin typeface="Sakkal Majalla" panose="02000000000000000000" pitchFamily="2" charset="-78"/>
                          <a:cs typeface="Sakkal Majalla" panose="02000000000000000000" pitchFamily="2" charset="-78"/>
                        </a:rPr>
                        <a:t>تنمي المدرسة مهارات التفكير العليا لدى المتعلمين.</a:t>
                      </a:r>
                    </a:p>
                    <a:p>
                      <a:pPr marL="176213" lvl="0" indent="-176213" algn="r" rtl="1">
                        <a:buFont typeface="+mj-lt"/>
                        <a:buAutoNum type="arabicPeriod"/>
                        <a:tabLst>
                          <a:tab pos="176213" algn="l"/>
                        </a:tabLst>
                      </a:pPr>
                      <a:r>
                        <a:rPr lang="ar-SA" sz="2000" dirty="0">
                          <a:latin typeface="Sakkal Majalla" panose="02000000000000000000" pitchFamily="2" charset="-78"/>
                          <a:cs typeface="Sakkal Majalla" panose="02000000000000000000" pitchFamily="2" charset="-78"/>
                        </a:rPr>
                        <a:t>تنمي المدرسة المهارات العاطفية والاجتماعية لدى المتعلمين.</a:t>
                      </a:r>
                    </a:p>
                    <a:p>
                      <a:pPr marL="176213" lvl="0" indent="-176213" algn="r" rtl="1">
                        <a:buFont typeface="+mj-lt"/>
                        <a:buAutoNum type="arabicPeriod"/>
                        <a:tabLst>
                          <a:tab pos="176213" algn="l"/>
                        </a:tabLst>
                      </a:pPr>
                      <a:r>
                        <a:rPr lang="ar-SA" sz="2000" dirty="0">
                          <a:latin typeface="Sakkal Majalla" panose="02000000000000000000" pitchFamily="2" charset="-78"/>
                          <a:cs typeface="Sakkal Majalla" panose="02000000000000000000" pitchFamily="2" charset="-78"/>
                        </a:rPr>
                        <a:t>تنمي المدرسة المهارات الرقمية لدى المتعلمين.</a:t>
                      </a:r>
                    </a:p>
                    <a:p>
                      <a:pPr marL="176213" lvl="0" indent="-176213" algn="r" rtl="1">
                        <a:buFont typeface="+mj-lt"/>
                        <a:buAutoNum type="arabicPeriod"/>
                        <a:tabLst>
                          <a:tab pos="176213" algn="l"/>
                        </a:tabLst>
                      </a:pPr>
                      <a:r>
                        <a:rPr lang="ar-SA" sz="2000" dirty="0">
                          <a:latin typeface="Sakkal Majalla" panose="02000000000000000000" pitchFamily="2" charset="-78"/>
                          <a:cs typeface="Sakkal Majalla" panose="02000000000000000000" pitchFamily="2" charset="-78"/>
                        </a:rPr>
                        <a:t>تعزز المدرسة دافعية المتعلمين للتعلم والاستمتاع به</a:t>
                      </a:r>
                      <a:endParaRPr lang="ar-SA" sz="2000" kern="1200" dirty="0">
                        <a:solidFill>
                          <a:schemeClr val="tx1"/>
                        </a:solidFill>
                        <a:latin typeface="Sakkal Majalla" panose="02000000000000000000" pitchFamily="2" charset="-78"/>
                        <a:ea typeface="+mn-ea"/>
                        <a:cs typeface="Sakkal Majalla" panose="02000000000000000000" pitchFamily="2" charset="-7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13350815"/>
                  </a:ext>
                </a:extLst>
              </a:tr>
              <a:tr h="1120774">
                <a:tc vMerge="1">
                  <a:txBody>
                    <a:bodyPr/>
                    <a:lstStyle/>
                    <a:p>
                      <a:pPr algn="ctr" rtl="1"/>
                      <a:endParaRPr lang="ar-SA" sz="1600" dirty="0">
                        <a:latin typeface="Sakkal Majalla" panose="02000000000000000000" pitchFamily="2" charset="-78"/>
                        <a:cs typeface="Sakkal Majalla" panose="02000000000000000000" pitchFamily="2" charset="-7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1"/>
                      <a:r>
                        <a:rPr lang="ar-SA" sz="2000" b="1" dirty="0">
                          <a:solidFill>
                            <a:srgbClr val="002060"/>
                          </a:solidFill>
                          <a:latin typeface="Sakkal Majalla" panose="02000000000000000000" pitchFamily="2" charset="-78"/>
                          <a:cs typeface="Sakkal Majalla" panose="02000000000000000000" pitchFamily="2" charset="-78"/>
                        </a:rPr>
                        <a:t>تقويم التعلم</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6213" lvl="0" indent="-176213" algn="r" defTabSz="914400" rtl="1" eaLnBrk="1" latinLnBrk="0" hangingPunct="1">
                        <a:buFont typeface="+mj-lt"/>
                        <a:buAutoNum type="arabicPeriod"/>
                        <a:tabLst>
                          <a:tab pos="176213" algn="l"/>
                        </a:tabLst>
                      </a:pPr>
                      <a:r>
                        <a:rPr lang="ar-SA" sz="2000" kern="1200" dirty="0">
                          <a:solidFill>
                            <a:schemeClr val="tx1"/>
                          </a:solidFill>
                          <a:latin typeface="Sakkal Majalla" panose="02000000000000000000" pitchFamily="2" charset="-78"/>
                          <a:ea typeface="+mn-ea"/>
                          <a:cs typeface="Sakkal Majalla" panose="02000000000000000000" pitchFamily="2" charset="-78"/>
                        </a:rPr>
                        <a:t>تقوم المدرسة أداء المتعلمين باستخدام أساليب وأدوات تقويم متنوعة وفاعلة.</a:t>
                      </a:r>
                    </a:p>
                    <a:p>
                      <a:pPr marL="176213" lvl="0" indent="-176213" algn="r" defTabSz="914400" rtl="1" eaLnBrk="1" latinLnBrk="0" hangingPunct="1">
                        <a:buFont typeface="+mj-lt"/>
                        <a:buAutoNum type="arabicPeriod"/>
                        <a:tabLst>
                          <a:tab pos="176213" algn="l"/>
                        </a:tabLst>
                      </a:pPr>
                      <a:r>
                        <a:rPr lang="ar-SA" sz="2000" kern="1200" dirty="0">
                          <a:solidFill>
                            <a:schemeClr val="tx1"/>
                          </a:solidFill>
                          <a:latin typeface="Sakkal Majalla" panose="02000000000000000000" pitchFamily="2" charset="-78"/>
                          <a:ea typeface="+mn-ea"/>
                          <a:cs typeface="Sakkal Majalla" panose="02000000000000000000" pitchFamily="2" charset="-78"/>
                        </a:rPr>
                        <a:t>تحلل المدرسة نتائج التقويم وتوظفها في تحسين نواتج التعلم بانتظام.</a:t>
                      </a:r>
                    </a:p>
                    <a:p>
                      <a:pPr marL="176213" lvl="0" indent="-176213" algn="r" defTabSz="914400" rtl="1" eaLnBrk="1" latinLnBrk="0" hangingPunct="1">
                        <a:buFont typeface="+mj-lt"/>
                        <a:buAutoNum type="arabicPeriod"/>
                        <a:tabLst>
                          <a:tab pos="176213" algn="l"/>
                        </a:tabLst>
                      </a:pPr>
                      <a:r>
                        <a:rPr lang="ar-SA" sz="2000" kern="1200" dirty="0">
                          <a:solidFill>
                            <a:schemeClr val="tx1"/>
                          </a:solidFill>
                          <a:latin typeface="Sakkal Majalla" panose="02000000000000000000" pitchFamily="2" charset="-78"/>
                          <a:ea typeface="+mn-ea"/>
                          <a:cs typeface="Sakkal Majalla" panose="02000000000000000000" pitchFamily="2" charset="-78"/>
                        </a:rPr>
                        <a:t>تقدم المدرسة التغذية الراجعة للمتعلمين بانتظام</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35683600"/>
                  </a:ext>
                </a:extLst>
              </a:tr>
            </a:tbl>
          </a:graphicData>
        </a:graphic>
      </p:graphicFrame>
      <p:sp>
        <p:nvSpPr>
          <p:cNvPr id="4" name="Google Shape;1313;p30">
            <a:extLst>
              <a:ext uri="{FF2B5EF4-FFF2-40B4-BE49-F238E27FC236}">
                <a16:creationId xmlns:a16="http://schemas.microsoft.com/office/drawing/2014/main" id="{C60F8935-10A3-74CB-1B2A-825A374055F7}"/>
              </a:ext>
            </a:extLst>
          </p:cNvPr>
          <p:cNvSpPr txBox="1"/>
          <p:nvPr/>
        </p:nvSpPr>
        <p:spPr>
          <a:xfrm>
            <a:off x="2775857" y="220581"/>
            <a:ext cx="6378535" cy="539788"/>
          </a:xfrm>
          <a:prstGeom prst="rect">
            <a:avLst/>
          </a:prstGeom>
          <a:noFill/>
          <a:ln>
            <a:noFill/>
          </a:ln>
        </p:spPr>
        <p:txBody>
          <a:bodyPr spcFirstLastPara="1" wrap="square" lIns="121900" tIns="121900" rIns="121900" bIns="121900" anchor="ctr" anchorCtr="0">
            <a:noAutofit/>
          </a:bodyPr>
          <a:lstStyle/>
          <a:p>
            <a:pPr algn="ctr"/>
            <a:r>
              <a:rPr lang="ar-SA" sz="2400" b="1" kern="0" dirty="0">
                <a:solidFill>
                  <a:srgbClr val="002060"/>
                </a:solidFill>
                <a:latin typeface="Sakkal Majalla" panose="02000000000000000000" pitchFamily="2" charset="-78"/>
                <a:ea typeface="Samim" panose="020B0603030804020204" pitchFamily="34" charset="0"/>
                <a:cs typeface="Sakkal Majalla" panose="02000000000000000000" pitchFamily="2" charset="-78"/>
                <a:sym typeface="Barlow Light"/>
              </a:rPr>
              <a:t>مهام المدرسة ( معايير الأداء المدرسي )- معايير برنامج التقويم المدرسي</a:t>
            </a:r>
            <a:endParaRPr sz="2400" dirty="0">
              <a:solidFill>
                <a:srgbClr val="002060"/>
              </a:solidFill>
              <a:latin typeface="Sakkal Majalla" panose="02000000000000000000" pitchFamily="2" charset="-78"/>
              <a:ea typeface="Samim" panose="020B0603030804020204" pitchFamily="34" charset="0"/>
              <a:cs typeface="Sakkal Majalla" panose="02000000000000000000" pitchFamily="2" charset="-78"/>
              <a:sym typeface="Roboto"/>
            </a:endParaRPr>
          </a:p>
        </p:txBody>
      </p:sp>
    </p:spTree>
    <p:extLst>
      <p:ext uri="{BB962C8B-B14F-4D97-AF65-F5344CB8AC3E}">
        <p14:creationId xmlns:p14="http://schemas.microsoft.com/office/powerpoint/2010/main" val="2879687510"/>
      </p:ext>
    </p:extLst>
  </p:cSld>
  <p:clrMapOvr>
    <a:masterClrMapping/>
  </p:clrMapOvr>
  <mc:AlternateContent xmlns:mc="http://schemas.openxmlformats.org/markup-compatibility/2006" xmlns:p14="http://schemas.microsoft.com/office/powerpoint/2010/main">
    <mc:Choice Requires="p14">
      <p:transition spd="slow" p14:dur="1200">
        <p14:prism dir="r"/>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arn(inVertical)">
                                      <p:cBhvr>
                                        <p:cTn id="7" dur="1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barn(inVertical)">
                                      <p:cBhvr>
                                        <p:cTn id="12" dur="1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جدول 2">
            <a:extLst>
              <a:ext uri="{FF2B5EF4-FFF2-40B4-BE49-F238E27FC236}">
                <a16:creationId xmlns:a16="http://schemas.microsoft.com/office/drawing/2014/main" id="{7EF02F19-D66A-02A5-DC18-5ABF223EE15D}"/>
              </a:ext>
            </a:extLst>
          </p:cNvPr>
          <p:cNvGraphicFramePr>
            <a:graphicFrameLocks noGrp="1"/>
          </p:cNvGraphicFramePr>
          <p:nvPr>
            <p:extLst>
              <p:ext uri="{D42A27DB-BD31-4B8C-83A1-F6EECF244321}">
                <p14:modId xmlns:p14="http://schemas.microsoft.com/office/powerpoint/2010/main" val="3998511173"/>
              </p:ext>
            </p:extLst>
          </p:nvPr>
        </p:nvGraphicFramePr>
        <p:xfrm>
          <a:off x="563535" y="1019544"/>
          <a:ext cx="11064930" cy="5455920"/>
        </p:xfrm>
        <a:graphic>
          <a:graphicData uri="http://schemas.openxmlformats.org/drawingml/2006/table">
            <a:tbl>
              <a:tblPr rtl="1" firstRow="1" bandRow="1">
                <a:tableStyleId>{69012ECD-51FC-41F1-AA8D-1B2483CD663E}</a:tableStyleId>
              </a:tblPr>
              <a:tblGrid>
                <a:gridCol w="2266256">
                  <a:extLst>
                    <a:ext uri="{9D8B030D-6E8A-4147-A177-3AD203B41FA5}">
                      <a16:colId xmlns:a16="http://schemas.microsoft.com/office/drawing/2014/main" val="613761669"/>
                    </a:ext>
                  </a:extLst>
                </a:gridCol>
                <a:gridCol w="1910619">
                  <a:extLst>
                    <a:ext uri="{9D8B030D-6E8A-4147-A177-3AD203B41FA5}">
                      <a16:colId xmlns:a16="http://schemas.microsoft.com/office/drawing/2014/main" val="697828213"/>
                    </a:ext>
                  </a:extLst>
                </a:gridCol>
                <a:gridCol w="6888055">
                  <a:extLst>
                    <a:ext uri="{9D8B030D-6E8A-4147-A177-3AD203B41FA5}">
                      <a16:colId xmlns:a16="http://schemas.microsoft.com/office/drawing/2014/main" val="1232613845"/>
                    </a:ext>
                  </a:extLst>
                </a:gridCol>
              </a:tblGrid>
              <a:tr h="297282">
                <a:tc>
                  <a:txBody>
                    <a:bodyPr/>
                    <a:lstStyle/>
                    <a:p>
                      <a:pPr algn="ctr"/>
                      <a:r>
                        <a:rPr lang="ar-SA" sz="2000" b="1" kern="1200" dirty="0">
                          <a:solidFill>
                            <a:schemeClr val="bg1"/>
                          </a:solidFill>
                          <a:latin typeface="Sakkal Majalla" panose="02000000000000000000" pitchFamily="2" charset="-78"/>
                          <a:ea typeface="+mn-ea"/>
                          <a:cs typeface="Sakkal Majalla" panose="02000000000000000000" pitchFamily="2" charset="-78"/>
                        </a:rPr>
                        <a:t>المجال</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1"/>
                      <a:r>
                        <a:rPr lang="ar-SA" sz="2000" b="1" kern="1200" dirty="0">
                          <a:solidFill>
                            <a:schemeClr val="bg1"/>
                          </a:solidFill>
                          <a:latin typeface="Sakkal Majalla" panose="02000000000000000000" pitchFamily="2" charset="-78"/>
                          <a:ea typeface="+mn-ea"/>
                          <a:cs typeface="Sakkal Majalla" panose="02000000000000000000" pitchFamily="2" charset="-78"/>
                        </a:rPr>
                        <a:t>المعيار الرئيسي</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1"/>
                      <a:r>
                        <a:rPr lang="ar-SA" sz="2000" b="1" kern="1200" dirty="0">
                          <a:solidFill>
                            <a:schemeClr val="bg1"/>
                          </a:solidFill>
                          <a:latin typeface="Sakkal Majalla" panose="02000000000000000000" pitchFamily="2" charset="-78"/>
                          <a:ea typeface="+mn-ea"/>
                          <a:cs typeface="Sakkal Majalla" panose="02000000000000000000" pitchFamily="2" charset="-78"/>
                        </a:rPr>
                        <a:t>المعايير الفرعية</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71395868"/>
                  </a:ext>
                </a:extLst>
              </a:tr>
              <a:tr h="2171500">
                <a:tc rowSpan="2">
                  <a:txBody>
                    <a:bodyPr/>
                    <a:lstStyle/>
                    <a:p>
                      <a:pPr marL="0" marR="0" lvl="0" indent="0" algn="ctr" defTabSz="914377" rtl="1" eaLnBrk="1" fontAlgn="auto" latinLnBrk="0" hangingPunct="1">
                        <a:lnSpc>
                          <a:spcPct val="100000"/>
                        </a:lnSpc>
                        <a:spcBef>
                          <a:spcPts val="0"/>
                        </a:spcBef>
                        <a:spcAft>
                          <a:spcPts val="0"/>
                        </a:spcAft>
                        <a:buClrTx/>
                        <a:buSzTx/>
                        <a:buFontTx/>
                        <a:buNone/>
                        <a:tabLst/>
                        <a:defRPr/>
                      </a:pPr>
                      <a:r>
                        <a:rPr kumimoji="0" lang="ar-SA" sz="2400" b="1" i="0" u="sng" strike="noStrike" kern="1200" cap="none" spc="0" normalizeH="0" baseline="0" noProof="0" dirty="0">
                          <a:ln>
                            <a:noFill/>
                          </a:ln>
                          <a:solidFill>
                            <a:srgbClr val="C00000"/>
                          </a:solidFill>
                          <a:effectLst/>
                          <a:uLnTx/>
                          <a:uFillTx/>
                          <a:latin typeface="Sakkal Majalla" panose="02000000000000000000" pitchFamily="2" charset="-78"/>
                          <a:cs typeface="Sakkal Majalla" panose="02000000000000000000" pitchFamily="2" charset="-78"/>
                        </a:rPr>
                        <a:t>نواتج التعلم (</a:t>
                      </a:r>
                      <a:r>
                        <a:rPr kumimoji="0" lang="en-US" sz="2400" b="1" i="0" u="sng" strike="noStrike" kern="1200" cap="none" spc="0" normalizeH="0" baseline="0" noProof="0" dirty="0">
                          <a:ln>
                            <a:noFill/>
                          </a:ln>
                          <a:solidFill>
                            <a:srgbClr val="C00000"/>
                          </a:solidFill>
                          <a:effectLst/>
                          <a:uLnTx/>
                          <a:uFillTx/>
                          <a:latin typeface="Sakkal Majalla" panose="02000000000000000000" pitchFamily="2" charset="-78"/>
                          <a:cs typeface="Sakkal Majalla" panose="02000000000000000000" pitchFamily="2" charset="-78"/>
                        </a:rPr>
                        <a:t> (%40</a:t>
                      </a:r>
                      <a:r>
                        <a:rPr kumimoji="0" lang="ar-SA" sz="2400" b="1" i="0" u="sng" strike="noStrike" kern="1200" cap="none" spc="0" normalizeH="0" baseline="0" noProof="0" dirty="0">
                          <a:ln>
                            <a:noFill/>
                          </a:ln>
                          <a:solidFill>
                            <a:srgbClr val="C00000"/>
                          </a:solidFill>
                          <a:effectLst/>
                          <a:uLnTx/>
                          <a:uFillTx/>
                          <a:latin typeface="Sakkal Majalla" panose="02000000000000000000" pitchFamily="2" charset="-78"/>
                          <a:cs typeface="Sakkal Majalla" panose="02000000000000000000" pitchFamily="2" charset="-78"/>
                        </a:rPr>
                        <a:t>:</a:t>
                      </a:r>
                    </a:p>
                    <a:p>
                      <a:pPr marL="0" marR="0" lvl="0" indent="0" algn="justLow" defTabSz="914377" rtl="1" eaLnBrk="1" fontAlgn="auto" latinLnBrk="0" hangingPunct="1">
                        <a:lnSpc>
                          <a:spcPct val="100000"/>
                        </a:lnSpc>
                        <a:spcBef>
                          <a:spcPts val="0"/>
                        </a:spcBef>
                        <a:spcAft>
                          <a:spcPts val="0"/>
                        </a:spcAft>
                        <a:buClrTx/>
                        <a:buSzTx/>
                        <a:buFontTx/>
                        <a:buNone/>
                        <a:tabLst/>
                        <a:defRPr/>
                      </a:pPr>
                      <a:r>
                        <a:rPr kumimoji="0" lang="ar-SA" sz="2400" b="0" i="0" u="none" strike="noStrike" kern="1200" cap="none" spc="0" normalizeH="0" baseline="0" noProof="0" dirty="0">
                          <a:ln>
                            <a:noFill/>
                          </a:ln>
                          <a:solidFill>
                            <a:schemeClr val="tx1"/>
                          </a:solidFill>
                          <a:effectLst/>
                          <a:uLnTx/>
                          <a:uFillTx/>
                          <a:latin typeface="Sakkal Majalla" panose="02000000000000000000" pitchFamily="2" charset="-78"/>
                          <a:cs typeface="Sakkal Majalla" panose="02000000000000000000" pitchFamily="2" charset="-78"/>
                        </a:rPr>
                        <a:t>تمثــل نواتــج التعلــم المعــارف والمهــارات والاتجاهــات والقيــم المتوقــع تحقيقهــا لــدى المتعلميــن نتيجــة مرورهــم بخبــرات تربويــة مخطــط لهــا وترتبــط بالتحصيــل التعليمــي والتطــور الشــخصي والصحــي والاجتماعــي</a:t>
                      </a:r>
                      <a:endParaRPr kumimoji="0" lang="ar-SA" sz="2400" b="1" i="0" u="none" strike="noStrike" kern="1200" cap="none" spc="0" normalizeH="0" baseline="0" noProof="0" dirty="0">
                        <a:ln>
                          <a:noFill/>
                        </a:ln>
                        <a:solidFill>
                          <a:schemeClr val="tx1"/>
                        </a:solidFill>
                        <a:effectLst/>
                        <a:uLnTx/>
                        <a:uFillTx/>
                        <a:latin typeface="Sakkal Majalla" panose="02000000000000000000" pitchFamily="2" charset="-78"/>
                        <a:ea typeface="Samim" panose="020B0603030804020204" pitchFamily="34" charset="0"/>
                        <a:cs typeface="Sakkal Majalla" panose="02000000000000000000" pitchFamily="2" charset="-7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1"/>
                      <a:r>
                        <a:rPr lang="ar-SA" sz="2000" b="1" dirty="0">
                          <a:solidFill>
                            <a:srgbClr val="002060"/>
                          </a:solidFill>
                          <a:latin typeface="Sakkal Majalla" panose="02000000000000000000" pitchFamily="2" charset="-78"/>
                          <a:cs typeface="Sakkal Majalla" panose="02000000000000000000" pitchFamily="2" charset="-78"/>
                        </a:rPr>
                        <a:t>التحصيل التعليمي</a:t>
                      </a:r>
                    </a:p>
                    <a:p>
                      <a:pPr algn="ctr" rtl="1"/>
                      <a:r>
                        <a:rPr lang="ar-SA" sz="2000" b="1" dirty="0">
                          <a:solidFill>
                            <a:srgbClr val="002060"/>
                          </a:solidFill>
                          <a:latin typeface="Sakkal Majalla" panose="02000000000000000000" pitchFamily="2" charset="-78"/>
                          <a:cs typeface="Sakkal Majalla" panose="02000000000000000000" pitchFamily="2" charset="-78"/>
                        </a:rPr>
                        <a:t>( العلوم والرياضيات واللغة العربية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6213" lvl="0" indent="-176213" algn="r" rtl="1">
                        <a:buFont typeface="+mj-lt"/>
                        <a:buAutoNum type="arabicPeriod"/>
                        <a:tabLst>
                          <a:tab pos="176213" algn="l"/>
                        </a:tabLst>
                      </a:pPr>
                      <a:r>
                        <a:rPr lang="ar-SA" sz="2000" dirty="0">
                          <a:latin typeface="Sakkal Majalla" panose="02000000000000000000" pitchFamily="2" charset="-78"/>
                          <a:cs typeface="Sakkal Majalla" panose="02000000000000000000" pitchFamily="2" charset="-78"/>
                        </a:rPr>
                        <a:t>يحقق المتعلمون نتائج متقدمة في مجال القراءة وفقً ا للاختبارات الوطنية.</a:t>
                      </a:r>
                    </a:p>
                    <a:p>
                      <a:pPr marL="176213" lvl="0" indent="-176213" algn="r" rtl="1">
                        <a:buFont typeface="+mj-lt"/>
                        <a:buAutoNum type="arabicPeriod"/>
                        <a:tabLst>
                          <a:tab pos="176213" algn="l"/>
                        </a:tabLst>
                      </a:pPr>
                      <a:r>
                        <a:rPr lang="ar-SA" sz="2000" dirty="0">
                          <a:latin typeface="Sakkal Majalla" panose="02000000000000000000" pitchFamily="2" charset="-78"/>
                          <a:cs typeface="Sakkal Majalla" panose="02000000000000000000" pitchFamily="2" charset="-78"/>
                        </a:rPr>
                        <a:t>يحقق المتعلمون نتائج متقدمة في مجال الرياضيات وفقً ا للاختبارات الوطنية.</a:t>
                      </a:r>
                    </a:p>
                    <a:p>
                      <a:pPr marL="176213" lvl="0" indent="-176213" algn="r" rtl="1">
                        <a:buFont typeface="+mj-lt"/>
                        <a:buAutoNum type="arabicPeriod"/>
                        <a:tabLst>
                          <a:tab pos="176213" algn="l"/>
                        </a:tabLst>
                      </a:pPr>
                      <a:r>
                        <a:rPr lang="ar-SA" sz="2000" dirty="0">
                          <a:latin typeface="Sakkal Majalla" panose="02000000000000000000" pitchFamily="2" charset="-78"/>
                          <a:cs typeface="Sakkal Majalla" panose="02000000000000000000" pitchFamily="2" charset="-78"/>
                        </a:rPr>
                        <a:t>يحقق المتعلمون نتائج متقدمة في مجال العلوم وفقً ا للاختبارات الوطنية.</a:t>
                      </a:r>
                    </a:p>
                    <a:p>
                      <a:pPr marL="176213" lvl="0" indent="-176213" algn="r" rtl="1">
                        <a:buFont typeface="+mj-lt"/>
                        <a:buAutoNum type="arabicPeriod"/>
                        <a:tabLst>
                          <a:tab pos="176213" algn="l"/>
                        </a:tabLst>
                      </a:pPr>
                      <a:r>
                        <a:rPr lang="ar-SA" sz="2000" dirty="0">
                          <a:latin typeface="Sakkal Majalla" panose="02000000000000000000" pitchFamily="2" charset="-78"/>
                          <a:cs typeface="Sakkal Majalla" panose="02000000000000000000" pitchFamily="2" charset="-78"/>
                        </a:rPr>
                        <a:t>يحقق المتعلمون تقدماً في مجال القراءة قياسا على مستوى أداء المدرسة السابق في الاختبارات الوطنية.</a:t>
                      </a:r>
                    </a:p>
                    <a:p>
                      <a:pPr marL="176213" lvl="0" indent="-176213" algn="r" rtl="1">
                        <a:buFont typeface="+mj-lt"/>
                        <a:buAutoNum type="arabicPeriod"/>
                        <a:tabLst>
                          <a:tab pos="176213" algn="l"/>
                        </a:tabLst>
                      </a:pPr>
                      <a:r>
                        <a:rPr lang="ar-SA" sz="2000" dirty="0">
                          <a:latin typeface="Sakkal Majalla" panose="02000000000000000000" pitchFamily="2" charset="-78"/>
                          <a:cs typeface="Sakkal Majalla" panose="02000000000000000000" pitchFamily="2" charset="-78"/>
                        </a:rPr>
                        <a:t>يحقق المتعلمون تقدماً ً في مجال الرياضيات قياسا على مستوى أداء المدرسة السابق في الاختبارات الوطنية.</a:t>
                      </a:r>
                    </a:p>
                    <a:p>
                      <a:pPr marL="176213" lvl="0" indent="-176213" algn="r" rtl="1">
                        <a:buFont typeface="+mj-lt"/>
                        <a:buAutoNum type="arabicPeriod"/>
                        <a:tabLst>
                          <a:tab pos="176213" algn="l"/>
                        </a:tabLst>
                      </a:pPr>
                      <a:r>
                        <a:rPr lang="ar-SA" sz="2000" dirty="0">
                          <a:latin typeface="Sakkal Majalla" panose="02000000000000000000" pitchFamily="2" charset="-78"/>
                          <a:cs typeface="Sakkal Majalla" panose="02000000000000000000" pitchFamily="2" charset="-78"/>
                        </a:rPr>
                        <a:t>يحقق المتعلمون تقدماً في مجال العلوم قياسا على مستوى أداء المدرسة السابق في الاختبارات الوطنية</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13350815"/>
                  </a:ext>
                </a:extLst>
              </a:tr>
              <a:tr h="1120774">
                <a:tc vMerge="1">
                  <a:txBody>
                    <a:bodyPr/>
                    <a:lstStyle/>
                    <a:p>
                      <a:pPr algn="ctr" rtl="1"/>
                      <a:endParaRPr lang="ar-SA" sz="1600" dirty="0">
                        <a:latin typeface="Sakkal Majalla" panose="02000000000000000000" pitchFamily="2" charset="-78"/>
                        <a:cs typeface="Sakkal Majalla" panose="02000000000000000000" pitchFamily="2" charset="-7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1"/>
                      <a:r>
                        <a:rPr lang="ar-SA" sz="2000" b="1" dirty="0">
                          <a:solidFill>
                            <a:srgbClr val="002060"/>
                          </a:solidFill>
                          <a:latin typeface="Sakkal Majalla" panose="02000000000000000000" pitchFamily="2" charset="-78"/>
                          <a:cs typeface="Sakkal Majalla" panose="02000000000000000000" pitchFamily="2" charset="-78"/>
                        </a:rPr>
                        <a:t>الــتــطــور الــشـخــصــي</a:t>
                      </a:r>
                    </a:p>
                    <a:p>
                      <a:pPr algn="ctr" rtl="1"/>
                      <a:r>
                        <a:rPr lang="ar-SA" sz="2000" b="1" dirty="0">
                          <a:solidFill>
                            <a:srgbClr val="002060"/>
                          </a:solidFill>
                          <a:latin typeface="Sakkal Majalla" panose="02000000000000000000" pitchFamily="2" charset="-78"/>
                          <a:cs typeface="Sakkal Majalla" panose="02000000000000000000" pitchFamily="2" charset="-78"/>
                        </a:rPr>
                        <a:t>والصحي والاجتماعي</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6213" lvl="0" indent="-176213" algn="r" defTabSz="914400" rtl="1" eaLnBrk="1" latinLnBrk="0" hangingPunct="1">
                        <a:buFont typeface="+mj-lt"/>
                        <a:buAutoNum type="arabicPeriod"/>
                        <a:tabLst>
                          <a:tab pos="176213" algn="l"/>
                        </a:tabLst>
                      </a:pPr>
                      <a:r>
                        <a:rPr lang="ar-SA" sz="2000" kern="1200" dirty="0">
                          <a:solidFill>
                            <a:schemeClr val="tx1"/>
                          </a:solidFill>
                          <a:latin typeface="Sakkal Majalla" panose="02000000000000000000" pitchFamily="2" charset="-78"/>
                          <a:ea typeface="+mn-ea"/>
                          <a:cs typeface="Sakkal Majalla" panose="02000000000000000000" pitchFamily="2" charset="-78"/>
                        </a:rPr>
                        <a:t>يظهر المتعلمون الاعتزاز بالقيم والهوية الوطنية.</a:t>
                      </a:r>
                    </a:p>
                    <a:p>
                      <a:pPr marL="176213" lvl="0" indent="-176213" algn="r" defTabSz="914400" rtl="1" eaLnBrk="1" latinLnBrk="0" hangingPunct="1">
                        <a:buFont typeface="+mj-lt"/>
                        <a:buAutoNum type="arabicPeriod"/>
                        <a:tabLst>
                          <a:tab pos="176213" algn="l"/>
                        </a:tabLst>
                      </a:pPr>
                      <a:r>
                        <a:rPr lang="ar-SA" sz="2000" kern="1200" dirty="0">
                          <a:solidFill>
                            <a:schemeClr val="tx1"/>
                          </a:solidFill>
                          <a:latin typeface="Sakkal Majalla" panose="02000000000000000000" pitchFamily="2" charset="-78"/>
                          <a:ea typeface="+mn-ea"/>
                          <a:cs typeface="Sakkal Majalla" panose="02000000000000000000" pitchFamily="2" charset="-78"/>
                        </a:rPr>
                        <a:t>يظهر المتعلمون اتجاهات إيجابية نحو ذواتهم.</a:t>
                      </a:r>
                    </a:p>
                    <a:p>
                      <a:pPr marL="176213" lvl="0" indent="-176213" algn="r" defTabSz="914400" rtl="1" eaLnBrk="1" latinLnBrk="0" hangingPunct="1">
                        <a:buFont typeface="+mj-lt"/>
                        <a:buAutoNum type="arabicPeriod"/>
                        <a:tabLst>
                          <a:tab pos="176213" algn="l"/>
                        </a:tabLst>
                      </a:pPr>
                      <a:r>
                        <a:rPr lang="ar-SA" sz="2000" kern="1200" dirty="0">
                          <a:solidFill>
                            <a:schemeClr val="tx1"/>
                          </a:solidFill>
                          <a:latin typeface="Sakkal Majalla" panose="02000000000000000000" pitchFamily="2" charset="-78"/>
                          <a:ea typeface="+mn-ea"/>
                          <a:cs typeface="Sakkal Majalla" panose="02000000000000000000" pitchFamily="2" charset="-78"/>
                        </a:rPr>
                        <a:t>يظهر المتعلمون التزاما بالممارسات الصحية السليمة.</a:t>
                      </a:r>
                    </a:p>
                    <a:p>
                      <a:pPr marL="176213" lvl="0" indent="-176213" algn="r" defTabSz="914400" rtl="1" eaLnBrk="1" latinLnBrk="0" hangingPunct="1">
                        <a:buFont typeface="+mj-lt"/>
                        <a:buAutoNum type="arabicPeriod"/>
                        <a:tabLst>
                          <a:tab pos="176213" algn="l"/>
                        </a:tabLst>
                      </a:pPr>
                      <a:r>
                        <a:rPr lang="ar-SA" sz="2000" kern="1200" dirty="0">
                          <a:solidFill>
                            <a:schemeClr val="tx1"/>
                          </a:solidFill>
                          <a:latin typeface="Sakkal Majalla" panose="02000000000000000000" pitchFamily="2" charset="-78"/>
                          <a:ea typeface="+mn-ea"/>
                          <a:cs typeface="Sakkal Majalla" panose="02000000000000000000" pitchFamily="2" charset="-78"/>
                        </a:rPr>
                        <a:t>يشارك  المتعلمون في الأنشطة المجتمعية والأعمال التطوعية.</a:t>
                      </a:r>
                    </a:p>
                    <a:p>
                      <a:pPr marL="176213" lvl="0" indent="-176213" algn="r" defTabSz="914400" rtl="1" eaLnBrk="1" latinLnBrk="0" hangingPunct="1">
                        <a:buFont typeface="+mj-lt"/>
                        <a:buAutoNum type="arabicPeriod"/>
                        <a:tabLst>
                          <a:tab pos="176213" algn="l"/>
                        </a:tabLst>
                      </a:pPr>
                      <a:r>
                        <a:rPr lang="ar-SA" sz="2000" kern="1200" dirty="0">
                          <a:solidFill>
                            <a:schemeClr val="tx1"/>
                          </a:solidFill>
                          <a:latin typeface="Sakkal Majalla" panose="02000000000000000000" pitchFamily="2" charset="-78"/>
                          <a:ea typeface="+mn-ea"/>
                          <a:cs typeface="Sakkal Majalla" panose="02000000000000000000" pitchFamily="2" charset="-78"/>
                        </a:rPr>
                        <a:t>يلتزم المتعلمون بقواعد السلوك والانضباط المدرسي.</a:t>
                      </a:r>
                    </a:p>
                    <a:p>
                      <a:pPr marL="176213" lvl="0" indent="-176213" algn="r" defTabSz="914400" rtl="1" eaLnBrk="1" latinLnBrk="0" hangingPunct="1">
                        <a:buFont typeface="+mj-lt"/>
                        <a:buAutoNum type="arabicPeriod"/>
                        <a:tabLst>
                          <a:tab pos="176213" algn="l"/>
                        </a:tabLst>
                      </a:pPr>
                      <a:r>
                        <a:rPr lang="ar-SA" sz="2000" kern="1200" dirty="0">
                          <a:solidFill>
                            <a:schemeClr val="tx1"/>
                          </a:solidFill>
                          <a:latin typeface="Sakkal Majalla" panose="02000000000000000000" pitchFamily="2" charset="-78"/>
                          <a:ea typeface="+mn-ea"/>
                          <a:cs typeface="Sakkal Majalla" panose="02000000000000000000" pitchFamily="2" charset="-78"/>
                        </a:rPr>
                        <a:t>يظهر المتعلمون القدرة على البحث والتعلم الذاتي.</a:t>
                      </a:r>
                    </a:p>
                    <a:p>
                      <a:pPr marL="176213" lvl="0" indent="-176213" algn="r" defTabSz="914400" rtl="1" eaLnBrk="1" latinLnBrk="0" hangingPunct="1">
                        <a:buFont typeface="+mj-lt"/>
                        <a:buAutoNum type="arabicPeriod"/>
                        <a:tabLst>
                          <a:tab pos="176213" algn="l"/>
                        </a:tabLst>
                      </a:pPr>
                      <a:r>
                        <a:rPr lang="ar-SA" sz="2000" kern="1200" dirty="0">
                          <a:solidFill>
                            <a:schemeClr val="tx1"/>
                          </a:solidFill>
                          <a:latin typeface="Sakkal Majalla" panose="02000000000000000000" pitchFamily="2" charset="-78"/>
                          <a:ea typeface="+mn-ea"/>
                          <a:cs typeface="Sakkal Majalla" panose="02000000000000000000" pitchFamily="2" charset="-78"/>
                        </a:rPr>
                        <a:t>يظهر المتعلمون اعتزازً ا بثقافتهم واحتراما للتنوع الثقافي في المجتمع</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35683600"/>
                  </a:ext>
                </a:extLst>
              </a:tr>
            </a:tbl>
          </a:graphicData>
        </a:graphic>
      </p:graphicFrame>
      <p:sp>
        <p:nvSpPr>
          <p:cNvPr id="4" name="Google Shape;1313;p30">
            <a:extLst>
              <a:ext uri="{FF2B5EF4-FFF2-40B4-BE49-F238E27FC236}">
                <a16:creationId xmlns:a16="http://schemas.microsoft.com/office/drawing/2014/main" id="{A3A4E573-B7A6-9D65-9C8D-C99348D134BE}"/>
              </a:ext>
            </a:extLst>
          </p:cNvPr>
          <p:cNvSpPr txBox="1"/>
          <p:nvPr/>
        </p:nvSpPr>
        <p:spPr>
          <a:xfrm>
            <a:off x="2677886" y="438790"/>
            <a:ext cx="6403769" cy="539788"/>
          </a:xfrm>
          <a:prstGeom prst="rect">
            <a:avLst/>
          </a:prstGeom>
          <a:noFill/>
          <a:ln>
            <a:noFill/>
          </a:ln>
        </p:spPr>
        <p:txBody>
          <a:bodyPr spcFirstLastPara="1" wrap="square" lIns="121900" tIns="121900" rIns="121900" bIns="121900" anchor="ctr" anchorCtr="0">
            <a:noAutofit/>
          </a:bodyPr>
          <a:lstStyle/>
          <a:p>
            <a:pPr algn="ctr"/>
            <a:r>
              <a:rPr lang="ar-SA" sz="2400" b="1" kern="0" dirty="0">
                <a:solidFill>
                  <a:srgbClr val="002060"/>
                </a:solidFill>
                <a:latin typeface="Sakkal Majalla" panose="02000000000000000000" pitchFamily="2" charset="-78"/>
                <a:ea typeface="Samim" panose="020B0603030804020204" pitchFamily="34" charset="0"/>
                <a:cs typeface="Sakkal Majalla" panose="02000000000000000000" pitchFamily="2" charset="-78"/>
                <a:sym typeface="Barlow Light"/>
              </a:rPr>
              <a:t>مهام المدرسة ( معايير الأداء المدرسي )- معايير برنامج التقويم المدرسي</a:t>
            </a:r>
          </a:p>
        </p:txBody>
      </p:sp>
    </p:spTree>
    <p:extLst>
      <p:ext uri="{BB962C8B-B14F-4D97-AF65-F5344CB8AC3E}">
        <p14:creationId xmlns:p14="http://schemas.microsoft.com/office/powerpoint/2010/main" val="2753778530"/>
      </p:ext>
    </p:extLst>
  </p:cSld>
  <p:clrMapOvr>
    <a:masterClrMapping/>
  </p:clrMapOvr>
  <mc:AlternateContent xmlns:mc="http://schemas.openxmlformats.org/markup-compatibility/2006" xmlns:p14="http://schemas.microsoft.com/office/powerpoint/2010/main">
    <mc:Choice Requires="p14">
      <p:transition spd="slow" p14:dur="1200">
        <p14:prism dir="r"/>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arn(inVertical)">
                                      <p:cBhvr>
                                        <p:cTn id="7" dur="1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barn(inVertical)">
                                      <p:cBhvr>
                                        <p:cTn id="12" dur="1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Google Shape;910;p31">
            <a:extLst>
              <a:ext uri="{FF2B5EF4-FFF2-40B4-BE49-F238E27FC236}">
                <a16:creationId xmlns:a16="http://schemas.microsoft.com/office/drawing/2014/main" id="{B2A6BF9A-C9A0-9D39-5D9F-0EA743E86555}"/>
              </a:ext>
            </a:extLst>
          </p:cNvPr>
          <p:cNvSpPr txBox="1"/>
          <p:nvPr/>
        </p:nvSpPr>
        <p:spPr>
          <a:xfrm>
            <a:off x="6335384" y="2481930"/>
            <a:ext cx="2159007" cy="942763"/>
          </a:xfrm>
          <a:prstGeom prst="rect">
            <a:avLst/>
          </a:prstGeom>
          <a:solidFill>
            <a:srgbClr val="00B050"/>
          </a:solidFill>
          <a:ln w="9525" cap="flat" cmpd="sng">
            <a:solidFill>
              <a:srgbClr val="00B050"/>
            </a:solidFill>
            <a:prstDash val="solid"/>
            <a:round/>
            <a:headEnd type="none" w="sm" len="sm"/>
            <a:tailEnd type="none" w="sm" len="sm"/>
          </a:ln>
        </p:spPr>
        <p:txBody>
          <a:bodyPr spcFirstLastPara="1" wrap="square" lIns="121900" tIns="121900" rIns="121900" bIns="121900" anchor="ctr" anchorCtr="0">
            <a:noAutofit/>
          </a:bodyPr>
          <a:lstStyle/>
          <a:p>
            <a:pPr algn="ctr" defTabSz="914276" latinLnBrk="1">
              <a:buClr>
                <a:srgbClr val="CB1B4A"/>
              </a:buClr>
            </a:pPr>
            <a:endParaRPr lang="ar-SA" sz="2400" b="1" dirty="0">
              <a:solidFill>
                <a:prstClr val="white"/>
              </a:solidFill>
              <a:latin typeface="Sakkal Majalla" panose="02000000000000000000" pitchFamily="2" charset="-78"/>
              <a:ea typeface="Samim" panose="020B0603030804020204" pitchFamily="34" charset="0"/>
              <a:cs typeface="Sakkal Majalla" panose="02000000000000000000" pitchFamily="2" charset="-78"/>
              <a:sym typeface="Titillium Web"/>
            </a:endParaRPr>
          </a:p>
        </p:txBody>
      </p:sp>
      <p:sp>
        <p:nvSpPr>
          <p:cNvPr id="3" name="Google Shape;911;p31">
            <a:extLst>
              <a:ext uri="{FF2B5EF4-FFF2-40B4-BE49-F238E27FC236}">
                <a16:creationId xmlns:a16="http://schemas.microsoft.com/office/drawing/2014/main" id="{8048FB0E-CBE4-2CC4-68A3-1AF7264687A9}"/>
              </a:ext>
            </a:extLst>
          </p:cNvPr>
          <p:cNvSpPr txBox="1"/>
          <p:nvPr/>
        </p:nvSpPr>
        <p:spPr>
          <a:xfrm>
            <a:off x="8494390" y="2481930"/>
            <a:ext cx="1238859" cy="942763"/>
          </a:xfrm>
          <a:prstGeom prst="rect">
            <a:avLst/>
          </a:prstGeom>
          <a:noFill/>
          <a:ln w="9525" cap="flat" cmpd="sng">
            <a:solidFill>
              <a:srgbClr val="00B050"/>
            </a:solidFill>
            <a:prstDash val="solid"/>
            <a:round/>
            <a:headEnd type="none" w="sm" len="sm"/>
            <a:tailEnd type="none" w="sm" len="sm"/>
          </a:ln>
        </p:spPr>
        <p:txBody>
          <a:bodyPr spcFirstLastPara="1" wrap="square" lIns="60933" tIns="60933" rIns="60933" bIns="0" anchor="ctr" anchorCtr="0">
            <a:noAutofit/>
          </a:bodyPr>
          <a:lstStyle/>
          <a:p>
            <a:pPr algn="ctr" defTabSz="1219140">
              <a:defRPr/>
            </a:pPr>
            <a:r>
              <a:rPr lang="ar-SA" sz="2800" b="1" kern="0" dirty="0">
                <a:solidFill>
                  <a:srgbClr val="00B050"/>
                </a:solidFill>
                <a:latin typeface="Sakkal Majalla" panose="02000000000000000000" pitchFamily="2" charset="-78"/>
                <a:ea typeface="Samim" panose="020B0603030804020204" pitchFamily="34" charset="0"/>
                <a:cs typeface="Sakkal Majalla" panose="02000000000000000000" pitchFamily="2" charset="-78"/>
                <a:sym typeface="Quicksand"/>
              </a:rPr>
              <a:t>التميز</a:t>
            </a:r>
            <a:endParaRPr sz="2400" b="1" kern="0" dirty="0">
              <a:solidFill>
                <a:srgbClr val="00B050"/>
              </a:solidFill>
              <a:latin typeface="Sakkal Majalla" panose="02000000000000000000" pitchFamily="2" charset="-78"/>
              <a:ea typeface="Samim" panose="020B0603030804020204" pitchFamily="34" charset="0"/>
              <a:cs typeface="Sakkal Majalla" panose="02000000000000000000" pitchFamily="2" charset="-78"/>
              <a:sym typeface="Quicksand"/>
            </a:endParaRPr>
          </a:p>
        </p:txBody>
      </p:sp>
      <p:sp>
        <p:nvSpPr>
          <p:cNvPr id="4" name="Google Shape;910;p31">
            <a:extLst>
              <a:ext uri="{FF2B5EF4-FFF2-40B4-BE49-F238E27FC236}">
                <a16:creationId xmlns:a16="http://schemas.microsoft.com/office/drawing/2014/main" id="{0F68316E-132F-C386-B03C-71F47ED81A7A}"/>
              </a:ext>
            </a:extLst>
          </p:cNvPr>
          <p:cNvSpPr txBox="1"/>
          <p:nvPr/>
        </p:nvSpPr>
        <p:spPr>
          <a:xfrm>
            <a:off x="9461107" y="545250"/>
            <a:ext cx="272143" cy="418395"/>
          </a:xfrm>
          <a:prstGeom prst="rect">
            <a:avLst/>
          </a:prstGeom>
          <a:solidFill>
            <a:srgbClr val="FF6600"/>
          </a:solidFill>
          <a:ln w="9525" cap="flat" cmpd="sng">
            <a:solidFill>
              <a:srgbClr val="97A4FF"/>
            </a:solidFill>
            <a:prstDash val="solid"/>
            <a:round/>
            <a:headEnd type="none" w="sm" len="sm"/>
            <a:tailEnd type="none" w="sm" len="sm"/>
          </a:ln>
        </p:spPr>
        <p:txBody>
          <a:bodyPr spcFirstLastPara="1" wrap="square" lIns="121900" tIns="121900" rIns="121900" bIns="121900" anchor="ctr" anchorCtr="0">
            <a:noAutofit/>
          </a:bodyPr>
          <a:lstStyle/>
          <a:p>
            <a:pPr algn="ctr" defTabSz="1219140">
              <a:defRPr/>
            </a:pPr>
            <a:endParaRPr sz="2400" b="1" dirty="0">
              <a:solidFill>
                <a:srgbClr val="01083A"/>
              </a:solidFill>
              <a:latin typeface="Sakkal Majalla" panose="02000000000000000000" pitchFamily="2" charset="-78"/>
              <a:ea typeface="Samim" panose="020B0603030804020204" pitchFamily="34" charset="0"/>
              <a:cs typeface="Sakkal Majalla" panose="02000000000000000000" pitchFamily="2" charset="-78"/>
              <a:sym typeface="Josefin Sans"/>
            </a:endParaRPr>
          </a:p>
        </p:txBody>
      </p:sp>
      <p:sp>
        <p:nvSpPr>
          <p:cNvPr id="5" name="مربع نص 4">
            <a:extLst>
              <a:ext uri="{FF2B5EF4-FFF2-40B4-BE49-F238E27FC236}">
                <a16:creationId xmlns:a16="http://schemas.microsoft.com/office/drawing/2014/main" id="{9F45DFA9-74CC-538C-BEBD-62D39A2E79A3}"/>
              </a:ext>
            </a:extLst>
          </p:cNvPr>
          <p:cNvSpPr txBox="1"/>
          <p:nvPr/>
        </p:nvSpPr>
        <p:spPr>
          <a:xfrm>
            <a:off x="2458386" y="1006433"/>
            <a:ext cx="7274863" cy="954107"/>
          </a:xfrm>
          <a:prstGeom prst="rect">
            <a:avLst/>
          </a:prstGeom>
          <a:solidFill>
            <a:srgbClr val="7030A0"/>
          </a:solidFill>
        </p:spPr>
        <p:txBody>
          <a:bodyPr wrap="square">
            <a:spAutoFit/>
          </a:bodyPr>
          <a:lstStyle/>
          <a:p>
            <a:pPr defTabSz="914377"/>
            <a:r>
              <a:rPr lang="ar-SA" sz="2800" dirty="0">
                <a:solidFill>
                  <a:srgbClr val="FFFFFF"/>
                </a:solidFill>
                <a:latin typeface="Sakkal Majalla" panose="02000000000000000000" pitchFamily="2" charset="-78"/>
                <a:cs typeface="Sakkal Majalla" panose="02000000000000000000" pitchFamily="2" charset="-78"/>
              </a:rPr>
              <a:t>بناء على نتائج التقويم تصنف المدارس ضمن مستويات الأداء وفقاً لما حققته :</a:t>
            </a:r>
          </a:p>
        </p:txBody>
      </p:sp>
      <p:sp>
        <p:nvSpPr>
          <p:cNvPr id="6" name="مربع نص 5">
            <a:extLst>
              <a:ext uri="{FF2B5EF4-FFF2-40B4-BE49-F238E27FC236}">
                <a16:creationId xmlns:a16="http://schemas.microsoft.com/office/drawing/2014/main" id="{FC3C3FA0-75AB-DFB3-3E73-47F995911846}"/>
              </a:ext>
            </a:extLst>
          </p:cNvPr>
          <p:cNvSpPr txBox="1"/>
          <p:nvPr/>
        </p:nvSpPr>
        <p:spPr>
          <a:xfrm>
            <a:off x="4872132" y="519571"/>
            <a:ext cx="4572000" cy="523220"/>
          </a:xfrm>
          <a:prstGeom prst="rect">
            <a:avLst/>
          </a:prstGeom>
          <a:noFill/>
        </p:spPr>
        <p:txBody>
          <a:bodyPr wrap="square">
            <a:spAutoFit/>
          </a:bodyPr>
          <a:lstStyle/>
          <a:p>
            <a:pPr defTabSz="1219140">
              <a:defRPr/>
            </a:pPr>
            <a:r>
              <a:rPr lang="ar-SA" sz="2800" b="1" dirty="0">
                <a:solidFill>
                  <a:srgbClr val="3F007E"/>
                </a:solidFill>
                <a:latin typeface="Sakkal Majalla" panose="02000000000000000000" pitchFamily="2" charset="-78"/>
                <a:ea typeface="Samim" panose="020B0603030804020204" pitchFamily="34" charset="0"/>
                <a:cs typeface="Sakkal Majalla" panose="02000000000000000000" pitchFamily="2" charset="-78"/>
                <a:sym typeface="Josefin Sans"/>
              </a:rPr>
              <a:t>مستويات الأداء المدرسي</a:t>
            </a:r>
          </a:p>
        </p:txBody>
      </p:sp>
      <p:sp>
        <p:nvSpPr>
          <p:cNvPr id="7" name="Google Shape;910;p31">
            <a:extLst>
              <a:ext uri="{FF2B5EF4-FFF2-40B4-BE49-F238E27FC236}">
                <a16:creationId xmlns:a16="http://schemas.microsoft.com/office/drawing/2014/main" id="{EDF4E425-FA75-95F6-3C2E-32DF0CFE0349}"/>
              </a:ext>
            </a:extLst>
          </p:cNvPr>
          <p:cNvSpPr txBox="1"/>
          <p:nvPr/>
        </p:nvSpPr>
        <p:spPr>
          <a:xfrm>
            <a:off x="9461107" y="2272734"/>
            <a:ext cx="272143" cy="418395"/>
          </a:xfrm>
          <a:prstGeom prst="rect">
            <a:avLst/>
          </a:prstGeom>
          <a:solidFill>
            <a:srgbClr val="00B050"/>
          </a:solidFill>
          <a:ln w="9525" cap="flat" cmpd="sng">
            <a:solidFill>
              <a:srgbClr val="97A4FF"/>
            </a:solidFill>
            <a:prstDash val="solid"/>
            <a:round/>
            <a:headEnd type="none" w="sm" len="sm"/>
            <a:tailEnd type="none" w="sm" len="sm"/>
          </a:ln>
        </p:spPr>
        <p:txBody>
          <a:bodyPr spcFirstLastPara="1" wrap="square" lIns="121900" tIns="121900" rIns="121900" bIns="121900" anchor="ctr" anchorCtr="0">
            <a:noAutofit/>
          </a:bodyPr>
          <a:lstStyle/>
          <a:p>
            <a:pPr algn="ctr" defTabSz="1219140">
              <a:defRPr/>
            </a:pPr>
            <a:r>
              <a:rPr lang="en-US" sz="2400" b="1" dirty="0">
                <a:solidFill>
                  <a:prstClr val="white"/>
                </a:solidFill>
                <a:latin typeface="Sakkal Majalla" panose="02000000000000000000" pitchFamily="2" charset="-78"/>
                <a:ea typeface="Samim" panose="020B0603030804020204" pitchFamily="34" charset="0"/>
                <a:cs typeface="Sakkal Majalla" panose="02000000000000000000" pitchFamily="2" charset="-78"/>
                <a:sym typeface="Josefin Sans"/>
              </a:rPr>
              <a:t>4</a:t>
            </a:r>
            <a:endParaRPr sz="2400" b="1" dirty="0">
              <a:solidFill>
                <a:prstClr val="white"/>
              </a:solidFill>
              <a:latin typeface="Sakkal Majalla" panose="02000000000000000000" pitchFamily="2" charset="-78"/>
              <a:ea typeface="Samim" panose="020B0603030804020204" pitchFamily="34" charset="0"/>
              <a:cs typeface="Sakkal Majalla" panose="02000000000000000000" pitchFamily="2" charset="-78"/>
              <a:sym typeface="Josefin Sans"/>
            </a:endParaRPr>
          </a:p>
        </p:txBody>
      </p:sp>
      <p:sp>
        <p:nvSpPr>
          <p:cNvPr id="8" name="مربع نص 7">
            <a:extLst>
              <a:ext uri="{FF2B5EF4-FFF2-40B4-BE49-F238E27FC236}">
                <a16:creationId xmlns:a16="http://schemas.microsoft.com/office/drawing/2014/main" id="{7CAA248B-0E8F-CCC2-E880-6F35C566FF06}"/>
              </a:ext>
            </a:extLst>
          </p:cNvPr>
          <p:cNvSpPr txBox="1"/>
          <p:nvPr/>
        </p:nvSpPr>
        <p:spPr>
          <a:xfrm>
            <a:off x="6524373" y="2073904"/>
            <a:ext cx="2896209" cy="400110"/>
          </a:xfrm>
          <a:prstGeom prst="rect">
            <a:avLst/>
          </a:prstGeom>
          <a:noFill/>
        </p:spPr>
        <p:txBody>
          <a:bodyPr wrap="square">
            <a:spAutoFit/>
          </a:bodyPr>
          <a:lstStyle/>
          <a:p>
            <a:pPr defTabSz="1219140">
              <a:defRPr/>
            </a:pPr>
            <a:r>
              <a:rPr lang="ar-SA" sz="2000" b="1" dirty="0">
                <a:solidFill>
                  <a:srgbClr val="3F007E"/>
                </a:solidFill>
                <a:latin typeface="Sakkal Majalla" panose="02000000000000000000" pitchFamily="2" charset="-78"/>
                <a:ea typeface="Samim" panose="020B0603030804020204" pitchFamily="34" charset="0"/>
                <a:cs typeface="Sakkal Majalla" panose="02000000000000000000" pitchFamily="2" charset="-78"/>
                <a:sym typeface="Josefin Sans"/>
              </a:rPr>
              <a:t>من 90%  فأعلى</a:t>
            </a:r>
          </a:p>
        </p:txBody>
      </p:sp>
      <p:sp>
        <p:nvSpPr>
          <p:cNvPr id="9" name="Google Shape;910;p31">
            <a:extLst>
              <a:ext uri="{FF2B5EF4-FFF2-40B4-BE49-F238E27FC236}">
                <a16:creationId xmlns:a16="http://schemas.microsoft.com/office/drawing/2014/main" id="{6A8C51FE-E316-7AD9-BA3E-D92A7C471EC7}"/>
              </a:ext>
            </a:extLst>
          </p:cNvPr>
          <p:cNvSpPr txBox="1"/>
          <p:nvPr/>
        </p:nvSpPr>
        <p:spPr>
          <a:xfrm>
            <a:off x="2521561" y="2481930"/>
            <a:ext cx="2179349" cy="962444"/>
          </a:xfrm>
          <a:prstGeom prst="rect">
            <a:avLst/>
          </a:prstGeom>
          <a:solidFill>
            <a:srgbClr val="5D70FF"/>
          </a:solidFill>
          <a:ln w="9525" cap="flat" cmpd="sng">
            <a:solidFill>
              <a:srgbClr val="00B050"/>
            </a:solidFill>
            <a:prstDash val="solid"/>
            <a:round/>
            <a:headEnd type="none" w="sm" len="sm"/>
            <a:tailEnd type="none" w="sm" len="sm"/>
          </a:ln>
        </p:spPr>
        <p:txBody>
          <a:bodyPr spcFirstLastPara="1" wrap="square" lIns="121900" tIns="121900" rIns="121900" bIns="121900" anchor="ctr" anchorCtr="0">
            <a:noAutofit/>
          </a:bodyPr>
          <a:lstStyle/>
          <a:p>
            <a:pPr algn="ctr" defTabSz="1219140">
              <a:defRPr/>
            </a:pPr>
            <a:endParaRPr sz="2400" b="1" dirty="0">
              <a:solidFill>
                <a:prstClr val="white"/>
              </a:solidFill>
              <a:latin typeface="Sakkal Majalla" panose="02000000000000000000" pitchFamily="2" charset="-78"/>
              <a:ea typeface="Samim" panose="020B0603030804020204" pitchFamily="34" charset="0"/>
              <a:cs typeface="Sakkal Majalla" panose="02000000000000000000" pitchFamily="2" charset="-78"/>
              <a:sym typeface="Josefin Sans"/>
            </a:endParaRPr>
          </a:p>
        </p:txBody>
      </p:sp>
      <p:sp>
        <p:nvSpPr>
          <p:cNvPr id="10" name="Google Shape;911;p31">
            <a:extLst>
              <a:ext uri="{FF2B5EF4-FFF2-40B4-BE49-F238E27FC236}">
                <a16:creationId xmlns:a16="http://schemas.microsoft.com/office/drawing/2014/main" id="{E8080821-72B1-4703-7B3E-565ADA0684B2}"/>
              </a:ext>
            </a:extLst>
          </p:cNvPr>
          <p:cNvSpPr txBox="1"/>
          <p:nvPr/>
        </p:nvSpPr>
        <p:spPr>
          <a:xfrm>
            <a:off x="4700910" y="2481930"/>
            <a:ext cx="1238859" cy="962445"/>
          </a:xfrm>
          <a:prstGeom prst="rect">
            <a:avLst/>
          </a:prstGeom>
          <a:noFill/>
          <a:ln w="9525" cap="flat" cmpd="sng">
            <a:solidFill>
              <a:srgbClr val="5D70FF"/>
            </a:solidFill>
            <a:prstDash val="solid"/>
            <a:round/>
            <a:headEnd type="none" w="sm" len="sm"/>
            <a:tailEnd type="none" w="sm" len="sm"/>
          </a:ln>
        </p:spPr>
        <p:txBody>
          <a:bodyPr spcFirstLastPara="1" wrap="square" lIns="60933" tIns="60933" rIns="60933" bIns="0" anchor="ctr" anchorCtr="0">
            <a:noAutofit/>
          </a:bodyPr>
          <a:lstStyle/>
          <a:p>
            <a:pPr algn="ctr" defTabSz="1219140">
              <a:defRPr/>
            </a:pPr>
            <a:r>
              <a:rPr lang="ar-SA" sz="2800" b="1" kern="0" dirty="0">
                <a:solidFill>
                  <a:srgbClr val="5D70FF"/>
                </a:solidFill>
                <a:latin typeface="Sakkal Majalla" panose="02000000000000000000" pitchFamily="2" charset="-78"/>
                <a:ea typeface="Samim" panose="020B0603030804020204" pitchFamily="34" charset="0"/>
                <a:cs typeface="Sakkal Majalla" panose="02000000000000000000" pitchFamily="2" charset="-78"/>
                <a:sym typeface="Quicksand"/>
              </a:rPr>
              <a:t>التقدم</a:t>
            </a:r>
            <a:endParaRPr sz="2400" b="1" kern="0" dirty="0">
              <a:solidFill>
                <a:srgbClr val="5D70FF"/>
              </a:solidFill>
              <a:latin typeface="Sakkal Majalla" panose="02000000000000000000" pitchFamily="2" charset="-78"/>
              <a:ea typeface="Samim" panose="020B0603030804020204" pitchFamily="34" charset="0"/>
              <a:cs typeface="Sakkal Majalla" panose="02000000000000000000" pitchFamily="2" charset="-78"/>
              <a:sym typeface="Quicksand"/>
            </a:endParaRPr>
          </a:p>
        </p:txBody>
      </p:sp>
      <p:sp>
        <p:nvSpPr>
          <p:cNvPr id="11" name="Google Shape;910;p31">
            <a:extLst>
              <a:ext uri="{FF2B5EF4-FFF2-40B4-BE49-F238E27FC236}">
                <a16:creationId xmlns:a16="http://schemas.microsoft.com/office/drawing/2014/main" id="{0018D71C-88B6-291E-E5AE-D7F224785937}"/>
              </a:ext>
            </a:extLst>
          </p:cNvPr>
          <p:cNvSpPr txBox="1"/>
          <p:nvPr/>
        </p:nvSpPr>
        <p:spPr>
          <a:xfrm>
            <a:off x="5667627" y="2272734"/>
            <a:ext cx="272143" cy="418395"/>
          </a:xfrm>
          <a:prstGeom prst="rect">
            <a:avLst/>
          </a:prstGeom>
          <a:solidFill>
            <a:srgbClr val="5D70FF"/>
          </a:solidFill>
          <a:ln w="9525" cap="flat" cmpd="sng">
            <a:solidFill>
              <a:srgbClr val="97A4FF"/>
            </a:solidFill>
            <a:prstDash val="solid"/>
            <a:round/>
            <a:headEnd type="none" w="sm" len="sm"/>
            <a:tailEnd type="none" w="sm" len="sm"/>
          </a:ln>
        </p:spPr>
        <p:txBody>
          <a:bodyPr spcFirstLastPara="1" wrap="square" lIns="121900" tIns="121900" rIns="121900" bIns="121900" anchor="ctr" anchorCtr="0">
            <a:noAutofit/>
          </a:bodyPr>
          <a:lstStyle/>
          <a:p>
            <a:pPr algn="ctr" defTabSz="1219140">
              <a:defRPr/>
            </a:pPr>
            <a:r>
              <a:rPr lang="en-US" sz="2400" b="1" dirty="0">
                <a:solidFill>
                  <a:prstClr val="white"/>
                </a:solidFill>
                <a:latin typeface="Sakkal Majalla" panose="02000000000000000000" pitchFamily="2" charset="-78"/>
                <a:ea typeface="Samim" panose="020B0603030804020204" pitchFamily="34" charset="0"/>
                <a:cs typeface="Sakkal Majalla" panose="02000000000000000000" pitchFamily="2" charset="-78"/>
                <a:sym typeface="Josefin Sans"/>
              </a:rPr>
              <a:t>3</a:t>
            </a:r>
            <a:endParaRPr sz="2400" b="1" dirty="0">
              <a:solidFill>
                <a:prstClr val="white"/>
              </a:solidFill>
              <a:latin typeface="Sakkal Majalla" panose="02000000000000000000" pitchFamily="2" charset="-78"/>
              <a:ea typeface="Samim" panose="020B0603030804020204" pitchFamily="34" charset="0"/>
              <a:cs typeface="Sakkal Majalla" panose="02000000000000000000" pitchFamily="2" charset="-78"/>
              <a:sym typeface="Josefin Sans"/>
            </a:endParaRPr>
          </a:p>
        </p:txBody>
      </p:sp>
      <p:sp>
        <p:nvSpPr>
          <p:cNvPr id="12" name="مربع نص 11">
            <a:extLst>
              <a:ext uri="{FF2B5EF4-FFF2-40B4-BE49-F238E27FC236}">
                <a16:creationId xmlns:a16="http://schemas.microsoft.com/office/drawing/2014/main" id="{C4254D92-5BBD-6310-5BAC-2C577637EB55}"/>
              </a:ext>
            </a:extLst>
          </p:cNvPr>
          <p:cNvSpPr txBox="1"/>
          <p:nvPr/>
        </p:nvSpPr>
        <p:spPr>
          <a:xfrm>
            <a:off x="2782561" y="2110333"/>
            <a:ext cx="2896209" cy="400110"/>
          </a:xfrm>
          <a:prstGeom prst="rect">
            <a:avLst/>
          </a:prstGeom>
          <a:noFill/>
        </p:spPr>
        <p:txBody>
          <a:bodyPr wrap="square">
            <a:spAutoFit/>
          </a:bodyPr>
          <a:lstStyle/>
          <a:p>
            <a:pPr defTabSz="1219140">
              <a:defRPr/>
            </a:pPr>
            <a:r>
              <a:rPr lang="ar-SA" sz="2000" b="1" dirty="0">
                <a:solidFill>
                  <a:srgbClr val="3F007E"/>
                </a:solidFill>
                <a:latin typeface="Sakkal Majalla" panose="02000000000000000000" pitchFamily="2" charset="-78"/>
                <a:ea typeface="Samim" panose="020B0603030804020204" pitchFamily="34" charset="0"/>
                <a:cs typeface="Sakkal Majalla" panose="02000000000000000000" pitchFamily="2" charset="-78"/>
                <a:sym typeface="Josefin Sans"/>
              </a:rPr>
              <a:t>من 75% إلى أقل من 90% </a:t>
            </a:r>
          </a:p>
        </p:txBody>
      </p:sp>
      <p:sp>
        <p:nvSpPr>
          <p:cNvPr id="13" name="Google Shape;910;p31">
            <a:extLst>
              <a:ext uri="{FF2B5EF4-FFF2-40B4-BE49-F238E27FC236}">
                <a16:creationId xmlns:a16="http://schemas.microsoft.com/office/drawing/2014/main" id="{42D94531-A1CC-B942-32F6-75C44B7C062E}"/>
              </a:ext>
            </a:extLst>
          </p:cNvPr>
          <p:cNvSpPr txBox="1"/>
          <p:nvPr/>
        </p:nvSpPr>
        <p:spPr>
          <a:xfrm>
            <a:off x="6335385" y="4342442"/>
            <a:ext cx="2159370" cy="942763"/>
          </a:xfrm>
          <a:prstGeom prst="rect">
            <a:avLst/>
          </a:prstGeom>
          <a:solidFill>
            <a:srgbClr val="FF6600"/>
          </a:solidFill>
          <a:ln w="9525" cap="flat" cmpd="sng">
            <a:solidFill>
              <a:srgbClr val="00B050"/>
            </a:solidFill>
            <a:prstDash val="solid"/>
            <a:round/>
            <a:headEnd type="none" w="sm" len="sm"/>
            <a:tailEnd type="none" w="sm" len="sm"/>
          </a:ln>
        </p:spPr>
        <p:txBody>
          <a:bodyPr spcFirstLastPara="1" wrap="square" lIns="121900" tIns="121900" rIns="121900" bIns="121900" anchor="ctr" anchorCtr="0">
            <a:noAutofit/>
          </a:bodyPr>
          <a:lstStyle/>
          <a:p>
            <a:pPr algn="ctr" defTabSz="1219140">
              <a:defRPr/>
            </a:pPr>
            <a:endParaRPr sz="2400" b="1" dirty="0">
              <a:solidFill>
                <a:prstClr val="white"/>
              </a:solidFill>
              <a:latin typeface="Sakkal Majalla" panose="02000000000000000000" pitchFamily="2" charset="-78"/>
              <a:ea typeface="Samim" panose="020B0603030804020204" pitchFamily="34" charset="0"/>
              <a:cs typeface="Sakkal Majalla" panose="02000000000000000000" pitchFamily="2" charset="-78"/>
              <a:sym typeface="Josefin Sans"/>
            </a:endParaRPr>
          </a:p>
        </p:txBody>
      </p:sp>
      <p:sp>
        <p:nvSpPr>
          <p:cNvPr id="14" name="Google Shape;911;p31">
            <a:extLst>
              <a:ext uri="{FF2B5EF4-FFF2-40B4-BE49-F238E27FC236}">
                <a16:creationId xmlns:a16="http://schemas.microsoft.com/office/drawing/2014/main" id="{BE710E28-42AC-AE33-C26B-C42832251569}"/>
              </a:ext>
            </a:extLst>
          </p:cNvPr>
          <p:cNvSpPr txBox="1"/>
          <p:nvPr/>
        </p:nvSpPr>
        <p:spPr>
          <a:xfrm>
            <a:off x="8494754" y="4342442"/>
            <a:ext cx="1238859" cy="942763"/>
          </a:xfrm>
          <a:prstGeom prst="rect">
            <a:avLst/>
          </a:prstGeom>
          <a:noFill/>
          <a:ln w="9525" cap="flat" cmpd="sng">
            <a:solidFill>
              <a:srgbClr val="00B050"/>
            </a:solidFill>
            <a:prstDash val="solid"/>
            <a:round/>
            <a:headEnd type="none" w="sm" len="sm"/>
            <a:tailEnd type="none" w="sm" len="sm"/>
          </a:ln>
        </p:spPr>
        <p:txBody>
          <a:bodyPr spcFirstLastPara="1" wrap="square" lIns="60933" tIns="60933" rIns="60933" bIns="0" anchor="ctr" anchorCtr="0">
            <a:noAutofit/>
          </a:bodyPr>
          <a:lstStyle/>
          <a:p>
            <a:pPr algn="ctr" defTabSz="1219140">
              <a:defRPr/>
            </a:pPr>
            <a:r>
              <a:rPr lang="ar-SA" sz="2400" b="1" kern="0" dirty="0">
                <a:solidFill>
                  <a:srgbClr val="FF6600"/>
                </a:solidFill>
                <a:latin typeface="Sakkal Majalla" panose="02000000000000000000" pitchFamily="2" charset="-78"/>
                <a:ea typeface="Samim" panose="020B0603030804020204" pitchFamily="34" charset="0"/>
                <a:cs typeface="Sakkal Majalla" panose="02000000000000000000" pitchFamily="2" charset="-78"/>
                <a:sym typeface="Quicksand"/>
              </a:rPr>
              <a:t>الانطلاق</a:t>
            </a:r>
            <a:endParaRPr sz="2400" b="1" kern="0" dirty="0">
              <a:solidFill>
                <a:srgbClr val="FF6600"/>
              </a:solidFill>
              <a:latin typeface="Sakkal Majalla" panose="02000000000000000000" pitchFamily="2" charset="-78"/>
              <a:ea typeface="Samim" panose="020B0603030804020204" pitchFamily="34" charset="0"/>
              <a:cs typeface="Sakkal Majalla" panose="02000000000000000000" pitchFamily="2" charset="-78"/>
              <a:sym typeface="Quicksand"/>
            </a:endParaRPr>
          </a:p>
        </p:txBody>
      </p:sp>
      <p:sp>
        <p:nvSpPr>
          <p:cNvPr id="15" name="Google Shape;910;p31">
            <a:extLst>
              <a:ext uri="{FF2B5EF4-FFF2-40B4-BE49-F238E27FC236}">
                <a16:creationId xmlns:a16="http://schemas.microsoft.com/office/drawing/2014/main" id="{73BCE55A-5040-88EA-14BD-A3D70BBF9669}"/>
              </a:ext>
            </a:extLst>
          </p:cNvPr>
          <p:cNvSpPr txBox="1"/>
          <p:nvPr/>
        </p:nvSpPr>
        <p:spPr>
          <a:xfrm>
            <a:off x="9461471" y="4133246"/>
            <a:ext cx="272143" cy="418395"/>
          </a:xfrm>
          <a:prstGeom prst="rect">
            <a:avLst/>
          </a:prstGeom>
          <a:solidFill>
            <a:srgbClr val="FF6600"/>
          </a:solidFill>
          <a:ln w="9525" cap="flat" cmpd="sng">
            <a:solidFill>
              <a:srgbClr val="97A4FF"/>
            </a:solidFill>
            <a:prstDash val="solid"/>
            <a:round/>
            <a:headEnd type="none" w="sm" len="sm"/>
            <a:tailEnd type="none" w="sm" len="sm"/>
          </a:ln>
        </p:spPr>
        <p:txBody>
          <a:bodyPr spcFirstLastPara="1" wrap="square" lIns="121900" tIns="121900" rIns="121900" bIns="121900" anchor="ctr" anchorCtr="0">
            <a:noAutofit/>
          </a:bodyPr>
          <a:lstStyle/>
          <a:p>
            <a:pPr algn="ctr" defTabSz="1219140">
              <a:defRPr/>
            </a:pPr>
            <a:r>
              <a:rPr lang="en-US" sz="2400" b="1" dirty="0">
                <a:solidFill>
                  <a:prstClr val="white"/>
                </a:solidFill>
                <a:latin typeface="Sakkal Majalla" panose="02000000000000000000" pitchFamily="2" charset="-78"/>
                <a:ea typeface="Samim" panose="020B0603030804020204" pitchFamily="34" charset="0"/>
                <a:cs typeface="Sakkal Majalla" panose="02000000000000000000" pitchFamily="2" charset="-78"/>
                <a:sym typeface="Josefin Sans"/>
              </a:rPr>
              <a:t>2</a:t>
            </a:r>
            <a:endParaRPr sz="2400" b="1" dirty="0">
              <a:solidFill>
                <a:prstClr val="white"/>
              </a:solidFill>
              <a:latin typeface="Sakkal Majalla" panose="02000000000000000000" pitchFamily="2" charset="-78"/>
              <a:ea typeface="Samim" panose="020B0603030804020204" pitchFamily="34" charset="0"/>
              <a:cs typeface="Sakkal Majalla" panose="02000000000000000000" pitchFamily="2" charset="-78"/>
              <a:sym typeface="Josefin Sans"/>
            </a:endParaRPr>
          </a:p>
        </p:txBody>
      </p:sp>
      <p:sp>
        <p:nvSpPr>
          <p:cNvPr id="16" name="مربع نص 15">
            <a:extLst>
              <a:ext uri="{FF2B5EF4-FFF2-40B4-BE49-F238E27FC236}">
                <a16:creationId xmlns:a16="http://schemas.microsoft.com/office/drawing/2014/main" id="{F2FF06B1-0631-4F95-A4DF-7FEAAF79510B}"/>
              </a:ext>
            </a:extLst>
          </p:cNvPr>
          <p:cNvSpPr txBox="1"/>
          <p:nvPr/>
        </p:nvSpPr>
        <p:spPr>
          <a:xfrm>
            <a:off x="6524373" y="3917289"/>
            <a:ext cx="2896209" cy="400110"/>
          </a:xfrm>
          <a:prstGeom prst="rect">
            <a:avLst/>
          </a:prstGeom>
          <a:noFill/>
        </p:spPr>
        <p:txBody>
          <a:bodyPr wrap="square">
            <a:spAutoFit/>
          </a:bodyPr>
          <a:lstStyle/>
          <a:p>
            <a:pPr defTabSz="1219140">
              <a:defRPr/>
            </a:pPr>
            <a:r>
              <a:rPr lang="ar-SA" sz="2000" b="1" dirty="0">
                <a:solidFill>
                  <a:srgbClr val="3F007E"/>
                </a:solidFill>
                <a:latin typeface="Sakkal Majalla" panose="02000000000000000000" pitchFamily="2" charset="-78"/>
                <a:ea typeface="Samim" panose="020B0603030804020204" pitchFamily="34" charset="0"/>
                <a:cs typeface="Sakkal Majalla" panose="02000000000000000000" pitchFamily="2" charset="-78"/>
                <a:sym typeface="Josefin Sans"/>
              </a:rPr>
              <a:t>من 50% إلى أقل من 75% </a:t>
            </a:r>
          </a:p>
        </p:txBody>
      </p:sp>
      <p:sp>
        <p:nvSpPr>
          <p:cNvPr id="17" name="Google Shape;910;p31">
            <a:extLst>
              <a:ext uri="{FF2B5EF4-FFF2-40B4-BE49-F238E27FC236}">
                <a16:creationId xmlns:a16="http://schemas.microsoft.com/office/drawing/2014/main" id="{564347AA-4FB2-F0A9-B24A-DC2EA7F4CDFC}"/>
              </a:ext>
            </a:extLst>
          </p:cNvPr>
          <p:cNvSpPr txBox="1"/>
          <p:nvPr/>
        </p:nvSpPr>
        <p:spPr>
          <a:xfrm>
            <a:off x="2458387" y="4342442"/>
            <a:ext cx="2291588" cy="962445"/>
          </a:xfrm>
          <a:prstGeom prst="rect">
            <a:avLst/>
          </a:prstGeom>
          <a:solidFill>
            <a:srgbClr val="FF0000"/>
          </a:solidFill>
          <a:ln w="9525" cap="flat" cmpd="sng">
            <a:solidFill>
              <a:srgbClr val="00B050"/>
            </a:solidFill>
            <a:prstDash val="solid"/>
            <a:round/>
            <a:headEnd type="none" w="sm" len="sm"/>
            <a:tailEnd type="none" w="sm" len="sm"/>
          </a:ln>
        </p:spPr>
        <p:txBody>
          <a:bodyPr spcFirstLastPara="1" wrap="square" lIns="121900" tIns="121900" rIns="121900" bIns="121900" anchor="ctr" anchorCtr="0">
            <a:noAutofit/>
          </a:bodyPr>
          <a:lstStyle/>
          <a:p>
            <a:pPr algn="ctr" defTabSz="1219140">
              <a:defRPr/>
            </a:pPr>
            <a:endParaRPr sz="2400" b="1" dirty="0">
              <a:solidFill>
                <a:prstClr val="white"/>
              </a:solidFill>
              <a:latin typeface="Sakkal Majalla" panose="02000000000000000000" pitchFamily="2" charset="-78"/>
              <a:ea typeface="Samim" panose="020B0603030804020204" pitchFamily="34" charset="0"/>
              <a:cs typeface="Sakkal Majalla" panose="02000000000000000000" pitchFamily="2" charset="-78"/>
              <a:sym typeface="Josefin Sans"/>
            </a:endParaRPr>
          </a:p>
        </p:txBody>
      </p:sp>
      <p:sp>
        <p:nvSpPr>
          <p:cNvPr id="18" name="Google Shape;911;p31">
            <a:extLst>
              <a:ext uri="{FF2B5EF4-FFF2-40B4-BE49-F238E27FC236}">
                <a16:creationId xmlns:a16="http://schemas.microsoft.com/office/drawing/2014/main" id="{8D7313F7-0289-61EA-C74D-DB205BBD95CA}"/>
              </a:ext>
            </a:extLst>
          </p:cNvPr>
          <p:cNvSpPr txBox="1"/>
          <p:nvPr/>
        </p:nvSpPr>
        <p:spPr>
          <a:xfrm>
            <a:off x="4749974" y="4342442"/>
            <a:ext cx="1238859" cy="962445"/>
          </a:xfrm>
          <a:prstGeom prst="rect">
            <a:avLst/>
          </a:prstGeom>
          <a:noFill/>
          <a:ln w="9525" cap="flat" cmpd="sng">
            <a:solidFill>
              <a:srgbClr val="FF0000"/>
            </a:solidFill>
            <a:prstDash val="solid"/>
            <a:round/>
            <a:headEnd type="none" w="sm" len="sm"/>
            <a:tailEnd type="none" w="sm" len="sm"/>
          </a:ln>
        </p:spPr>
        <p:txBody>
          <a:bodyPr spcFirstLastPara="1" wrap="square" lIns="60933" tIns="60933" rIns="60933" bIns="0" anchor="ctr" anchorCtr="0">
            <a:noAutofit/>
          </a:bodyPr>
          <a:lstStyle/>
          <a:p>
            <a:pPr algn="ctr" defTabSz="1219140">
              <a:defRPr/>
            </a:pPr>
            <a:r>
              <a:rPr lang="ar-SA" sz="2400" b="1" kern="0" dirty="0">
                <a:solidFill>
                  <a:srgbClr val="FF0000"/>
                </a:solidFill>
                <a:latin typeface="Sakkal Majalla" panose="02000000000000000000" pitchFamily="2" charset="-78"/>
                <a:ea typeface="Samim" panose="020B0603030804020204" pitchFamily="34" charset="0"/>
                <a:cs typeface="Sakkal Majalla" panose="02000000000000000000" pitchFamily="2" charset="-78"/>
                <a:sym typeface="Quicksand"/>
              </a:rPr>
              <a:t>التهيئة</a:t>
            </a:r>
            <a:endParaRPr sz="2400" b="1" kern="0" dirty="0">
              <a:solidFill>
                <a:srgbClr val="FF0000"/>
              </a:solidFill>
              <a:latin typeface="Sakkal Majalla" panose="02000000000000000000" pitchFamily="2" charset="-78"/>
              <a:ea typeface="Samim" panose="020B0603030804020204" pitchFamily="34" charset="0"/>
              <a:cs typeface="Sakkal Majalla" panose="02000000000000000000" pitchFamily="2" charset="-78"/>
              <a:sym typeface="Quicksand"/>
            </a:endParaRPr>
          </a:p>
        </p:txBody>
      </p:sp>
      <p:sp>
        <p:nvSpPr>
          <p:cNvPr id="19" name="Google Shape;910;p31">
            <a:extLst>
              <a:ext uri="{FF2B5EF4-FFF2-40B4-BE49-F238E27FC236}">
                <a16:creationId xmlns:a16="http://schemas.microsoft.com/office/drawing/2014/main" id="{475FF015-1358-2B50-D2FF-AA52EB89F968}"/>
              </a:ext>
            </a:extLst>
          </p:cNvPr>
          <p:cNvSpPr txBox="1"/>
          <p:nvPr/>
        </p:nvSpPr>
        <p:spPr>
          <a:xfrm>
            <a:off x="5716691" y="4133246"/>
            <a:ext cx="272143" cy="418395"/>
          </a:xfrm>
          <a:prstGeom prst="rect">
            <a:avLst/>
          </a:prstGeom>
          <a:solidFill>
            <a:srgbClr val="FF0000"/>
          </a:solidFill>
          <a:ln w="9525" cap="flat" cmpd="sng">
            <a:solidFill>
              <a:srgbClr val="97A4FF"/>
            </a:solidFill>
            <a:prstDash val="solid"/>
            <a:round/>
            <a:headEnd type="none" w="sm" len="sm"/>
            <a:tailEnd type="none" w="sm" len="sm"/>
          </a:ln>
        </p:spPr>
        <p:txBody>
          <a:bodyPr spcFirstLastPara="1" wrap="square" lIns="121900" tIns="121900" rIns="121900" bIns="121900" anchor="ctr" anchorCtr="0">
            <a:noAutofit/>
          </a:bodyPr>
          <a:lstStyle/>
          <a:p>
            <a:pPr algn="ctr" defTabSz="1219140">
              <a:defRPr/>
            </a:pPr>
            <a:r>
              <a:rPr lang="en-US" sz="2400" b="1" dirty="0">
                <a:solidFill>
                  <a:prstClr val="white"/>
                </a:solidFill>
                <a:latin typeface="Sakkal Majalla" panose="02000000000000000000" pitchFamily="2" charset="-78"/>
                <a:ea typeface="Samim" panose="020B0603030804020204" pitchFamily="34" charset="0"/>
                <a:cs typeface="Sakkal Majalla" panose="02000000000000000000" pitchFamily="2" charset="-78"/>
                <a:sym typeface="Josefin Sans"/>
              </a:rPr>
              <a:t>1</a:t>
            </a:r>
            <a:endParaRPr sz="2400" b="1" dirty="0">
              <a:solidFill>
                <a:prstClr val="white"/>
              </a:solidFill>
              <a:latin typeface="Sakkal Majalla" panose="02000000000000000000" pitchFamily="2" charset="-78"/>
              <a:ea typeface="Samim" panose="020B0603030804020204" pitchFamily="34" charset="0"/>
              <a:cs typeface="Sakkal Majalla" panose="02000000000000000000" pitchFamily="2" charset="-78"/>
              <a:sym typeface="Josefin Sans"/>
            </a:endParaRPr>
          </a:p>
        </p:txBody>
      </p:sp>
      <p:sp>
        <p:nvSpPr>
          <p:cNvPr id="20" name="مربع نص 19">
            <a:extLst>
              <a:ext uri="{FF2B5EF4-FFF2-40B4-BE49-F238E27FC236}">
                <a16:creationId xmlns:a16="http://schemas.microsoft.com/office/drawing/2014/main" id="{0A5FC051-71A1-FF21-9ED2-53454800E727}"/>
              </a:ext>
            </a:extLst>
          </p:cNvPr>
          <p:cNvSpPr txBox="1"/>
          <p:nvPr/>
        </p:nvSpPr>
        <p:spPr>
          <a:xfrm>
            <a:off x="2771418" y="4041652"/>
            <a:ext cx="2896209" cy="400110"/>
          </a:xfrm>
          <a:prstGeom prst="rect">
            <a:avLst/>
          </a:prstGeom>
          <a:noFill/>
        </p:spPr>
        <p:txBody>
          <a:bodyPr wrap="square">
            <a:spAutoFit/>
          </a:bodyPr>
          <a:lstStyle/>
          <a:p>
            <a:pPr defTabSz="1219140">
              <a:defRPr/>
            </a:pPr>
            <a:r>
              <a:rPr lang="ar-SA" sz="2000" b="1" dirty="0">
                <a:solidFill>
                  <a:srgbClr val="3F007E"/>
                </a:solidFill>
                <a:latin typeface="Sakkal Majalla" panose="02000000000000000000" pitchFamily="2" charset="-78"/>
                <a:ea typeface="Samim" panose="020B0603030804020204" pitchFamily="34" charset="0"/>
                <a:cs typeface="Sakkal Majalla" panose="02000000000000000000" pitchFamily="2" charset="-78"/>
                <a:sym typeface="Josefin Sans"/>
              </a:rPr>
              <a:t>أقل من 50%</a:t>
            </a:r>
          </a:p>
        </p:txBody>
      </p:sp>
      <p:sp>
        <p:nvSpPr>
          <p:cNvPr id="21" name="Google Shape;911;p31">
            <a:extLst>
              <a:ext uri="{FF2B5EF4-FFF2-40B4-BE49-F238E27FC236}">
                <a16:creationId xmlns:a16="http://schemas.microsoft.com/office/drawing/2014/main" id="{663F1ECF-1F57-2F6B-7E5B-B37C127A21BE}"/>
              </a:ext>
            </a:extLst>
          </p:cNvPr>
          <p:cNvSpPr txBox="1"/>
          <p:nvPr/>
        </p:nvSpPr>
        <p:spPr>
          <a:xfrm>
            <a:off x="6289285" y="2477644"/>
            <a:ext cx="2213439" cy="976560"/>
          </a:xfrm>
          <a:prstGeom prst="rect">
            <a:avLst/>
          </a:prstGeom>
          <a:noFill/>
          <a:ln w="9525" cap="flat" cmpd="sng">
            <a:noFill/>
            <a:prstDash val="solid"/>
            <a:round/>
            <a:headEnd type="none" w="sm" len="sm"/>
            <a:tailEnd type="none" w="sm" len="sm"/>
          </a:ln>
        </p:spPr>
        <p:txBody>
          <a:bodyPr spcFirstLastPara="1" wrap="square" lIns="60933" tIns="60933" rIns="60933" bIns="0" anchor="t" anchorCtr="0">
            <a:noAutofit/>
          </a:bodyPr>
          <a:lstStyle/>
          <a:p>
            <a:pPr algn="ctr" defTabSz="1219140">
              <a:buClr>
                <a:srgbClr val="11C1FF"/>
              </a:buClr>
              <a:defRPr/>
            </a:pPr>
            <a:r>
              <a:rPr lang="ar-SA" sz="2000" b="1" dirty="0">
                <a:solidFill>
                  <a:prstClr val="white"/>
                </a:solidFill>
                <a:latin typeface="Sakkal Majalla" panose="02000000000000000000" pitchFamily="2" charset="-78"/>
                <a:ea typeface="Samim" panose="020B0603030804020204" pitchFamily="34" charset="0"/>
                <a:cs typeface="Sakkal Majalla" panose="02000000000000000000" pitchFamily="2" charset="-78"/>
              </a:rPr>
              <a:t>مستوى  أداء متميز  ومرتفع يتطلب العمل على استدامة التميز  والابتكار</a:t>
            </a:r>
          </a:p>
          <a:p>
            <a:pPr algn="ctr" defTabSz="1219140">
              <a:buClr>
                <a:srgbClr val="11C1FF"/>
              </a:buClr>
              <a:defRPr/>
            </a:pPr>
            <a:endParaRPr lang="ar-SA" sz="2000" b="1" dirty="0">
              <a:solidFill>
                <a:prstClr val="white"/>
              </a:solidFill>
              <a:latin typeface="Sakkal Majalla" panose="02000000000000000000" pitchFamily="2" charset="-78"/>
              <a:ea typeface="Samim" panose="020B0603030804020204" pitchFamily="34" charset="0"/>
              <a:cs typeface="Sakkal Majalla" panose="02000000000000000000" pitchFamily="2" charset="-78"/>
            </a:endParaRPr>
          </a:p>
          <a:p>
            <a:pPr algn="ctr" defTabSz="1219140">
              <a:defRPr/>
            </a:pPr>
            <a:endParaRPr sz="2000" b="1" kern="0" dirty="0">
              <a:solidFill>
                <a:prstClr val="white"/>
              </a:solidFill>
              <a:latin typeface="Sakkal Majalla" panose="02000000000000000000" pitchFamily="2" charset="-78"/>
              <a:ea typeface="Samim" panose="020B0603030804020204" pitchFamily="34" charset="0"/>
              <a:cs typeface="Sakkal Majalla" panose="02000000000000000000" pitchFamily="2" charset="-78"/>
              <a:sym typeface="Quicksand"/>
            </a:endParaRPr>
          </a:p>
        </p:txBody>
      </p:sp>
      <p:sp>
        <p:nvSpPr>
          <p:cNvPr id="22" name="Google Shape;911;p31">
            <a:extLst>
              <a:ext uri="{FF2B5EF4-FFF2-40B4-BE49-F238E27FC236}">
                <a16:creationId xmlns:a16="http://schemas.microsoft.com/office/drawing/2014/main" id="{0C40B669-D1FB-EC1C-599F-7723E22347AB}"/>
              </a:ext>
            </a:extLst>
          </p:cNvPr>
          <p:cNvSpPr txBox="1"/>
          <p:nvPr/>
        </p:nvSpPr>
        <p:spPr>
          <a:xfrm>
            <a:off x="2570625" y="2565671"/>
            <a:ext cx="2179349" cy="962444"/>
          </a:xfrm>
          <a:prstGeom prst="rect">
            <a:avLst/>
          </a:prstGeom>
          <a:noFill/>
          <a:ln w="9525" cap="flat" cmpd="sng">
            <a:noFill/>
            <a:prstDash val="solid"/>
            <a:round/>
            <a:headEnd type="none" w="sm" len="sm"/>
            <a:tailEnd type="none" w="sm" len="sm"/>
          </a:ln>
        </p:spPr>
        <p:txBody>
          <a:bodyPr spcFirstLastPara="1" wrap="square" lIns="60933" tIns="60933" rIns="60933" bIns="0" anchor="t" anchorCtr="0">
            <a:noAutofit/>
          </a:bodyPr>
          <a:lstStyle/>
          <a:p>
            <a:pPr algn="ctr" defTabSz="1219140">
              <a:buClr>
                <a:srgbClr val="11C1FF"/>
              </a:buClr>
              <a:defRPr/>
            </a:pPr>
            <a:r>
              <a:rPr lang="ar-SA" sz="2000" b="1" dirty="0">
                <a:solidFill>
                  <a:prstClr val="white"/>
                </a:solidFill>
                <a:latin typeface="Sakkal Majalla" panose="02000000000000000000" pitchFamily="2" charset="-78"/>
                <a:ea typeface="Samim" panose="020B0603030804020204" pitchFamily="34" charset="0"/>
                <a:cs typeface="Sakkal Majalla" panose="02000000000000000000" pitchFamily="2" charset="-78"/>
              </a:rPr>
              <a:t>مستوى  أداء جيد بحاجة إلى استمرار  التطوير والتحسين</a:t>
            </a:r>
          </a:p>
          <a:p>
            <a:pPr algn="ctr" defTabSz="1219140">
              <a:buClr>
                <a:srgbClr val="11C1FF"/>
              </a:buClr>
              <a:defRPr/>
            </a:pPr>
            <a:endParaRPr lang="ar-SA" sz="2000" b="1" dirty="0">
              <a:solidFill>
                <a:prstClr val="white"/>
              </a:solidFill>
              <a:latin typeface="Sakkal Majalla" panose="02000000000000000000" pitchFamily="2" charset="-78"/>
              <a:ea typeface="Samim" panose="020B0603030804020204" pitchFamily="34" charset="0"/>
              <a:cs typeface="Sakkal Majalla" panose="02000000000000000000" pitchFamily="2" charset="-78"/>
            </a:endParaRPr>
          </a:p>
          <a:p>
            <a:pPr algn="ctr" defTabSz="1219140">
              <a:defRPr/>
            </a:pPr>
            <a:endParaRPr sz="2000" b="1" kern="0" dirty="0">
              <a:solidFill>
                <a:prstClr val="white"/>
              </a:solidFill>
              <a:latin typeface="Sakkal Majalla" panose="02000000000000000000" pitchFamily="2" charset="-78"/>
              <a:ea typeface="Samim" panose="020B0603030804020204" pitchFamily="34" charset="0"/>
              <a:cs typeface="Sakkal Majalla" panose="02000000000000000000" pitchFamily="2" charset="-78"/>
              <a:sym typeface="Quicksand"/>
            </a:endParaRPr>
          </a:p>
        </p:txBody>
      </p:sp>
      <p:sp>
        <p:nvSpPr>
          <p:cNvPr id="23" name="Google Shape;911;p31">
            <a:extLst>
              <a:ext uri="{FF2B5EF4-FFF2-40B4-BE49-F238E27FC236}">
                <a16:creationId xmlns:a16="http://schemas.microsoft.com/office/drawing/2014/main" id="{061EFD02-DF41-70D6-F248-4001F87D66A0}"/>
              </a:ext>
            </a:extLst>
          </p:cNvPr>
          <p:cNvSpPr txBox="1"/>
          <p:nvPr/>
        </p:nvSpPr>
        <p:spPr>
          <a:xfrm>
            <a:off x="6319053" y="4344184"/>
            <a:ext cx="2213439" cy="1025611"/>
          </a:xfrm>
          <a:prstGeom prst="rect">
            <a:avLst/>
          </a:prstGeom>
          <a:noFill/>
          <a:ln w="9525" cap="flat" cmpd="sng">
            <a:noFill/>
            <a:prstDash val="solid"/>
            <a:round/>
            <a:headEnd type="none" w="sm" len="sm"/>
            <a:tailEnd type="none" w="sm" len="sm"/>
          </a:ln>
        </p:spPr>
        <p:txBody>
          <a:bodyPr spcFirstLastPara="1" wrap="square" lIns="60933" tIns="60933" rIns="60933" bIns="0" anchor="t" anchorCtr="0">
            <a:noAutofit/>
          </a:bodyPr>
          <a:lstStyle/>
          <a:p>
            <a:pPr algn="ctr" defTabSz="1219140">
              <a:buClr>
                <a:srgbClr val="11C1FF"/>
              </a:buClr>
              <a:defRPr/>
            </a:pPr>
            <a:r>
              <a:rPr lang="ar-SA" sz="2000" b="1" dirty="0">
                <a:solidFill>
                  <a:prstClr val="white"/>
                </a:solidFill>
                <a:latin typeface="Sakkal Majalla" panose="02000000000000000000" pitchFamily="2" charset="-78"/>
                <a:ea typeface="Samim" panose="020B0603030804020204" pitchFamily="34" charset="0"/>
                <a:cs typeface="Sakkal Majalla" panose="02000000000000000000" pitchFamily="2" charset="-78"/>
              </a:rPr>
              <a:t>مستوى  أداء مقبول بحاجة إلى تحسينات كبيرة في بعض المجالات والمعايير</a:t>
            </a:r>
          </a:p>
          <a:p>
            <a:pPr algn="ctr" defTabSz="1219140">
              <a:buClr>
                <a:srgbClr val="11C1FF"/>
              </a:buClr>
              <a:defRPr/>
            </a:pPr>
            <a:endParaRPr lang="ar-SA" sz="2000" b="1" dirty="0">
              <a:solidFill>
                <a:prstClr val="white"/>
              </a:solidFill>
              <a:latin typeface="Sakkal Majalla" panose="02000000000000000000" pitchFamily="2" charset="-78"/>
              <a:ea typeface="Samim" panose="020B0603030804020204" pitchFamily="34" charset="0"/>
              <a:cs typeface="Sakkal Majalla" panose="02000000000000000000" pitchFamily="2" charset="-78"/>
            </a:endParaRPr>
          </a:p>
          <a:p>
            <a:pPr algn="ctr" defTabSz="1219140">
              <a:defRPr/>
            </a:pPr>
            <a:endParaRPr sz="2000" b="1" kern="0" dirty="0">
              <a:solidFill>
                <a:prstClr val="white"/>
              </a:solidFill>
              <a:latin typeface="Sakkal Majalla" panose="02000000000000000000" pitchFamily="2" charset="-78"/>
              <a:ea typeface="Samim" panose="020B0603030804020204" pitchFamily="34" charset="0"/>
              <a:cs typeface="Sakkal Majalla" panose="02000000000000000000" pitchFamily="2" charset="-78"/>
              <a:sym typeface="Quicksand"/>
            </a:endParaRPr>
          </a:p>
        </p:txBody>
      </p:sp>
      <p:sp>
        <p:nvSpPr>
          <p:cNvPr id="24" name="Google Shape;911;p31">
            <a:extLst>
              <a:ext uri="{FF2B5EF4-FFF2-40B4-BE49-F238E27FC236}">
                <a16:creationId xmlns:a16="http://schemas.microsoft.com/office/drawing/2014/main" id="{1902C63D-576B-C127-8A31-FAE55FF7B548}"/>
              </a:ext>
            </a:extLst>
          </p:cNvPr>
          <p:cNvSpPr txBox="1"/>
          <p:nvPr/>
        </p:nvSpPr>
        <p:spPr>
          <a:xfrm>
            <a:off x="2442001" y="4312874"/>
            <a:ext cx="2384061" cy="1025612"/>
          </a:xfrm>
          <a:prstGeom prst="rect">
            <a:avLst/>
          </a:prstGeom>
          <a:noFill/>
          <a:ln w="9525" cap="flat" cmpd="sng">
            <a:noFill/>
            <a:prstDash val="solid"/>
            <a:round/>
            <a:headEnd type="none" w="sm" len="sm"/>
            <a:tailEnd type="none" w="sm" len="sm"/>
          </a:ln>
        </p:spPr>
        <p:txBody>
          <a:bodyPr spcFirstLastPara="1" wrap="square" lIns="60933" tIns="60933" rIns="60933" bIns="0" anchor="t" anchorCtr="0">
            <a:noAutofit/>
          </a:bodyPr>
          <a:lstStyle/>
          <a:p>
            <a:pPr algn="ctr" defTabSz="1219140">
              <a:buClr>
                <a:srgbClr val="11C1FF"/>
              </a:buClr>
              <a:defRPr/>
            </a:pPr>
            <a:r>
              <a:rPr lang="ar-SA" sz="2000" b="1" dirty="0">
                <a:solidFill>
                  <a:prstClr val="white"/>
                </a:solidFill>
                <a:latin typeface="Sakkal Majalla" panose="02000000000000000000" pitchFamily="2" charset="-78"/>
                <a:ea typeface="Samim" panose="020B0603030804020204" pitchFamily="34" charset="0"/>
                <a:cs typeface="Sakkal Majalla" panose="02000000000000000000" pitchFamily="2" charset="-78"/>
              </a:rPr>
              <a:t>مستوى  أداء منخفض بحاجة إلى تدخلات جوهرية للتحسين في معظم مجالات التقويم</a:t>
            </a:r>
          </a:p>
          <a:p>
            <a:pPr algn="ctr" defTabSz="1219140">
              <a:buClr>
                <a:srgbClr val="11C1FF"/>
              </a:buClr>
              <a:defRPr/>
            </a:pPr>
            <a:endParaRPr lang="ar-SA" sz="2000" b="1" dirty="0">
              <a:solidFill>
                <a:prstClr val="white"/>
              </a:solidFill>
              <a:latin typeface="Sakkal Majalla" panose="02000000000000000000" pitchFamily="2" charset="-78"/>
              <a:ea typeface="Samim" panose="020B0603030804020204" pitchFamily="34" charset="0"/>
              <a:cs typeface="Sakkal Majalla" panose="02000000000000000000" pitchFamily="2" charset="-78"/>
            </a:endParaRPr>
          </a:p>
          <a:p>
            <a:pPr algn="ctr" defTabSz="1219140">
              <a:defRPr/>
            </a:pPr>
            <a:endParaRPr sz="2000" b="1" kern="0" dirty="0">
              <a:solidFill>
                <a:prstClr val="white"/>
              </a:solidFill>
              <a:latin typeface="Sakkal Majalla" panose="02000000000000000000" pitchFamily="2" charset="-78"/>
              <a:ea typeface="Samim" panose="020B0603030804020204" pitchFamily="34" charset="0"/>
              <a:cs typeface="Sakkal Majalla" panose="02000000000000000000" pitchFamily="2" charset="-78"/>
              <a:sym typeface="Quicksand"/>
            </a:endParaRPr>
          </a:p>
        </p:txBody>
      </p:sp>
    </p:spTree>
    <p:extLst>
      <p:ext uri="{BB962C8B-B14F-4D97-AF65-F5344CB8AC3E}">
        <p14:creationId xmlns:p14="http://schemas.microsoft.com/office/powerpoint/2010/main" val="36573081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arn(inVertical)">
                                      <p:cBhvr>
                                        <p:cTn id="7" dur="1000"/>
                                        <p:tgtEl>
                                          <p:spTgt spid="4"/>
                                        </p:tgtEl>
                                      </p:cBhvr>
                                    </p:animEffect>
                                  </p:childTnLst>
                                </p:cTn>
                              </p:par>
                              <p:par>
                                <p:cTn id="8" presetID="16" presetClass="entr" presetSubtype="21"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barn(inVertical)">
                                      <p:cBhvr>
                                        <p:cTn id="10" dur="500"/>
                                        <p:tgtEl>
                                          <p:spTgt spid="6"/>
                                        </p:tgtEl>
                                      </p:cBhvr>
                                    </p:animEffect>
                                  </p:childTnLst>
                                </p:cTn>
                              </p:par>
                            </p:childTnLst>
                          </p:cTn>
                        </p:par>
                      </p:childTnLst>
                    </p:cTn>
                  </p:par>
                  <p:par>
                    <p:cTn id="11" fill="hold">
                      <p:stCondLst>
                        <p:cond delay="indefinite"/>
                      </p:stCondLst>
                      <p:childTnLst>
                        <p:par>
                          <p:cTn id="12" fill="hold">
                            <p:stCondLst>
                              <p:cond delay="0"/>
                            </p:stCondLst>
                            <p:childTnLst>
                              <p:par>
                                <p:cTn id="13" presetID="16" presetClass="entr" presetSubtype="21" fill="hold" grpId="0"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barn(inVertical)">
                                      <p:cBhvr>
                                        <p:cTn id="15" dur="500"/>
                                        <p:tgtEl>
                                          <p:spTgt spid="5"/>
                                        </p:tgtEl>
                                      </p:cBhvr>
                                    </p:animEffect>
                                  </p:childTnLst>
                                </p:cTn>
                              </p:par>
                            </p:childTnLst>
                          </p:cTn>
                        </p:par>
                      </p:childTnLst>
                    </p:cTn>
                  </p:par>
                  <p:par>
                    <p:cTn id="16" fill="hold">
                      <p:stCondLst>
                        <p:cond delay="indefinite"/>
                      </p:stCondLst>
                      <p:childTnLst>
                        <p:par>
                          <p:cTn id="17" fill="hold">
                            <p:stCondLst>
                              <p:cond delay="0"/>
                            </p:stCondLst>
                            <p:childTnLst>
                              <p:par>
                                <p:cTn id="18" presetID="16" presetClass="entr" presetSubtype="21" fill="hold" grpId="0" nodeType="clickEffect">
                                  <p:stCondLst>
                                    <p:cond delay="0"/>
                                  </p:stCondLst>
                                  <p:childTnLst>
                                    <p:set>
                                      <p:cBhvr>
                                        <p:cTn id="19" dur="1" fill="hold">
                                          <p:stCondLst>
                                            <p:cond delay="0"/>
                                          </p:stCondLst>
                                        </p:cTn>
                                        <p:tgtEl>
                                          <p:spTgt spid="2"/>
                                        </p:tgtEl>
                                        <p:attrNameLst>
                                          <p:attrName>style.visibility</p:attrName>
                                        </p:attrNameLst>
                                      </p:cBhvr>
                                      <p:to>
                                        <p:strVal val="visible"/>
                                      </p:to>
                                    </p:set>
                                    <p:animEffect transition="in" filter="barn(inVertical)">
                                      <p:cBhvr>
                                        <p:cTn id="20" dur="500"/>
                                        <p:tgtEl>
                                          <p:spTgt spid="2"/>
                                        </p:tgtEl>
                                      </p:cBhvr>
                                    </p:animEffect>
                                  </p:childTnLst>
                                </p:cTn>
                              </p:par>
                              <p:par>
                                <p:cTn id="21" presetID="16" presetClass="entr" presetSubtype="21" fill="hold" grpId="0" nodeType="with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barn(inVertical)">
                                      <p:cBhvr>
                                        <p:cTn id="23" dur="500"/>
                                        <p:tgtEl>
                                          <p:spTgt spid="3"/>
                                        </p:tgtEl>
                                      </p:cBhvr>
                                    </p:animEffect>
                                  </p:childTnLst>
                                </p:cTn>
                              </p:par>
                              <p:par>
                                <p:cTn id="24" presetID="16" presetClass="entr" presetSubtype="21" fill="hold" grpId="0" nodeType="withEffect">
                                  <p:stCondLst>
                                    <p:cond delay="0"/>
                                  </p:stCondLst>
                                  <p:childTnLst>
                                    <p:set>
                                      <p:cBhvr>
                                        <p:cTn id="25" dur="1" fill="hold">
                                          <p:stCondLst>
                                            <p:cond delay="0"/>
                                          </p:stCondLst>
                                        </p:cTn>
                                        <p:tgtEl>
                                          <p:spTgt spid="7"/>
                                        </p:tgtEl>
                                        <p:attrNameLst>
                                          <p:attrName>style.visibility</p:attrName>
                                        </p:attrNameLst>
                                      </p:cBhvr>
                                      <p:to>
                                        <p:strVal val="visible"/>
                                      </p:to>
                                    </p:set>
                                    <p:animEffect transition="in" filter="barn(inVertical)">
                                      <p:cBhvr>
                                        <p:cTn id="26" dur="500"/>
                                        <p:tgtEl>
                                          <p:spTgt spid="7"/>
                                        </p:tgtEl>
                                      </p:cBhvr>
                                    </p:animEffect>
                                  </p:childTnLst>
                                </p:cTn>
                              </p:par>
                              <p:par>
                                <p:cTn id="27" presetID="16" presetClass="entr" presetSubtype="21" fill="hold" grpId="0" nodeType="withEffect">
                                  <p:stCondLst>
                                    <p:cond delay="0"/>
                                  </p:stCondLst>
                                  <p:childTnLst>
                                    <p:set>
                                      <p:cBhvr>
                                        <p:cTn id="28" dur="1" fill="hold">
                                          <p:stCondLst>
                                            <p:cond delay="0"/>
                                          </p:stCondLst>
                                        </p:cTn>
                                        <p:tgtEl>
                                          <p:spTgt spid="8"/>
                                        </p:tgtEl>
                                        <p:attrNameLst>
                                          <p:attrName>style.visibility</p:attrName>
                                        </p:attrNameLst>
                                      </p:cBhvr>
                                      <p:to>
                                        <p:strVal val="visible"/>
                                      </p:to>
                                    </p:set>
                                    <p:animEffect transition="in" filter="barn(inVertical)">
                                      <p:cBhvr>
                                        <p:cTn id="29" dur="500"/>
                                        <p:tgtEl>
                                          <p:spTgt spid="8"/>
                                        </p:tgtEl>
                                      </p:cBhvr>
                                    </p:animEffect>
                                  </p:childTnLst>
                                </p:cTn>
                              </p:par>
                            </p:childTnLst>
                          </p:cTn>
                        </p:par>
                      </p:childTnLst>
                    </p:cTn>
                  </p:par>
                  <p:par>
                    <p:cTn id="30" fill="hold">
                      <p:stCondLst>
                        <p:cond delay="indefinite"/>
                      </p:stCondLst>
                      <p:childTnLst>
                        <p:par>
                          <p:cTn id="31" fill="hold">
                            <p:stCondLst>
                              <p:cond delay="0"/>
                            </p:stCondLst>
                            <p:childTnLst>
                              <p:par>
                                <p:cTn id="32" presetID="16" presetClass="entr" presetSubtype="21" fill="hold" grpId="0" nodeType="clickEffect">
                                  <p:stCondLst>
                                    <p:cond delay="0"/>
                                  </p:stCondLst>
                                  <p:childTnLst>
                                    <p:set>
                                      <p:cBhvr>
                                        <p:cTn id="33" dur="1" fill="hold">
                                          <p:stCondLst>
                                            <p:cond delay="0"/>
                                          </p:stCondLst>
                                        </p:cTn>
                                        <p:tgtEl>
                                          <p:spTgt spid="21"/>
                                        </p:tgtEl>
                                        <p:attrNameLst>
                                          <p:attrName>style.visibility</p:attrName>
                                        </p:attrNameLst>
                                      </p:cBhvr>
                                      <p:to>
                                        <p:strVal val="visible"/>
                                      </p:to>
                                    </p:set>
                                    <p:animEffect transition="in" filter="barn(inVertical)">
                                      <p:cBhvr>
                                        <p:cTn id="34" dur="1000"/>
                                        <p:tgtEl>
                                          <p:spTgt spid="21"/>
                                        </p:tgtEl>
                                      </p:cBhvr>
                                    </p:animEffect>
                                  </p:childTnLst>
                                </p:cTn>
                              </p:par>
                            </p:childTnLst>
                          </p:cTn>
                        </p:par>
                      </p:childTnLst>
                    </p:cTn>
                  </p:par>
                  <p:par>
                    <p:cTn id="35" fill="hold">
                      <p:stCondLst>
                        <p:cond delay="indefinite"/>
                      </p:stCondLst>
                      <p:childTnLst>
                        <p:par>
                          <p:cTn id="36" fill="hold">
                            <p:stCondLst>
                              <p:cond delay="0"/>
                            </p:stCondLst>
                            <p:childTnLst>
                              <p:par>
                                <p:cTn id="37" presetID="16" presetClass="entr" presetSubtype="21" fill="hold" grpId="0" nodeType="clickEffect">
                                  <p:stCondLst>
                                    <p:cond delay="0"/>
                                  </p:stCondLst>
                                  <p:childTnLst>
                                    <p:set>
                                      <p:cBhvr>
                                        <p:cTn id="38" dur="1" fill="hold">
                                          <p:stCondLst>
                                            <p:cond delay="0"/>
                                          </p:stCondLst>
                                        </p:cTn>
                                        <p:tgtEl>
                                          <p:spTgt spid="9"/>
                                        </p:tgtEl>
                                        <p:attrNameLst>
                                          <p:attrName>style.visibility</p:attrName>
                                        </p:attrNameLst>
                                      </p:cBhvr>
                                      <p:to>
                                        <p:strVal val="visible"/>
                                      </p:to>
                                    </p:set>
                                    <p:animEffect transition="in" filter="barn(inVertical)">
                                      <p:cBhvr>
                                        <p:cTn id="39" dur="500"/>
                                        <p:tgtEl>
                                          <p:spTgt spid="9"/>
                                        </p:tgtEl>
                                      </p:cBhvr>
                                    </p:animEffect>
                                  </p:childTnLst>
                                </p:cTn>
                              </p:par>
                              <p:par>
                                <p:cTn id="40" presetID="16" presetClass="entr" presetSubtype="21" fill="hold" grpId="0" nodeType="withEffect">
                                  <p:stCondLst>
                                    <p:cond delay="0"/>
                                  </p:stCondLst>
                                  <p:childTnLst>
                                    <p:set>
                                      <p:cBhvr>
                                        <p:cTn id="41" dur="1" fill="hold">
                                          <p:stCondLst>
                                            <p:cond delay="0"/>
                                          </p:stCondLst>
                                        </p:cTn>
                                        <p:tgtEl>
                                          <p:spTgt spid="10"/>
                                        </p:tgtEl>
                                        <p:attrNameLst>
                                          <p:attrName>style.visibility</p:attrName>
                                        </p:attrNameLst>
                                      </p:cBhvr>
                                      <p:to>
                                        <p:strVal val="visible"/>
                                      </p:to>
                                    </p:set>
                                    <p:animEffect transition="in" filter="barn(inVertical)">
                                      <p:cBhvr>
                                        <p:cTn id="42" dur="500"/>
                                        <p:tgtEl>
                                          <p:spTgt spid="10"/>
                                        </p:tgtEl>
                                      </p:cBhvr>
                                    </p:animEffect>
                                  </p:childTnLst>
                                </p:cTn>
                              </p:par>
                              <p:par>
                                <p:cTn id="43" presetID="16" presetClass="entr" presetSubtype="21" fill="hold" grpId="0" nodeType="withEffect">
                                  <p:stCondLst>
                                    <p:cond delay="0"/>
                                  </p:stCondLst>
                                  <p:childTnLst>
                                    <p:set>
                                      <p:cBhvr>
                                        <p:cTn id="44" dur="1" fill="hold">
                                          <p:stCondLst>
                                            <p:cond delay="0"/>
                                          </p:stCondLst>
                                        </p:cTn>
                                        <p:tgtEl>
                                          <p:spTgt spid="11"/>
                                        </p:tgtEl>
                                        <p:attrNameLst>
                                          <p:attrName>style.visibility</p:attrName>
                                        </p:attrNameLst>
                                      </p:cBhvr>
                                      <p:to>
                                        <p:strVal val="visible"/>
                                      </p:to>
                                    </p:set>
                                    <p:animEffect transition="in" filter="barn(inVertical)">
                                      <p:cBhvr>
                                        <p:cTn id="45" dur="500"/>
                                        <p:tgtEl>
                                          <p:spTgt spid="11"/>
                                        </p:tgtEl>
                                      </p:cBhvr>
                                    </p:animEffect>
                                  </p:childTnLst>
                                </p:cTn>
                              </p:par>
                              <p:par>
                                <p:cTn id="46" presetID="16" presetClass="entr" presetSubtype="21" fill="hold" grpId="0" nodeType="withEffect">
                                  <p:stCondLst>
                                    <p:cond delay="0"/>
                                  </p:stCondLst>
                                  <p:childTnLst>
                                    <p:set>
                                      <p:cBhvr>
                                        <p:cTn id="47" dur="1" fill="hold">
                                          <p:stCondLst>
                                            <p:cond delay="0"/>
                                          </p:stCondLst>
                                        </p:cTn>
                                        <p:tgtEl>
                                          <p:spTgt spid="12"/>
                                        </p:tgtEl>
                                        <p:attrNameLst>
                                          <p:attrName>style.visibility</p:attrName>
                                        </p:attrNameLst>
                                      </p:cBhvr>
                                      <p:to>
                                        <p:strVal val="visible"/>
                                      </p:to>
                                    </p:set>
                                    <p:animEffect transition="in" filter="barn(inVertical)">
                                      <p:cBhvr>
                                        <p:cTn id="48" dur="500"/>
                                        <p:tgtEl>
                                          <p:spTgt spid="12"/>
                                        </p:tgtEl>
                                      </p:cBhvr>
                                    </p:animEffect>
                                  </p:childTnLst>
                                </p:cTn>
                              </p:par>
                            </p:childTnLst>
                          </p:cTn>
                        </p:par>
                      </p:childTnLst>
                    </p:cTn>
                  </p:par>
                  <p:par>
                    <p:cTn id="49" fill="hold">
                      <p:stCondLst>
                        <p:cond delay="indefinite"/>
                      </p:stCondLst>
                      <p:childTnLst>
                        <p:par>
                          <p:cTn id="50" fill="hold">
                            <p:stCondLst>
                              <p:cond delay="0"/>
                            </p:stCondLst>
                            <p:childTnLst>
                              <p:par>
                                <p:cTn id="51" presetID="16" presetClass="entr" presetSubtype="21" fill="hold" grpId="0" nodeType="clickEffect">
                                  <p:stCondLst>
                                    <p:cond delay="0"/>
                                  </p:stCondLst>
                                  <p:childTnLst>
                                    <p:set>
                                      <p:cBhvr>
                                        <p:cTn id="52" dur="1" fill="hold">
                                          <p:stCondLst>
                                            <p:cond delay="0"/>
                                          </p:stCondLst>
                                        </p:cTn>
                                        <p:tgtEl>
                                          <p:spTgt spid="22"/>
                                        </p:tgtEl>
                                        <p:attrNameLst>
                                          <p:attrName>style.visibility</p:attrName>
                                        </p:attrNameLst>
                                      </p:cBhvr>
                                      <p:to>
                                        <p:strVal val="visible"/>
                                      </p:to>
                                    </p:set>
                                    <p:animEffect transition="in" filter="barn(inVertical)">
                                      <p:cBhvr>
                                        <p:cTn id="53" dur="1000"/>
                                        <p:tgtEl>
                                          <p:spTgt spid="22"/>
                                        </p:tgtEl>
                                      </p:cBhvr>
                                    </p:animEffect>
                                  </p:childTnLst>
                                </p:cTn>
                              </p:par>
                            </p:childTnLst>
                          </p:cTn>
                        </p:par>
                      </p:childTnLst>
                    </p:cTn>
                  </p:par>
                  <p:par>
                    <p:cTn id="54" fill="hold">
                      <p:stCondLst>
                        <p:cond delay="indefinite"/>
                      </p:stCondLst>
                      <p:childTnLst>
                        <p:par>
                          <p:cTn id="55" fill="hold">
                            <p:stCondLst>
                              <p:cond delay="0"/>
                            </p:stCondLst>
                            <p:childTnLst>
                              <p:par>
                                <p:cTn id="56" presetID="16" presetClass="entr" presetSubtype="21" fill="hold" grpId="0" nodeType="clickEffect">
                                  <p:stCondLst>
                                    <p:cond delay="0"/>
                                  </p:stCondLst>
                                  <p:childTnLst>
                                    <p:set>
                                      <p:cBhvr>
                                        <p:cTn id="57" dur="1" fill="hold">
                                          <p:stCondLst>
                                            <p:cond delay="0"/>
                                          </p:stCondLst>
                                        </p:cTn>
                                        <p:tgtEl>
                                          <p:spTgt spid="13"/>
                                        </p:tgtEl>
                                        <p:attrNameLst>
                                          <p:attrName>style.visibility</p:attrName>
                                        </p:attrNameLst>
                                      </p:cBhvr>
                                      <p:to>
                                        <p:strVal val="visible"/>
                                      </p:to>
                                    </p:set>
                                    <p:animEffect transition="in" filter="barn(inVertical)">
                                      <p:cBhvr>
                                        <p:cTn id="58" dur="500"/>
                                        <p:tgtEl>
                                          <p:spTgt spid="13"/>
                                        </p:tgtEl>
                                      </p:cBhvr>
                                    </p:animEffect>
                                  </p:childTnLst>
                                </p:cTn>
                              </p:par>
                              <p:par>
                                <p:cTn id="59" presetID="16" presetClass="entr" presetSubtype="21" fill="hold" grpId="0" nodeType="withEffect">
                                  <p:stCondLst>
                                    <p:cond delay="0"/>
                                  </p:stCondLst>
                                  <p:childTnLst>
                                    <p:set>
                                      <p:cBhvr>
                                        <p:cTn id="60" dur="1" fill="hold">
                                          <p:stCondLst>
                                            <p:cond delay="0"/>
                                          </p:stCondLst>
                                        </p:cTn>
                                        <p:tgtEl>
                                          <p:spTgt spid="14"/>
                                        </p:tgtEl>
                                        <p:attrNameLst>
                                          <p:attrName>style.visibility</p:attrName>
                                        </p:attrNameLst>
                                      </p:cBhvr>
                                      <p:to>
                                        <p:strVal val="visible"/>
                                      </p:to>
                                    </p:set>
                                    <p:animEffect transition="in" filter="barn(inVertical)">
                                      <p:cBhvr>
                                        <p:cTn id="61" dur="500"/>
                                        <p:tgtEl>
                                          <p:spTgt spid="14"/>
                                        </p:tgtEl>
                                      </p:cBhvr>
                                    </p:animEffect>
                                  </p:childTnLst>
                                </p:cTn>
                              </p:par>
                              <p:par>
                                <p:cTn id="62" presetID="16" presetClass="entr" presetSubtype="21" fill="hold" grpId="0" nodeType="withEffect">
                                  <p:stCondLst>
                                    <p:cond delay="0"/>
                                  </p:stCondLst>
                                  <p:childTnLst>
                                    <p:set>
                                      <p:cBhvr>
                                        <p:cTn id="63" dur="1" fill="hold">
                                          <p:stCondLst>
                                            <p:cond delay="0"/>
                                          </p:stCondLst>
                                        </p:cTn>
                                        <p:tgtEl>
                                          <p:spTgt spid="15"/>
                                        </p:tgtEl>
                                        <p:attrNameLst>
                                          <p:attrName>style.visibility</p:attrName>
                                        </p:attrNameLst>
                                      </p:cBhvr>
                                      <p:to>
                                        <p:strVal val="visible"/>
                                      </p:to>
                                    </p:set>
                                    <p:animEffect transition="in" filter="barn(inVertical)">
                                      <p:cBhvr>
                                        <p:cTn id="64" dur="500"/>
                                        <p:tgtEl>
                                          <p:spTgt spid="15"/>
                                        </p:tgtEl>
                                      </p:cBhvr>
                                    </p:animEffect>
                                  </p:childTnLst>
                                </p:cTn>
                              </p:par>
                              <p:par>
                                <p:cTn id="65" presetID="16" presetClass="entr" presetSubtype="21" fill="hold" grpId="0" nodeType="withEffect">
                                  <p:stCondLst>
                                    <p:cond delay="0"/>
                                  </p:stCondLst>
                                  <p:childTnLst>
                                    <p:set>
                                      <p:cBhvr>
                                        <p:cTn id="66" dur="1" fill="hold">
                                          <p:stCondLst>
                                            <p:cond delay="0"/>
                                          </p:stCondLst>
                                        </p:cTn>
                                        <p:tgtEl>
                                          <p:spTgt spid="16"/>
                                        </p:tgtEl>
                                        <p:attrNameLst>
                                          <p:attrName>style.visibility</p:attrName>
                                        </p:attrNameLst>
                                      </p:cBhvr>
                                      <p:to>
                                        <p:strVal val="visible"/>
                                      </p:to>
                                    </p:set>
                                    <p:animEffect transition="in" filter="barn(inVertical)">
                                      <p:cBhvr>
                                        <p:cTn id="67" dur="500"/>
                                        <p:tgtEl>
                                          <p:spTgt spid="16"/>
                                        </p:tgtEl>
                                      </p:cBhvr>
                                    </p:animEffect>
                                  </p:childTnLst>
                                </p:cTn>
                              </p:par>
                            </p:childTnLst>
                          </p:cTn>
                        </p:par>
                      </p:childTnLst>
                    </p:cTn>
                  </p:par>
                  <p:par>
                    <p:cTn id="68" fill="hold">
                      <p:stCondLst>
                        <p:cond delay="indefinite"/>
                      </p:stCondLst>
                      <p:childTnLst>
                        <p:par>
                          <p:cTn id="69" fill="hold">
                            <p:stCondLst>
                              <p:cond delay="0"/>
                            </p:stCondLst>
                            <p:childTnLst>
                              <p:par>
                                <p:cTn id="70" presetID="16" presetClass="entr" presetSubtype="21" fill="hold" grpId="0" nodeType="clickEffect">
                                  <p:stCondLst>
                                    <p:cond delay="0"/>
                                  </p:stCondLst>
                                  <p:childTnLst>
                                    <p:set>
                                      <p:cBhvr>
                                        <p:cTn id="71" dur="1" fill="hold">
                                          <p:stCondLst>
                                            <p:cond delay="0"/>
                                          </p:stCondLst>
                                        </p:cTn>
                                        <p:tgtEl>
                                          <p:spTgt spid="23"/>
                                        </p:tgtEl>
                                        <p:attrNameLst>
                                          <p:attrName>style.visibility</p:attrName>
                                        </p:attrNameLst>
                                      </p:cBhvr>
                                      <p:to>
                                        <p:strVal val="visible"/>
                                      </p:to>
                                    </p:set>
                                    <p:animEffect transition="in" filter="barn(inVertical)">
                                      <p:cBhvr>
                                        <p:cTn id="72" dur="1000"/>
                                        <p:tgtEl>
                                          <p:spTgt spid="23"/>
                                        </p:tgtEl>
                                      </p:cBhvr>
                                    </p:animEffect>
                                  </p:childTnLst>
                                </p:cTn>
                              </p:par>
                            </p:childTnLst>
                          </p:cTn>
                        </p:par>
                      </p:childTnLst>
                    </p:cTn>
                  </p:par>
                  <p:par>
                    <p:cTn id="73" fill="hold">
                      <p:stCondLst>
                        <p:cond delay="indefinite"/>
                      </p:stCondLst>
                      <p:childTnLst>
                        <p:par>
                          <p:cTn id="74" fill="hold">
                            <p:stCondLst>
                              <p:cond delay="0"/>
                            </p:stCondLst>
                            <p:childTnLst>
                              <p:par>
                                <p:cTn id="75" presetID="16" presetClass="entr" presetSubtype="21" fill="hold" grpId="0" nodeType="clickEffect">
                                  <p:stCondLst>
                                    <p:cond delay="0"/>
                                  </p:stCondLst>
                                  <p:childTnLst>
                                    <p:set>
                                      <p:cBhvr>
                                        <p:cTn id="76" dur="1" fill="hold">
                                          <p:stCondLst>
                                            <p:cond delay="0"/>
                                          </p:stCondLst>
                                        </p:cTn>
                                        <p:tgtEl>
                                          <p:spTgt spid="17"/>
                                        </p:tgtEl>
                                        <p:attrNameLst>
                                          <p:attrName>style.visibility</p:attrName>
                                        </p:attrNameLst>
                                      </p:cBhvr>
                                      <p:to>
                                        <p:strVal val="visible"/>
                                      </p:to>
                                    </p:set>
                                    <p:animEffect transition="in" filter="barn(inVertical)">
                                      <p:cBhvr>
                                        <p:cTn id="77" dur="500"/>
                                        <p:tgtEl>
                                          <p:spTgt spid="17"/>
                                        </p:tgtEl>
                                      </p:cBhvr>
                                    </p:animEffect>
                                  </p:childTnLst>
                                </p:cTn>
                              </p:par>
                              <p:par>
                                <p:cTn id="78" presetID="16" presetClass="entr" presetSubtype="21" fill="hold" grpId="0" nodeType="withEffect">
                                  <p:stCondLst>
                                    <p:cond delay="0"/>
                                  </p:stCondLst>
                                  <p:childTnLst>
                                    <p:set>
                                      <p:cBhvr>
                                        <p:cTn id="79" dur="1" fill="hold">
                                          <p:stCondLst>
                                            <p:cond delay="0"/>
                                          </p:stCondLst>
                                        </p:cTn>
                                        <p:tgtEl>
                                          <p:spTgt spid="18"/>
                                        </p:tgtEl>
                                        <p:attrNameLst>
                                          <p:attrName>style.visibility</p:attrName>
                                        </p:attrNameLst>
                                      </p:cBhvr>
                                      <p:to>
                                        <p:strVal val="visible"/>
                                      </p:to>
                                    </p:set>
                                    <p:animEffect transition="in" filter="barn(inVertical)">
                                      <p:cBhvr>
                                        <p:cTn id="80" dur="500"/>
                                        <p:tgtEl>
                                          <p:spTgt spid="18"/>
                                        </p:tgtEl>
                                      </p:cBhvr>
                                    </p:animEffect>
                                  </p:childTnLst>
                                </p:cTn>
                              </p:par>
                              <p:par>
                                <p:cTn id="81" presetID="16" presetClass="entr" presetSubtype="21" fill="hold" grpId="0" nodeType="withEffect">
                                  <p:stCondLst>
                                    <p:cond delay="0"/>
                                  </p:stCondLst>
                                  <p:childTnLst>
                                    <p:set>
                                      <p:cBhvr>
                                        <p:cTn id="82" dur="1" fill="hold">
                                          <p:stCondLst>
                                            <p:cond delay="0"/>
                                          </p:stCondLst>
                                        </p:cTn>
                                        <p:tgtEl>
                                          <p:spTgt spid="19"/>
                                        </p:tgtEl>
                                        <p:attrNameLst>
                                          <p:attrName>style.visibility</p:attrName>
                                        </p:attrNameLst>
                                      </p:cBhvr>
                                      <p:to>
                                        <p:strVal val="visible"/>
                                      </p:to>
                                    </p:set>
                                    <p:animEffect transition="in" filter="barn(inVertical)">
                                      <p:cBhvr>
                                        <p:cTn id="83" dur="500"/>
                                        <p:tgtEl>
                                          <p:spTgt spid="19"/>
                                        </p:tgtEl>
                                      </p:cBhvr>
                                    </p:animEffect>
                                  </p:childTnLst>
                                </p:cTn>
                              </p:par>
                              <p:par>
                                <p:cTn id="84" presetID="16" presetClass="entr" presetSubtype="21" fill="hold" grpId="0" nodeType="withEffect">
                                  <p:stCondLst>
                                    <p:cond delay="0"/>
                                  </p:stCondLst>
                                  <p:childTnLst>
                                    <p:set>
                                      <p:cBhvr>
                                        <p:cTn id="85" dur="1" fill="hold">
                                          <p:stCondLst>
                                            <p:cond delay="0"/>
                                          </p:stCondLst>
                                        </p:cTn>
                                        <p:tgtEl>
                                          <p:spTgt spid="20"/>
                                        </p:tgtEl>
                                        <p:attrNameLst>
                                          <p:attrName>style.visibility</p:attrName>
                                        </p:attrNameLst>
                                      </p:cBhvr>
                                      <p:to>
                                        <p:strVal val="visible"/>
                                      </p:to>
                                    </p:set>
                                    <p:animEffect transition="in" filter="barn(inVertical)">
                                      <p:cBhvr>
                                        <p:cTn id="86" dur="500"/>
                                        <p:tgtEl>
                                          <p:spTgt spid="20"/>
                                        </p:tgtEl>
                                      </p:cBhvr>
                                    </p:animEffect>
                                  </p:childTnLst>
                                </p:cTn>
                              </p:par>
                            </p:childTnLst>
                          </p:cTn>
                        </p:par>
                      </p:childTnLst>
                    </p:cTn>
                  </p:par>
                  <p:par>
                    <p:cTn id="87" fill="hold">
                      <p:stCondLst>
                        <p:cond delay="indefinite"/>
                      </p:stCondLst>
                      <p:childTnLst>
                        <p:par>
                          <p:cTn id="88" fill="hold">
                            <p:stCondLst>
                              <p:cond delay="0"/>
                            </p:stCondLst>
                            <p:childTnLst>
                              <p:par>
                                <p:cTn id="89" presetID="16" presetClass="entr" presetSubtype="21" fill="hold" grpId="0" nodeType="clickEffect">
                                  <p:stCondLst>
                                    <p:cond delay="0"/>
                                  </p:stCondLst>
                                  <p:childTnLst>
                                    <p:set>
                                      <p:cBhvr>
                                        <p:cTn id="90" dur="1" fill="hold">
                                          <p:stCondLst>
                                            <p:cond delay="0"/>
                                          </p:stCondLst>
                                        </p:cTn>
                                        <p:tgtEl>
                                          <p:spTgt spid="24"/>
                                        </p:tgtEl>
                                        <p:attrNameLst>
                                          <p:attrName>style.visibility</p:attrName>
                                        </p:attrNameLst>
                                      </p:cBhvr>
                                      <p:to>
                                        <p:strVal val="visible"/>
                                      </p:to>
                                    </p:set>
                                    <p:animEffect transition="in" filter="barn(inVertical)">
                                      <p:cBhvr>
                                        <p:cTn id="91" dur="10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4" grpId="0" animBg="1"/>
      <p:bldP spid="5" grpId="0" animBg="1"/>
      <p:bldP spid="6" grpId="0"/>
      <p:bldP spid="7" grpId="0" animBg="1"/>
      <p:bldP spid="8" grpId="0"/>
      <p:bldP spid="9" grpId="0" animBg="1"/>
      <p:bldP spid="10" grpId="0" animBg="1"/>
      <p:bldP spid="11" grpId="0" animBg="1"/>
      <p:bldP spid="12" grpId="0"/>
      <p:bldP spid="13" grpId="0" animBg="1"/>
      <p:bldP spid="14" grpId="0" animBg="1"/>
      <p:bldP spid="15" grpId="0" animBg="1"/>
      <p:bldP spid="16" grpId="0"/>
      <p:bldP spid="17" grpId="0" animBg="1"/>
      <p:bldP spid="18" grpId="0" animBg="1"/>
      <p:bldP spid="19" grpId="0" animBg="1"/>
      <p:bldP spid="20" grpId="0"/>
      <p:bldP spid="21" grpId="0" animBg="1"/>
      <p:bldP spid="22" grpId="0" animBg="1"/>
      <p:bldP spid="23" grpId="0" animBg="1"/>
      <p:bldP spid="24"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Google Shape;910;p31">
            <a:extLst>
              <a:ext uri="{FF2B5EF4-FFF2-40B4-BE49-F238E27FC236}">
                <a16:creationId xmlns:a16="http://schemas.microsoft.com/office/drawing/2014/main" id="{91D5213E-0EB5-B4F9-9662-B5301042B2E6}"/>
              </a:ext>
            </a:extLst>
          </p:cNvPr>
          <p:cNvSpPr txBox="1"/>
          <p:nvPr/>
        </p:nvSpPr>
        <p:spPr>
          <a:xfrm>
            <a:off x="7783287" y="1930671"/>
            <a:ext cx="2135019" cy="435819"/>
          </a:xfrm>
          <a:prstGeom prst="rect">
            <a:avLst/>
          </a:prstGeom>
          <a:solidFill>
            <a:srgbClr val="11C1FF">
              <a:alpha val="55294"/>
            </a:srgbClr>
          </a:solidFill>
          <a:ln w="9525" cap="flat" cmpd="sng">
            <a:solidFill>
              <a:srgbClr val="97A4FF"/>
            </a:solidFill>
            <a:prstDash val="solid"/>
            <a:round/>
            <a:headEnd type="none" w="sm" len="sm"/>
            <a:tailEnd type="none" w="sm" len="sm"/>
          </a:ln>
        </p:spPr>
        <p:txBody>
          <a:bodyPr spcFirstLastPara="1" wrap="square" lIns="121900" tIns="121900" rIns="121900" bIns="121900" anchor="ctr" anchorCtr="0">
            <a:noAutofit/>
          </a:bodyPr>
          <a:lstStyle/>
          <a:p>
            <a:pPr algn="ctr" defTabSz="1219140">
              <a:defRPr/>
            </a:pPr>
            <a:r>
              <a:rPr lang="ar-SA" sz="2400" b="1" dirty="0">
                <a:solidFill>
                  <a:srgbClr val="01083A"/>
                </a:solidFill>
                <a:latin typeface="Sakkal Majalla" panose="02000000000000000000" pitchFamily="2" charset="-78"/>
                <a:ea typeface="Samim" panose="020B0603030804020204" pitchFamily="34" charset="0"/>
                <a:cs typeface="Sakkal Majalla" panose="02000000000000000000" pitchFamily="2" charset="-78"/>
                <a:sym typeface="Josefin Sans"/>
              </a:rPr>
              <a:t>تحليل الوثائق</a:t>
            </a:r>
            <a:endParaRPr sz="2400" b="1" dirty="0">
              <a:solidFill>
                <a:srgbClr val="01083A"/>
              </a:solidFill>
              <a:latin typeface="Sakkal Majalla" panose="02000000000000000000" pitchFamily="2" charset="-78"/>
              <a:ea typeface="Samim" panose="020B0603030804020204" pitchFamily="34" charset="0"/>
              <a:cs typeface="Sakkal Majalla" panose="02000000000000000000" pitchFamily="2" charset="-78"/>
              <a:sym typeface="Josefin Sans"/>
            </a:endParaRPr>
          </a:p>
        </p:txBody>
      </p:sp>
      <p:sp>
        <p:nvSpPr>
          <p:cNvPr id="3" name="Google Shape;911;p31">
            <a:extLst>
              <a:ext uri="{FF2B5EF4-FFF2-40B4-BE49-F238E27FC236}">
                <a16:creationId xmlns:a16="http://schemas.microsoft.com/office/drawing/2014/main" id="{728041C0-1A6C-9772-888F-4C2F1EEF486E}"/>
              </a:ext>
            </a:extLst>
          </p:cNvPr>
          <p:cNvSpPr txBox="1"/>
          <p:nvPr/>
        </p:nvSpPr>
        <p:spPr>
          <a:xfrm>
            <a:off x="7783287" y="2419752"/>
            <a:ext cx="2135019" cy="1578387"/>
          </a:xfrm>
          <a:prstGeom prst="rect">
            <a:avLst/>
          </a:prstGeom>
          <a:noFill/>
          <a:ln w="9525" cap="flat" cmpd="sng">
            <a:solidFill>
              <a:srgbClr val="97A4FF"/>
            </a:solidFill>
            <a:prstDash val="solid"/>
            <a:round/>
            <a:headEnd type="none" w="sm" len="sm"/>
            <a:tailEnd type="none" w="sm" len="sm"/>
          </a:ln>
        </p:spPr>
        <p:txBody>
          <a:bodyPr spcFirstLastPara="1" wrap="square" lIns="60933" tIns="60933" rIns="60933" bIns="0" anchor="t" anchorCtr="0">
            <a:noAutofit/>
          </a:bodyPr>
          <a:lstStyle/>
          <a:p>
            <a:pPr marL="342891" indent="-342891" defTabSz="1219140">
              <a:buClr>
                <a:srgbClr val="11C1FF"/>
              </a:buClr>
              <a:buFont typeface="Wingdings" panose="05000000000000000000" pitchFamily="2" charset="2"/>
              <a:buChar char="v"/>
              <a:defRPr/>
            </a:pPr>
            <a:r>
              <a:rPr lang="ar-SA" sz="2400" dirty="0">
                <a:solidFill>
                  <a:prstClr val="black"/>
                </a:solidFill>
                <a:latin typeface="Sakkal Majalla" panose="02000000000000000000" pitchFamily="2" charset="-78"/>
                <a:ea typeface="Samim" panose="020B0603030804020204" pitchFamily="34" charset="0"/>
                <a:cs typeface="Sakkal Majalla" panose="02000000000000000000" pitchFamily="2" charset="-78"/>
              </a:rPr>
              <a:t>الإدارة المدرسية</a:t>
            </a:r>
          </a:p>
          <a:p>
            <a:pPr marL="342891" indent="-342891" defTabSz="1219140">
              <a:buClr>
                <a:srgbClr val="11C1FF"/>
              </a:buClr>
              <a:buFont typeface="Wingdings" panose="05000000000000000000" pitchFamily="2" charset="2"/>
              <a:buChar char="v"/>
              <a:defRPr/>
            </a:pPr>
            <a:r>
              <a:rPr lang="ar-SA" sz="2400" kern="0" dirty="0">
                <a:solidFill>
                  <a:srgbClr val="01083A"/>
                </a:solidFill>
                <a:latin typeface="Sakkal Majalla" panose="02000000000000000000" pitchFamily="2" charset="-78"/>
                <a:ea typeface="Samim" panose="020B0603030804020204" pitchFamily="34" charset="0"/>
                <a:cs typeface="Sakkal Majalla" panose="02000000000000000000" pitchFamily="2" charset="-78"/>
                <a:sym typeface="Quicksand"/>
              </a:rPr>
              <a:t>التعليم والتعلم</a:t>
            </a:r>
          </a:p>
          <a:p>
            <a:pPr marL="342891" indent="-342891" defTabSz="1219140">
              <a:buClr>
                <a:srgbClr val="11C1FF"/>
              </a:buClr>
              <a:buFont typeface="Wingdings" panose="05000000000000000000" pitchFamily="2" charset="2"/>
              <a:buChar char="v"/>
              <a:defRPr/>
            </a:pPr>
            <a:r>
              <a:rPr lang="ar-SA" sz="2400" kern="0" dirty="0">
                <a:solidFill>
                  <a:srgbClr val="01083A"/>
                </a:solidFill>
                <a:latin typeface="Sakkal Majalla" panose="02000000000000000000" pitchFamily="2" charset="-78"/>
                <a:ea typeface="Samim" panose="020B0603030804020204" pitchFamily="34" charset="0"/>
                <a:cs typeface="Sakkal Majalla" panose="02000000000000000000" pitchFamily="2" charset="-78"/>
                <a:sym typeface="Quicksand"/>
              </a:rPr>
              <a:t> نواتج التعلم</a:t>
            </a:r>
          </a:p>
          <a:p>
            <a:pPr marL="342891" indent="-342891" defTabSz="1219140">
              <a:buClr>
                <a:srgbClr val="11C1FF"/>
              </a:buClr>
              <a:buFont typeface="Wingdings" panose="05000000000000000000" pitchFamily="2" charset="2"/>
              <a:buChar char="v"/>
              <a:defRPr/>
            </a:pPr>
            <a:r>
              <a:rPr lang="ar-SA" sz="2400" kern="0" dirty="0">
                <a:solidFill>
                  <a:srgbClr val="01083A"/>
                </a:solidFill>
                <a:latin typeface="Sakkal Majalla" panose="02000000000000000000" pitchFamily="2" charset="-78"/>
                <a:ea typeface="Samim" panose="020B0603030804020204" pitchFamily="34" charset="0"/>
                <a:cs typeface="Sakkal Majalla" panose="02000000000000000000" pitchFamily="2" charset="-78"/>
                <a:sym typeface="Quicksand"/>
              </a:rPr>
              <a:t> البيئة المدرسية</a:t>
            </a:r>
          </a:p>
          <a:p>
            <a:pPr defTabSz="1219140">
              <a:defRPr/>
            </a:pPr>
            <a:endParaRPr sz="2400" kern="0" dirty="0">
              <a:solidFill>
                <a:srgbClr val="01083A"/>
              </a:solidFill>
              <a:latin typeface="Sakkal Majalla" panose="02000000000000000000" pitchFamily="2" charset="-78"/>
              <a:ea typeface="Samim" panose="020B0603030804020204" pitchFamily="34" charset="0"/>
              <a:cs typeface="Sakkal Majalla" panose="02000000000000000000" pitchFamily="2" charset="-78"/>
              <a:sym typeface="Quicksand"/>
            </a:endParaRPr>
          </a:p>
        </p:txBody>
      </p:sp>
      <p:sp>
        <p:nvSpPr>
          <p:cNvPr id="4" name="Google Shape;910;p31">
            <a:extLst>
              <a:ext uri="{FF2B5EF4-FFF2-40B4-BE49-F238E27FC236}">
                <a16:creationId xmlns:a16="http://schemas.microsoft.com/office/drawing/2014/main" id="{2A99C5EA-BDE7-8EC8-A35D-CA8B69152CF0}"/>
              </a:ext>
            </a:extLst>
          </p:cNvPr>
          <p:cNvSpPr txBox="1"/>
          <p:nvPr/>
        </p:nvSpPr>
        <p:spPr>
          <a:xfrm>
            <a:off x="9646163" y="584181"/>
            <a:ext cx="272143" cy="435819"/>
          </a:xfrm>
          <a:prstGeom prst="rect">
            <a:avLst/>
          </a:prstGeom>
          <a:solidFill>
            <a:srgbClr val="FF6600"/>
          </a:solidFill>
          <a:ln w="9525" cap="flat" cmpd="sng">
            <a:solidFill>
              <a:srgbClr val="97A4FF"/>
            </a:solidFill>
            <a:prstDash val="solid"/>
            <a:round/>
            <a:headEnd type="none" w="sm" len="sm"/>
            <a:tailEnd type="none" w="sm" len="sm"/>
          </a:ln>
        </p:spPr>
        <p:txBody>
          <a:bodyPr spcFirstLastPara="1" wrap="square" lIns="121900" tIns="121900" rIns="121900" bIns="121900" anchor="ctr" anchorCtr="0">
            <a:noAutofit/>
          </a:bodyPr>
          <a:lstStyle/>
          <a:p>
            <a:pPr algn="ctr" defTabSz="1219140">
              <a:defRPr/>
            </a:pPr>
            <a:endParaRPr sz="2000" b="1" dirty="0">
              <a:solidFill>
                <a:srgbClr val="01083A"/>
              </a:solidFill>
              <a:latin typeface="Sakkal Majalla" panose="02000000000000000000" pitchFamily="2" charset="-78"/>
              <a:ea typeface="Samim" panose="020B0603030804020204" pitchFamily="34" charset="0"/>
              <a:cs typeface="Sakkal Majalla" panose="02000000000000000000" pitchFamily="2" charset="-78"/>
              <a:sym typeface="Josefin Sans"/>
            </a:endParaRPr>
          </a:p>
        </p:txBody>
      </p:sp>
      <p:sp>
        <p:nvSpPr>
          <p:cNvPr id="5" name="مربع نص 4">
            <a:extLst>
              <a:ext uri="{FF2B5EF4-FFF2-40B4-BE49-F238E27FC236}">
                <a16:creationId xmlns:a16="http://schemas.microsoft.com/office/drawing/2014/main" id="{0916E1B2-4BFD-CA36-7196-375DD1212B82}"/>
              </a:ext>
            </a:extLst>
          </p:cNvPr>
          <p:cNvSpPr txBox="1"/>
          <p:nvPr/>
        </p:nvSpPr>
        <p:spPr>
          <a:xfrm>
            <a:off x="1517761" y="1046412"/>
            <a:ext cx="8400545" cy="830997"/>
          </a:xfrm>
          <a:prstGeom prst="rect">
            <a:avLst/>
          </a:prstGeom>
          <a:solidFill>
            <a:srgbClr val="7030A0"/>
          </a:solidFill>
        </p:spPr>
        <p:txBody>
          <a:bodyPr wrap="square">
            <a:spAutoFit/>
          </a:bodyPr>
          <a:lstStyle/>
          <a:p>
            <a:pPr defTabSz="914377"/>
            <a:r>
              <a:rPr lang="ar-SA" sz="2400" dirty="0">
                <a:solidFill>
                  <a:srgbClr val="FFFFFF"/>
                </a:solidFill>
                <a:latin typeface="Sakkal Majalla" panose="02000000000000000000" pitchFamily="2" charset="-78"/>
                <a:cs typeface="Sakkal Majalla" panose="02000000000000000000" pitchFamily="2" charset="-78"/>
              </a:rPr>
              <a:t>تنفذ عمليات التقويم المدرسي بناء على مجموعة من الأدوات تساهم بتكوين صورة شاملة عن واقع المدرسة ومنها: أي يتم جمع البيانات من خلال 6 مصادر رئيسية:</a:t>
            </a:r>
          </a:p>
        </p:txBody>
      </p:sp>
      <p:sp>
        <p:nvSpPr>
          <p:cNvPr id="6" name="مربع نص 5">
            <a:extLst>
              <a:ext uri="{FF2B5EF4-FFF2-40B4-BE49-F238E27FC236}">
                <a16:creationId xmlns:a16="http://schemas.microsoft.com/office/drawing/2014/main" id="{E009908B-226B-698E-C751-1679E3B62E34}"/>
              </a:ext>
            </a:extLst>
          </p:cNvPr>
          <p:cNvSpPr txBox="1"/>
          <p:nvPr/>
        </p:nvSpPr>
        <p:spPr>
          <a:xfrm>
            <a:off x="4976192" y="589646"/>
            <a:ext cx="4572000" cy="523220"/>
          </a:xfrm>
          <a:prstGeom prst="rect">
            <a:avLst/>
          </a:prstGeom>
          <a:noFill/>
        </p:spPr>
        <p:txBody>
          <a:bodyPr wrap="square">
            <a:spAutoFit/>
          </a:bodyPr>
          <a:lstStyle/>
          <a:p>
            <a:pPr defTabSz="1219140">
              <a:defRPr/>
            </a:pPr>
            <a:r>
              <a:rPr lang="ar-SA" sz="2800" b="1" dirty="0">
                <a:solidFill>
                  <a:srgbClr val="3F007E"/>
                </a:solidFill>
                <a:latin typeface="Sakkal Majalla" panose="02000000000000000000" pitchFamily="2" charset="-78"/>
                <a:ea typeface="Samim" panose="020B0603030804020204" pitchFamily="34" charset="0"/>
                <a:cs typeface="Sakkal Majalla" panose="02000000000000000000" pitchFamily="2" charset="-78"/>
                <a:sym typeface="Josefin Sans"/>
              </a:rPr>
              <a:t>أدوات التقويم المدرسي</a:t>
            </a:r>
          </a:p>
        </p:txBody>
      </p:sp>
      <p:sp>
        <p:nvSpPr>
          <p:cNvPr id="7" name="Google Shape;910;p31">
            <a:extLst>
              <a:ext uri="{FF2B5EF4-FFF2-40B4-BE49-F238E27FC236}">
                <a16:creationId xmlns:a16="http://schemas.microsoft.com/office/drawing/2014/main" id="{00138D53-CADD-1317-C471-3807AF0B6A6F}"/>
              </a:ext>
            </a:extLst>
          </p:cNvPr>
          <p:cNvSpPr txBox="1"/>
          <p:nvPr/>
        </p:nvSpPr>
        <p:spPr>
          <a:xfrm>
            <a:off x="5667564" y="1930671"/>
            <a:ext cx="1952437" cy="435819"/>
          </a:xfrm>
          <a:prstGeom prst="rect">
            <a:avLst/>
          </a:prstGeom>
          <a:solidFill>
            <a:srgbClr val="11C1FF">
              <a:alpha val="55294"/>
            </a:srgbClr>
          </a:solidFill>
          <a:ln w="9525" cap="flat" cmpd="sng">
            <a:solidFill>
              <a:srgbClr val="97A4FF"/>
            </a:solidFill>
            <a:prstDash val="solid"/>
            <a:round/>
            <a:headEnd type="none" w="sm" len="sm"/>
            <a:tailEnd type="none" w="sm" len="sm"/>
          </a:ln>
        </p:spPr>
        <p:txBody>
          <a:bodyPr spcFirstLastPara="1" wrap="square" lIns="121900" tIns="121900" rIns="121900" bIns="121900" anchor="ctr" anchorCtr="0">
            <a:noAutofit/>
          </a:bodyPr>
          <a:lstStyle/>
          <a:p>
            <a:pPr algn="ctr" defTabSz="1219140">
              <a:defRPr/>
            </a:pPr>
            <a:r>
              <a:rPr lang="ar-SA" sz="2400" b="1" dirty="0">
                <a:solidFill>
                  <a:srgbClr val="01083A"/>
                </a:solidFill>
                <a:latin typeface="Sakkal Majalla" panose="02000000000000000000" pitchFamily="2" charset="-78"/>
                <a:ea typeface="Samim" panose="020B0603030804020204" pitchFamily="34" charset="0"/>
                <a:cs typeface="Sakkal Majalla" panose="02000000000000000000" pitchFamily="2" charset="-78"/>
                <a:sym typeface="Josefin Sans"/>
              </a:rPr>
              <a:t>الاستبانات</a:t>
            </a:r>
            <a:endParaRPr sz="2400" b="1" dirty="0">
              <a:solidFill>
                <a:srgbClr val="01083A"/>
              </a:solidFill>
              <a:latin typeface="Sakkal Majalla" panose="02000000000000000000" pitchFamily="2" charset="-78"/>
              <a:ea typeface="Samim" panose="020B0603030804020204" pitchFamily="34" charset="0"/>
              <a:cs typeface="Sakkal Majalla" panose="02000000000000000000" pitchFamily="2" charset="-78"/>
              <a:sym typeface="Josefin Sans"/>
            </a:endParaRPr>
          </a:p>
        </p:txBody>
      </p:sp>
      <p:sp>
        <p:nvSpPr>
          <p:cNvPr id="8" name="Google Shape;911;p31">
            <a:extLst>
              <a:ext uri="{FF2B5EF4-FFF2-40B4-BE49-F238E27FC236}">
                <a16:creationId xmlns:a16="http://schemas.microsoft.com/office/drawing/2014/main" id="{E024F187-B614-BCD6-44C8-C8672B532FFD}"/>
              </a:ext>
            </a:extLst>
          </p:cNvPr>
          <p:cNvSpPr txBox="1"/>
          <p:nvPr/>
        </p:nvSpPr>
        <p:spPr>
          <a:xfrm>
            <a:off x="5667564" y="2419752"/>
            <a:ext cx="1952439" cy="1578387"/>
          </a:xfrm>
          <a:prstGeom prst="rect">
            <a:avLst/>
          </a:prstGeom>
          <a:noFill/>
          <a:ln w="9525" cap="flat" cmpd="sng">
            <a:solidFill>
              <a:srgbClr val="97A4FF"/>
            </a:solidFill>
            <a:prstDash val="solid"/>
            <a:round/>
            <a:headEnd type="none" w="sm" len="sm"/>
            <a:tailEnd type="none" w="sm" len="sm"/>
          </a:ln>
        </p:spPr>
        <p:txBody>
          <a:bodyPr spcFirstLastPara="1" wrap="square" lIns="60933" tIns="60933" rIns="60933" bIns="0" anchor="t" anchorCtr="0">
            <a:noAutofit/>
          </a:bodyPr>
          <a:lstStyle/>
          <a:p>
            <a:pPr marL="342891" indent="-342891" defTabSz="1219140">
              <a:buClr>
                <a:srgbClr val="11C1FF"/>
              </a:buClr>
              <a:buFont typeface="Wingdings" panose="05000000000000000000" pitchFamily="2" charset="2"/>
              <a:buChar char="v"/>
              <a:defRPr/>
            </a:pPr>
            <a:r>
              <a:rPr lang="ar-SA" sz="2400" dirty="0">
                <a:solidFill>
                  <a:prstClr val="black"/>
                </a:solidFill>
                <a:latin typeface="Sakkal Majalla" panose="02000000000000000000" pitchFamily="2" charset="-78"/>
                <a:ea typeface="Samim" panose="020B0603030804020204" pitchFamily="34" charset="0"/>
                <a:cs typeface="Sakkal Majalla" panose="02000000000000000000" pitchFamily="2" charset="-78"/>
              </a:rPr>
              <a:t>المعلم</a:t>
            </a:r>
          </a:p>
          <a:p>
            <a:pPr marL="342891" indent="-342891" defTabSz="1219140">
              <a:buClr>
                <a:srgbClr val="11C1FF"/>
              </a:buClr>
              <a:buFont typeface="Wingdings" panose="05000000000000000000" pitchFamily="2" charset="2"/>
              <a:buChar char="v"/>
              <a:defRPr/>
            </a:pPr>
            <a:r>
              <a:rPr lang="ar-SA" sz="2400" kern="0" dirty="0">
                <a:solidFill>
                  <a:srgbClr val="01083A"/>
                </a:solidFill>
                <a:latin typeface="Sakkal Majalla" panose="02000000000000000000" pitchFamily="2" charset="-78"/>
                <a:ea typeface="Samim" panose="020B0603030804020204" pitchFamily="34" charset="0"/>
                <a:cs typeface="Sakkal Majalla" panose="02000000000000000000" pitchFamily="2" charset="-78"/>
                <a:sym typeface="Quicksand"/>
              </a:rPr>
              <a:t>المتعلم</a:t>
            </a:r>
          </a:p>
          <a:p>
            <a:pPr marL="342891" indent="-342891" defTabSz="1219140">
              <a:buClr>
                <a:srgbClr val="11C1FF"/>
              </a:buClr>
              <a:buFont typeface="Wingdings" panose="05000000000000000000" pitchFamily="2" charset="2"/>
              <a:buChar char="v"/>
              <a:defRPr/>
            </a:pPr>
            <a:r>
              <a:rPr lang="ar-SA" sz="2400" kern="0" dirty="0">
                <a:solidFill>
                  <a:srgbClr val="01083A"/>
                </a:solidFill>
                <a:latin typeface="Sakkal Majalla" panose="02000000000000000000" pitchFamily="2" charset="-78"/>
                <a:ea typeface="Samim" panose="020B0603030804020204" pitchFamily="34" charset="0"/>
                <a:cs typeface="Sakkal Majalla" panose="02000000000000000000" pitchFamily="2" charset="-78"/>
                <a:sym typeface="Quicksand"/>
              </a:rPr>
              <a:t>ولي الأمر</a:t>
            </a:r>
          </a:p>
          <a:p>
            <a:pPr defTabSz="1219140">
              <a:defRPr/>
            </a:pPr>
            <a:endParaRPr sz="2400" kern="0" dirty="0">
              <a:solidFill>
                <a:srgbClr val="01083A"/>
              </a:solidFill>
              <a:latin typeface="Sakkal Majalla" panose="02000000000000000000" pitchFamily="2" charset="-78"/>
              <a:ea typeface="Samim" panose="020B0603030804020204" pitchFamily="34" charset="0"/>
              <a:cs typeface="Sakkal Majalla" panose="02000000000000000000" pitchFamily="2" charset="-78"/>
              <a:sym typeface="Quicksand"/>
            </a:endParaRPr>
          </a:p>
        </p:txBody>
      </p:sp>
      <p:sp>
        <p:nvSpPr>
          <p:cNvPr id="9" name="Google Shape;910;p31">
            <a:extLst>
              <a:ext uri="{FF2B5EF4-FFF2-40B4-BE49-F238E27FC236}">
                <a16:creationId xmlns:a16="http://schemas.microsoft.com/office/drawing/2014/main" id="{F5124375-11E6-FDBA-BD4C-59E05C178C7B}"/>
              </a:ext>
            </a:extLst>
          </p:cNvPr>
          <p:cNvSpPr txBox="1"/>
          <p:nvPr/>
        </p:nvSpPr>
        <p:spPr>
          <a:xfrm>
            <a:off x="3551841" y="1930670"/>
            <a:ext cx="1952437" cy="435819"/>
          </a:xfrm>
          <a:prstGeom prst="rect">
            <a:avLst/>
          </a:prstGeom>
          <a:solidFill>
            <a:srgbClr val="11C1FF">
              <a:alpha val="55294"/>
            </a:srgbClr>
          </a:solidFill>
          <a:ln w="9525" cap="flat" cmpd="sng">
            <a:solidFill>
              <a:srgbClr val="97A4FF"/>
            </a:solidFill>
            <a:prstDash val="solid"/>
            <a:round/>
            <a:headEnd type="none" w="sm" len="sm"/>
            <a:tailEnd type="none" w="sm" len="sm"/>
          </a:ln>
        </p:spPr>
        <p:txBody>
          <a:bodyPr spcFirstLastPara="1" wrap="square" lIns="121900" tIns="121900" rIns="121900" bIns="121900" anchor="ctr" anchorCtr="0">
            <a:noAutofit/>
          </a:bodyPr>
          <a:lstStyle/>
          <a:p>
            <a:pPr algn="ctr" defTabSz="1219140">
              <a:defRPr/>
            </a:pPr>
            <a:r>
              <a:rPr lang="ar-SA" sz="2400" b="1" dirty="0">
                <a:solidFill>
                  <a:srgbClr val="01083A"/>
                </a:solidFill>
                <a:latin typeface="Sakkal Majalla" panose="02000000000000000000" pitchFamily="2" charset="-78"/>
                <a:ea typeface="Samim" panose="020B0603030804020204" pitchFamily="34" charset="0"/>
                <a:cs typeface="Sakkal Majalla" panose="02000000000000000000" pitchFamily="2" charset="-78"/>
                <a:sym typeface="Josefin Sans"/>
              </a:rPr>
              <a:t>الملاحظة</a:t>
            </a:r>
            <a:endParaRPr sz="2400" b="1" dirty="0">
              <a:solidFill>
                <a:srgbClr val="01083A"/>
              </a:solidFill>
              <a:latin typeface="Sakkal Majalla" panose="02000000000000000000" pitchFamily="2" charset="-78"/>
              <a:ea typeface="Samim" panose="020B0603030804020204" pitchFamily="34" charset="0"/>
              <a:cs typeface="Sakkal Majalla" panose="02000000000000000000" pitchFamily="2" charset="-78"/>
              <a:sym typeface="Josefin Sans"/>
            </a:endParaRPr>
          </a:p>
        </p:txBody>
      </p:sp>
      <p:sp>
        <p:nvSpPr>
          <p:cNvPr id="10" name="Google Shape;911;p31">
            <a:extLst>
              <a:ext uri="{FF2B5EF4-FFF2-40B4-BE49-F238E27FC236}">
                <a16:creationId xmlns:a16="http://schemas.microsoft.com/office/drawing/2014/main" id="{A1BDC9D0-0A96-FC93-F78D-65A60716C15C}"/>
              </a:ext>
            </a:extLst>
          </p:cNvPr>
          <p:cNvSpPr txBox="1"/>
          <p:nvPr/>
        </p:nvSpPr>
        <p:spPr>
          <a:xfrm>
            <a:off x="3551842" y="2419750"/>
            <a:ext cx="1952439" cy="1578387"/>
          </a:xfrm>
          <a:prstGeom prst="rect">
            <a:avLst/>
          </a:prstGeom>
          <a:noFill/>
          <a:ln w="9525" cap="flat" cmpd="sng">
            <a:solidFill>
              <a:srgbClr val="97A4FF"/>
            </a:solidFill>
            <a:prstDash val="solid"/>
            <a:round/>
            <a:headEnd type="none" w="sm" len="sm"/>
            <a:tailEnd type="none" w="sm" len="sm"/>
          </a:ln>
        </p:spPr>
        <p:txBody>
          <a:bodyPr spcFirstLastPara="1" wrap="square" lIns="60933" tIns="60933" rIns="60933" bIns="0" anchor="t" anchorCtr="0">
            <a:noAutofit/>
          </a:bodyPr>
          <a:lstStyle/>
          <a:p>
            <a:pPr marL="342891" indent="-342891" defTabSz="1219140">
              <a:buClr>
                <a:srgbClr val="11C1FF"/>
              </a:buClr>
              <a:buFont typeface="Wingdings" panose="05000000000000000000" pitchFamily="2" charset="2"/>
              <a:buChar char="v"/>
              <a:defRPr/>
            </a:pPr>
            <a:r>
              <a:rPr lang="ar-SA" sz="2400" dirty="0">
                <a:solidFill>
                  <a:prstClr val="black"/>
                </a:solidFill>
                <a:latin typeface="Sakkal Majalla" panose="02000000000000000000" pitchFamily="2" charset="-78"/>
                <a:ea typeface="Samim" panose="020B0603030804020204" pitchFamily="34" charset="0"/>
                <a:cs typeface="Sakkal Majalla" panose="02000000000000000000" pitchFamily="2" charset="-78"/>
              </a:rPr>
              <a:t>الملاحظة الصفية</a:t>
            </a:r>
          </a:p>
          <a:p>
            <a:pPr marL="342891" indent="-342891" defTabSz="1219140">
              <a:buClr>
                <a:srgbClr val="11C1FF"/>
              </a:buClr>
              <a:buFont typeface="Wingdings" panose="05000000000000000000" pitchFamily="2" charset="2"/>
              <a:buChar char="v"/>
              <a:defRPr/>
            </a:pPr>
            <a:r>
              <a:rPr lang="ar-SA" sz="2400" kern="0" dirty="0">
                <a:solidFill>
                  <a:srgbClr val="01083A"/>
                </a:solidFill>
                <a:latin typeface="Sakkal Majalla" panose="02000000000000000000" pitchFamily="2" charset="-78"/>
                <a:ea typeface="Samim" panose="020B0603030804020204" pitchFamily="34" charset="0"/>
                <a:cs typeface="Sakkal Majalla" panose="02000000000000000000" pitchFamily="2" charset="-78"/>
                <a:sym typeface="Quicksand"/>
              </a:rPr>
              <a:t>ملاحظة البيئة المدرسية</a:t>
            </a:r>
          </a:p>
        </p:txBody>
      </p:sp>
      <p:sp>
        <p:nvSpPr>
          <p:cNvPr id="11" name="Google Shape;910;p31">
            <a:extLst>
              <a:ext uri="{FF2B5EF4-FFF2-40B4-BE49-F238E27FC236}">
                <a16:creationId xmlns:a16="http://schemas.microsoft.com/office/drawing/2014/main" id="{248FA693-DD95-4B0E-3755-5C2DAF22358B}"/>
              </a:ext>
            </a:extLst>
          </p:cNvPr>
          <p:cNvSpPr txBox="1"/>
          <p:nvPr/>
        </p:nvSpPr>
        <p:spPr>
          <a:xfrm>
            <a:off x="1517761" y="1930670"/>
            <a:ext cx="1952437" cy="435819"/>
          </a:xfrm>
          <a:prstGeom prst="rect">
            <a:avLst/>
          </a:prstGeom>
          <a:solidFill>
            <a:srgbClr val="11C1FF">
              <a:alpha val="55294"/>
            </a:srgbClr>
          </a:solidFill>
          <a:ln w="9525" cap="flat" cmpd="sng">
            <a:solidFill>
              <a:srgbClr val="97A4FF"/>
            </a:solidFill>
            <a:prstDash val="solid"/>
            <a:round/>
            <a:headEnd type="none" w="sm" len="sm"/>
            <a:tailEnd type="none" w="sm" len="sm"/>
          </a:ln>
        </p:spPr>
        <p:txBody>
          <a:bodyPr spcFirstLastPara="1" wrap="square" lIns="121900" tIns="121900" rIns="121900" bIns="121900" anchor="ctr" anchorCtr="0">
            <a:noAutofit/>
          </a:bodyPr>
          <a:lstStyle/>
          <a:p>
            <a:pPr algn="ctr" defTabSz="1219140">
              <a:defRPr/>
            </a:pPr>
            <a:r>
              <a:rPr lang="ar-SA" sz="2400" b="1" dirty="0">
                <a:solidFill>
                  <a:srgbClr val="01083A"/>
                </a:solidFill>
                <a:latin typeface="Sakkal Majalla" panose="02000000000000000000" pitchFamily="2" charset="-78"/>
                <a:ea typeface="Samim" panose="020B0603030804020204" pitchFamily="34" charset="0"/>
                <a:cs typeface="Sakkal Majalla" panose="02000000000000000000" pitchFamily="2" charset="-78"/>
                <a:sym typeface="Josefin Sans"/>
              </a:rPr>
              <a:t>المقابلات</a:t>
            </a:r>
            <a:endParaRPr sz="2400" b="1" dirty="0">
              <a:solidFill>
                <a:srgbClr val="01083A"/>
              </a:solidFill>
              <a:latin typeface="Sakkal Majalla" panose="02000000000000000000" pitchFamily="2" charset="-78"/>
              <a:ea typeface="Samim" panose="020B0603030804020204" pitchFamily="34" charset="0"/>
              <a:cs typeface="Sakkal Majalla" panose="02000000000000000000" pitchFamily="2" charset="-78"/>
              <a:sym typeface="Josefin Sans"/>
            </a:endParaRPr>
          </a:p>
        </p:txBody>
      </p:sp>
      <p:sp>
        <p:nvSpPr>
          <p:cNvPr id="12" name="Google Shape;911;p31">
            <a:extLst>
              <a:ext uri="{FF2B5EF4-FFF2-40B4-BE49-F238E27FC236}">
                <a16:creationId xmlns:a16="http://schemas.microsoft.com/office/drawing/2014/main" id="{CDE2E837-8EA8-51AF-90C4-261BEBE43DC6}"/>
              </a:ext>
            </a:extLst>
          </p:cNvPr>
          <p:cNvSpPr txBox="1"/>
          <p:nvPr/>
        </p:nvSpPr>
        <p:spPr>
          <a:xfrm>
            <a:off x="1517761" y="2419750"/>
            <a:ext cx="1952439" cy="1578387"/>
          </a:xfrm>
          <a:prstGeom prst="rect">
            <a:avLst/>
          </a:prstGeom>
          <a:noFill/>
          <a:ln w="9525" cap="flat" cmpd="sng">
            <a:solidFill>
              <a:srgbClr val="97A4FF"/>
            </a:solidFill>
            <a:prstDash val="solid"/>
            <a:round/>
            <a:headEnd type="none" w="sm" len="sm"/>
            <a:tailEnd type="none" w="sm" len="sm"/>
          </a:ln>
        </p:spPr>
        <p:txBody>
          <a:bodyPr spcFirstLastPara="1" wrap="square" lIns="60933" tIns="60933" rIns="60933" bIns="0" anchor="t" anchorCtr="0">
            <a:noAutofit/>
          </a:bodyPr>
          <a:lstStyle/>
          <a:p>
            <a:pPr marL="342891" indent="-342891" defTabSz="1219140">
              <a:buClr>
                <a:srgbClr val="11C1FF"/>
              </a:buClr>
              <a:buFont typeface="Wingdings" panose="05000000000000000000" pitchFamily="2" charset="2"/>
              <a:buChar char="v"/>
              <a:defRPr/>
            </a:pPr>
            <a:r>
              <a:rPr lang="ar-SA" sz="2400" dirty="0">
                <a:solidFill>
                  <a:prstClr val="black"/>
                </a:solidFill>
                <a:latin typeface="Sakkal Majalla" panose="02000000000000000000" pitchFamily="2" charset="-78"/>
                <a:ea typeface="Samim" panose="020B0603030804020204" pitchFamily="34" charset="0"/>
                <a:cs typeface="Sakkal Majalla" panose="02000000000000000000" pitchFamily="2" charset="-78"/>
              </a:rPr>
              <a:t>المتعلمين</a:t>
            </a:r>
          </a:p>
          <a:p>
            <a:pPr marL="342891" indent="-342891" defTabSz="1219140">
              <a:buClr>
                <a:srgbClr val="11C1FF"/>
              </a:buClr>
              <a:buFont typeface="Wingdings" panose="05000000000000000000" pitchFamily="2" charset="2"/>
              <a:buChar char="v"/>
              <a:defRPr/>
            </a:pPr>
            <a:r>
              <a:rPr lang="ar-SA" sz="2400" kern="0" dirty="0">
                <a:solidFill>
                  <a:srgbClr val="01083A"/>
                </a:solidFill>
                <a:latin typeface="Sakkal Majalla" panose="02000000000000000000" pitchFamily="2" charset="-78"/>
                <a:ea typeface="Samim" panose="020B0603030804020204" pitchFamily="34" charset="0"/>
                <a:cs typeface="Sakkal Majalla" panose="02000000000000000000" pitchFamily="2" charset="-78"/>
                <a:sym typeface="Quicksand"/>
              </a:rPr>
              <a:t>المعلمين</a:t>
            </a:r>
          </a:p>
          <a:p>
            <a:pPr marL="342891" indent="-342891" defTabSz="1219140">
              <a:buClr>
                <a:srgbClr val="11C1FF"/>
              </a:buClr>
              <a:buFont typeface="Wingdings" panose="05000000000000000000" pitchFamily="2" charset="2"/>
              <a:buChar char="v"/>
              <a:defRPr/>
            </a:pPr>
            <a:r>
              <a:rPr lang="ar-SA" sz="2400" kern="0" dirty="0">
                <a:solidFill>
                  <a:srgbClr val="01083A"/>
                </a:solidFill>
                <a:latin typeface="Sakkal Majalla" panose="02000000000000000000" pitchFamily="2" charset="-78"/>
                <a:ea typeface="Samim" panose="020B0603030804020204" pitchFamily="34" charset="0"/>
                <a:cs typeface="Sakkal Majalla" panose="02000000000000000000" pitchFamily="2" charset="-78"/>
                <a:sym typeface="Quicksand"/>
              </a:rPr>
              <a:t>الموجه الطلابي</a:t>
            </a:r>
          </a:p>
          <a:p>
            <a:pPr marL="342891" indent="-342891" defTabSz="1219140">
              <a:buClr>
                <a:srgbClr val="11C1FF"/>
              </a:buClr>
              <a:buFont typeface="Wingdings" panose="05000000000000000000" pitchFamily="2" charset="2"/>
              <a:buChar char="v"/>
              <a:defRPr/>
            </a:pPr>
            <a:r>
              <a:rPr lang="ar-SA" sz="2400" kern="0" dirty="0">
                <a:solidFill>
                  <a:srgbClr val="01083A"/>
                </a:solidFill>
                <a:latin typeface="Sakkal Majalla" panose="02000000000000000000" pitchFamily="2" charset="-78"/>
                <a:ea typeface="Samim" panose="020B0603030804020204" pitchFamily="34" charset="0"/>
                <a:cs typeface="Sakkal Majalla" panose="02000000000000000000" pitchFamily="2" charset="-78"/>
                <a:sym typeface="Quicksand"/>
              </a:rPr>
              <a:t>مدير المدرسة</a:t>
            </a:r>
          </a:p>
          <a:p>
            <a:pPr defTabSz="1219140">
              <a:defRPr/>
            </a:pPr>
            <a:endParaRPr sz="2400" kern="0" dirty="0">
              <a:solidFill>
                <a:srgbClr val="01083A"/>
              </a:solidFill>
              <a:latin typeface="Sakkal Majalla" panose="02000000000000000000" pitchFamily="2" charset="-78"/>
              <a:ea typeface="Samim" panose="020B0603030804020204" pitchFamily="34" charset="0"/>
              <a:cs typeface="Sakkal Majalla" panose="02000000000000000000" pitchFamily="2" charset="-78"/>
              <a:sym typeface="Quicksand"/>
            </a:endParaRPr>
          </a:p>
        </p:txBody>
      </p:sp>
      <p:sp>
        <p:nvSpPr>
          <p:cNvPr id="13" name="Google Shape;910;p31">
            <a:extLst>
              <a:ext uri="{FF2B5EF4-FFF2-40B4-BE49-F238E27FC236}">
                <a16:creationId xmlns:a16="http://schemas.microsoft.com/office/drawing/2014/main" id="{1191F2AB-2001-7E9D-42CA-C505CFDCF4C7}"/>
              </a:ext>
            </a:extLst>
          </p:cNvPr>
          <p:cNvSpPr txBox="1"/>
          <p:nvPr/>
        </p:nvSpPr>
        <p:spPr>
          <a:xfrm>
            <a:off x="7543799" y="4104663"/>
            <a:ext cx="2374506" cy="435819"/>
          </a:xfrm>
          <a:prstGeom prst="rect">
            <a:avLst/>
          </a:prstGeom>
          <a:solidFill>
            <a:srgbClr val="11C1FF">
              <a:alpha val="55294"/>
            </a:srgbClr>
          </a:solidFill>
          <a:ln w="9525" cap="flat" cmpd="sng">
            <a:solidFill>
              <a:srgbClr val="97A4FF"/>
            </a:solidFill>
            <a:prstDash val="solid"/>
            <a:round/>
            <a:headEnd type="none" w="sm" len="sm"/>
            <a:tailEnd type="none" w="sm" len="sm"/>
          </a:ln>
        </p:spPr>
        <p:txBody>
          <a:bodyPr spcFirstLastPara="1" wrap="square" lIns="121900" tIns="121900" rIns="121900" bIns="121900" anchor="ctr" anchorCtr="0">
            <a:noAutofit/>
          </a:bodyPr>
          <a:lstStyle/>
          <a:p>
            <a:pPr algn="ctr" defTabSz="1219140">
              <a:defRPr/>
            </a:pPr>
            <a:r>
              <a:rPr lang="ar-SA" sz="2400" b="1" dirty="0">
                <a:solidFill>
                  <a:srgbClr val="01083A"/>
                </a:solidFill>
                <a:latin typeface="Sakkal Majalla" panose="02000000000000000000" pitchFamily="2" charset="-78"/>
                <a:ea typeface="Samim" panose="020B0603030804020204" pitchFamily="34" charset="0"/>
                <a:cs typeface="Sakkal Majalla" panose="02000000000000000000" pitchFamily="2" charset="-78"/>
                <a:sym typeface="Josefin Sans"/>
              </a:rPr>
              <a:t>الاختبارات والرخص</a:t>
            </a:r>
            <a:endParaRPr sz="2400" b="1" dirty="0">
              <a:solidFill>
                <a:srgbClr val="01083A"/>
              </a:solidFill>
              <a:latin typeface="Sakkal Majalla" panose="02000000000000000000" pitchFamily="2" charset="-78"/>
              <a:ea typeface="Samim" panose="020B0603030804020204" pitchFamily="34" charset="0"/>
              <a:cs typeface="Sakkal Majalla" panose="02000000000000000000" pitchFamily="2" charset="-78"/>
              <a:sym typeface="Josefin Sans"/>
            </a:endParaRPr>
          </a:p>
        </p:txBody>
      </p:sp>
      <p:sp>
        <p:nvSpPr>
          <p:cNvPr id="14" name="Google Shape;911;p31">
            <a:extLst>
              <a:ext uri="{FF2B5EF4-FFF2-40B4-BE49-F238E27FC236}">
                <a16:creationId xmlns:a16="http://schemas.microsoft.com/office/drawing/2014/main" id="{70FCEE95-289B-E87D-1104-359763781075}"/>
              </a:ext>
            </a:extLst>
          </p:cNvPr>
          <p:cNvSpPr txBox="1"/>
          <p:nvPr/>
        </p:nvSpPr>
        <p:spPr>
          <a:xfrm>
            <a:off x="7543800" y="4647005"/>
            <a:ext cx="2374506" cy="1164583"/>
          </a:xfrm>
          <a:prstGeom prst="rect">
            <a:avLst/>
          </a:prstGeom>
          <a:noFill/>
          <a:ln w="9525" cap="flat" cmpd="sng">
            <a:solidFill>
              <a:srgbClr val="97A4FF"/>
            </a:solidFill>
            <a:prstDash val="solid"/>
            <a:round/>
            <a:headEnd type="none" w="sm" len="sm"/>
            <a:tailEnd type="none" w="sm" len="sm"/>
          </a:ln>
        </p:spPr>
        <p:txBody>
          <a:bodyPr spcFirstLastPara="1" wrap="square" lIns="60933" tIns="60933" rIns="60933" bIns="0" anchor="t" anchorCtr="0">
            <a:noAutofit/>
          </a:bodyPr>
          <a:lstStyle/>
          <a:p>
            <a:pPr marL="342891" indent="-342891" defTabSz="1219140">
              <a:buClr>
                <a:srgbClr val="11C1FF"/>
              </a:buClr>
              <a:buFont typeface="Wingdings" panose="05000000000000000000" pitchFamily="2" charset="2"/>
              <a:buChar char="v"/>
              <a:defRPr/>
            </a:pPr>
            <a:r>
              <a:rPr lang="ar-SA" sz="2400" dirty="0">
                <a:solidFill>
                  <a:prstClr val="black"/>
                </a:solidFill>
                <a:latin typeface="Sakkal Majalla" panose="02000000000000000000" pitchFamily="2" charset="-78"/>
                <a:ea typeface="Samim" panose="020B0603030804020204" pitchFamily="34" charset="0"/>
                <a:cs typeface="Sakkal Majalla" panose="02000000000000000000" pitchFamily="2" charset="-78"/>
              </a:rPr>
              <a:t>الاختبارات الوطنية</a:t>
            </a:r>
          </a:p>
          <a:p>
            <a:pPr marL="342891" indent="-342891" defTabSz="1219140">
              <a:buClr>
                <a:srgbClr val="11C1FF"/>
              </a:buClr>
              <a:buFont typeface="Wingdings" panose="05000000000000000000" pitchFamily="2" charset="2"/>
              <a:buChar char="v"/>
              <a:defRPr/>
            </a:pPr>
            <a:r>
              <a:rPr lang="ar-SA" sz="2400" dirty="0">
                <a:solidFill>
                  <a:prstClr val="black"/>
                </a:solidFill>
                <a:latin typeface="Sakkal Majalla" panose="02000000000000000000" pitchFamily="2" charset="-78"/>
                <a:ea typeface="Samim" panose="020B0603030804020204" pitchFamily="34" charset="0"/>
                <a:cs typeface="Sakkal Majalla" panose="02000000000000000000" pitchFamily="2" charset="-78"/>
              </a:rPr>
              <a:t>الاختبارات التحصيلية</a:t>
            </a:r>
          </a:p>
          <a:p>
            <a:pPr marL="342891" indent="-342891" defTabSz="1219140">
              <a:buClr>
                <a:srgbClr val="11C1FF"/>
              </a:buClr>
              <a:buFont typeface="Wingdings" panose="05000000000000000000" pitchFamily="2" charset="2"/>
              <a:buChar char="v"/>
              <a:defRPr/>
            </a:pPr>
            <a:r>
              <a:rPr lang="ar-SA" sz="2400" dirty="0">
                <a:solidFill>
                  <a:prstClr val="black"/>
                </a:solidFill>
                <a:latin typeface="Sakkal Majalla" panose="02000000000000000000" pitchFamily="2" charset="-78"/>
                <a:ea typeface="Samim" panose="020B0603030804020204" pitchFamily="34" charset="0"/>
                <a:cs typeface="Sakkal Majalla" panose="02000000000000000000" pitchFamily="2" charset="-78"/>
              </a:rPr>
              <a:t> الرخص المهنية</a:t>
            </a:r>
          </a:p>
          <a:p>
            <a:pPr defTabSz="1219140">
              <a:defRPr/>
            </a:pPr>
            <a:endParaRPr sz="2400" kern="0" dirty="0">
              <a:solidFill>
                <a:srgbClr val="01083A"/>
              </a:solidFill>
              <a:latin typeface="Sakkal Majalla" panose="02000000000000000000" pitchFamily="2" charset="-78"/>
              <a:ea typeface="Samim" panose="020B0603030804020204" pitchFamily="34" charset="0"/>
              <a:cs typeface="Sakkal Majalla" panose="02000000000000000000" pitchFamily="2" charset="-78"/>
              <a:sym typeface="Quicksand"/>
            </a:endParaRPr>
          </a:p>
        </p:txBody>
      </p:sp>
    </p:spTree>
    <p:extLst>
      <p:ext uri="{BB962C8B-B14F-4D97-AF65-F5344CB8AC3E}">
        <p14:creationId xmlns:p14="http://schemas.microsoft.com/office/powerpoint/2010/main" val="21079421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arn(inVertical)">
                                      <p:cBhvr>
                                        <p:cTn id="7" dur="10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barn(inVertical)">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16" presetClass="entr" presetSubtype="21" fill="hold" grpId="0"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barn(inVertical)">
                                      <p:cBhvr>
                                        <p:cTn id="17" dur="500"/>
                                        <p:tgtEl>
                                          <p:spTgt spid="5"/>
                                        </p:tgtEl>
                                      </p:cBhvr>
                                    </p:animEffect>
                                  </p:childTnLst>
                                </p:cTn>
                              </p:par>
                            </p:childTnLst>
                          </p:cTn>
                        </p:par>
                      </p:childTnLst>
                    </p:cTn>
                  </p:par>
                  <p:par>
                    <p:cTn id="18" fill="hold">
                      <p:stCondLst>
                        <p:cond delay="indefinite"/>
                      </p:stCondLst>
                      <p:childTnLst>
                        <p:par>
                          <p:cTn id="19" fill="hold">
                            <p:stCondLst>
                              <p:cond delay="0"/>
                            </p:stCondLst>
                            <p:childTnLst>
                              <p:par>
                                <p:cTn id="20" presetID="16" presetClass="entr" presetSubtype="21" fill="hold" grpId="0" nodeType="clickEffect">
                                  <p:stCondLst>
                                    <p:cond delay="0"/>
                                  </p:stCondLst>
                                  <p:childTnLst>
                                    <p:set>
                                      <p:cBhvr>
                                        <p:cTn id="21" dur="1" fill="hold">
                                          <p:stCondLst>
                                            <p:cond delay="0"/>
                                          </p:stCondLst>
                                        </p:cTn>
                                        <p:tgtEl>
                                          <p:spTgt spid="2"/>
                                        </p:tgtEl>
                                        <p:attrNameLst>
                                          <p:attrName>style.visibility</p:attrName>
                                        </p:attrNameLst>
                                      </p:cBhvr>
                                      <p:to>
                                        <p:strVal val="visible"/>
                                      </p:to>
                                    </p:set>
                                    <p:animEffect transition="in" filter="barn(inVertical)">
                                      <p:cBhvr>
                                        <p:cTn id="22" dur="1000"/>
                                        <p:tgtEl>
                                          <p:spTgt spid="2"/>
                                        </p:tgtEl>
                                      </p:cBhvr>
                                    </p:animEffect>
                                  </p:childTnLst>
                                </p:cTn>
                              </p:par>
                            </p:childTnLst>
                          </p:cTn>
                        </p:par>
                      </p:childTnLst>
                    </p:cTn>
                  </p:par>
                  <p:par>
                    <p:cTn id="23" fill="hold">
                      <p:stCondLst>
                        <p:cond delay="indefinite"/>
                      </p:stCondLst>
                      <p:childTnLst>
                        <p:par>
                          <p:cTn id="24" fill="hold">
                            <p:stCondLst>
                              <p:cond delay="0"/>
                            </p:stCondLst>
                            <p:childTnLst>
                              <p:par>
                                <p:cTn id="25" presetID="16" presetClass="entr" presetSubtype="21" fill="hold" grpId="0" nodeType="clickEffect">
                                  <p:stCondLst>
                                    <p:cond delay="0"/>
                                  </p:stCondLst>
                                  <p:childTnLst>
                                    <p:set>
                                      <p:cBhvr>
                                        <p:cTn id="26" dur="1" fill="hold">
                                          <p:stCondLst>
                                            <p:cond delay="0"/>
                                          </p:stCondLst>
                                        </p:cTn>
                                        <p:tgtEl>
                                          <p:spTgt spid="3"/>
                                        </p:tgtEl>
                                        <p:attrNameLst>
                                          <p:attrName>style.visibility</p:attrName>
                                        </p:attrNameLst>
                                      </p:cBhvr>
                                      <p:to>
                                        <p:strVal val="visible"/>
                                      </p:to>
                                    </p:set>
                                    <p:animEffect transition="in" filter="barn(inVertical)">
                                      <p:cBhvr>
                                        <p:cTn id="27" dur="1000"/>
                                        <p:tgtEl>
                                          <p:spTgt spid="3"/>
                                        </p:tgtEl>
                                      </p:cBhvr>
                                    </p:animEffect>
                                  </p:childTnLst>
                                </p:cTn>
                              </p:par>
                            </p:childTnLst>
                          </p:cTn>
                        </p:par>
                      </p:childTnLst>
                    </p:cTn>
                  </p:par>
                  <p:par>
                    <p:cTn id="28" fill="hold">
                      <p:stCondLst>
                        <p:cond delay="indefinite"/>
                      </p:stCondLst>
                      <p:childTnLst>
                        <p:par>
                          <p:cTn id="29" fill="hold">
                            <p:stCondLst>
                              <p:cond delay="0"/>
                            </p:stCondLst>
                            <p:childTnLst>
                              <p:par>
                                <p:cTn id="30" presetID="16" presetClass="entr" presetSubtype="21" fill="hold" grpId="0" nodeType="clickEffect">
                                  <p:stCondLst>
                                    <p:cond delay="0"/>
                                  </p:stCondLst>
                                  <p:childTnLst>
                                    <p:set>
                                      <p:cBhvr>
                                        <p:cTn id="31" dur="1" fill="hold">
                                          <p:stCondLst>
                                            <p:cond delay="0"/>
                                          </p:stCondLst>
                                        </p:cTn>
                                        <p:tgtEl>
                                          <p:spTgt spid="7"/>
                                        </p:tgtEl>
                                        <p:attrNameLst>
                                          <p:attrName>style.visibility</p:attrName>
                                        </p:attrNameLst>
                                      </p:cBhvr>
                                      <p:to>
                                        <p:strVal val="visible"/>
                                      </p:to>
                                    </p:set>
                                    <p:animEffect transition="in" filter="barn(inVertical)">
                                      <p:cBhvr>
                                        <p:cTn id="32" dur="1000"/>
                                        <p:tgtEl>
                                          <p:spTgt spid="7"/>
                                        </p:tgtEl>
                                      </p:cBhvr>
                                    </p:animEffect>
                                  </p:childTnLst>
                                </p:cTn>
                              </p:par>
                            </p:childTnLst>
                          </p:cTn>
                        </p:par>
                      </p:childTnLst>
                    </p:cTn>
                  </p:par>
                  <p:par>
                    <p:cTn id="33" fill="hold">
                      <p:stCondLst>
                        <p:cond delay="indefinite"/>
                      </p:stCondLst>
                      <p:childTnLst>
                        <p:par>
                          <p:cTn id="34" fill="hold">
                            <p:stCondLst>
                              <p:cond delay="0"/>
                            </p:stCondLst>
                            <p:childTnLst>
                              <p:par>
                                <p:cTn id="35" presetID="16" presetClass="entr" presetSubtype="21" fill="hold" grpId="0" nodeType="clickEffect">
                                  <p:stCondLst>
                                    <p:cond delay="0"/>
                                  </p:stCondLst>
                                  <p:childTnLst>
                                    <p:set>
                                      <p:cBhvr>
                                        <p:cTn id="36" dur="1" fill="hold">
                                          <p:stCondLst>
                                            <p:cond delay="0"/>
                                          </p:stCondLst>
                                        </p:cTn>
                                        <p:tgtEl>
                                          <p:spTgt spid="8"/>
                                        </p:tgtEl>
                                        <p:attrNameLst>
                                          <p:attrName>style.visibility</p:attrName>
                                        </p:attrNameLst>
                                      </p:cBhvr>
                                      <p:to>
                                        <p:strVal val="visible"/>
                                      </p:to>
                                    </p:set>
                                    <p:animEffect transition="in" filter="barn(inVertical)">
                                      <p:cBhvr>
                                        <p:cTn id="37" dur="1000"/>
                                        <p:tgtEl>
                                          <p:spTgt spid="8"/>
                                        </p:tgtEl>
                                      </p:cBhvr>
                                    </p:animEffect>
                                  </p:childTnLst>
                                </p:cTn>
                              </p:par>
                            </p:childTnLst>
                          </p:cTn>
                        </p:par>
                      </p:childTnLst>
                    </p:cTn>
                  </p:par>
                  <p:par>
                    <p:cTn id="38" fill="hold">
                      <p:stCondLst>
                        <p:cond delay="indefinite"/>
                      </p:stCondLst>
                      <p:childTnLst>
                        <p:par>
                          <p:cTn id="39" fill="hold">
                            <p:stCondLst>
                              <p:cond delay="0"/>
                            </p:stCondLst>
                            <p:childTnLst>
                              <p:par>
                                <p:cTn id="40" presetID="16" presetClass="entr" presetSubtype="21" fill="hold" grpId="0" nodeType="clickEffect">
                                  <p:stCondLst>
                                    <p:cond delay="0"/>
                                  </p:stCondLst>
                                  <p:childTnLst>
                                    <p:set>
                                      <p:cBhvr>
                                        <p:cTn id="41" dur="1" fill="hold">
                                          <p:stCondLst>
                                            <p:cond delay="0"/>
                                          </p:stCondLst>
                                        </p:cTn>
                                        <p:tgtEl>
                                          <p:spTgt spid="9"/>
                                        </p:tgtEl>
                                        <p:attrNameLst>
                                          <p:attrName>style.visibility</p:attrName>
                                        </p:attrNameLst>
                                      </p:cBhvr>
                                      <p:to>
                                        <p:strVal val="visible"/>
                                      </p:to>
                                    </p:set>
                                    <p:animEffect transition="in" filter="barn(inVertical)">
                                      <p:cBhvr>
                                        <p:cTn id="42" dur="1000"/>
                                        <p:tgtEl>
                                          <p:spTgt spid="9"/>
                                        </p:tgtEl>
                                      </p:cBhvr>
                                    </p:animEffect>
                                  </p:childTnLst>
                                </p:cTn>
                              </p:par>
                            </p:childTnLst>
                          </p:cTn>
                        </p:par>
                      </p:childTnLst>
                    </p:cTn>
                  </p:par>
                  <p:par>
                    <p:cTn id="43" fill="hold">
                      <p:stCondLst>
                        <p:cond delay="indefinite"/>
                      </p:stCondLst>
                      <p:childTnLst>
                        <p:par>
                          <p:cTn id="44" fill="hold">
                            <p:stCondLst>
                              <p:cond delay="0"/>
                            </p:stCondLst>
                            <p:childTnLst>
                              <p:par>
                                <p:cTn id="45" presetID="16" presetClass="entr" presetSubtype="21" fill="hold" grpId="0" nodeType="clickEffect">
                                  <p:stCondLst>
                                    <p:cond delay="0"/>
                                  </p:stCondLst>
                                  <p:childTnLst>
                                    <p:set>
                                      <p:cBhvr>
                                        <p:cTn id="46" dur="1" fill="hold">
                                          <p:stCondLst>
                                            <p:cond delay="0"/>
                                          </p:stCondLst>
                                        </p:cTn>
                                        <p:tgtEl>
                                          <p:spTgt spid="10"/>
                                        </p:tgtEl>
                                        <p:attrNameLst>
                                          <p:attrName>style.visibility</p:attrName>
                                        </p:attrNameLst>
                                      </p:cBhvr>
                                      <p:to>
                                        <p:strVal val="visible"/>
                                      </p:to>
                                    </p:set>
                                    <p:animEffect transition="in" filter="barn(inVertical)">
                                      <p:cBhvr>
                                        <p:cTn id="47" dur="1000"/>
                                        <p:tgtEl>
                                          <p:spTgt spid="10"/>
                                        </p:tgtEl>
                                      </p:cBhvr>
                                    </p:animEffect>
                                  </p:childTnLst>
                                </p:cTn>
                              </p:par>
                            </p:childTnLst>
                          </p:cTn>
                        </p:par>
                      </p:childTnLst>
                    </p:cTn>
                  </p:par>
                  <p:par>
                    <p:cTn id="48" fill="hold">
                      <p:stCondLst>
                        <p:cond delay="indefinite"/>
                      </p:stCondLst>
                      <p:childTnLst>
                        <p:par>
                          <p:cTn id="49" fill="hold">
                            <p:stCondLst>
                              <p:cond delay="0"/>
                            </p:stCondLst>
                            <p:childTnLst>
                              <p:par>
                                <p:cTn id="50" presetID="16" presetClass="entr" presetSubtype="21" fill="hold" grpId="0" nodeType="clickEffect">
                                  <p:stCondLst>
                                    <p:cond delay="0"/>
                                  </p:stCondLst>
                                  <p:childTnLst>
                                    <p:set>
                                      <p:cBhvr>
                                        <p:cTn id="51" dur="1" fill="hold">
                                          <p:stCondLst>
                                            <p:cond delay="0"/>
                                          </p:stCondLst>
                                        </p:cTn>
                                        <p:tgtEl>
                                          <p:spTgt spid="11"/>
                                        </p:tgtEl>
                                        <p:attrNameLst>
                                          <p:attrName>style.visibility</p:attrName>
                                        </p:attrNameLst>
                                      </p:cBhvr>
                                      <p:to>
                                        <p:strVal val="visible"/>
                                      </p:to>
                                    </p:set>
                                    <p:animEffect transition="in" filter="barn(inVertical)">
                                      <p:cBhvr>
                                        <p:cTn id="52" dur="1000"/>
                                        <p:tgtEl>
                                          <p:spTgt spid="11"/>
                                        </p:tgtEl>
                                      </p:cBhvr>
                                    </p:animEffect>
                                  </p:childTnLst>
                                </p:cTn>
                              </p:par>
                            </p:childTnLst>
                          </p:cTn>
                        </p:par>
                      </p:childTnLst>
                    </p:cTn>
                  </p:par>
                  <p:par>
                    <p:cTn id="53" fill="hold">
                      <p:stCondLst>
                        <p:cond delay="indefinite"/>
                      </p:stCondLst>
                      <p:childTnLst>
                        <p:par>
                          <p:cTn id="54" fill="hold">
                            <p:stCondLst>
                              <p:cond delay="0"/>
                            </p:stCondLst>
                            <p:childTnLst>
                              <p:par>
                                <p:cTn id="55" presetID="16" presetClass="entr" presetSubtype="21" fill="hold" grpId="0" nodeType="clickEffect">
                                  <p:stCondLst>
                                    <p:cond delay="0"/>
                                  </p:stCondLst>
                                  <p:childTnLst>
                                    <p:set>
                                      <p:cBhvr>
                                        <p:cTn id="56" dur="1" fill="hold">
                                          <p:stCondLst>
                                            <p:cond delay="0"/>
                                          </p:stCondLst>
                                        </p:cTn>
                                        <p:tgtEl>
                                          <p:spTgt spid="12"/>
                                        </p:tgtEl>
                                        <p:attrNameLst>
                                          <p:attrName>style.visibility</p:attrName>
                                        </p:attrNameLst>
                                      </p:cBhvr>
                                      <p:to>
                                        <p:strVal val="visible"/>
                                      </p:to>
                                    </p:set>
                                    <p:animEffect transition="in" filter="barn(inVertical)">
                                      <p:cBhvr>
                                        <p:cTn id="57" dur="1000"/>
                                        <p:tgtEl>
                                          <p:spTgt spid="12"/>
                                        </p:tgtEl>
                                      </p:cBhvr>
                                    </p:animEffect>
                                  </p:childTnLst>
                                </p:cTn>
                              </p:par>
                            </p:childTnLst>
                          </p:cTn>
                        </p:par>
                      </p:childTnLst>
                    </p:cTn>
                  </p:par>
                  <p:par>
                    <p:cTn id="58" fill="hold">
                      <p:stCondLst>
                        <p:cond delay="indefinite"/>
                      </p:stCondLst>
                      <p:childTnLst>
                        <p:par>
                          <p:cTn id="59" fill="hold">
                            <p:stCondLst>
                              <p:cond delay="0"/>
                            </p:stCondLst>
                            <p:childTnLst>
                              <p:par>
                                <p:cTn id="60" presetID="16" presetClass="entr" presetSubtype="21" fill="hold" grpId="0" nodeType="clickEffect">
                                  <p:stCondLst>
                                    <p:cond delay="0"/>
                                  </p:stCondLst>
                                  <p:childTnLst>
                                    <p:set>
                                      <p:cBhvr>
                                        <p:cTn id="61" dur="1" fill="hold">
                                          <p:stCondLst>
                                            <p:cond delay="0"/>
                                          </p:stCondLst>
                                        </p:cTn>
                                        <p:tgtEl>
                                          <p:spTgt spid="13"/>
                                        </p:tgtEl>
                                        <p:attrNameLst>
                                          <p:attrName>style.visibility</p:attrName>
                                        </p:attrNameLst>
                                      </p:cBhvr>
                                      <p:to>
                                        <p:strVal val="visible"/>
                                      </p:to>
                                    </p:set>
                                    <p:animEffect transition="in" filter="barn(inVertical)">
                                      <p:cBhvr>
                                        <p:cTn id="62" dur="1000"/>
                                        <p:tgtEl>
                                          <p:spTgt spid="13"/>
                                        </p:tgtEl>
                                      </p:cBhvr>
                                    </p:animEffect>
                                  </p:childTnLst>
                                </p:cTn>
                              </p:par>
                            </p:childTnLst>
                          </p:cTn>
                        </p:par>
                      </p:childTnLst>
                    </p:cTn>
                  </p:par>
                  <p:par>
                    <p:cTn id="63" fill="hold">
                      <p:stCondLst>
                        <p:cond delay="indefinite"/>
                      </p:stCondLst>
                      <p:childTnLst>
                        <p:par>
                          <p:cTn id="64" fill="hold">
                            <p:stCondLst>
                              <p:cond delay="0"/>
                            </p:stCondLst>
                            <p:childTnLst>
                              <p:par>
                                <p:cTn id="65" presetID="16" presetClass="entr" presetSubtype="21" fill="hold" grpId="0" nodeType="clickEffect">
                                  <p:stCondLst>
                                    <p:cond delay="0"/>
                                  </p:stCondLst>
                                  <p:childTnLst>
                                    <p:set>
                                      <p:cBhvr>
                                        <p:cTn id="66" dur="1" fill="hold">
                                          <p:stCondLst>
                                            <p:cond delay="0"/>
                                          </p:stCondLst>
                                        </p:cTn>
                                        <p:tgtEl>
                                          <p:spTgt spid="14"/>
                                        </p:tgtEl>
                                        <p:attrNameLst>
                                          <p:attrName>style.visibility</p:attrName>
                                        </p:attrNameLst>
                                      </p:cBhvr>
                                      <p:to>
                                        <p:strVal val="visible"/>
                                      </p:to>
                                    </p:set>
                                    <p:animEffect transition="in" filter="barn(inVertical)">
                                      <p:cBhvr>
                                        <p:cTn id="67" dur="10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4" grpId="0" animBg="1"/>
      <p:bldP spid="5" grpId="0" animBg="1"/>
      <p:bldP spid="6" grpId="0"/>
      <p:bldP spid="7" grpId="0" animBg="1"/>
      <p:bldP spid="8" grpId="0" animBg="1"/>
      <p:bldP spid="9" grpId="0" animBg="1"/>
      <p:bldP spid="10" grpId="0" animBg="1"/>
      <p:bldP spid="11" grpId="0" animBg="1"/>
      <p:bldP spid="12" grpId="0" animBg="1"/>
      <p:bldP spid="13" grpId="0" animBg="1"/>
      <p:bldP spid="14"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صورة 1">
            <a:extLst>
              <a:ext uri="{FF2B5EF4-FFF2-40B4-BE49-F238E27FC236}">
                <a16:creationId xmlns:a16="http://schemas.microsoft.com/office/drawing/2014/main" id="{27C16063-4246-0FE6-E69E-F96728CE154C}"/>
              </a:ext>
            </a:extLst>
          </p:cNvPr>
          <p:cNvPicPr>
            <a:picLocks noChangeAspect="1"/>
          </p:cNvPicPr>
          <p:nvPr/>
        </p:nvPicPr>
        <p:blipFill>
          <a:blip r:embed="rId2"/>
          <a:stretch>
            <a:fillRect/>
          </a:stretch>
        </p:blipFill>
        <p:spPr>
          <a:xfrm>
            <a:off x="347993" y="2210135"/>
            <a:ext cx="10330893" cy="4310357"/>
          </a:xfrm>
          <a:prstGeom prst="rect">
            <a:avLst/>
          </a:prstGeom>
        </p:spPr>
      </p:pic>
      <p:pic>
        <p:nvPicPr>
          <p:cNvPr id="3" name="صورة 2">
            <a:extLst>
              <a:ext uri="{FF2B5EF4-FFF2-40B4-BE49-F238E27FC236}">
                <a16:creationId xmlns:a16="http://schemas.microsoft.com/office/drawing/2014/main" id="{0417C59F-EF46-C011-264F-2D420A5C1EE2}"/>
              </a:ext>
            </a:extLst>
          </p:cNvPr>
          <p:cNvPicPr>
            <a:picLocks noChangeAspect="1"/>
          </p:cNvPicPr>
          <p:nvPr/>
        </p:nvPicPr>
        <p:blipFill>
          <a:blip r:embed="rId3"/>
          <a:stretch>
            <a:fillRect/>
          </a:stretch>
        </p:blipFill>
        <p:spPr>
          <a:xfrm>
            <a:off x="236006" y="145061"/>
            <a:ext cx="10442880" cy="1971598"/>
          </a:xfrm>
          <a:prstGeom prst="rect">
            <a:avLst/>
          </a:prstGeom>
        </p:spPr>
      </p:pic>
      <p:sp>
        <p:nvSpPr>
          <p:cNvPr id="4" name="شكل بيضاوي 3">
            <a:extLst>
              <a:ext uri="{FF2B5EF4-FFF2-40B4-BE49-F238E27FC236}">
                <a16:creationId xmlns:a16="http://schemas.microsoft.com/office/drawing/2014/main" id="{72BDC227-75F0-DDD4-A6C7-B9D5BAA5BC4D}"/>
              </a:ext>
            </a:extLst>
          </p:cNvPr>
          <p:cNvSpPr/>
          <p:nvPr/>
        </p:nvSpPr>
        <p:spPr>
          <a:xfrm>
            <a:off x="8554271" y="2253010"/>
            <a:ext cx="1345848" cy="870935"/>
          </a:xfrm>
          <a:prstGeom prst="ellipse">
            <a:avLst/>
          </a:prstGeom>
          <a:noFill/>
          <a:ln w="25400" cap="flat" cmpd="sng" algn="ctr">
            <a:solidFill>
              <a:srgbClr val="FF0000"/>
            </a:solidFill>
            <a:prstDash val="solid"/>
          </a:ln>
          <a:effectLst/>
        </p:spPr>
        <p:txBody>
          <a:bodyPr rtlCol="0" anchor="ctr"/>
          <a:lstStyle/>
          <a:p>
            <a:pPr marL="0" marR="0" lvl="0" indent="0" algn="ctr" defTabSz="913836" rtl="0" eaLnBrk="1" fontAlgn="auto" latinLnBrk="1" hangingPunct="1">
              <a:lnSpc>
                <a:spcPct val="100000"/>
              </a:lnSpc>
              <a:spcBef>
                <a:spcPts val="0"/>
              </a:spcBef>
              <a:spcAft>
                <a:spcPts val="0"/>
              </a:spcAft>
              <a:buClrTx/>
              <a:buSzTx/>
              <a:buFontTx/>
              <a:buNone/>
              <a:tabLst/>
              <a:defRPr/>
            </a:pPr>
            <a:endParaRPr kumimoji="0" lang="ar-SA" sz="1800" b="0" i="0" u="none" strike="noStrike" kern="0" cap="none" spc="0" normalizeH="0" baseline="0" noProof="0">
              <a:ln>
                <a:noFill/>
              </a:ln>
              <a:solidFill>
                <a:prstClr val="white"/>
              </a:solidFill>
              <a:effectLst/>
              <a:uLnTx/>
              <a:uFillTx/>
              <a:latin typeface="Arial"/>
              <a:cs typeface="+mn-cs"/>
            </a:endParaRPr>
          </a:p>
        </p:txBody>
      </p:sp>
      <p:sp>
        <p:nvSpPr>
          <p:cNvPr id="5" name="شكل بيضاوي 4">
            <a:extLst>
              <a:ext uri="{FF2B5EF4-FFF2-40B4-BE49-F238E27FC236}">
                <a16:creationId xmlns:a16="http://schemas.microsoft.com/office/drawing/2014/main" id="{51546467-0A2F-872F-97D5-7F3162384442}"/>
              </a:ext>
            </a:extLst>
          </p:cNvPr>
          <p:cNvSpPr/>
          <p:nvPr/>
        </p:nvSpPr>
        <p:spPr>
          <a:xfrm>
            <a:off x="648763" y="2286787"/>
            <a:ext cx="1728701" cy="803379"/>
          </a:xfrm>
          <a:prstGeom prst="ellipse">
            <a:avLst/>
          </a:prstGeom>
          <a:noFill/>
          <a:ln w="25400" cap="flat" cmpd="sng" algn="ctr">
            <a:solidFill>
              <a:srgbClr val="FF0000"/>
            </a:solidFill>
            <a:prstDash val="solid"/>
          </a:ln>
          <a:effectLst/>
        </p:spPr>
        <p:txBody>
          <a:bodyPr rtlCol="0" anchor="ctr"/>
          <a:lstStyle/>
          <a:p>
            <a:pPr marL="0" marR="0" lvl="0" indent="0" algn="ctr" defTabSz="913836" rtl="0" eaLnBrk="1" fontAlgn="auto" latinLnBrk="1" hangingPunct="1">
              <a:lnSpc>
                <a:spcPct val="100000"/>
              </a:lnSpc>
              <a:spcBef>
                <a:spcPts val="0"/>
              </a:spcBef>
              <a:spcAft>
                <a:spcPts val="0"/>
              </a:spcAft>
              <a:buClrTx/>
              <a:buSzTx/>
              <a:buFontTx/>
              <a:buNone/>
              <a:tabLst/>
              <a:defRPr/>
            </a:pPr>
            <a:endParaRPr kumimoji="0" lang="ar-SA" sz="1800" b="0" i="0" u="none" strike="noStrike" kern="0" cap="none" spc="0" normalizeH="0" baseline="0" noProof="0">
              <a:ln>
                <a:noFill/>
              </a:ln>
              <a:solidFill>
                <a:prstClr val="white"/>
              </a:solidFill>
              <a:effectLst/>
              <a:uLnTx/>
              <a:uFillTx/>
              <a:latin typeface="Arial"/>
              <a:cs typeface="+mn-cs"/>
            </a:endParaRPr>
          </a:p>
        </p:txBody>
      </p:sp>
      <p:cxnSp>
        <p:nvCxnSpPr>
          <p:cNvPr id="6" name="رابط مستقيم 5">
            <a:extLst>
              <a:ext uri="{FF2B5EF4-FFF2-40B4-BE49-F238E27FC236}">
                <a16:creationId xmlns:a16="http://schemas.microsoft.com/office/drawing/2014/main" id="{BFA94D78-E565-162E-D212-00553E538038}"/>
              </a:ext>
            </a:extLst>
          </p:cNvPr>
          <p:cNvCxnSpPr>
            <a:cxnSpLocks/>
            <a:endCxn id="5" idx="7"/>
          </p:cNvCxnSpPr>
          <p:nvPr/>
        </p:nvCxnSpPr>
        <p:spPr>
          <a:xfrm flipH="1" flipV="1">
            <a:off x="2124302" y="2404439"/>
            <a:ext cx="6529092" cy="26753"/>
          </a:xfrm>
          <a:prstGeom prst="line">
            <a:avLst/>
          </a:prstGeom>
          <a:noFill/>
          <a:ln w="9525" cap="flat" cmpd="sng" algn="ctr">
            <a:solidFill>
              <a:srgbClr val="FF0000"/>
            </a:solidFill>
            <a:prstDash val="solid"/>
          </a:ln>
          <a:effectLst/>
        </p:spPr>
      </p:cxnSp>
      <p:sp>
        <p:nvSpPr>
          <p:cNvPr id="7" name="شكل بيضاوي 6">
            <a:extLst>
              <a:ext uri="{FF2B5EF4-FFF2-40B4-BE49-F238E27FC236}">
                <a16:creationId xmlns:a16="http://schemas.microsoft.com/office/drawing/2014/main" id="{C0292759-9E2E-0873-B178-EC88AB24CB63}"/>
              </a:ext>
            </a:extLst>
          </p:cNvPr>
          <p:cNvSpPr/>
          <p:nvPr/>
        </p:nvSpPr>
        <p:spPr>
          <a:xfrm>
            <a:off x="5972839" y="4342562"/>
            <a:ext cx="1296526" cy="870935"/>
          </a:xfrm>
          <a:prstGeom prst="ellipse">
            <a:avLst/>
          </a:prstGeom>
          <a:noFill/>
          <a:ln w="25400" cap="flat" cmpd="sng" algn="ctr">
            <a:solidFill>
              <a:srgbClr val="FF0000"/>
            </a:solidFill>
            <a:prstDash val="solid"/>
          </a:ln>
          <a:effectLst/>
        </p:spPr>
        <p:txBody>
          <a:bodyPr rtlCol="0" anchor="ctr"/>
          <a:lstStyle/>
          <a:p>
            <a:pPr marL="0" marR="0" lvl="0" indent="0" algn="ctr" defTabSz="913836" rtl="0" eaLnBrk="1" fontAlgn="auto" latinLnBrk="1" hangingPunct="1">
              <a:lnSpc>
                <a:spcPct val="100000"/>
              </a:lnSpc>
              <a:spcBef>
                <a:spcPts val="0"/>
              </a:spcBef>
              <a:spcAft>
                <a:spcPts val="0"/>
              </a:spcAft>
              <a:buClrTx/>
              <a:buSzTx/>
              <a:buFontTx/>
              <a:buNone/>
              <a:tabLst/>
              <a:defRPr/>
            </a:pPr>
            <a:endParaRPr kumimoji="0" lang="ar-SA" sz="1800" b="0" i="0" u="none" strike="noStrike" kern="0" cap="none" spc="0" normalizeH="0" baseline="0" noProof="0">
              <a:ln>
                <a:noFill/>
              </a:ln>
              <a:solidFill>
                <a:prstClr val="white"/>
              </a:solidFill>
              <a:effectLst/>
              <a:uLnTx/>
              <a:uFillTx/>
              <a:latin typeface="Arial"/>
              <a:cs typeface="+mn-cs"/>
            </a:endParaRPr>
          </a:p>
        </p:txBody>
      </p:sp>
      <p:cxnSp>
        <p:nvCxnSpPr>
          <p:cNvPr id="8" name="رابط مستقيم 7">
            <a:extLst>
              <a:ext uri="{FF2B5EF4-FFF2-40B4-BE49-F238E27FC236}">
                <a16:creationId xmlns:a16="http://schemas.microsoft.com/office/drawing/2014/main" id="{6DF0229A-D752-2B0F-4834-1D1EB48A5E9D}"/>
              </a:ext>
            </a:extLst>
          </p:cNvPr>
          <p:cNvCxnSpPr>
            <a:cxnSpLocks/>
            <a:stCxn id="4" idx="2"/>
            <a:endCxn id="7" idx="7"/>
          </p:cNvCxnSpPr>
          <p:nvPr/>
        </p:nvCxnSpPr>
        <p:spPr>
          <a:xfrm flipH="1">
            <a:off x="7079493" y="2688478"/>
            <a:ext cx="1474778" cy="1781629"/>
          </a:xfrm>
          <a:prstGeom prst="line">
            <a:avLst/>
          </a:prstGeom>
          <a:noFill/>
          <a:ln w="9525" cap="flat" cmpd="sng" algn="ctr">
            <a:solidFill>
              <a:srgbClr val="FF0000"/>
            </a:solidFill>
            <a:prstDash val="solid"/>
          </a:ln>
          <a:effectLst/>
        </p:spPr>
      </p:cxnSp>
    </p:spTree>
    <p:extLst>
      <p:ext uri="{BB962C8B-B14F-4D97-AF65-F5344CB8AC3E}">
        <p14:creationId xmlns:p14="http://schemas.microsoft.com/office/powerpoint/2010/main" val="9570378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arn(inVertical)">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barn(inVertical)">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16" presetClass="entr" presetSubtype="21" fill="hold"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barn(inVertical)">
                                      <p:cBhvr>
                                        <p:cTn id="17" dur="500"/>
                                        <p:tgtEl>
                                          <p:spTgt spid="6"/>
                                        </p:tgtEl>
                                      </p:cBhvr>
                                    </p:animEffect>
                                  </p:childTnLst>
                                </p:cTn>
                              </p:par>
                            </p:childTnLst>
                          </p:cTn>
                        </p:par>
                      </p:childTnLst>
                    </p:cTn>
                  </p:par>
                  <p:par>
                    <p:cTn id="18" fill="hold">
                      <p:stCondLst>
                        <p:cond delay="indefinite"/>
                      </p:stCondLst>
                      <p:childTnLst>
                        <p:par>
                          <p:cTn id="19" fill="hold">
                            <p:stCondLst>
                              <p:cond delay="0"/>
                            </p:stCondLst>
                            <p:childTnLst>
                              <p:par>
                                <p:cTn id="20" presetID="16" presetClass="entr" presetSubtype="21" fill="hold" grpId="0" nodeType="click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barn(inVertical)">
                                      <p:cBhvr>
                                        <p:cTn id="22" dur="500"/>
                                        <p:tgtEl>
                                          <p:spTgt spid="7"/>
                                        </p:tgtEl>
                                      </p:cBhvr>
                                    </p:animEffect>
                                  </p:childTnLst>
                                </p:cTn>
                              </p:par>
                            </p:childTnLst>
                          </p:cTn>
                        </p:par>
                      </p:childTnLst>
                    </p:cTn>
                  </p:par>
                  <p:par>
                    <p:cTn id="23" fill="hold">
                      <p:stCondLst>
                        <p:cond delay="indefinite"/>
                      </p:stCondLst>
                      <p:childTnLst>
                        <p:par>
                          <p:cTn id="24" fill="hold">
                            <p:stCondLst>
                              <p:cond delay="0"/>
                            </p:stCondLst>
                            <p:childTnLst>
                              <p:par>
                                <p:cTn id="25" presetID="16" presetClass="entr" presetSubtype="21" fill="hold" nodeType="click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barn(inVertical)">
                                      <p:cBhvr>
                                        <p:cTn id="2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7"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8">
            <a:extLst>
              <a:ext uri="{FF2B5EF4-FFF2-40B4-BE49-F238E27FC236}">
                <a16:creationId xmlns:a16="http://schemas.microsoft.com/office/drawing/2014/main" id="{C1DEDF91-C80A-396A-17F9-ED79D01DB3D8}"/>
              </a:ext>
            </a:extLst>
          </p:cNvPr>
          <p:cNvSpPr/>
          <p:nvPr/>
        </p:nvSpPr>
        <p:spPr>
          <a:xfrm>
            <a:off x="2472137" y="468086"/>
            <a:ext cx="6951315" cy="1240971"/>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1" tIns="45720" rIns="91441" bIns="45720" numCol="1" spcCol="0" rtlCol="0" fromWordArt="0" anchor="ctr" anchorCtr="0" forceAA="0" compatLnSpc="1">
            <a:prstTxWarp prst="textNoShape">
              <a:avLst/>
            </a:prstTxWarp>
            <a:noAutofit/>
          </a:bodyPr>
          <a:lstStyle/>
          <a:p>
            <a:pPr algn="ctr" rtl="1"/>
            <a:r>
              <a:rPr lang="ar-SA" altLang="ko-KR" sz="2800" b="1" dirty="0">
                <a:solidFill>
                  <a:schemeClr val="bg1"/>
                </a:solidFill>
                <a:latin typeface="Sakkal Majalla" panose="02000000000000000000" pitchFamily="2" charset="-78"/>
                <a:cs typeface="Sakkal Majalla" panose="02000000000000000000" pitchFamily="2" charset="-78"/>
              </a:rPr>
              <a:t>برنامج التقويم الوطني للمدارس </a:t>
            </a:r>
            <a:endParaRPr lang="en-US" altLang="ko-KR" sz="2800" b="1" dirty="0">
              <a:solidFill>
                <a:schemeClr val="bg1"/>
              </a:solidFill>
              <a:latin typeface="Sakkal Majalla" panose="02000000000000000000" pitchFamily="2" charset="-78"/>
              <a:cs typeface="Sakkal Majalla" panose="02000000000000000000" pitchFamily="2" charset="-78"/>
            </a:endParaRPr>
          </a:p>
          <a:p>
            <a:pPr algn="ctr" rtl="1"/>
            <a:r>
              <a:rPr lang="en-US" altLang="ko-KR" sz="2800" b="1" dirty="0">
                <a:solidFill>
                  <a:schemeClr val="bg1"/>
                </a:solidFill>
                <a:latin typeface="Sakkal Majalla" panose="02000000000000000000" pitchFamily="2" charset="-78"/>
                <a:cs typeface="Sakkal Majalla" panose="02000000000000000000" pitchFamily="2" charset="-78"/>
              </a:rPr>
              <a:t>National Assessment For Schools</a:t>
            </a:r>
            <a:endParaRPr lang="ar-SA" altLang="ko-KR" sz="2800" b="1" dirty="0">
              <a:solidFill>
                <a:schemeClr val="bg1"/>
              </a:solidFill>
              <a:latin typeface="Sakkal Majalla" panose="02000000000000000000" pitchFamily="2" charset="-78"/>
              <a:cs typeface="Sakkal Majalla" panose="02000000000000000000" pitchFamily="2" charset="-78"/>
            </a:endParaRPr>
          </a:p>
          <a:p>
            <a:pPr algn="ctr" rtl="1"/>
            <a:r>
              <a:rPr lang="ar-SA" altLang="ko-KR" sz="2800" b="1" dirty="0">
                <a:solidFill>
                  <a:schemeClr val="bg1"/>
                </a:solidFill>
                <a:latin typeface="Sakkal Majalla" panose="02000000000000000000" pitchFamily="2" charset="-78"/>
                <a:cs typeface="Sakkal Majalla" panose="02000000000000000000" pitchFamily="2" charset="-78"/>
              </a:rPr>
              <a:t>( </a:t>
            </a:r>
            <a:r>
              <a:rPr lang="en-US" altLang="ko-KR" sz="2800" b="1" dirty="0">
                <a:solidFill>
                  <a:schemeClr val="bg1"/>
                </a:solidFill>
                <a:latin typeface="Sakkal Majalla" panose="02000000000000000000" pitchFamily="2" charset="-78"/>
                <a:cs typeface="Sakkal Majalla" panose="02000000000000000000" pitchFamily="2" charset="-78"/>
              </a:rPr>
              <a:t>NAFS</a:t>
            </a:r>
            <a:r>
              <a:rPr lang="ar-SA" altLang="ko-KR" sz="2800" b="1" dirty="0">
                <a:solidFill>
                  <a:schemeClr val="bg1"/>
                </a:solidFill>
                <a:latin typeface="Sakkal Majalla" panose="02000000000000000000" pitchFamily="2" charset="-78"/>
                <a:cs typeface="Sakkal Majalla" panose="02000000000000000000" pitchFamily="2" charset="-78"/>
              </a:rPr>
              <a:t> )</a:t>
            </a:r>
            <a:endParaRPr lang="ko-KR" altLang="en-US" sz="2800" b="1" dirty="0">
              <a:solidFill>
                <a:schemeClr val="bg1"/>
              </a:solidFill>
              <a:latin typeface="Sakkal Majalla" panose="02000000000000000000" pitchFamily="2" charset="-78"/>
              <a:cs typeface="Sakkal Majalla" panose="02000000000000000000" pitchFamily="2" charset="-78"/>
            </a:endParaRPr>
          </a:p>
        </p:txBody>
      </p:sp>
      <p:cxnSp>
        <p:nvCxnSpPr>
          <p:cNvPr id="3" name="Google Shape;921;p31">
            <a:extLst>
              <a:ext uri="{FF2B5EF4-FFF2-40B4-BE49-F238E27FC236}">
                <a16:creationId xmlns:a16="http://schemas.microsoft.com/office/drawing/2014/main" id="{5822C925-950B-7237-1EBE-5C900F0F61C8}"/>
              </a:ext>
            </a:extLst>
          </p:cNvPr>
          <p:cNvCxnSpPr>
            <a:cxnSpLocks/>
            <a:stCxn id="5" idx="2"/>
            <a:endCxn id="6" idx="0"/>
          </p:cNvCxnSpPr>
          <p:nvPr/>
        </p:nvCxnSpPr>
        <p:spPr>
          <a:xfrm rot="16200000" flipH="1">
            <a:off x="9034682" y="2323498"/>
            <a:ext cx="457096" cy="1396225"/>
          </a:xfrm>
          <a:prstGeom prst="bentConnector3">
            <a:avLst>
              <a:gd name="adj1" fmla="val 50000"/>
            </a:avLst>
          </a:prstGeom>
          <a:noFill/>
          <a:ln w="28575" cap="flat" cmpd="sng">
            <a:solidFill>
              <a:srgbClr val="8594FF"/>
            </a:solidFill>
            <a:prstDash val="solid"/>
            <a:round/>
            <a:headEnd type="none" w="med" len="med"/>
            <a:tailEnd type="arrow" w="med" len="med"/>
          </a:ln>
        </p:spPr>
      </p:cxnSp>
      <p:cxnSp>
        <p:nvCxnSpPr>
          <p:cNvPr id="4" name="Google Shape;921;p31">
            <a:extLst>
              <a:ext uri="{FF2B5EF4-FFF2-40B4-BE49-F238E27FC236}">
                <a16:creationId xmlns:a16="http://schemas.microsoft.com/office/drawing/2014/main" id="{ACD18CCA-EBED-E8A5-2D6D-46E55C96D10C}"/>
              </a:ext>
            </a:extLst>
          </p:cNvPr>
          <p:cNvCxnSpPr>
            <a:cxnSpLocks/>
          </p:cNvCxnSpPr>
          <p:nvPr/>
        </p:nvCxnSpPr>
        <p:spPr>
          <a:xfrm rot="5400000">
            <a:off x="8266231" y="2003407"/>
            <a:ext cx="576000" cy="0"/>
          </a:xfrm>
          <a:prstGeom prst="bentConnector3">
            <a:avLst>
              <a:gd name="adj1" fmla="val 50000"/>
            </a:avLst>
          </a:prstGeom>
          <a:noFill/>
          <a:ln w="28575" cap="flat" cmpd="sng">
            <a:solidFill>
              <a:srgbClr val="8594FF"/>
            </a:solidFill>
            <a:prstDash val="solid"/>
            <a:round/>
            <a:headEnd type="none" w="med" len="med"/>
            <a:tailEnd type="arrow" w="med" len="med"/>
          </a:ln>
        </p:spPr>
      </p:cxnSp>
      <p:sp>
        <p:nvSpPr>
          <p:cNvPr id="5" name="Google Shape;910;p31">
            <a:extLst>
              <a:ext uri="{FF2B5EF4-FFF2-40B4-BE49-F238E27FC236}">
                <a16:creationId xmlns:a16="http://schemas.microsoft.com/office/drawing/2014/main" id="{3601E378-C3B5-5683-790F-6055C58545B0}"/>
              </a:ext>
            </a:extLst>
          </p:cNvPr>
          <p:cNvSpPr txBox="1"/>
          <p:nvPr/>
        </p:nvSpPr>
        <p:spPr>
          <a:xfrm>
            <a:off x="7526701" y="2293748"/>
            <a:ext cx="2076833" cy="499315"/>
          </a:xfrm>
          <a:prstGeom prst="rect">
            <a:avLst/>
          </a:prstGeom>
          <a:solidFill>
            <a:schemeClr val="accent6">
              <a:lumMod val="40000"/>
              <a:lumOff val="60000"/>
            </a:schemeClr>
          </a:solidFill>
          <a:ln w="9525" cap="flat" cmpd="sng">
            <a:solidFill>
              <a:srgbClr val="97A4FF"/>
            </a:solidFill>
            <a:prstDash val="solid"/>
            <a:round/>
            <a:headEnd type="none" w="sm" len="sm"/>
            <a:tailEnd type="none" w="sm" len="sm"/>
          </a:ln>
        </p:spPr>
        <p:txBody>
          <a:bodyPr spcFirstLastPara="1" wrap="square" lIns="121900" tIns="121900" rIns="121900" bIns="121900" anchor="ctr" anchorCtr="0">
            <a:noAutofit/>
          </a:bodyPr>
          <a:lstStyle/>
          <a:p>
            <a:pPr algn="ctr" defTabSz="1219170">
              <a:defRPr/>
            </a:pPr>
            <a:r>
              <a:rPr lang="ar-SA" sz="2000" b="1" dirty="0">
                <a:solidFill>
                  <a:srgbClr val="01083A"/>
                </a:solidFill>
                <a:latin typeface="Sakkal Majalla" panose="02000000000000000000" pitchFamily="2" charset="-78"/>
                <a:ea typeface="Samim" panose="020B0603030804020204" pitchFamily="34" charset="0"/>
                <a:cs typeface="Sakkal Majalla" panose="02000000000000000000" pitchFamily="2" charset="-78"/>
                <a:sym typeface="Josefin Sans"/>
              </a:rPr>
              <a:t>برنامج التقويم المدرسي</a:t>
            </a:r>
            <a:endParaRPr sz="2000" b="1" dirty="0">
              <a:solidFill>
                <a:srgbClr val="01083A"/>
              </a:solidFill>
              <a:latin typeface="Sakkal Majalla" panose="02000000000000000000" pitchFamily="2" charset="-78"/>
              <a:ea typeface="Samim" panose="020B0603030804020204" pitchFamily="34" charset="0"/>
              <a:cs typeface="Sakkal Majalla" panose="02000000000000000000" pitchFamily="2" charset="-78"/>
              <a:sym typeface="Josefin Sans"/>
            </a:endParaRPr>
          </a:p>
        </p:txBody>
      </p:sp>
      <p:sp>
        <p:nvSpPr>
          <p:cNvPr id="6" name="Google Shape;910;p31">
            <a:extLst>
              <a:ext uri="{FF2B5EF4-FFF2-40B4-BE49-F238E27FC236}">
                <a16:creationId xmlns:a16="http://schemas.microsoft.com/office/drawing/2014/main" id="{08D921FE-4888-CD36-56F8-3A63527320F3}"/>
              </a:ext>
            </a:extLst>
          </p:cNvPr>
          <p:cNvSpPr txBox="1"/>
          <p:nvPr/>
        </p:nvSpPr>
        <p:spPr>
          <a:xfrm>
            <a:off x="8686875" y="3250159"/>
            <a:ext cx="2548936" cy="640636"/>
          </a:xfrm>
          <a:prstGeom prst="rect">
            <a:avLst/>
          </a:prstGeom>
          <a:solidFill>
            <a:schemeClr val="accent4">
              <a:lumMod val="20000"/>
              <a:lumOff val="80000"/>
            </a:schemeClr>
          </a:solidFill>
          <a:ln w="9525" cap="flat" cmpd="sng">
            <a:solidFill>
              <a:srgbClr val="97A4FF"/>
            </a:solidFill>
            <a:prstDash val="solid"/>
            <a:round/>
            <a:headEnd type="none" w="sm" len="sm"/>
            <a:tailEnd type="none" w="sm" len="sm"/>
          </a:ln>
        </p:spPr>
        <p:txBody>
          <a:bodyPr spcFirstLastPara="1" wrap="square" lIns="121900" tIns="121900" rIns="121900" bIns="121900" anchor="ctr" anchorCtr="0">
            <a:noAutofit/>
          </a:bodyPr>
          <a:lstStyle/>
          <a:p>
            <a:pPr algn="ctr" defTabSz="1219170" rtl="1">
              <a:defRPr/>
            </a:pPr>
            <a:r>
              <a:rPr lang="ar-SA" sz="2000" b="1" dirty="0">
                <a:latin typeface="Sakkal Majalla" panose="02000000000000000000" pitchFamily="2" charset="-78"/>
                <a:ea typeface="Samim" panose="020B0603030804020204" pitchFamily="34" charset="0"/>
                <a:cs typeface="Sakkal Majalla" panose="02000000000000000000" pitchFamily="2" charset="-78"/>
                <a:sym typeface="Josefin Sans"/>
              </a:rPr>
              <a:t>مجال الإدارة المدرسية ( </a:t>
            </a:r>
            <a:r>
              <a:rPr lang="en-US" sz="2800" b="1" dirty="0">
                <a:latin typeface="Sakkal Majalla" panose="02000000000000000000" pitchFamily="2" charset="-78"/>
                <a:ea typeface="Samim" panose="020B0603030804020204" pitchFamily="34" charset="0"/>
                <a:cs typeface="Sakkal Majalla" panose="02000000000000000000" pitchFamily="2" charset="-78"/>
                <a:sym typeface="Josefin Sans"/>
              </a:rPr>
              <a:t>20</a:t>
            </a:r>
            <a:r>
              <a:rPr lang="ar-SA" sz="2400" b="1" dirty="0">
                <a:latin typeface="Sakkal Majalla" panose="02000000000000000000" pitchFamily="2" charset="-78"/>
                <a:ea typeface="Samim" panose="020B0603030804020204" pitchFamily="34" charset="0"/>
                <a:cs typeface="Sakkal Majalla" panose="02000000000000000000" pitchFamily="2" charset="-78"/>
                <a:sym typeface="Josefin Sans"/>
              </a:rPr>
              <a:t>%) </a:t>
            </a:r>
            <a:endParaRPr sz="2000" b="1" dirty="0">
              <a:latin typeface="Sakkal Majalla" panose="02000000000000000000" pitchFamily="2" charset="-78"/>
              <a:ea typeface="Samim" panose="020B0603030804020204" pitchFamily="34" charset="0"/>
              <a:cs typeface="Sakkal Majalla" panose="02000000000000000000" pitchFamily="2" charset="-78"/>
              <a:sym typeface="Josefin Sans"/>
            </a:endParaRPr>
          </a:p>
        </p:txBody>
      </p:sp>
      <p:cxnSp>
        <p:nvCxnSpPr>
          <p:cNvPr id="7" name="Google Shape;921;p31">
            <a:extLst>
              <a:ext uri="{FF2B5EF4-FFF2-40B4-BE49-F238E27FC236}">
                <a16:creationId xmlns:a16="http://schemas.microsoft.com/office/drawing/2014/main" id="{C827C582-724D-6C1F-83CA-C13378B2A7DE}"/>
              </a:ext>
            </a:extLst>
          </p:cNvPr>
          <p:cNvCxnSpPr>
            <a:cxnSpLocks/>
          </p:cNvCxnSpPr>
          <p:nvPr/>
        </p:nvCxnSpPr>
        <p:spPr>
          <a:xfrm rot="5400000">
            <a:off x="5432954" y="1990371"/>
            <a:ext cx="576000" cy="0"/>
          </a:xfrm>
          <a:prstGeom prst="bentConnector3">
            <a:avLst>
              <a:gd name="adj1" fmla="val 50000"/>
            </a:avLst>
          </a:prstGeom>
          <a:noFill/>
          <a:ln w="28575" cap="flat" cmpd="sng">
            <a:solidFill>
              <a:srgbClr val="8594FF"/>
            </a:solidFill>
            <a:prstDash val="solid"/>
            <a:round/>
            <a:headEnd type="none" w="med" len="med"/>
            <a:tailEnd type="arrow" w="med" len="med"/>
          </a:ln>
        </p:spPr>
      </p:cxnSp>
      <p:sp>
        <p:nvSpPr>
          <p:cNvPr id="8" name="Google Shape;910;p31">
            <a:extLst>
              <a:ext uri="{FF2B5EF4-FFF2-40B4-BE49-F238E27FC236}">
                <a16:creationId xmlns:a16="http://schemas.microsoft.com/office/drawing/2014/main" id="{0670C970-3D61-6361-926B-78F47F84EEE7}"/>
              </a:ext>
            </a:extLst>
          </p:cNvPr>
          <p:cNvSpPr txBox="1"/>
          <p:nvPr/>
        </p:nvSpPr>
        <p:spPr>
          <a:xfrm>
            <a:off x="4682537" y="2281555"/>
            <a:ext cx="2076833" cy="640636"/>
          </a:xfrm>
          <a:prstGeom prst="rect">
            <a:avLst/>
          </a:prstGeom>
          <a:solidFill>
            <a:schemeClr val="accent6">
              <a:lumMod val="40000"/>
              <a:lumOff val="60000"/>
            </a:schemeClr>
          </a:solidFill>
          <a:ln w="9525" cap="flat" cmpd="sng">
            <a:solidFill>
              <a:srgbClr val="97A4FF"/>
            </a:solidFill>
            <a:prstDash val="solid"/>
            <a:round/>
            <a:headEnd type="none" w="sm" len="sm"/>
            <a:tailEnd type="none" w="sm" len="sm"/>
          </a:ln>
        </p:spPr>
        <p:txBody>
          <a:bodyPr spcFirstLastPara="1" wrap="square" lIns="121900" tIns="121900" rIns="121900" bIns="121900" anchor="ctr" anchorCtr="0">
            <a:noAutofit/>
          </a:bodyPr>
          <a:lstStyle/>
          <a:p>
            <a:pPr algn="ctr" defTabSz="1219170">
              <a:defRPr/>
            </a:pPr>
            <a:r>
              <a:rPr lang="ar-SA" sz="2000" b="1" dirty="0">
                <a:solidFill>
                  <a:srgbClr val="01083A"/>
                </a:solidFill>
                <a:latin typeface="Sakkal Majalla" panose="02000000000000000000" pitchFamily="2" charset="-78"/>
                <a:ea typeface="Samim" panose="020B0603030804020204" pitchFamily="34" charset="0"/>
                <a:cs typeface="Sakkal Majalla" panose="02000000000000000000" pitchFamily="2" charset="-78"/>
                <a:sym typeface="Josefin Sans"/>
              </a:rPr>
              <a:t>مؤشر ترتيب </a:t>
            </a:r>
          </a:p>
          <a:p>
            <a:pPr algn="ctr" defTabSz="1219170">
              <a:defRPr/>
            </a:pPr>
            <a:r>
              <a:rPr lang="ar-SA" sz="2000" b="1" dirty="0">
                <a:solidFill>
                  <a:srgbClr val="01083A"/>
                </a:solidFill>
                <a:latin typeface="Sakkal Majalla" panose="02000000000000000000" pitchFamily="2" charset="-78"/>
                <a:ea typeface="Samim" panose="020B0603030804020204" pitchFamily="34" charset="0"/>
                <a:cs typeface="Sakkal Majalla" panose="02000000000000000000" pitchFamily="2" charset="-78"/>
                <a:sym typeface="Josefin Sans"/>
              </a:rPr>
              <a:t>( الاختبارات التحصيلية)</a:t>
            </a:r>
            <a:endParaRPr sz="2000" b="1" dirty="0">
              <a:solidFill>
                <a:srgbClr val="01083A"/>
              </a:solidFill>
              <a:latin typeface="Sakkal Majalla" panose="02000000000000000000" pitchFamily="2" charset="-78"/>
              <a:ea typeface="Samim" panose="020B0603030804020204" pitchFamily="34" charset="0"/>
              <a:cs typeface="Sakkal Majalla" panose="02000000000000000000" pitchFamily="2" charset="-78"/>
              <a:sym typeface="Josefin Sans"/>
            </a:endParaRPr>
          </a:p>
        </p:txBody>
      </p:sp>
      <p:cxnSp>
        <p:nvCxnSpPr>
          <p:cNvPr id="9" name="Google Shape;921;p31">
            <a:extLst>
              <a:ext uri="{FF2B5EF4-FFF2-40B4-BE49-F238E27FC236}">
                <a16:creationId xmlns:a16="http://schemas.microsoft.com/office/drawing/2014/main" id="{0A09C8AF-A1A0-1E96-7626-897D0B83342C}"/>
              </a:ext>
            </a:extLst>
          </p:cNvPr>
          <p:cNvCxnSpPr>
            <a:cxnSpLocks/>
          </p:cNvCxnSpPr>
          <p:nvPr/>
        </p:nvCxnSpPr>
        <p:spPr>
          <a:xfrm rot="5400000">
            <a:off x="2981073" y="1990371"/>
            <a:ext cx="576000" cy="0"/>
          </a:xfrm>
          <a:prstGeom prst="bentConnector3">
            <a:avLst>
              <a:gd name="adj1" fmla="val 50000"/>
            </a:avLst>
          </a:prstGeom>
          <a:noFill/>
          <a:ln w="28575" cap="flat" cmpd="sng">
            <a:solidFill>
              <a:srgbClr val="8594FF"/>
            </a:solidFill>
            <a:prstDash val="solid"/>
            <a:round/>
            <a:headEnd type="none" w="med" len="med"/>
            <a:tailEnd type="arrow" w="med" len="med"/>
          </a:ln>
        </p:spPr>
      </p:cxnSp>
      <p:sp>
        <p:nvSpPr>
          <p:cNvPr id="10" name="Google Shape;910;p31">
            <a:extLst>
              <a:ext uri="{FF2B5EF4-FFF2-40B4-BE49-F238E27FC236}">
                <a16:creationId xmlns:a16="http://schemas.microsoft.com/office/drawing/2014/main" id="{CA44DFE9-65D8-DD3D-0F91-E50B2E69D72A}"/>
              </a:ext>
            </a:extLst>
          </p:cNvPr>
          <p:cNvSpPr txBox="1"/>
          <p:nvPr/>
        </p:nvSpPr>
        <p:spPr>
          <a:xfrm>
            <a:off x="2227481" y="2302706"/>
            <a:ext cx="2076833" cy="640636"/>
          </a:xfrm>
          <a:prstGeom prst="rect">
            <a:avLst/>
          </a:prstGeom>
          <a:solidFill>
            <a:schemeClr val="accent6">
              <a:lumMod val="40000"/>
              <a:lumOff val="60000"/>
            </a:schemeClr>
          </a:solidFill>
          <a:ln w="9525" cap="flat" cmpd="sng">
            <a:solidFill>
              <a:srgbClr val="97A4FF"/>
            </a:solidFill>
            <a:prstDash val="solid"/>
            <a:round/>
            <a:headEnd type="none" w="sm" len="sm"/>
            <a:tailEnd type="none" w="sm" len="sm"/>
          </a:ln>
        </p:spPr>
        <p:txBody>
          <a:bodyPr spcFirstLastPara="1" wrap="square" lIns="121900" tIns="121900" rIns="121900" bIns="121900" anchor="ctr" anchorCtr="0">
            <a:noAutofit/>
          </a:bodyPr>
          <a:lstStyle/>
          <a:p>
            <a:pPr algn="ctr" defTabSz="1219170">
              <a:defRPr/>
            </a:pPr>
            <a:r>
              <a:rPr lang="ar-SA" sz="2000" b="1" dirty="0">
                <a:solidFill>
                  <a:srgbClr val="01083A"/>
                </a:solidFill>
                <a:latin typeface="Sakkal Majalla" panose="02000000000000000000" pitchFamily="2" charset="-78"/>
                <a:ea typeface="Samim" panose="020B0603030804020204" pitchFamily="34" charset="0"/>
                <a:cs typeface="Sakkal Majalla" panose="02000000000000000000" pitchFamily="2" charset="-78"/>
                <a:sym typeface="Josefin Sans"/>
              </a:rPr>
              <a:t>الاختبارات الوطنية</a:t>
            </a:r>
          </a:p>
          <a:p>
            <a:pPr algn="ctr" defTabSz="1219170">
              <a:defRPr/>
            </a:pPr>
            <a:r>
              <a:rPr lang="ar-SA" sz="2000" b="1" dirty="0">
                <a:solidFill>
                  <a:srgbClr val="01083A"/>
                </a:solidFill>
                <a:latin typeface="Sakkal Majalla" panose="02000000000000000000" pitchFamily="2" charset="-78"/>
                <a:ea typeface="Samim" panose="020B0603030804020204" pitchFamily="34" charset="0"/>
                <a:cs typeface="Sakkal Majalla" panose="02000000000000000000" pitchFamily="2" charset="-78"/>
                <a:sym typeface="Josefin Sans"/>
              </a:rPr>
              <a:t>(الابتدائي والمتوسط)</a:t>
            </a:r>
            <a:endParaRPr sz="2000" b="1" dirty="0">
              <a:solidFill>
                <a:srgbClr val="01083A"/>
              </a:solidFill>
              <a:latin typeface="Sakkal Majalla" panose="02000000000000000000" pitchFamily="2" charset="-78"/>
              <a:ea typeface="Samim" panose="020B0603030804020204" pitchFamily="34" charset="0"/>
              <a:cs typeface="Sakkal Majalla" panose="02000000000000000000" pitchFamily="2" charset="-78"/>
              <a:sym typeface="Josefin Sans"/>
            </a:endParaRPr>
          </a:p>
        </p:txBody>
      </p:sp>
      <p:sp>
        <p:nvSpPr>
          <p:cNvPr id="14" name="Google Shape;910;p31">
            <a:extLst>
              <a:ext uri="{FF2B5EF4-FFF2-40B4-BE49-F238E27FC236}">
                <a16:creationId xmlns:a16="http://schemas.microsoft.com/office/drawing/2014/main" id="{CA05A455-DEB7-F41E-45C7-AB8064985006}"/>
              </a:ext>
            </a:extLst>
          </p:cNvPr>
          <p:cNvSpPr txBox="1"/>
          <p:nvPr/>
        </p:nvSpPr>
        <p:spPr>
          <a:xfrm>
            <a:off x="8686875" y="4008499"/>
            <a:ext cx="2548936" cy="640636"/>
          </a:xfrm>
          <a:prstGeom prst="rect">
            <a:avLst/>
          </a:prstGeom>
          <a:solidFill>
            <a:schemeClr val="accent4">
              <a:lumMod val="20000"/>
              <a:lumOff val="80000"/>
            </a:schemeClr>
          </a:solidFill>
          <a:ln w="9525" cap="flat" cmpd="sng">
            <a:solidFill>
              <a:srgbClr val="97A4FF"/>
            </a:solidFill>
            <a:prstDash val="solid"/>
            <a:round/>
            <a:headEnd type="none" w="sm" len="sm"/>
            <a:tailEnd type="none" w="sm" len="sm"/>
          </a:ln>
        </p:spPr>
        <p:txBody>
          <a:bodyPr spcFirstLastPara="1" wrap="square" lIns="121900" tIns="121900" rIns="121900" bIns="121900" anchor="ctr" anchorCtr="0">
            <a:noAutofit/>
          </a:bodyPr>
          <a:lstStyle/>
          <a:p>
            <a:pPr algn="ctr" defTabSz="1219170" rtl="1">
              <a:defRPr/>
            </a:pPr>
            <a:r>
              <a:rPr lang="ar-SA" sz="2000" b="1" dirty="0">
                <a:latin typeface="Sakkal Majalla" panose="02000000000000000000" pitchFamily="2" charset="-78"/>
                <a:ea typeface="Samim" panose="020B0603030804020204" pitchFamily="34" charset="0"/>
                <a:cs typeface="Sakkal Majalla" panose="02000000000000000000" pitchFamily="2" charset="-78"/>
                <a:sym typeface="Josefin Sans"/>
              </a:rPr>
              <a:t>مجال البيئة المدرسية ( </a:t>
            </a:r>
            <a:r>
              <a:rPr lang="en-US" sz="2800" b="1" dirty="0">
                <a:latin typeface="Sakkal Majalla" panose="02000000000000000000" pitchFamily="2" charset="-78"/>
                <a:ea typeface="Samim" panose="020B0603030804020204" pitchFamily="34" charset="0"/>
                <a:cs typeface="Sakkal Majalla" panose="02000000000000000000" pitchFamily="2" charset="-78"/>
                <a:sym typeface="Josefin Sans"/>
              </a:rPr>
              <a:t>10</a:t>
            </a:r>
            <a:r>
              <a:rPr lang="ar-SA" sz="2000" b="1" dirty="0">
                <a:latin typeface="Sakkal Majalla" panose="02000000000000000000" pitchFamily="2" charset="-78"/>
                <a:ea typeface="Samim" panose="020B0603030804020204" pitchFamily="34" charset="0"/>
                <a:cs typeface="Sakkal Majalla" panose="02000000000000000000" pitchFamily="2" charset="-78"/>
                <a:sym typeface="Josefin Sans"/>
              </a:rPr>
              <a:t>%) </a:t>
            </a:r>
            <a:endParaRPr sz="2000" b="1" dirty="0">
              <a:latin typeface="Sakkal Majalla" panose="02000000000000000000" pitchFamily="2" charset="-78"/>
              <a:ea typeface="Samim" panose="020B0603030804020204" pitchFamily="34" charset="0"/>
              <a:cs typeface="Sakkal Majalla" panose="02000000000000000000" pitchFamily="2" charset="-78"/>
              <a:sym typeface="Josefin Sans"/>
            </a:endParaRPr>
          </a:p>
        </p:txBody>
      </p:sp>
      <p:sp>
        <p:nvSpPr>
          <p:cNvPr id="15" name="Google Shape;910;p31">
            <a:extLst>
              <a:ext uri="{FF2B5EF4-FFF2-40B4-BE49-F238E27FC236}">
                <a16:creationId xmlns:a16="http://schemas.microsoft.com/office/drawing/2014/main" id="{A3D964B3-CC03-C762-8597-367D0DD72E11}"/>
              </a:ext>
            </a:extLst>
          </p:cNvPr>
          <p:cNvSpPr txBox="1"/>
          <p:nvPr/>
        </p:nvSpPr>
        <p:spPr>
          <a:xfrm>
            <a:off x="8686875" y="4766839"/>
            <a:ext cx="2548936" cy="640636"/>
          </a:xfrm>
          <a:prstGeom prst="rect">
            <a:avLst/>
          </a:prstGeom>
          <a:solidFill>
            <a:schemeClr val="accent4">
              <a:lumMod val="20000"/>
              <a:lumOff val="80000"/>
            </a:schemeClr>
          </a:solidFill>
          <a:ln w="9525" cap="flat" cmpd="sng">
            <a:solidFill>
              <a:srgbClr val="97A4FF"/>
            </a:solidFill>
            <a:prstDash val="solid"/>
            <a:round/>
            <a:headEnd type="none" w="sm" len="sm"/>
            <a:tailEnd type="none" w="sm" len="sm"/>
          </a:ln>
        </p:spPr>
        <p:txBody>
          <a:bodyPr spcFirstLastPara="1" wrap="square" lIns="121900" tIns="121900" rIns="121900" bIns="121900" anchor="ctr" anchorCtr="0">
            <a:noAutofit/>
          </a:bodyPr>
          <a:lstStyle/>
          <a:p>
            <a:pPr algn="ctr" defTabSz="1219170" rtl="1">
              <a:defRPr/>
            </a:pPr>
            <a:r>
              <a:rPr lang="ar-SA" sz="2000" b="1" dirty="0">
                <a:latin typeface="Sakkal Majalla" panose="02000000000000000000" pitchFamily="2" charset="-78"/>
                <a:ea typeface="Samim" panose="020B0603030804020204" pitchFamily="34" charset="0"/>
                <a:cs typeface="Sakkal Majalla" panose="02000000000000000000" pitchFamily="2" charset="-78"/>
                <a:sym typeface="Josefin Sans"/>
              </a:rPr>
              <a:t>مجال التعليم والتعلم( </a:t>
            </a:r>
            <a:r>
              <a:rPr lang="en-US" sz="2800" b="1" dirty="0">
                <a:latin typeface="Sakkal Majalla" panose="02000000000000000000" pitchFamily="2" charset="-78"/>
                <a:ea typeface="Samim" panose="020B0603030804020204" pitchFamily="34" charset="0"/>
                <a:cs typeface="Sakkal Majalla" panose="02000000000000000000" pitchFamily="2" charset="-78"/>
                <a:sym typeface="Josefin Sans"/>
              </a:rPr>
              <a:t>30</a:t>
            </a:r>
            <a:r>
              <a:rPr lang="ar-SA" sz="2000" b="1" dirty="0">
                <a:latin typeface="Sakkal Majalla" panose="02000000000000000000" pitchFamily="2" charset="-78"/>
                <a:ea typeface="Samim" panose="020B0603030804020204" pitchFamily="34" charset="0"/>
                <a:cs typeface="Sakkal Majalla" panose="02000000000000000000" pitchFamily="2" charset="-78"/>
                <a:sym typeface="Josefin Sans"/>
              </a:rPr>
              <a:t>%) </a:t>
            </a:r>
            <a:endParaRPr sz="2000" b="1" dirty="0">
              <a:latin typeface="Sakkal Majalla" panose="02000000000000000000" pitchFamily="2" charset="-78"/>
              <a:ea typeface="Samim" panose="020B0603030804020204" pitchFamily="34" charset="0"/>
              <a:cs typeface="Sakkal Majalla" panose="02000000000000000000" pitchFamily="2" charset="-78"/>
              <a:sym typeface="Josefin Sans"/>
            </a:endParaRPr>
          </a:p>
        </p:txBody>
      </p:sp>
      <p:sp>
        <p:nvSpPr>
          <p:cNvPr id="16" name="Google Shape;910;p31">
            <a:extLst>
              <a:ext uri="{FF2B5EF4-FFF2-40B4-BE49-F238E27FC236}">
                <a16:creationId xmlns:a16="http://schemas.microsoft.com/office/drawing/2014/main" id="{138543B8-CC11-F1E0-3B7D-49AD55331165}"/>
              </a:ext>
            </a:extLst>
          </p:cNvPr>
          <p:cNvSpPr txBox="1"/>
          <p:nvPr/>
        </p:nvSpPr>
        <p:spPr>
          <a:xfrm>
            <a:off x="8678323" y="5525179"/>
            <a:ext cx="2548936" cy="640636"/>
          </a:xfrm>
          <a:prstGeom prst="rect">
            <a:avLst/>
          </a:prstGeom>
          <a:solidFill>
            <a:schemeClr val="accent4">
              <a:lumMod val="20000"/>
              <a:lumOff val="80000"/>
            </a:schemeClr>
          </a:solidFill>
          <a:ln w="9525" cap="flat" cmpd="sng">
            <a:solidFill>
              <a:srgbClr val="97A4FF"/>
            </a:solidFill>
            <a:prstDash val="solid"/>
            <a:round/>
            <a:headEnd type="none" w="sm" len="sm"/>
            <a:tailEnd type="none" w="sm" len="sm"/>
          </a:ln>
        </p:spPr>
        <p:txBody>
          <a:bodyPr spcFirstLastPara="1" wrap="square" lIns="121900" tIns="121900" rIns="121900" bIns="121900" anchor="ctr" anchorCtr="0">
            <a:noAutofit/>
          </a:bodyPr>
          <a:lstStyle/>
          <a:p>
            <a:pPr algn="ctr" defTabSz="1219170" rtl="1">
              <a:defRPr/>
            </a:pPr>
            <a:r>
              <a:rPr lang="ar-SA" sz="2000" b="1" dirty="0">
                <a:latin typeface="Sakkal Majalla" panose="02000000000000000000" pitchFamily="2" charset="-78"/>
                <a:ea typeface="Samim" panose="020B0603030804020204" pitchFamily="34" charset="0"/>
                <a:cs typeface="Sakkal Majalla" panose="02000000000000000000" pitchFamily="2" charset="-78"/>
                <a:sym typeface="Josefin Sans"/>
              </a:rPr>
              <a:t>مجال نواتج التعلم( </a:t>
            </a:r>
            <a:r>
              <a:rPr lang="en-US" sz="2800" b="1" dirty="0">
                <a:latin typeface="Sakkal Majalla" panose="02000000000000000000" pitchFamily="2" charset="-78"/>
                <a:ea typeface="Samim" panose="020B0603030804020204" pitchFamily="34" charset="0"/>
                <a:cs typeface="Sakkal Majalla" panose="02000000000000000000" pitchFamily="2" charset="-78"/>
                <a:sym typeface="Josefin Sans"/>
              </a:rPr>
              <a:t>40</a:t>
            </a:r>
            <a:r>
              <a:rPr lang="ar-SA" sz="2000" b="1" dirty="0">
                <a:latin typeface="Sakkal Majalla" panose="02000000000000000000" pitchFamily="2" charset="-78"/>
                <a:ea typeface="Samim" panose="020B0603030804020204" pitchFamily="34" charset="0"/>
                <a:cs typeface="Sakkal Majalla" panose="02000000000000000000" pitchFamily="2" charset="-78"/>
                <a:sym typeface="Josefin Sans"/>
              </a:rPr>
              <a:t>%) </a:t>
            </a:r>
            <a:endParaRPr sz="2000" b="1" dirty="0">
              <a:latin typeface="Sakkal Majalla" panose="02000000000000000000" pitchFamily="2" charset="-78"/>
              <a:ea typeface="Samim" panose="020B0603030804020204" pitchFamily="34" charset="0"/>
              <a:cs typeface="Sakkal Majalla" panose="02000000000000000000" pitchFamily="2" charset="-78"/>
              <a:sym typeface="Josefin Sans"/>
            </a:endParaRPr>
          </a:p>
        </p:txBody>
      </p:sp>
      <p:cxnSp>
        <p:nvCxnSpPr>
          <p:cNvPr id="22" name="Google Shape;921;p31">
            <a:extLst>
              <a:ext uri="{FF2B5EF4-FFF2-40B4-BE49-F238E27FC236}">
                <a16:creationId xmlns:a16="http://schemas.microsoft.com/office/drawing/2014/main" id="{DE5236FB-C6E0-D5EC-BF83-82DAB751EC32}"/>
              </a:ext>
            </a:extLst>
          </p:cNvPr>
          <p:cNvCxnSpPr>
            <a:cxnSpLocks/>
            <a:stCxn id="8" idx="2"/>
            <a:endCxn id="16" idx="1"/>
          </p:cNvCxnSpPr>
          <p:nvPr/>
        </p:nvCxnSpPr>
        <p:spPr>
          <a:xfrm rot="16200000" flipH="1">
            <a:off x="5737985" y="2905159"/>
            <a:ext cx="2923306" cy="2957369"/>
          </a:xfrm>
          <a:prstGeom prst="bentConnector2">
            <a:avLst/>
          </a:prstGeom>
          <a:noFill/>
          <a:ln w="28575" cap="flat" cmpd="sng">
            <a:solidFill>
              <a:srgbClr val="8594FF"/>
            </a:solidFill>
            <a:prstDash val="solid"/>
            <a:round/>
            <a:headEnd type="none" w="med" len="med"/>
            <a:tailEnd type="arrow" w="med" len="med"/>
          </a:ln>
        </p:spPr>
      </p:cxnSp>
      <p:sp>
        <p:nvSpPr>
          <p:cNvPr id="25" name="Google Shape;907;p31">
            <a:extLst>
              <a:ext uri="{FF2B5EF4-FFF2-40B4-BE49-F238E27FC236}">
                <a16:creationId xmlns:a16="http://schemas.microsoft.com/office/drawing/2014/main" id="{3D312A09-7F3A-C59E-ED2D-8EA74E8B238E}"/>
              </a:ext>
            </a:extLst>
          </p:cNvPr>
          <p:cNvSpPr txBox="1"/>
          <p:nvPr/>
        </p:nvSpPr>
        <p:spPr>
          <a:xfrm>
            <a:off x="5635584" y="3322817"/>
            <a:ext cx="1690502" cy="1225986"/>
          </a:xfrm>
          <a:prstGeom prst="rect">
            <a:avLst/>
          </a:prstGeom>
          <a:noFill/>
          <a:ln w="9525" cap="flat" cmpd="sng">
            <a:noFill/>
            <a:prstDash val="solid"/>
            <a:round/>
            <a:headEnd type="none" w="sm" len="sm"/>
            <a:tailEnd type="none" w="sm" len="sm"/>
          </a:ln>
        </p:spPr>
        <p:txBody>
          <a:bodyPr spcFirstLastPara="1" wrap="square" lIns="121900" tIns="121900" rIns="121900" bIns="121900" anchor="ctr" anchorCtr="0">
            <a:noAutofit/>
          </a:bodyPr>
          <a:lstStyle/>
          <a:p>
            <a:pPr algn="ctr" defTabSz="1219170">
              <a:defRPr/>
            </a:pPr>
            <a:r>
              <a:rPr lang="ar-SA" b="1" kern="0" dirty="0">
                <a:solidFill>
                  <a:srgbClr val="FF0000"/>
                </a:solidFill>
                <a:latin typeface="Sakkal Majalla" panose="02000000000000000000" pitchFamily="2" charset="-78"/>
                <a:ea typeface="Samim" panose="020B0603030804020204" pitchFamily="34" charset="0"/>
                <a:cs typeface="Sakkal Majalla" panose="02000000000000000000" pitchFamily="2" charset="-78"/>
                <a:sym typeface="Josefin Sans"/>
              </a:rPr>
              <a:t>للمدارس الثانوية يتم جلب البيانات للمجال من نتائج المدرسة في التحصيلي</a:t>
            </a:r>
          </a:p>
        </p:txBody>
      </p:sp>
      <p:cxnSp>
        <p:nvCxnSpPr>
          <p:cNvPr id="26" name="Google Shape;921;p31">
            <a:extLst>
              <a:ext uri="{FF2B5EF4-FFF2-40B4-BE49-F238E27FC236}">
                <a16:creationId xmlns:a16="http://schemas.microsoft.com/office/drawing/2014/main" id="{BFCF1489-8C03-5515-91E3-97A605324427}"/>
              </a:ext>
            </a:extLst>
          </p:cNvPr>
          <p:cNvCxnSpPr>
            <a:cxnSpLocks/>
            <a:stCxn id="10" idx="2"/>
            <a:endCxn id="16" idx="2"/>
          </p:cNvCxnSpPr>
          <p:nvPr/>
        </p:nvCxnSpPr>
        <p:spPr>
          <a:xfrm rot="16200000" flipH="1">
            <a:off x="4998108" y="1211131"/>
            <a:ext cx="3222473" cy="6686893"/>
          </a:xfrm>
          <a:prstGeom prst="bentConnector3">
            <a:avLst>
              <a:gd name="adj1" fmla="val 107094"/>
            </a:avLst>
          </a:prstGeom>
          <a:noFill/>
          <a:ln w="28575" cap="flat" cmpd="sng">
            <a:solidFill>
              <a:srgbClr val="8594FF"/>
            </a:solidFill>
            <a:prstDash val="solid"/>
            <a:round/>
            <a:headEnd type="none" w="med" len="med"/>
            <a:tailEnd type="arrow" w="med" len="med"/>
          </a:ln>
        </p:spPr>
      </p:cxnSp>
      <p:sp>
        <p:nvSpPr>
          <p:cNvPr id="29" name="Google Shape;907;p31">
            <a:extLst>
              <a:ext uri="{FF2B5EF4-FFF2-40B4-BE49-F238E27FC236}">
                <a16:creationId xmlns:a16="http://schemas.microsoft.com/office/drawing/2014/main" id="{96B16343-CF27-40F0-5D4B-2A6533786F90}"/>
              </a:ext>
            </a:extLst>
          </p:cNvPr>
          <p:cNvSpPr txBox="1"/>
          <p:nvPr/>
        </p:nvSpPr>
        <p:spPr>
          <a:xfrm>
            <a:off x="1716727" y="4153846"/>
            <a:ext cx="1690502" cy="1561154"/>
          </a:xfrm>
          <a:prstGeom prst="rect">
            <a:avLst/>
          </a:prstGeom>
          <a:noFill/>
          <a:ln w="9525" cap="flat" cmpd="sng">
            <a:noFill/>
            <a:prstDash val="solid"/>
            <a:round/>
            <a:headEnd type="none" w="sm" len="sm"/>
            <a:tailEnd type="none" w="sm" len="sm"/>
          </a:ln>
        </p:spPr>
        <p:txBody>
          <a:bodyPr spcFirstLastPara="1" wrap="square" lIns="121900" tIns="121900" rIns="121900" bIns="121900" anchor="ctr" anchorCtr="0">
            <a:noAutofit/>
          </a:bodyPr>
          <a:lstStyle/>
          <a:p>
            <a:pPr algn="ctr" defTabSz="1219170">
              <a:defRPr/>
            </a:pPr>
            <a:r>
              <a:rPr lang="ar-SA" b="1" kern="0" dirty="0">
                <a:solidFill>
                  <a:srgbClr val="FF0000"/>
                </a:solidFill>
                <a:latin typeface="Sakkal Majalla" panose="02000000000000000000" pitchFamily="2" charset="-78"/>
                <a:ea typeface="Samim" panose="020B0603030804020204" pitchFamily="34" charset="0"/>
                <a:cs typeface="Sakkal Majalla" panose="02000000000000000000" pitchFamily="2" charset="-78"/>
                <a:sym typeface="Josefin Sans"/>
              </a:rPr>
              <a:t>للمدارس الابتدائية والمتوسطة يتم جلب البيانات للمجال من نتائج المدرسة في الاختبارات الوطنية</a:t>
            </a:r>
          </a:p>
        </p:txBody>
      </p:sp>
    </p:spTree>
    <p:extLst>
      <p:ext uri="{BB962C8B-B14F-4D97-AF65-F5344CB8AC3E}">
        <p14:creationId xmlns:p14="http://schemas.microsoft.com/office/powerpoint/2010/main" val="12453323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arn(inVertical)">
                                      <p:cBhvr>
                                        <p:cTn id="7" dur="125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47"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1500"/>
                                        <p:tgtEl>
                                          <p:spTgt spid="4"/>
                                        </p:tgtEl>
                                      </p:cBhvr>
                                    </p:animEffect>
                                    <p:anim calcmode="lin" valueType="num">
                                      <p:cBhvr>
                                        <p:cTn id="13" dur="1500" fill="hold"/>
                                        <p:tgtEl>
                                          <p:spTgt spid="4"/>
                                        </p:tgtEl>
                                        <p:attrNameLst>
                                          <p:attrName>ppt_x</p:attrName>
                                        </p:attrNameLst>
                                      </p:cBhvr>
                                      <p:tavLst>
                                        <p:tav tm="0">
                                          <p:val>
                                            <p:strVal val="#ppt_x"/>
                                          </p:val>
                                        </p:tav>
                                        <p:tav tm="100000">
                                          <p:val>
                                            <p:strVal val="#ppt_x"/>
                                          </p:val>
                                        </p:tav>
                                      </p:tavLst>
                                    </p:anim>
                                    <p:anim calcmode="lin" valueType="num">
                                      <p:cBhvr>
                                        <p:cTn id="14" dur="15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7" presetClass="entr" presetSubtype="0" fill="hold" grpId="0" nodeType="click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1500"/>
                                        <p:tgtEl>
                                          <p:spTgt spid="5"/>
                                        </p:tgtEl>
                                      </p:cBhvr>
                                    </p:animEffect>
                                    <p:anim calcmode="lin" valueType="num">
                                      <p:cBhvr>
                                        <p:cTn id="20" dur="1500" fill="hold"/>
                                        <p:tgtEl>
                                          <p:spTgt spid="5"/>
                                        </p:tgtEl>
                                        <p:attrNameLst>
                                          <p:attrName>ppt_x</p:attrName>
                                        </p:attrNameLst>
                                      </p:cBhvr>
                                      <p:tavLst>
                                        <p:tav tm="0">
                                          <p:val>
                                            <p:strVal val="#ppt_x"/>
                                          </p:val>
                                        </p:tav>
                                        <p:tav tm="100000">
                                          <p:val>
                                            <p:strVal val="#ppt_x"/>
                                          </p:val>
                                        </p:tav>
                                      </p:tavLst>
                                    </p:anim>
                                    <p:anim calcmode="lin" valueType="num">
                                      <p:cBhvr>
                                        <p:cTn id="21" dur="15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47" presetClass="entr" presetSubtype="0" fill="hold" nodeType="clickEffect">
                                  <p:stCondLst>
                                    <p:cond delay="0"/>
                                  </p:stCondLst>
                                  <p:childTnLst>
                                    <p:set>
                                      <p:cBhvr>
                                        <p:cTn id="25" dur="1" fill="hold">
                                          <p:stCondLst>
                                            <p:cond delay="0"/>
                                          </p:stCondLst>
                                        </p:cTn>
                                        <p:tgtEl>
                                          <p:spTgt spid="7"/>
                                        </p:tgtEl>
                                        <p:attrNameLst>
                                          <p:attrName>style.visibility</p:attrName>
                                        </p:attrNameLst>
                                      </p:cBhvr>
                                      <p:to>
                                        <p:strVal val="visible"/>
                                      </p:to>
                                    </p:set>
                                    <p:animEffect transition="in" filter="fade">
                                      <p:cBhvr>
                                        <p:cTn id="26" dur="1500"/>
                                        <p:tgtEl>
                                          <p:spTgt spid="7"/>
                                        </p:tgtEl>
                                      </p:cBhvr>
                                    </p:animEffect>
                                    <p:anim calcmode="lin" valueType="num">
                                      <p:cBhvr>
                                        <p:cTn id="27" dur="1500" fill="hold"/>
                                        <p:tgtEl>
                                          <p:spTgt spid="7"/>
                                        </p:tgtEl>
                                        <p:attrNameLst>
                                          <p:attrName>ppt_x</p:attrName>
                                        </p:attrNameLst>
                                      </p:cBhvr>
                                      <p:tavLst>
                                        <p:tav tm="0">
                                          <p:val>
                                            <p:strVal val="#ppt_x"/>
                                          </p:val>
                                        </p:tav>
                                        <p:tav tm="100000">
                                          <p:val>
                                            <p:strVal val="#ppt_x"/>
                                          </p:val>
                                        </p:tav>
                                      </p:tavLst>
                                    </p:anim>
                                    <p:anim calcmode="lin" valueType="num">
                                      <p:cBhvr>
                                        <p:cTn id="28" dur="1500" fill="hold"/>
                                        <p:tgtEl>
                                          <p:spTgt spid="7"/>
                                        </p:tgtEl>
                                        <p:attrNameLst>
                                          <p:attrName>ppt_y</p:attrName>
                                        </p:attrNameLst>
                                      </p:cBhvr>
                                      <p:tavLst>
                                        <p:tav tm="0">
                                          <p:val>
                                            <p:strVal val="#ppt_y-.1"/>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47" presetClass="entr" presetSubtype="0" fill="hold" grpId="0" nodeType="clickEffect">
                                  <p:stCondLst>
                                    <p:cond delay="0"/>
                                  </p:stCondLst>
                                  <p:childTnLst>
                                    <p:set>
                                      <p:cBhvr>
                                        <p:cTn id="32" dur="1" fill="hold">
                                          <p:stCondLst>
                                            <p:cond delay="0"/>
                                          </p:stCondLst>
                                        </p:cTn>
                                        <p:tgtEl>
                                          <p:spTgt spid="8"/>
                                        </p:tgtEl>
                                        <p:attrNameLst>
                                          <p:attrName>style.visibility</p:attrName>
                                        </p:attrNameLst>
                                      </p:cBhvr>
                                      <p:to>
                                        <p:strVal val="visible"/>
                                      </p:to>
                                    </p:set>
                                    <p:animEffect transition="in" filter="fade">
                                      <p:cBhvr>
                                        <p:cTn id="33" dur="1500"/>
                                        <p:tgtEl>
                                          <p:spTgt spid="8"/>
                                        </p:tgtEl>
                                      </p:cBhvr>
                                    </p:animEffect>
                                    <p:anim calcmode="lin" valueType="num">
                                      <p:cBhvr>
                                        <p:cTn id="34" dur="1500" fill="hold"/>
                                        <p:tgtEl>
                                          <p:spTgt spid="8"/>
                                        </p:tgtEl>
                                        <p:attrNameLst>
                                          <p:attrName>ppt_x</p:attrName>
                                        </p:attrNameLst>
                                      </p:cBhvr>
                                      <p:tavLst>
                                        <p:tav tm="0">
                                          <p:val>
                                            <p:strVal val="#ppt_x"/>
                                          </p:val>
                                        </p:tav>
                                        <p:tav tm="100000">
                                          <p:val>
                                            <p:strVal val="#ppt_x"/>
                                          </p:val>
                                        </p:tav>
                                      </p:tavLst>
                                    </p:anim>
                                    <p:anim calcmode="lin" valueType="num">
                                      <p:cBhvr>
                                        <p:cTn id="35" dur="15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36" fill="hold">
                      <p:stCondLst>
                        <p:cond delay="indefinite"/>
                      </p:stCondLst>
                      <p:childTnLst>
                        <p:par>
                          <p:cTn id="37" fill="hold">
                            <p:stCondLst>
                              <p:cond delay="0"/>
                            </p:stCondLst>
                            <p:childTnLst>
                              <p:par>
                                <p:cTn id="38" presetID="47" presetClass="entr" presetSubtype="0" fill="hold" nodeType="clickEffect">
                                  <p:stCondLst>
                                    <p:cond delay="0"/>
                                  </p:stCondLst>
                                  <p:childTnLst>
                                    <p:set>
                                      <p:cBhvr>
                                        <p:cTn id="39" dur="1" fill="hold">
                                          <p:stCondLst>
                                            <p:cond delay="0"/>
                                          </p:stCondLst>
                                        </p:cTn>
                                        <p:tgtEl>
                                          <p:spTgt spid="9"/>
                                        </p:tgtEl>
                                        <p:attrNameLst>
                                          <p:attrName>style.visibility</p:attrName>
                                        </p:attrNameLst>
                                      </p:cBhvr>
                                      <p:to>
                                        <p:strVal val="visible"/>
                                      </p:to>
                                    </p:set>
                                    <p:animEffect transition="in" filter="fade">
                                      <p:cBhvr>
                                        <p:cTn id="40" dur="1500"/>
                                        <p:tgtEl>
                                          <p:spTgt spid="9"/>
                                        </p:tgtEl>
                                      </p:cBhvr>
                                    </p:animEffect>
                                    <p:anim calcmode="lin" valueType="num">
                                      <p:cBhvr>
                                        <p:cTn id="41" dur="1500" fill="hold"/>
                                        <p:tgtEl>
                                          <p:spTgt spid="9"/>
                                        </p:tgtEl>
                                        <p:attrNameLst>
                                          <p:attrName>ppt_x</p:attrName>
                                        </p:attrNameLst>
                                      </p:cBhvr>
                                      <p:tavLst>
                                        <p:tav tm="0">
                                          <p:val>
                                            <p:strVal val="#ppt_x"/>
                                          </p:val>
                                        </p:tav>
                                        <p:tav tm="100000">
                                          <p:val>
                                            <p:strVal val="#ppt_x"/>
                                          </p:val>
                                        </p:tav>
                                      </p:tavLst>
                                    </p:anim>
                                    <p:anim calcmode="lin" valueType="num">
                                      <p:cBhvr>
                                        <p:cTn id="42" dur="1500" fill="hold"/>
                                        <p:tgtEl>
                                          <p:spTgt spid="9"/>
                                        </p:tgtEl>
                                        <p:attrNameLst>
                                          <p:attrName>ppt_y</p:attrName>
                                        </p:attrNameLst>
                                      </p:cBhvr>
                                      <p:tavLst>
                                        <p:tav tm="0">
                                          <p:val>
                                            <p:strVal val="#ppt_y-.1"/>
                                          </p:val>
                                        </p:tav>
                                        <p:tav tm="100000">
                                          <p:val>
                                            <p:strVal val="#ppt_y"/>
                                          </p:val>
                                        </p:tav>
                                      </p:tavLst>
                                    </p:anim>
                                  </p:childTnLst>
                                </p:cTn>
                              </p:par>
                            </p:childTnLst>
                          </p:cTn>
                        </p:par>
                      </p:childTnLst>
                    </p:cTn>
                  </p:par>
                  <p:par>
                    <p:cTn id="43" fill="hold">
                      <p:stCondLst>
                        <p:cond delay="indefinite"/>
                      </p:stCondLst>
                      <p:childTnLst>
                        <p:par>
                          <p:cTn id="44" fill="hold">
                            <p:stCondLst>
                              <p:cond delay="0"/>
                            </p:stCondLst>
                            <p:childTnLst>
                              <p:par>
                                <p:cTn id="45" presetID="47" presetClass="entr" presetSubtype="0" fill="hold" grpId="0" nodeType="clickEffect">
                                  <p:stCondLst>
                                    <p:cond delay="0"/>
                                  </p:stCondLst>
                                  <p:childTnLst>
                                    <p:set>
                                      <p:cBhvr>
                                        <p:cTn id="46" dur="1" fill="hold">
                                          <p:stCondLst>
                                            <p:cond delay="0"/>
                                          </p:stCondLst>
                                        </p:cTn>
                                        <p:tgtEl>
                                          <p:spTgt spid="10"/>
                                        </p:tgtEl>
                                        <p:attrNameLst>
                                          <p:attrName>style.visibility</p:attrName>
                                        </p:attrNameLst>
                                      </p:cBhvr>
                                      <p:to>
                                        <p:strVal val="visible"/>
                                      </p:to>
                                    </p:set>
                                    <p:animEffect transition="in" filter="fade">
                                      <p:cBhvr>
                                        <p:cTn id="47" dur="1500"/>
                                        <p:tgtEl>
                                          <p:spTgt spid="10"/>
                                        </p:tgtEl>
                                      </p:cBhvr>
                                    </p:animEffect>
                                    <p:anim calcmode="lin" valueType="num">
                                      <p:cBhvr>
                                        <p:cTn id="48" dur="1500" fill="hold"/>
                                        <p:tgtEl>
                                          <p:spTgt spid="10"/>
                                        </p:tgtEl>
                                        <p:attrNameLst>
                                          <p:attrName>ppt_x</p:attrName>
                                        </p:attrNameLst>
                                      </p:cBhvr>
                                      <p:tavLst>
                                        <p:tav tm="0">
                                          <p:val>
                                            <p:strVal val="#ppt_x"/>
                                          </p:val>
                                        </p:tav>
                                        <p:tav tm="100000">
                                          <p:val>
                                            <p:strVal val="#ppt_x"/>
                                          </p:val>
                                        </p:tav>
                                      </p:tavLst>
                                    </p:anim>
                                    <p:anim calcmode="lin" valueType="num">
                                      <p:cBhvr>
                                        <p:cTn id="49" dur="1500" fill="hold"/>
                                        <p:tgtEl>
                                          <p:spTgt spid="10"/>
                                        </p:tgtEl>
                                        <p:attrNameLst>
                                          <p:attrName>ppt_y</p:attrName>
                                        </p:attrNameLst>
                                      </p:cBhvr>
                                      <p:tavLst>
                                        <p:tav tm="0">
                                          <p:val>
                                            <p:strVal val="#ppt_y-.1"/>
                                          </p:val>
                                        </p:tav>
                                        <p:tav tm="100000">
                                          <p:val>
                                            <p:strVal val="#ppt_y"/>
                                          </p:val>
                                        </p:tav>
                                      </p:tavLst>
                                    </p:anim>
                                  </p:childTnLst>
                                </p:cTn>
                              </p:par>
                            </p:childTnLst>
                          </p:cTn>
                        </p:par>
                      </p:childTnLst>
                    </p:cTn>
                  </p:par>
                  <p:par>
                    <p:cTn id="50" fill="hold">
                      <p:stCondLst>
                        <p:cond delay="indefinite"/>
                      </p:stCondLst>
                      <p:childTnLst>
                        <p:par>
                          <p:cTn id="51" fill="hold">
                            <p:stCondLst>
                              <p:cond delay="0"/>
                            </p:stCondLst>
                            <p:childTnLst>
                              <p:par>
                                <p:cTn id="52" presetID="47" presetClass="entr" presetSubtype="0" fill="hold" nodeType="clickEffect">
                                  <p:stCondLst>
                                    <p:cond delay="0"/>
                                  </p:stCondLst>
                                  <p:childTnLst>
                                    <p:set>
                                      <p:cBhvr>
                                        <p:cTn id="53" dur="1" fill="hold">
                                          <p:stCondLst>
                                            <p:cond delay="0"/>
                                          </p:stCondLst>
                                        </p:cTn>
                                        <p:tgtEl>
                                          <p:spTgt spid="3"/>
                                        </p:tgtEl>
                                        <p:attrNameLst>
                                          <p:attrName>style.visibility</p:attrName>
                                        </p:attrNameLst>
                                      </p:cBhvr>
                                      <p:to>
                                        <p:strVal val="visible"/>
                                      </p:to>
                                    </p:set>
                                    <p:animEffect transition="in" filter="fade">
                                      <p:cBhvr>
                                        <p:cTn id="54" dur="1500"/>
                                        <p:tgtEl>
                                          <p:spTgt spid="3"/>
                                        </p:tgtEl>
                                      </p:cBhvr>
                                    </p:animEffect>
                                    <p:anim calcmode="lin" valueType="num">
                                      <p:cBhvr>
                                        <p:cTn id="55" dur="1500" fill="hold"/>
                                        <p:tgtEl>
                                          <p:spTgt spid="3"/>
                                        </p:tgtEl>
                                        <p:attrNameLst>
                                          <p:attrName>ppt_x</p:attrName>
                                        </p:attrNameLst>
                                      </p:cBhvr>
                                      <p:tavLst>
                                        <p:tav tm="0">
                                          <p:val>
                                            <p:strVal val="#ppt_x"/>
                                          </p:val>
                                        </p:tav>
                                        <p:tav tm="100000">
                                          <p:val>
                                            <p:strVal val="#ppt_x"/>
                                          </p:val>
                                        </p:tav>
                                      </p:tavLst>
                                    </p:anim>
                                    <p:anim calcmode="lin" valueType="num">
                                      <p:cBhvr>
                                        <p:cTn id="56" dur="15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57" fill="hold">
                      <p:stCondLst>
                        <p:cond delay="indefinite"/>
                      </p:stCondLst>
                      <p:childTnLst>
                        <p:par>
                          <p:cTn id="58" fill="hold">
                            <p:stCondLst>
                              <p:cond delay="0"/>
                            </p:stCondLst>
                            <p:childTnLst>
                              <p:par>
                                <p:cTn id="59" presetID="47" presetClass="entr" presetSubtype="0" fill="hold" grpId="0" nodeType="clickEffect">
                                  <p:stCondLst>
                                    <p:cond delay="0"/>
                                  </p:stCondLst>
                                  <p:childTnLst>
                                    <p:set>
                                      <p:cBhvr>
                                        <p:cTn id="60" dur="1" fill="hold">
                                          <p:stCondLst>
                                            <p:cond delay="0"/>
                                          </p:stCondLst>
                                        </p:cTn>
                                        <p:tgtEl>
                                          <p:spTgt spid="6"/>
                                        </p:tgtEl>
                                        <p:attrNameLst>
                                          <p:attrName>style.visibility</p:attrName>
                                        </p:attrNameLst>
                                      </p:cBhvr>
                                      <p:to>
                                        <p:strVal val="visible"/>
                                      </p:to>
                                    </p:set>
                                    <p:animEffect transition="in" filter="fade">
                                      <p:cBhvr>
                                        <p:cTn id="61" dur="1500"/>
                                        <p:tgtEl>
                                          <p:spTgt spid="6"/>
                                        </p:tgtEl>
                                      </p:cBhvr>
                                    </p:animEffect>
                                    <p:anim calcmode="lin" valueType="num">
                                      <p:cBhvr>
                                        <p:cTn id="62" dur="1500" fill="hold"/>
                                        <p:tgtEl>
                                          <p:spTgt spid="6"/>
                                        </p:tgtEl>
                                        <p:attrNameLst>
                                          <p:attrName>ppt_x</p:attrName>
                                        </p:attrNameLst>
                                      </p:cBhvr>
                                      <p:tavLst>
                                        <p:tav tm="0">
                                          <p:val>
                                            <p:strVal val="#ppt_x"/>
                                          </p:val>
                                        </p:tav>
                                        <p:tav tm="100000">
                                          <p:val>
                                            <p:strVal val="#ppt_x"/>
                                          </p:val>
                                        </p:tav>
                                      </p:tavLst>
                                    </p:anim>
                                    <p:anim calcmode="lin" valueType="num">
                                      <p:cBhvr>
                                        <p:cTn id="63" dur="1500" fill="hold"/>
                                        <p:tgtEl>
                                          <p:spTgt spid="6"/>
                                        </p:tgtEl>
                                        <p:attrNameLst>
                                          <p:attrName>ppt_y</p:attrName>
                                        </p:attrNameLst>
                                      </p:cBhvr>
                                      <p:tavLst>
                                        <p:tav tm="0">
                                          <p:val>
                                            <p:strVal val="#ppt_y-.1"/>
                                          </p:val>
                                        </p:tav>
                                        <p:tav tm="100000">
                                          <p:val>
                                            <p:strVal val="#ppt_y"/>
                                          </p:val>
                                        </p:tav>
                                      </p:tavLst>
                                    </p:anim>
                                  </p:childTnLst>
                                </p:cTn>
                              </p:par>
                            </p:childTnLst>
                          </p:cTn>
                        </p:par>
                      </p:childTnLst>
                    </p:cTn>
                  </p:par>
                  <p:par>
                    <p:cTn id="64" fill="hold">
                      <p:stCondLst>
                        <p:cond delay="indefinite"/>
                      </p:stCondLst>
                      <p:childTnLst>
                        <p:par>
                          <p:cTn id="65" fill="hold">
                            <p:stCondLst>
                              <p:cond delay="0"/>
                            </p:stCondLst>
                            <p:childTnLst>
                              <p:par>
                                <p:cTn id="66" presetID="47" presetClass="entr" presetSubtype="0" fill="hold" grpId="0" nodeType="clickEffect">
                                  <p:stCondLst>
                                    <p:cond delay="0"/>
                                  </p:stCondLst>
                                  <p:childTnLst>
                                    <p:set>
                                      <p:cBhvr>
                                        <p:cTn id="67" dur="1" fill="hold">
                                          <p:stCondLst>
                                            <p:cond delay="0"/>
                                          </p:stCondLst>
                                        </p:cTn>
                                        <p:tgtEl>
                                          <p:spTgt spid="14"/>
                                        </p:tgtEl>
                                        <p:attrNameLst>
                                          <p:attrName>style.visibility</p:attrName>
                                        </p:attrNameLst>
                                      </p:cBhvr>
                                      <p:to>
                                        <p:strVal val="visible"/>
                                      </p:to>
                                    </p:set>
                                    <p:animEffect transition="in" filter="fade">
                                      <p:cBhvr>
                                        <p:cTn id="68" dur="1500"/>
                                        <p:tgtEl>
                                          <p:spTgt spid="14"/>
                                        </p:tgtEl>
                                      </p:cBhvr>
                                    </p:animEffect>
                                    <p:anim calcmode="lin" valueType="num">
                                      <p:cBhvr>
                                        <p:cTn id="69" dur="1500" fill="hold"/>
                                        <p:tgtEl>
                                          <p:spTgt spid="14"/>
                                        </p:tgtEl>
                                        <p:attrNameLst>
                                          <p:attrName>ppt_x</p:attrName>
                                        </p:attrNameLst>
                                      </p:cBhvr>
                                      <p:tavLst>
                                        <p:tav tm="0">
                                          <p:val>
                                            <p:strVal val="#ppt_x"/>
                                          </p:val>
                                        </p:tav>
                                        <p:tav tm="100000">
                                          <p:val>
                                            <p:strVal val="#ppt_x"/>
                                          </p:val>
                                        </p:tav>
                                      </p:tavLst>
                                    </p:anim>
                                    <p:anim calcmode="lin" valueType="num">
                                      <p:cBhvr>
                                        <p:cTn id="70" dur="1500" fill="hold"/>
                                        <p:tgtEl>
                                          <p:spTgt spid="14"/>
                                        </p:tgtEl>
                                        <p:attrNameLst>
                                          <p:attrName>ppt_y</p:attrName>
                                        </p:attrNameLst>
                                      </p:cBhvr>
                                      <p:tavLst>
                                        <p:tav tm="0">
                                          <p:val>
                                            <p:strVal val="#ppt_y-.1"/>
                                          </p:val>
                                        </p:tav>
                                        <p:tav tm="100000">
                                          <p:val>
                                            <p:strVal val="#ppt_y"/>
                                          </p:val>
                                        </p:tav>
                                      </p:tavLst>
                                    </p:anim>
                                  </p:childTnLst>
                                </p:cTn>
                              </p:par>
                            </p:childTnLst>
                          </p:cTn>
                        </p:par>
                      </p:childTnLst>
                    </p:cTn>
                  </p:par>
                  <p:par>
                    <p:cTn id="71" fill="hold">
                      <p:stCondLst>
                        <p:cond delay="indefinite"/>
                      </p:stCondLst>
                      <p:childTnLst>
                        <p:par>
                          <p:cTn id="72" fill="hold">
                            <p:stCondLst>
                              <p:cond delay="0"/>
                            </p:stCondLst>
                            <p:childTnLst>
                              <p:par>
                                <p:cTn id="73" presetID="47" presetClass="entr" presetSubtype="0" fill="hold" grpId="0" nodeType="clickEffect">
                                  <p:stCondLst>
                                    <p:cond delay="0"/>
                                  </p:stCondLst>
                                  <p:childTnLst>
                                    <p:set>
                                      <p:cBhvr>
                                        <p:cTn id="74" dur="1" fill="hold">
                                          <p:stCondLst>
                                            <p:cond delay="0"/>
                                          </p:stCondLst>
                                        </p:cTn>
                                        <p:tgtEl>
                                          <p:spTgt spid="15"/>
                                        </p:tgtEl>
                                        <p:attrNameLst>
                                          <p:attrName>style.visibility</p:attrName>
                                        </p:attrNameLst>
                                      </p:cBhvr>
                                      <p:to>
                                        <p:strVal val="visible"/>
                                      </p:to>
                                    </p:set>
                                    <p:animEffect transition="in" filter="fade">
                                      <p:cBhvr>
                                        <p:cTn id="75" dur="1500"/>
                                        <p:tgtEl>
                                          <p:spTgt spid="15"/>
                                        </p:tgtEl>
                                      </p:cBhvr>
                                    </p:animEffect>
                                    <p:anim calcmode="lin" valueType="num">
                                      <p:cBhvr>
                                        <p:cTn id="76" dur="1500" fill="hold"/>
                                        <p:tgtEl>
                                          <p:spTgt spid="15"/>
                                        </p:tgtEl>
                                        <p:attrNameLst>
                                          <p:attrName>ppt_x</p:attrName>
                                        </p:attrNameLst>
                                      </p:cBhvr>
                                      <p:tavLst>
                                        <p:tav tm="0">
                                          <p:val>
                                            <p:strVal val="#ppt_x"/>
                                          </p:val>
                                        </p:tav>
                                        <p:tav tm="100000">
                                          <p:val>
                                            <p:strVal val="#ppt_x"/>
                                          </p:val>
                                        </p:tav>
                                      </p:tavLst>
                                    </p:anim>
                                    <p:anim calcmode="lin" valueType="num">
                                      <p:cBhvr>
                                        <p:cTn id="77" dur="1500" fill="hold"/>
                                        <p:tgtEl>
                                          <p:spTgt spid="15"/>
                                        </p:tgtEl>
                                        <p:attrNameLst>
                                          <p:attrName>ppt_y</p:attrName>
                                        </p:attrNameLst>
                                      </p:cBhvr>
                                      <p:tavLst>
                                        <p:tav tm="0">
                                          <p:val>
                                            <p:strVal val="#ppt_y-.1"/>
                                          </p:val>
                                        </p:tav>
                                        <p:tav tm="100000">
                                          <p:val>
                                            <p:strVal val="#ppt_y"/>
                                          </p:val>
                                        </p:tav>
                                      </p:tavLst>
                                    </p:anim>
                                  </p:childTnLst>
                                </p:cTn>
                              </p:par>
                            </p:childTnLst>
                          </p:cTn>
                        </p:par>
                      </p:childTnLst>
                    </p:cTn>
                  </p:par>
                  <p:par>
                    <p:cTn id="78" fill="hold">
                      <p:stCondLst>
                        <p:cond delay="indefinite"/>
                      </p:stCondLst>
                      <p:childTnLst>
                        <p:par>
                          <p:cTn id="79" fill="hold">
                            <p:stCondLst>
                              <p:cond delay="0"/>
                            </p:stCondLst>
                            <p:childTnLst>
                              <p:par>
                                <p:cTn id="80" presetID="47" presetClass="entr" presetSubtype="0" fill="hold" grpId="0" nodeType="clickEffect">
                                  <p:stCondLst>
                                    <p:cond delay="0"/>
                                  </p:stCondLst>
                                  <p:childTnLst>
                                    <p:set>
                                      <p:cBhvr>
                                        <p:cTn id="81" dur="1" fill="hold">
                                          <p:stCondLst>
                                            <p:cond delay="0"/>
                                          </p:stCondLst>
                                        </p:cTn>
                                        <p:tgtEl>
                                          <p:spTgt spid="16"/>
                                        </p:tgtEl>
                                        <p:attrNameLst>
                                          <p:attrName>style.visibility</p:attrName>
                                        </p:attrNameLst>
                                      </p:cBhvr>
                                      <p:to>
                                        <p:strVal val="visible"/>
                                      </p:to>
                                    </p:set>
                                    <p:animEffect transition="in" filter="fade">
                                      <p:cBhvr>
                                        <p:cTn id="82" dur="1500"/>
                                        <p:tgtEl>
                                          <p:spTgt spid="16"/>
                                        </p:tgtEl>
                                      </p:cBhvr>
                                    </p:animEffect>
                                    <p:anim calcmode="lin" valueType="num">
                                      <p:cBhvr>
                                        <p:cTn id="83" dur="1500" fill="hold"/>
                                        <p:tgtEl>
                                          <p:spTgt spid="16"/>
                                        </p:tgtEl>
                                        <p:attrNameLst>
                                          <p:attrName>ppt_x</p:attrName>
                                        </p:attrNameLst>
                                      </p:cBhvr>
                                      <p:tavLst>
                                        <p:tav tm="0">
                                          <p:val>
                                            <p:strVal val="#ppt_x"/>
                                          </p:val>
                                        </p:tav>
                                        <p:tav tm="100000">
                                          <p:val>
                                            <p:strVal val="#ppt_x"/>
                                          </p:val>
                                        </p:tav>
                                      </p:tavLst>
                                    </p:anim>
                                    <p:anim calcmode="lin" valueType="num">
                                      <p:cBhvr>
                                        <p:cTn id="84" dur="1500" fill="hold"/>
                                        <p:tgtEl>
                                          <p:spTgt spid="16"/>
                                        </p:tgtEl>
                                        <p:attrNameLst>
                                          <p:attrName>ppt_y</p:attrName>
                                        </p:attrNameLst>
                                      </p:cBhvr>
                                      <p:tavLst>
                                        <p:tav tm="0">
                                          <p:val>
                                            <p:strVal val="#ppt_y-.1"/>
                                          </p:val>
                                        </p:tav>
                                        <p:tav tm="100000">
                                          <p:val>
                                            <p:strVal val="#ppt_y"/>
                                          </p:val>
                                        </p:tav>
                                      </p:tavLst>
                                    </p:anim>
                                  </p:childTnLst>
                                </p:cTn>
                              </p:par>
                            </p:childTnLst>
                          </p:cTn>
                        </p:par>
                      </p:childTnLst>
                    </p:cTn>
                  </p:par>
                  <p:par>
                    <p:cTn id="85" fill="hold">
                      <p:stCondLst>
                        <p:cond delay="indefinite"/>
                      </p:stCondLst>
                      <p:childTnLst>
                        <p:par>
                          <p:cTn id="86" fill="hold">
                            <p:stCondLst>
                              <p:cond delay="0"/>
                            </p:stCondLst>
                            <p:childTnLst>
                              <p:par>
                                <p:cTn id="87" presetID="16" presetClass="entr" presetSubtype="21" fill="hold" nodeType="clickEffect">
                                  <p:stCondLst>
                                    <p:cond delay="0"/>
                                  </p:stCondLst>
                                  <p:childTnLst>
                                    <p:set>
                                      <p:cBhvr>
                                        <p:cTn id="88" dur="1" fill="hold">
                                          <p:stCondLst>
                                            <p:cond delay="0"/>
                                          </p:stCondLst>
                                        </p:cTn>
                                        <p:tgtEl>
                                          <p:spTgt spid="22"/>
                                        </p:tgtEl>
                                        <p:attrNameLst>
                                          <p:attrName>style.visibility</p:attrName>
                                        </p:attrNameLst>
                                      </p:cBhvr>
                                      <p:to>
                                        <p:strVal val="visible"/>
                                      </p:to>
                                    </p:set>
                                    <p:animEffect transition="in" filter="barn(inVertical)">
                                      <p:cBhvr>
                                        <p:cTn id="89" dur="500"/>
                                        <p:tgtEl>
                                          <p:spTgt spid="22"/>
                                        </p:tgtEl>
                                      </p:cBhvr>
                                    </p:animEffect>
                                  </p:childTnLst>
                                </p:cTn>
                              </p:par>
                            </p:childTnLst>
                          </p:cTn>
                        </p:par>
                      </p:childTnLst>
                    </p:cTn>
                  </p:par>
                  <p:par>
                    <p:cTn id="90" fill="hold">
                      <p:stCondLst>
                        <p:cond delay="indefinite"/>
                      </p:stCondLst>
                      <p:childTnLst>
                        <p:par>
                          <p:cTn id="91" fill="hold">
                            <p:stCondLst>
                              <p:cond delay="0"/>
                            </p:stCondLst>
                            <p:childTnLst>
                              <p:par>
                                <p:cTn id="92" presetID="47" presetClass="entr" presetSubtype="0" fill="hold" grpId="0" nodeType="clickEffect">
                                  <p:stCondLst>
                                    <p:cond delay="0"/>
                                  </p:stCondLst>
                                  <p:childTnLst>
                                    <p:set>
                                      <p:cBhvr>
                                        <p:cTn id="93" dur="1" fill="hold">
                                          <p:stCondLst>
                                            <p:cond delay="0"/>
                                          </p:stCondLst>
                                        </p:cTn>
                                        <p:tgtEl>
                                          <p:spTgt spid="25"/>
                                        </p:tgtEl>
                                        <p:attrNameLst>
                                          <p:attrName>style.visibility</p:attrName>
                                        </p:attrNameLst>
                                      </p:cBhvr>
                                      <p:to>
                                        <p:strVal val="visible"/>
                                      </p:to>
                                    </p:set>
                                    <p:animEffect transition="in" filter="fade">
                                      <p:cBhvr>
                                        <p:cTn id="94" dur="1500"/>
                                        <p:tgtEl>
                                          <p:spTgt spid="25"/>
                                        </p:tgtEl>
                                      </p:cBhvr>
                                    </p:animEffect>
                                    <p:anim calcmode="lin" valueType="num">
                                      <p:cBhvr>
                                        <p:cTn id="95" dur="1500" fill="hold"/>
                                        <p:tgtEl>
                                          <p:spTgt spid="25"/>
                                        </p:tgtEl>
                                        <p:attrNameLst>
                                          <p:attrName>ppt_x</p:attrName>
                                        </p:attrNameLst>
                                      </p:cBhvr>
                                      <p:tavLst>
                                        <p:tav tm="0">
                                          <p:val>
                                            <p:strVal val="#ppt_x"/>
                                          </p:val>
                                        </p:tav>
                                        <p:tav tm="100000">
                                          <p:val>
                                            <p:strVal val="#ppt_x"/>
                                          </p:val>
                                        </p:tav>
                                      </p:tavLst>
                                    </p:anim>
                                    <p:anim calcmode="lin" valueType="num">
                                      <p:cBhvr>
                                        <p:cTn id="96" dur="1500" fill="hold"/>
                                        <p:tgtEl>
                                          <p:spTgt spid="25"/>
                                        </p:tgtEl>
                                        <p:attrNameLst>
                                          <p:attrName>ppt_y</p:attrName>
                                        </p:attrNameLst>
                                      </p:cBhvr>
                                      <p:tavLst>
                                        <p:tav tm="0">
                                          <p:val>
                                            <p:strVal val="#ppt_y-.1"/>
                                          </p:val>
                                        </p:tav>
                                        <p:tav tm="100000">
                                          <p:val>
                                            <p:strVal val="#ppt_y"/>
                                          </p:val>
                                        </p:tav>
                                      </p:tavLst>
                                    </p:anim>
                                  </p:childTnLst>
                                </p:cTn>
                              </p:par>
                            </p:childTnLst>
                          </p:cTn>
                        </p:par>
                      </p:childTnLst>
                    </p:cTn>
                  </p:par>
                  <p:par>
                    <p:cTn id="97" fill="hold">
                      <p:stCondLst>
                        <p:cond delay="indefinite"/>
                      </p:stCondLst>
                      <p:childTnLst>
                        <p:par>
                          <p:cTn id="98" fill="hold">
                            <p:stCondLst>
                              <p:cond delay="0"/>
                            </p:stCondLst>
                            <p:childTnLst>
                              <p:par>
                                <p:cTn id="99" presetID="16" presetClass="entr" presetSubtype="21" fill="hold" nodeType="clickEffect">
                                  <p:stCondLst>
                                    <p:cond delay="0"/>
                                  </p:stCondLst>
                                  <p:childTnLst>
                                    <p:set>
                                      <p:cBhvr>
                                        <p:cTn id="100" dur="1" fill="hold">
                                          <p:stCondLst>
                                            <p:cond delay="0"/>
                                          </p:stCondLst>
                                        </p:cTn>
                                        <p:tgtEl>
                                          <p:spTgt spid="26"/>
                                        </p:tgtEl>
                                        <p:attrNameLst>
                                          <p:attrName>style.visibility</p:attrName>
                                        </p:attrNameLst>
                                      </p:cBhvr>
                                      <p:to>
                                        <p:strVal val="visible"/>
                                      </p:to>
                                    </p:set>
                                    <p:animEffect transition="in" filter="barn(inVertical)">
                                      <p:cBhvr>
                                        <p:cTn id="101" dur="500"/>
                                        <p:tgtEl>
                                          <p:spTgt spid="26"/>
                                        </p:tgtEl>
                                      </p:cBhvr>
                                    </p:animEffect>
                                  </p:childTnLst>
                                </p:cTn>
                              </p:par>
                            </p:childTnLst>
                          </p:cTn>
                        </p:par>
                      </p:childTnLst>
                    </p:cTn>
                  </p:par>
                  <p:par>
                    <p:cTn id="102" fill="hold">
                      <p:stCondLst>
                        <p:cond delay="indefinite"/>
                      </p:stCondLst>
                      <p:childTnLst>
                        <p:par>
                          <p:cTn id="103" fill="hold">
                            <p:stCondLst>
                              <p:cond delay="0"/>
                            </p:stCondLst>
                            <p:childTnLst>
                              <p:par>
                                <p:cTn id="104" presetID="47" presetClass="entr" presetSubtype="0" fill="hold" grpId="0" nodeType="clickEffect">
                                  <p:stCondLst>
                                    <p:cond delay="0"/>
                                  </p:stCondLst>
                                  <p:childTnLst>
                                    <p:set>
                                      <p:cBhvr>
                                        <p:cTn id="105" dur="1" fill="hold">
                                          <p:stCondLst>
                                            <p:cond delay="0"/>
                                          </p:stCondLst>
                                        </p:cTn>
                                        <p:tgtEl>
                                          <p:spTgt spid="29"/>
                                        </p:tgtEl>
                                        <p:attrNameLst>
                                          <p:attrName>style.visibility</p:attrName>
                                        </p:attrNameLst>
                                      </p:cBhvr>
                                      <p:to>
                                        <p:strVal val="visible"/>
                                      </p:to>
                                    </p:set>
                                    <p:animEffect transition="in" filter="fade">
                                      <p:cBhvr>
                                        <p:cTn id="106" dur="1500"/>
                                        <p:tgtEl>
                                          <p:spTgt spid="29"/>
                                        </p:tgtEl>
                                      </p:cBhvr>
                                    </p:animEffect>
                                    <p:anim calcmode="lin" valueType="num">
                                      <p:cBhvr>
                                        <p:cTn id="107" dur="1500" fill="hold"/>
                                        <p:tgtEl>
                                          <p:spTgt spid="29"/>
                                        </p:tgtEl>
                                        <p:attrNameLst>
                                          <p:attrName>ppt_x</p:attrName>
                                        </p:attrNameLst>
                                      </p:cBhvr>
                                      <p:tavLst>
                                        <p:tav tm="0">
                                          <p:val>
                                            <p:strVal val="#ppt_x"/>
                                          </p:val>
                                        </p:tav>
                                        <p:tav tm="100000">
                                          <p:val>
                                            <p:strVal val="#ppt_x"/>
                                          </p:val>
                                        </p:tav>
                                      </p:tavLst>
                                    </p:anim>
                                    <p:anim calcmode="lin" valueType="num">
                                      <p:cBhvr>
                                        <p:cTn id="108" dur="1500" fill="hold"/>
                                        <p:tgtEl>
                                          <p:spTgt spid="2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5" grpId="0" animBg="1"/>
      <p:bldP spid="6" grpId="0" animBg="1"/>
      <p:bldP spid="8" grpId="0" animBg="1"/>
      <p:bldP spid="10" grpId="0" animBg="1"/>
      <p:bldP spid="14" grpId="0" animBg="1"/>
      <p:bldP spid="15" grpId="0" animBg="1"/>
      <p:bldP spid="16" grpId="0" animBg="1"/>
      <p:bldP spid="25" grpId="0"/>
      <p:bldP spid="29"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0" name="مجموعة 59">
            <a:extLst>
              <a:ext uri="{FF2B5EF4-FFF2-40B4-BE49-F238E27FC236}">
                <a16:creationId xmlns:a16="http://schemas.microsoft.com/office/drawing/2014/main" id="{779E614E-BFEB-8910-0CA1-8A8654CFEB06}"/>
              </a:ext>
            </a:extLst>
          </p:cNvPr>
          <p:cNvGrpSpPr/>
          <p:nvPr/>
        </p:nvGrpSpPr>
        <p:grpSpPr>
          <a:xfrm>
            <a:off x="4206807" y="1548257"/>
            <a:ext cx="3087611" cy="2697838"/>
            <a:chOff x="4221006" y="1724895"/>
            <a:chExt cx="3769604" cy="2726580"/>
          </a:xfrm>
        </p:grpSpPr>
        <p:sp>
          <p:nvSpPr>
            <p:cNvPr id="59" name="Google Shape;3816;p64">
              <a:extLst>
                <a:ext uri="{FF2B5EF4-FFF2-40B4-BE49-F238E27FC236}">
                  <a16:creationId xmlns:a16="http://schemas.microsoft.com/office/drawing/2014/main" id="{1D048636-D589-15C2-B8D1-05D1AE3C626C}"/>
                </a:ext>
              </a:extLst>
            </p:cNvPr>
            <p:cNvSpPr/>
            <p:nvPr/>
          </p:nvSpPr>
          <p:spPr>
            <a:xfrm>
              <a:off x="4221006" y="1724895"/>
              <a:ext cx="3769604" cy="2726580"/>
            </a:xfrm>
            <a:custGeom>
              <a:avLst/>
              <a:gdLst/>
              <a:ahLst/>
              <a:cxnLst/>
              <a:rect l="l" t="t" r="r" b="b"/>
              <a:pathLst>
                <a:path w="200678" h="183117" extrusionOk="0">
                  <a:moveTo>
                    <a:pt x="147944" y="1"/>
                  </a:moveTo>
                  <a:cubicBezTo>
                    <a:pt x="128902" y="1"/>
                    <a:pt x="116374" y="16962"/>
                    <a:pt x="88848" y="22980"/>
                  </a:cubicBezTo>
                  <a:cubicBezTo>
                    <a:pt x="56060" y="30148"/>
                    <a:pt x="46096" y="27030"/>
                    <a:pt x="23048" y="51171"/>
                  </a:cubicBezTo>
                  <a:cubicBezTo>
                    <a:pt x="1" y="75311"/>
                    <a:pt x="5304" y="121085"/>
                    <a:pt x="34491" y="150176"/>
                  </a:cubicBezTo>
                  <a:cubicBezTo>
                    <a:pt x="63711" y="179299"/>
                    <a:pt x="92448" y="182578"/>
                    <a:pt x="92448" y="182578"/>
                  </a:cubicBezTo>
                  <a:cubicBezTo>
                    <a:pt x="92448" y="182578"/>
                    <a:pt x="95800" y="183116"/>
                    <a:pt x="101224" y="183116"/>
                  </a:cubicBezTo>
                  <a:cubicBezTo>
                    <a:pt x="113079" y="183116"/>
                    <a:pt x="134832" y="180544"/>
                    <a:pt x="153136" y="164159"/>
                  </a:cubicBezTo>
                  <a:cubicBezTo>
                    <a:pt x="179816" y="140243"/>
                    <a:pt x="187145" y="101381"/>
                    <a:pt x="193928" y="70104"/>
                  </a:cubicBezTo>
                  <a:cubicBezTo>
                    <a:pt x="200678" y="38795"/>
                    <a:pt x="186309" y="10958"/>
                    <a:pt x="159726" y="2054"/>
                  </a:cubicBezTo>
                  <a:cubicBezTo>
                    <a:pt x="155461" y="620"/>
                    <a:pt x="151583" y="1"/>
                    <a:pt x="147944" y="1"/>
                  </a:cubicBezTo>
                  <a:close/>
                </a:path>
              </a:pathLst>
            </a:custGeom>
            <a:solidFill>
              <a:srgbClr val="77C6FC"/>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pic>
          <p:nvPicPr>
            <p:cNvPr id="58" name="صورة 57">
              <a:extLst>
                <a:ext uri="{FF2B5EF4-FFF2-40B4-BE49-F238E27FC236}">
                  <a16:creationId xmlns:a16="http://schemas.microsoft.com/office/drawing/2014/main" id="{FA1909E3-7402-DC45-6F59-B5DF4B1F3D2B}"/>
                </a:ext>
              </a:extLst>
            </p:cNvPr>
            <p:cNvPicPr>
              <a:picLocks noChangeAspect="1"/>
            </p:cNvPicPr>
            <p:nvPr/>
          </p:nvPicPr>
          <p:blipFill rotWithShape="1">
            <a:blip r:embed="rId2"/>
            <a:srcRect l="18750" t="10721" r="10412" b="5216"/>
            <a:stretch/>
          </p:blipFill>
          <p:spPr>
            <a:xfrm>
              <a:off x="5097377" y="2231145"/>
              <a:ext cx="2150918" cy="1646261"/>
            </a:xfrm>
            <a:prstGeom prst="rect">
              <a:avLst/>
            </a:prstGeom>
          </p:spPr>
        </p:pic>
      </p:grpSp>
      <p:sp>
        <p:nvSpPr>
          <p:cNvPr id="67" name="Text Placeholder 1">
            <a:extLst>
              <a:ext uri="{FF2B5EF4-FFF2-40B4-BE49-F238E27FC236}">
                <a16:creationId xmlns:a16="http://schemas.microsoft.com/office/drawing/2014/main" id="{C0604B3A-78CE-9ABD-C00A-88463A1B7D0D}"/>
              </a:ext>
            </a:extLst>
          </p:cNvPr>
          <p:cNvSpPr txBox="1">
            <a:spLocks/>
          </p:cNvSpPr>
          <p:nvPr/>
        </p:nvSpPr>
        <p:spPr>
          <a:xfrm>
            <a:off x="516637" y="415938"/>
            <a:ext cx="11573197" cy="629912"/>
          </a:xfrm>
          <a:prstGeom prst="rect">
            <a:avLst/>
          </a:prstGeom>
        </p:spPr>
        <p:txBody>
          <a:bodyPr anchor="ctr"/>
          <a:lstStyle>
            <a:lvl1pPr marL="0" indent="0" algn="ctr" defTabSz="914400" rtl="0" eaLnBrk="1" latinLnBrk="0" hangingPunct="1">
              <a:lnSpc>
                <a:spcPct val="90000"/>
              </a:lnSpc>
              <a:spcBef>
                <a:spcPts val="1000"/>
              </a:spcBef>
              <a:buFont typeface="Arial" panose="020B0604020202020204" pitchFamily="34" charset="0"/>
              <a:buNone/>
              <a:defRPr sz="5400" b="0" kern="1200" baseline="0">
                <a:solidFill>
                  <a:schemeClr val="tx1">
                    <a:lumMod val="85000"/>
                    <a:lumOff val="15000"/>
                  </a:schemeClr>
                </a:solidFill>
                <a:latin typeface="+mj-lt"/>
                <a:ea typeface="+mn-ea"/>
                <a:cs typeface="Arial"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ar-SA" sz="4400" dirty="0">
                <a:solidFill>
                  <a:sysClr val="windowText" lastClr="000000">
                    <a:lumMod val="85000"/>
                    <a:lumOff val="15000"/>
                  </a:sysClr>
                </a:solidFill>
                <a:latin typeface="Sakkal Majalla" panose="02000000000000000000" pitchFamily="2" charset="-78"/>
                <a:cs typeface="Sakkal Majalla" panose="02000000000000000000" pitchFamily="2" charset="-78"/>
              </a:rPr>
              <a:t>المنصة الرقمية</a:t>
            </a:r>
            <a:endParaRPr kumimoji="0" lang="en-US" sz="4400" b="0" i="0" u="none" strike="noStrike" kern="1200" cap="none" spc="0" normalizeH="0" baseline="0" noProof="0" dirty="0">
              <a:ln>
                <a:noFill/>
              </a:ln>
              <a:solidFill>
                <a:sysClr val="windowText" lastClr="000000">
                  <a:lumMod val="85000"/>
                  <a:lumOff val="15000"/>
                </a:sysClr>
              </a:solidFill>
              <a:effectLst/>
              <a:uLnTx/>
              <a:uFillTx/>
              <a:latin typeface="Sakkal Majalla" panose="02000000000000000000" pitchFamily="2" charset="-78"/>
              <a:cs typeface="Sakkal Majalla" panose="02000000000000000000" pitchFamily="2" charset="-78"/>
            </a:endParaRPr>
          </a:p>
        </p:txBody>
      </p:sp>
      <p:sp>
        <p:nvSpPr>
          <p:cNvPr id="77" name="مربع نص 76">
            <a:extLst>
              <a:ext uri="{FF2B5EF4-FFF2-40B4-BE49-F238E27FC236}">
                <a16:creationId xmlns:a16="http://schemas.microsoft.com/office/drawing/2014/main" id="{30C5239C-BE27-929D-7DEB-F2C0EF8D2808}"/>
              </a:ext>
            </a:extLst>
          </p:cNvPr>
          <p:cNvSpPr txBox="1"/>
          <p:nvPr/>
        </p:nvSpPr>
        <p:spPr>
          <a:xfrm>
            <a:off x="8117693" y="1299003"/>
            <a:ext cx="3627938" cy="1631216"/>
          </a:xfrm>
          <a:prstGeom prst="rect">
            <a:avLst/>
          </a:prstGeom>
          <a:solidFill>
            <a:srgbClr val="7030A0"/>
          </a:solidFill>
        </p:spPr>
        <p:txBody>
          <a:bodyPr wrap="square">
            <a:spAutoFit/>
          </a:bodyPr>
          <a:lstStyle/>
          <a:p>
            <a:pPr marR="0" lvl="0" algn="justLow" defTabSz="1219140" rtl="1" eaLnBrk="1" fontAlgn="auto" latinLnBrk="0" hangingPunct="1">
              <a:lnSpc>
                <a:spcPct val="100000"/>
              </a:lnSpc>
              <a:spcBef>
                <a:spcPts val="0"/>
              </a:spcBef>
              <a:spcAft>
                <a:spcPts val="0"/>
              </a:spcAft>
              <a:buClr>
                <a:srgbClr val="11C1FF"/>
              </a:buClr>
              <a:buSzTx/>
              <a:tabLst/>
              <a:defRPr/>
            </a:pPr>
            <a:r>
              <a:rPr kumimoji="0" lang="ar-SA" sz="2000" b="0" i="0" u="none" strike="noStrike" kern="1200" cap="none" spc="0" normalizeH="0" baseline="0" noProof="0" dirty="0">
                <a:ln>
                  <a:noFill/>
                </a:ln>
                <a:solidFill>
                  <a:schemeClr val="bg1"/>
                </a:solidFill>
                <a:effectLst/>
                <a:uLnTx/>
                <a:uFillTx/>
                <a:latin typeface="Sakkal Majalla" panose="02000000000000000000" pitchFamily="2" charset="-78"/>
                <a:ea typeface="Samim" panose="020B0603030804020204" pitchFamily="34" charset="0"/>
                <a:cs typeface="Sakkal Majalla" panose="02000000000000000000" pitchFamily="2" charset="-78"/>
              </a:rPr>
              <a:t>نظام متكامل للمعايير و لأدوات إجراءات التقويم المدرسي الذاتي والخارجي والاعتماد المدرسي. تتضمن أدوات مؤتمتة وأدلة إرشادية لتطبيقها. وتدعم عمليات تحليل البيانات وإصدار التقارير إلكترونياً.</a:t>
            </a:r>
          </a:p>
        </p:txBody>
      </p:sp>
      <p:cxnSp>
        <p:nvCxnSpPr>
          <p:cNvPr id="78" name="Google Shape;921;p31">
            <a:extLst>
              <a:ext uri="{FF2B5EF4-FFF2-40B4-BE49-F238E27FC236}">
                <a16:creationId xmlns:a16="http://schemas.microsoft.com/office/drawing/2014/main" id="{BE800771-E27F-AD31-814A-5D65E336E3BC}"/>
              </a:ext>
            </a:extLst>
          </p:cNvPr>
          <p:cNvCxnSpPr>
            <a:cxnSpLocks/>
            <a:stCxn id="58" idx="3"/>
            <a:endCxn id="77" idx="1"/>
          </p:cNvCxnSpPr>
          <p:nvPr/>
        </p:nvCxnSpPr>
        <p:spPr>
          <a:xfrm flipV="1">
            <a:off x="6686402" y="2114611"/>
            <a:ext cx="1431291" cy="749013"/>
          </a:xfrm>
          <a:prstGeom prst="bentConnector3">
            <a:avLst>
              <a:gd name="adj1" fmla="val 50000"/>
            </a:avLst>
          </a:prstGeom>
          <a:noFill/>
          <a:ln w="28575" cap="flat" cmpd="sng">
            <a:solidFill>
              <a:srgbClr val="8594FF"/>
            </a:solidFill>
            <a:prstDash val="solid"/>
            <a:round/>
            <a:headEnd type="none" w="med" len="med"/>
            <a:tailEnd type="arrow" w="med" len="med"/>
          </a:ln>
        </p:spPr>
      </p:cxnSp>
      <p:sp>
        <p:nvSpPr>
          <p:cNvPr id="213" name="مربع نص 212">
            <a:extLst>
              <a:ext uri="{FF2B5EF4-FFF2-40B4-BE49-F238E27FC236}">
                <a16:creationId xmlns:a16="http://schemas.microsoft.com/office/drawing/2014/main" id="{6F602E77-F443-2AD9-84BF-668990F019D7}"/>
              </a:ext>
            </a:extLst>
          </p:cNvPr>
          <p:cNvSpPr txBox="1"/>
          <p:nvPr/>
        </p:nvSpPr>
        <p:spPr>
          <a:xfrm>
            <a:off x="8117693" y="3072521"/>
            <a:ext cx="3627938" cy="1015663"/>
          </a:xfrm>
          <a:prstGeom prst="rect">
            <a:avLst/>
          </a:prstGeom>
          <a:solidFill>
            <a:srgbClr val="7030A0"/>
          </a:solidFill>
        </p:spPr>
        <p:txBody>
          <a:bodyPr wrap="square">
            <a:spAutoFit/>
          </a:bodyPr>
          <a:lstStyle/>
          <a:p>
            <a:pPr marR="0" lvl="0" algn="justLow" defTabSz="1219140" rtl="1" eaLnBrk="1" fontAlgn="auto" latinLnBrk="0" hangingPunct="1">
              <a:lnSpc>
                <a:spcPct val="100000"/>
              </a:lnSpc>
              <a:spcBef>
                <a:spcPts val="0"/>
              </a:spcBef>
              <a:spcAft>
                <a:spcPts val="0"/>
              </a:spcAft>
              <a:buClr>
                <a:srgbClr val="11C1FF"/>
              </a:buClr>
              <a:buSzTx/>
              <a:tabLst/>
              <a:defRPr/>
            </a:pPr>
            <a:r>
              <a:rPr kumimoji="0" lang="ar-SA" sz="2000" b="0" i="0" u="none" strike="noStrike" kern="1200" cap="none" spc="0" normalizeH="0" baseline="0" noProof="0" dirty="0">
                <a:ln>
                  <a:noFill/>
                </a:ln>
                <a:solidFill>
                  <a:schemeClr val="bg1"/>
                </a:solidFill>
                <a:effectLst/>
                <a:uLnTx/>
                <a:uFillTx/>
                <a:latin typeface="Sakkal Majalla" panose="02000000000000000000" pitchFamily="2" charset="-78"/>
                <a:ea typeface="Samim" panose="020B0603030804020204" pitchFamily="34" charset="0"/>
                <a:cs typeface="Sakkal Majalla" panose="02000000000000000000" pitchFamily="2" charset="-78"/>
              </a:rPr>
              <a:t>تجري المدرسة من خلالها كل مراحل التقويم الذاتي ( تطبق كل أدوات التقويم المعتمدة من الهيئة ) لتقويم كل مجالات ومعايير الأداء المدرسي.</a:t>
            </a:r>
          </a:p>
        </p:txBody>
      </p:sp>
      <p:cxnSp>
        <p:nvCxnSpPr>
          <p:cNvPr id="214" name="Google Shape;921;p31">
            <a:extLst>
              <a:ext uri="{FF2B5EF4-FFF2-40B4-BE49-F238E27FC236}">
                <a16:creationId xmlns:a16="http://schemas.microsoft.com/office/drawing/2014/main" id="{A4EC7417-D981-A119-5099-CD03CFA1CAEB}"/>
              </a:ext>
            </a:extLst>
          </p:cNvPr>
          <p:cNvCxnSpPr>
            <a:cxnSpLocks/>
            <a:stCxn id="58" idx="3"/>
            <a:endCxn id="213" idx="1"/>
          </p:cNvCxnSpPr>
          <p:nvPr/>
        </p:nvCxnSpPr>
        <p:spPr>
          <a:xfrm>
            <a:off x="6686402" y="2863624"/>
            <a:ext cx="1431291" cy="716729"/>
          </a:xfrm>
          <a:prstGeom prst="bentConnector3">
            <a:avLst>
              <a:gd name="adj1" fmla="val 50000"/>
            </a:avLst>
          </a:prstGeom>
          <a:noFill/>
          <a:ln w="28575" cap="flat" cmpd="sng">
            <a:solidFill>
              <a:srgbClr val="8594FF"/>
            </a:solidFill>
            <a:prstDash val="solid"/>
            <a:round/>
            <a:headEnd type="none" w="med" len="med"/>
            <a:tailEnd type="arrow" w="med" len="med"/>
          </a:ln>
        </p:spPr>
      </p:cxnSp>
      <p:sp>
        <p:nvSpPr>
          <p:cNvPr id="216" name="مربع نص 215">
            <a:extLst>
              <a:ext uri="{FF2B5EF4-FFF2-40B4-BE49-F238E27FC236}">
                <a16:creationId xmlns:a16="http://schemas.microsoft.com/office/drawing/2014/main" id="{DB4AC063-CA99-8D05-D40D-5E1D42612C65}"/>
              </a:ext>
            </a:extLst>
          </p:cNvPr>
          <p:cNvSpPr txBox="1"/>
          <p:nvPr/>
        </p:nvSpPr>
        <p:spPr>
          <a:xfrm>
            <a:off x="8117693" y="4246095"/>
            <a:ext cx="3627938" cy="1323439"/>
          </a:xfrm>
          <a:prstGeom prst="rect">
            <a:avLst/>
          </a:prstGeom>
          <a:solidFill>
            <a:srgbClr val="7030A0"/>
          </a:solidFill>
        </p:spPr>
        <p:txBody>
          <a:bodyPr wrap="square">
            <a:spAutoFit/>
          </a:bodyPr>
          <a:lstStyle/>
          <a:p>
            <a:pPr marR="0" lvl="0" algn="justLow" defTabSz="1219140" rtl="1" eaLnBrk="1" fontAlgn="auto" latinLnBrk="0" hangingPunct="1">
              <a:lnSpc>
                <a:spcPct val="100000"/>
              </a:lnSpc>
              <a:spcBef>
                <a:spcPts val="0"/>
              </a:spcBef>
              <a:spcAft>
                <a:spcPts val="0"/>
              </a:spcAft>
              <a:buClr>
                <a:srgbClr val="11C1FF"/>
              </a:buClr>
              <a:buSzTx/>
              <a:tabLst/>
              <a:defRPr/>
            </a:pPr>
            <a:r>
              <a:rPr lang="ar-SA" sz="2000" dirty="0">
                <a:solidFill>
                  <a:schemeClr val="bg1"/>
                </a:solidFill>
                <a:latin typeface="Sakkal Majalla" panose="02000000000000000000" pitchFamily="2" charset="-78"/>
                <a:ea typeface="Samim" panose="020B0603030804020204" pitchFamily="34" charset="0"/>
                <a:cs typeface="Sakkal Majalla" panose="02000000000000000000" pitchFamily="2" charset="-78"/>
              </a:rPr>
              <a:t>تقويم معايير القيادة والإدارة المدرسية</a:t>
            </a:r>
          </a:p>
          <a:p>
            <a:pPr marR="0" lvl="0" algn="justLow" defTabSz="1219140" rtl="1" eaLnBrk="1" fontAlgn="auto" latinLnBrk="0" hangingPunct="1">
              <a:lnSpc>
                <a:spcPct val="100000"/>
              </a:lnSpc>
              <a:spcBef>
                <a:spcPts val="0"/>
              </a:spcBef>
              <a:spcAft>
                <a:spcPts val="0"/>
              </a:spcAft>
              <a:buClr>
                <a:srgbClr val="11C1FF"/>
              </a:buClr>
              <a:buSzTx/>
              <a:tabLst/>
              <a:defRPr/>
            </a:pPr>
            <a:r>
              <a:rPr kumimoji="0" lang="ar-SA" sz="2000" b="0" i="0" u="none" strike="noStrike" kern="1200" cap="none" spc="0" normalizeH="0" baseline="0" noProof="0" dirty="0">
                <a:ln>
                  <a:noFill/>
                </a:ln>
                <a:solidFill>
                  <a:schemeClr val="bg1"/>
                </a:solidFill>
                <a:effectLst/>
                <a:uLnTx/>
                <a:uFillTx/>
                <a:latin typeface="Sakkal Majalla" panose="02000000000000000000" pitchFamily="2" charset="-78"/>
                <a:ea typeface="Samim" panose="020B0603030804020204" pitchFamily="34" charset="0"/>
                <a:cs typeface="Sakkal Majalla" panose="02000000000000000000" pitchFamily="2" charset="-78"/>
              </a:rPr>
              <a:t>تقويم معايير التعليم والتعلم</a:t>
            </a:r>
          </a:p>
          <a:p>
            <a:pPr marR="0" lvl="0" algn="justLow" defTabSz="1219140" rtl="1" eaLnBrk="1" fontAlgn="auto" latinLnBrk="0" hangingPunct="1">
              <a:lnSpc>
                <a:spcPct val="100000"/>
              </a:lnSpc>
              <a:spcBef>
                <a:spcPts val="0"/>
              </a:spcBef>
              <a:spcAft>
                <a:spcPts val="0"/>
              </a:spcAft>
              <a:buClr>
                <a:srgbClr val="11C1FF"/>
              </a:buClr>
              <a:buSzTx/>
              <a:tabLst/>
              <a:defRPr/>
            </a:pPr>
            <a:r>
              <a:rPr lang="ar-SA" sz="2000" dirty="0">
                <a:solidFill>
                  <a:schemeClr val="bg1"/>
                </a:solidFill>
                <a:latin typeface="Sakkal Majalla" panose="02000000000000000000" pitchFamily="2" charset="-78"/>
                <a:ea typeface="Samim" panose="020B0603030804020204" pitchFamily="34" charset="0"/>
                <a:cs typeface="Sakkal Majalla" panose="02000000000000000000" pitchFamily="2" charset="-78"/>
              </a:rPr>
              <a:t>تقويم نواتج التعلم</a:t>
            </a:r>
          </a:p>
          <a:p>
            <a:pPr marR="0" lvl="0" algn="justLow" defTabSz="1219140" rtl="1" eaLnBrk="1" fontAlgn="auto" latinLnBrk="0" hangingPunct="1">
              <a:lnSpc>
                <a:spcPct val="100000"/>
              </a:lnSpc>
              <a:spcBef>
                <a:spcPts val="0"/>
              </a:spcBef>
              <a:spcAft>
                <a:spcPts val="0"/>
              </a:spcAft>
              <a:buClr>
                <a:srgbClr val="11C1FF"/>
              </a:buClr>
              <a:buSzTx/>
              <a:tabLst/>
              <a:defRPr/>
            </a:pPr>
            <a:r>
              <a:rPr kumimoji="0" lang="ar-SA" sz="2000" b="0" i="0" u="none" strike="noStrike" kern="1200" cap="none" spc="0" normalizeH="0" baseline="0" noProof="0" dirty="0">
                <a:ln>
                  <a:noFill/>
                </a:ln>
                <a:solidFill>
                  <a:schemeClr val="bg1"/>
                </a:solidFill>
                <a:effectLst/>
                <a:uLnTx/>
                <a:uFillTx/>
                <a:latin typeface="Sakkal Majalla" panose="02000000000000000000" pitchFamily="2" charset="-78"/>
                <a:ea typeface="Samim" panose="020B0603030804020204" pitchFamily="34" charset="0"/>
                <a:cs typeface="Sakkal Majalla" panose="02000000000000000000" pitchFamily="2" charset="-78"/>
              </a:rPr>
              <a:t>تقويم البيئة المدرسية</a:t>
            </a:r>
          </a:p>
        </p:txBody>
      </p:sp>
      <p:cxnSp>
        <p:nvCxnSpPr>
          <p:cNvPr id="217" name="Google Shape;921;p31">
            <a:extLst>
              <a:ext uri="{FF2B5EF4-FFF2-40B4-BE49-F238E27FC236}">
                <a16:creationId xmlns:a16="http://schemas.microsoft.com/office/drawing/2014/main" id="{0587FE86-345F-2F3C-C348-D90FF6B727DC}"/>
              </a:ext>
            </a:extLst>
          </p:cNvPr>
          <p:cNvCxnSpPr>
            <a:cxnSpLocks/>
            <a:stCxn id="58" idx="3"/>
            <a:endCxn id="216" idx="1"/>
          </p:cNvCxnSpPr>
          <p:nvPr/>
        </p:nvCxnSpPr>
        <p:spPr>
          <a:xfrm>
            <a:off x="6686402" y="2863624"/>
            <a:ext cx="1431291" cy="2044191"/>
          </a:xfrm>
          <a:prstGeom prst="bentConnector3">
            <a:avLst>
              <a:gd name="adj1" fmla="val 50000"/>
            </a:avLst>
          </a:prstGeom>
          <a:noFill/>
          <a:ln w="28575" cap="flat" cmpd="sng">
            <a:solidFill>
              <a:srgbClr val="8594FF"/>
            </a:solidFill>
            <a:prstDash val="solid"/>
            <a:round/>
            <a:headEnd type="none" w="med" len="med"/>
            <a:tailEnd type="arrow" w="med" len="med"/>
          </a:ln>
        </p:spPr>
      </p:cxnSp>
      <p:sp>
        <p:nvSpPr>
          <p:cNvPr id="224" name="مربع نص 223">
            <a:extLst>
              <a:ext uri="{FF2B5EF4-FFF2-40B4-BE49-F238E27FC236}">
                <a16:creationId xmlns:a16="http://schemas.microsoft.com/office/drawing/2014/main" id="{48A39C33-79A6-3ED2-1F4B-DC1D481BF32C}"/>
              </a:ext>
            </a:extLst>
          </p:cNvPr>
          <p:cNvSpPr txBox="1"/>
          <p:nvPr/>
        </p:nvSpPr>
        <p:spPr>
          <a:xfrm>
            <a:off x="3865425" y="5291116"/>
            <a:ext cx="3880177" cy="1015663"/>
          </a:xfrm>
          <a:prstGeom prst="rect">
            <a:avLst/>
          </a:prstGeom>
          <a:solidFill>
            <a:srgbClr val="7030A0"/>
          </a:solidFill>
        </p:spPr>
        <p:txBody>
          <a:bodyPr wrap="square">
            <a:spAutoFit/>
          </a:bodyPr>
          <a:lstStyle/>
          <a:p>
            <a:pPr marR="0" lvl="0" algn="justLow" defTabSz="1219140" rtl="1" eaLnBrk="1" fontAlgn="auto" latinLnBrk="0" hangingPunct="1">
              <a:lnSpc>
                <a:spcPct val="100000"/>
              </a:lnSpc>
              <a:spcBef>
                <a:spcPts val="0"/>
              </a:spcBef>
              <a:spcAft>
                <a:spcPts val="0"/>
              </a:spcAft>
              <a:buClr>
                <a:srgbClr val="11C1FF"/>
              </a:buClr>
              <a:buSzTx/>
              <a:tabLst/>
              <a:defRPr/>
            </a:pPr>
            <a:r>
              <a:rPr lang="ar-SA" sz="2000" dirty="0">
                <a:solidFill>
                  <a:schemeClr val="bg1"/>
                </a:solidFill>
                <a:latin typeface="Sakkal Majalla" panose="02000000000000000000" pitchFamily="2" charset="-78"/>
                <a:ea typeface="Samim" panose="020B0603030804020204" pitchFamily="34" charset="0"/>
                <a:cs typeface="Sakkal Majalla" panose="02000000000000000000" pitchFamily="2" charset="-78"/>
              </a:rPr>
              <a:t>تطبق أدوات علمية معتمد تجمع البيانات حول أداء المدرسة من خلال ست أساليب علمية وبأدوات متنوعة ومتعددة.( للتقويم الذاتي والخارجي)</a:t>
            </a:r>
            <a:endParaRPr kumimoji="0" lang="ar-SA" sz="2000" b="0" i="0" u="none" strike="noStrike" kern="1200" cap="none" spc="0" normalizeH="0" baseline="0" noProof="0" dirty="0">
              <a:ln>
                <a:noFill/>
              </a:ln>
              <a:solidFill>
                <a:schemeClr val="bg1"/>
              </a:solidFill>
              <a:effectLst/>
              <a:uLnTx/>
              <a:uFillTx/>
              <a:latin typeface="Sakkal Majalla" panose="02000000000000000000" pitchFamily="2" charset="-78"/>
              <a:ea typeface="Samim" panose="020B0603030804020204" pitchFamily="34" charset="0"/>
              <a:cs typeface="Sakkal Majalla" panose="02000000000000000000" pitchFamily="2" charset="-78"/>
            </a:endParaRPr>
          </a:p>
        </p:txBody>
      </p:sp>
      <p:cxnSp>
        <p:nvCxnSpPr>
          <p:cNvPr id="225" name="Google Shape;921;p31">
            <a:extLst>
              <a:ext uri="{FF2B5EF4-FFF2-40B4-BE49-F238E27FC236}">
                <a16:creationId xmlns:a16="http://schemas.microsoft.com/office/drawing/2014/main" id="{9C83E42C-C099-FDAD-9D3F-6F4E03E53838}"/>
              </a:ext>
            </a:extLst>
          </p:cNvPr>
          <p:cNvCxnSpPr>
            <a:cxnSpLocks/>
            <a:stCxn id="58" idx="2"/>
            <a:endCxn id="224" idx="0"/>
          </p:cNvCxnSpPr>
          <p:nvPr/>
        </p:nvCxnSpPr>
        <p:spPr>
          <a:xfrm rot="5400000">
            <a:off x="5005345" y="4490946"/>
            <a:ext cx="1613039" cy="0"/>
          </a:xfrm>
          <a:prstGeom prst="bentConnector3">
            <a:avLst>
              <a:gd name="adj1" fmla="val 50000"/>
            </a:avLst>
          </a:prstGeom>
          <a:noFill/>
          <a:ln w="28575" cap="flat" cmpd="sng">
            <a:solidFill>
              <a:srgbClr val="8594FF"/>
            </a:solidFill>
            <a:prstDash val="solid"/>
            <a:round/>
            <a:headEnd type="none" w="med" len="med"/>
            <a:tailEnd type="arrow" w="med" len="med"/>
          </a:ln>
        </p:spPr>
      </p:cxnSp>
      <p:sp>
        <p:nvSpPr>
          <p:cNvPr id="229" name="مربع نص 228">
            <a:extLst>
              <a:ext uri="{FF2B5EF4-FFF2-40B4-BE49-F238E27FC236}">
                <a16:creationId xmlns:a16="http://schemas.microsoft.com/office/drawing/2014/main" id="{3C6663D2-A0EE-8600-5D4F-3348D92982B7}"/>
              </a:ext>
            </a:extLst>
          </p:cNvPr>
          <p:cNvSpPr txBox="1"/>
          <p:nvPr/>
        </p:nvSpPr>
        <p:spPr>
          <a:xfrm>
            <a:off x="150491" y="3808603"/>
            <a:ext cx="4166118" cy="1015663"/>
          </a:xfrm>
          <a:prstGeom prst="rect">
            <a:avLst/>
          </a:prstGeom>
          <a:solidFill>
            <a:srgbClr val="7030A0"/>
          </a:solidFill>
        </p:spPr>
        <p:txBody>
          <a:bodyPr wrap="square">
            <a:spAutoFit/>
          </a:bodyPr>
          <a:lstStyle/>
          <a:p>
            <a:pPr marR="0" lvl="0" algn="justLow" defTabSz="1219140" rtl="1" eaLnBrk="1" fontAlgn="auto" latinLnBrk="0" hangingPunct="1">
              <a:lnSpc>
                <a:spcPct val="100000"/>
              </a:lnSpc>
              <a:spcBef>
                <a:spcPts val="0"/>
              </a:spcBef>
              <a:spcAft>
                <a:spcPts val="0"/>
              </a:spcAft>
              <a:buClr>
                <a:srgbClr val="11C1FF"/>
              </a:buClr>
              <a:buSzTx/>
              <a:tabLst/>
              <a:defRPr/>
            </a:pPr>
            <a:r>
              <a:rPr lang="ar-SA" sz="2000" dirty="0">
                <a:solidFill>
                  <a:schemeClr val="bg1"/>
                </a:solidFill>
                <a:latin typeface="Sakkal Majalla" panose="02000000000000000000" pitchFamily="2" charset="-78"/>
                <a:ea typeface="Samim" panose="020B0603030804020204" pitchFamily="34" charset="0"/>
                <a:cs typeface="Sakkal Majalla" panose="02000000000000000000" pitchFamily="2" charset="-78"/>
              </a:rPr>
              <a:t>تقدم للمدرسة تقارير مفصلة بعد كل عملية تقويم ذاتي تجريه المدرسة أو تقويم خارجي عن أدائها في كل جوانب العملية التعليمية مقترحات للتحسين والتطوير.</a:t>
            </a:r>
            <a:endParaRPr kumimoji="0" lang="ar-SA" sz="2000" b="0" i="0" u="none" strike="noStrike" kern="1200" cap="none" spc="0" normalizeH="0" baseline="0" noProof="0" dirty="0">
              <a:ln>
                <a:noFill/>
              </a:ln>
              <a:solidFill>
                <a:schemeClr val="bg1"/>
              </a:solidFill>
              <a:effectLst/>
              <a:uLnTx/>
              <a:uFillTx/>
              <a:latin typeface="Sakkal Majalla" panose="02000000000000000000" pitchFamily="2" charset="-78"/>
              <a:ea typeface="Samim" panose="020B0603030804020204" pitchFamily="34" charset="0"/>
              <a:cs typeface="Sakkal Majalla" panose="02000000000000000000" pitchFamily="2" charset="-78"/>
            </a:endParaRPr>
          </a:p>
        </p:txBody>
      </p:sp>
      <p:cxnSp>
        <p:nvCxnSpPr>
          <p:cNvPr id="230" name="Google Shape;921;p31">
            <a:extLst>
              <a:ext uri="{FF2B5EF4-FFF2-40B4-BE49-F238E27FC236}">
                <a16:creationId xmlns:a16="http://schemas.microsoft.com/office/drawing/2014/main" id="{4384A8C1-EF3D-08C3-0D6E-2543BBB355E3}"/>
              </a:ext>
            </a:extLst>
          </p:cNvPr>
          <p:cNvCxnSpPr>
            <a:cxnSpLocks/>
            <a:stCxn id="58" idx="2"/>
            <a:endCxn id="229" idx="3"/>
          </p:cNvCxnSpPr>
          <p:nvPr/>
        </p:nvCxnSpPr>
        <p:spPr>
          <a:xfrm rot="5400000">
            <a:off x="4741883" y="3252804"/>
            <a:ext cx="638358" cy="1488905"/>
          </a:xfrm>
          <a:prstGeom prst="bentConnector2">
            <a:avLst/>
          </a:prstGeom>
          <a:noFill/>
          <a:ln w="28575" cap="flat" cmpd="sng">
            <a:solidFill>
              <a:srgbClr val="8594FF"/>
            </a:solidFill>
            <a:prstDash val="solid"/>
            <a:round/>
            <a:headEnd type="none" w="med" len="med"/>
            <a:tailEnd type="arrow" w="med" len="med"/>
          </a:ln>
        </p:spPr>
      </p:cxnSp>
      <p:sp>
        <p:nvSpPr>
          <p:cNvPr id="237" name="مربع نص 236">
            <a:extLst>
              <a:ext uri="{FF2B5EF4-FFF2-40B4-BE49-F238E27FC236}">
                <a16:creationId xmlns:a16="http://schemas.microsoft.com/office/drawing/2014/main" id="{E451906A-B3FD-7551-F7C5-8026643EB7A6}"/>
              </a:ext>
            </a:extLst>
          </p:cNvPr>
          <p:cNvSpPr txBox="1"/>
          <p:nvPr/>
        </p:nvSpPr>
        <p:spPr>
          <a:xfrm>
            <a:off x="346871" y="1407962"/>
            <a:ext cx="3859936" cy="2000548"/>
          </a:xfrm>
          <a:prstGeom prst="rect">
            <a:avLst/>
          </a:prstGeom>
          <a:solidFill>
            <a:srgbClr val="7030A0"/>
          </a:solidFill>
        </p:spPr>
        <p:txBody>
          <a:bodyPr wrap="square">
            <a:spAutoFit/>
          </a:bodyPr>
          <a:lstStyle/>
          <a:p>
            <a:pPr marR="0" lvl="0" algn="justLow" defTabSz="1219140" rtl="1" eaLnBrk="1" fontAlgn="auto" latinLnBrk="0" hangingPunct="1">
              <a:lnSpc>
                <a:spcPct val="100000"/>
              </a:lnSpc>
              <a:spcBef>
                <a:spcPts val="0"/>
              </a:spcBef>
              <a:spcAft>
                <a:spcPts val="0"/>
              </a:spcAft>
              <a:buClr>
                <a:srgbClr val="11C1FF"/>
              </a:buClr>
              <a:buSzTx/>
              <a:tabLst/>
              <a:defRPr/>
            </a:pPr>
            <a:r>
              <a:rPr lang="ar-SA" sz="2400" dirty="0">
                <a:solidFill>
                  <a:schemeClr val="bg1"/>
                </a:solidFill>
                <a:latin typeface="Sakkal Majalla" panose="02000000000000000000" pitchFamily="2" charset="-78"/>
                <a:ea typeface="Samim" panose="020B0603030804020204" pitchFamily="34" charset="0"/>
                <a:cs typeface="Sakkal Majalla" panose="02000000000000000000" pitchFamily="2" charset="-78"/>
              </a:rPr>
              <a:t>بها بوابة متعددة لمتابعة الأداء المدرسي </a:t>
            </a:r>
          </a:p>
          <a:p>
            <a:pPr marR="0" lvl="0" algn="justLow" defTabSz="1219140" rtl="1" eaLnBrk="1" fontAlgn="auto" latinLnBrk="0" hangingPunct="1">
              <a:lnSpc>
                <a:spcPct val="100000"/>
              </a:lnSpc>
              <a:spcBef>
                <a:spcPts val="0"/>
              </a:spcBef>
              <a:spcAft>
                <a:spcPts val="0"/>
              </a:spcAft>
              <a:buClr>
                <a:srgbClr val="11C1FF"/>
              </a:buClr>
              <a:buSzTx/>
              <a:tabLst/>
              <a:defRPr/>
            </a:pPr>
            <a:r>
              <a:rPr lang="ar-SA" sz="2000" dirty="0">
                <a:solidFill>
                  <a:schemeClr val="bg1"/>
                </a:solidFill>
                <a:latin typeface="Sakkal Majalla" panose="02000000000000000000" pitchFamily="2" charset="-78"/>
                <a:ea typeface="Samim" panose="020B0603030804020204" pitchFamily="34" charset="0"/>
                <a:cs typeface="Sakkal Majalla" panose="02000000000000000000" pitchFamily="2" charset="-78"/>
              </a:rPr>
              <a:t>بوابة مدير المدرسة</a:t>
            </a:r>
          </a:p>
          <a:p>
            <a:pPr marR="0" lvl="0" algn="justLow" defTabSz="1219140" rtl="1" eaLnBrk="1" fontAlgn="auto" latinLnBrk="0" hangingPunct="1">
              <a:lnSpc>
                <a:spcPct val="100000"/>
              </a:lnSpc>
              <a:spcBef>
                <a:spcPts val="0"/>
              </a:spcBef>
              <a:spcAft>
                <a:spcPts val="0"/>
              </a:spcAft>
              <a:buClr>
                <a:srgbClr val="11C1FF"/>
              </a:buClr>
              <a:buSzTx/>
              <a:tabLst/>
              <a:defRPr/>
            </a:pPr>
            <a:r>
              <a:rPr lang="ar-SA" sz="2000" dirty="0">
                <a:solidFill>
                  <a:schemeClr val="bg1"/>
                </a:solidFill>
                <a:latin typeface="Sakkal Majalla" panose="02000000000000000000" pitchFamily="2" charset="-78"/>
                <a:ea typeface="Samim" panose="020B0603030804020204" pitchFamily="34" charset="0"/>
                <a:cs typeface="Sakkal Majalla" panose="02000000000000000000" pitchFamily="2" charset="-78"/>
              </a:rPr>
              <a:t>بوابة فريق التقويم للمدرسة( معلمين)</a:t>
            </a:r>
          </a:p>
          <a:p>
            <a:pPr marR="0" lvl="0" algn="justLow" defTabSz="1219140" rtl="1" eaLnBrk="1" fontAlgn="auto" latinLnBrk="0" hangingPunct="1">
              <a:lnSpc>
                <a:spcPct val="100000"/>
              </a:lnSpc>
              <a:spcBef>
                <a:spcPts val="0"/>
              </a:spcBef>
              <a:spcAft>
                <a:spcPts val="0"/>
              </a:spcAft>
              <a:buClr>
                <a:srgbClr val="11C1FF"/>
              </a:buClr>
              <a:buSzTx/>
              <a:tabLst/>
              <a:defRPr/>
            </a:pPr>
            <a:r>
              <a:rPr lang="ar-SA" sz="2000" dirty="0">
                <a:solidFill>
                  <a:schemeClr val="bg1"/>
                </a:solidFill>
                <a:latin typeface="Sakkal Majalla" panose="02000000000000000000" pitchFamily="2" charset="-78"/>
                <a:ea typeface="Samim" panose="020B0603030804020204" pitchFamily="34" charset="0"/>
                <a:cs typeface="Sakkal Majalla" panose="02000000000000000000" pitchFamily="2" charset="-78"/>
              </a:rPr>
              <a:t>بوابة مدير التعليم</a:t>
            </a:r>
          </a:p>
          <a:p>
            <a:pPr marR="0" lvl="0" algn="justLow" defTabSz="1219140" rtl="1" eaLnBrk="1" fontAlgn="auto" latinLnBrk="0" hangingPunct="1">
              <a:lnSpc>
                <a:spcPct val="100000"/>
              </a:lnSpc>
              <a:spcBef>
                <a:spcPts val="0"/>
              </a:spcBef>
              <a:spcAft>
                <a:spcPts val="0"/>
              </a:spcAft>
              <a:buClr>
                <a:srgbClr val="11C1FF"/>
              </a:buClr>
              <a:buSzTx/>
              <a:tabLst/>
              <a:defRPr/>
            </a:pPr>
            <a:r>
              <a:rPr lang="ar-SA" sz="2000" dirty="0">
                <a:solidFill>
                  <a:schemeClr val="bg1"/>
                </a:solidFill>
                <a:latin typeface="Sakkal Majalla" panose="02000000000000000000" pitchFamily="2" charset="-78"/>
                <a:ea typeface="Samim" panose="020B0603030804020204" pitchFamily="34" charset="0"/>
                <a:cs typeface="Sakkal Majalla" panose="02000000000000000000" pitchFamily="2" charset="-78"/>
              </a:rPr>
              <a:t>بوابة مدير مكتب التعليم</a:t>
            </a:r>
          </a:p>
          <a:p>
            <a:pPr marR="0" lvl="0" algn="justLow" defTabSz="1219140" rtl="1" eaLnBrk="1" fontAlgn="auto" latinLnBrk="0" hangingPunct="1">
              <a:lnSpc>
                <a:spcPct val="100000"/>
              </a:lnSpc>
              <a:spcBef>
                <a:spcPts val="0"/>
              </a:spcBef>
              <a:spcAft>
                <a:spcPts val="0"/>
              </a:spcAft>
              <a:buClr>
                <a:srgbClr val="11C1FF"/>
              </a:buClr>
              <a:buSzTx/>
              <a:tabLst/>
              <a:defRPr/>
            </a:pPr>
            <a:r>
              <a:rPr lang="ar-SA" sz="2000" dirty="0">
                <a:solidFill>
                  <a:schemeClr val="bg1"/>
                </a:solidFill>
                <a:latin typeface="Sakkal Majalla" panose="02000000000000000000" pitchFamily="2" charset="-78"/>
                <a:ea typeface="Samim" panose="020B0603030804020204" pitchFamily="34" charset="0"/>
                <a:cs typeface="Sakkal Majalla" panose="02000000000000000000" pitchFamily="2" charset="-78"/>
              </a:rPr>
              <a:t>بوابة المساعد للشؤون التعليمية</a:t>
            </a:r>
          </a:p>
        </p:txBody>
      </p:sp>
      <p:cxnSp>
        <p:nvCxnSpPr>
          <p:cNvPr id="238" name="Google Shape;921;p31">
            <a:extLst>
              <a:ext uri="{FF2B5EF4-FFF2-40B4-BE49-F238E27FC236}">
                <a16:creationId xmlns:a16="http://schemas.microsoft.com/office/drawing/2014/main" id="{E410281B-4D2D-E0A0-8F26-D1A28A2F1640}"/>
              </a:ext>
            </a:extLst>
          </p:cNvPr>
          <p:cNvCxnSpPr>
            <a:cxnSpLocks/>
            <a:stCxn id="58" idx="0"/>
            <a:endCxn id="237" idx="0"/>
          </p:cNvCxnSpPr>
          <p:nvPr/>
        </p:nvCxnSpPr>
        <p:spPr>
          <a:xfrm rot="16200000" flipV="1">
            <a:off x="3720573" y="-35772"/>
            <a:ext cx="641208" cy="3528675"/>
          </a:xfrm>
          <a:prstGeom prst="bentConnector3">
            <a:avLst>
              <a:gd name="adj1" fmla="val 135651"/>
            </a:avLst>
          </a:prstGeom>
          <a:noFill/>
          <a:ln w="28575" cap="flat" cmpd="sng">
            <a:solidFill>
              <a:srgbClr val="8594FF"/>
            </a:solidFill>
            <a:prstDash val="solid"/>
            <a:round/>
            <a:headEnd type="none" w="med" len="med"/>
            <a:tailEnd type="arrow" w="med" len="med"/>
          </a:ln>
        </p:spPr>
      </p:cxnSp>
      <p:sp>
        <p:nvSpPr>
          <p:cNvPr id="3" name="مربع نص 2">
            <a:extLst>
              <a:ext uri="{FF2B5EF4-FFF2-40B4-BE49-F238E27FC236}">
                <a16:creationId xmlns:a16="http://schemas.microsoft.com/office/drawing/2014/main" id="{35CD206E-A335-0F3E-3CA3-CB3F2026FDEF}"/>
              </a:ext>
            </a:extLst>
          </p:cNvPr>
          <p:cNvSpPr txBox="1"/>
          <p:nvPr/>
        </p:nvSpPr>
        <p:spPr>
          <a:xfrm>
            <a:off x="150491" y="5291115"/>
            <a:ext cx="3578225" cy="1015663"/>
          </a:xfrm>
          <a:prstGeom prst="rect">
            <a:avLst/>
          </a:prstGeom>
          <a:noFill/>
        </p:spPr>
        <p:txBody>
          <a:bodyPr wrap="square">
            <a:spAutoFit/>
          </a:bodyPr>
          <a:lstStyle/>
          <a:p>
            <a:pPr marL="342891" indent="-342891" algn="justLow" defTabSz="1219140" rtl="1" latinLnBrk="0">
              <a:buClr>
                <a:srgbClr val="11C1FF"/>
              </a:buClr>
              <a:buFont typeface="Wingdings" panose="05000000000000000000" pitchFamily="2" charset="2"/>
              <a:buChar char="v"/>
              <a:defRPr/>
            </a:pPr>
            <a:r>
              <a:rPr lang="ar-SA" sz="2000" kern="0" dirty="0">
                <a:solidFill>
                  <a:prstClr val="black"/>
                </a:solidFill>
                <a:latin typeface="Sakkal Majalla" panose="02000000000000000000" pitchFamily="2" charset="-78"/>
                <a:ea typeface="Samim" panose="020B0603030804020204" pitchFamily="34" charset="0"/>
                <a:cs typeface="Sakkal Majalla" panose="02000000000000000000" pitchFamily="2" charset="-78"/>
                <a:sym typeface="Quicksand"/>
              </a:rPr>
              <a:t> مرتبطة بنظام نور.</a:t>
            </a:r>
          </a:p>
          <a:p>
            <a:pPr marL="342891" indent="-342891" algn="justLow" defTabSz="1219140" rtl="1" latinLnBrk="0">
              <a:buClr>
                <a:srgbClr val="11C1FF"/>
              </a:buClr>
              <a:buFont typeface="Wingdings" panose="05000000000000000000" pitchFamily="2" charset="2"/>
              <a:buChar char="v"/>
              <a:defRPr/>
            </a:pPr>
            <a:r>
              <a:rPr lang="ar-SA" sz="2000" kern="0" dirty="0">
                <a:solidFill>
                  <a:prstClr val="black"/>
                </a:solidFill>
                <a:latin typeface="Sakkal Majalla" panose="02000000000000000000" pitchFamily="2" charset="-78"/>
                <a:ea typeface="Samim" panose="020B0603030804020204" pitchFamily="34" charset="0"/>
                <a:cs typeface="Sakkal Majalla" panose="02000000000000000000" pitchFamily="2" charset="-78"/>
                <a:sym typeface="Quicksand"/>
              </a:rPr>
              <a:t> مرتبطة بنظام الاختبار الوطنية والتحصيلي.</a:t>
            </a:r>
          </a:p>
          <a:p>
            <a:pPr marL="342891" indent="-342891" algn="justLow" defTabSz="1219140" rtl="1" latinLnBrk="0">
              <a:buClr>
                <a:srgbClr val="11C1FF"/>
              </a:buClr>
              <a:buFont typeface="Wingdings" panose="05000000000000000000" pitchFamily="2" charset="2"/>
              <a:buChar char="v"/>
              <a:defRPr/>
            </a:pPr>
            <a:r>
              <a:rPr lang="ar-SA" sz="2000" kern="0" dirty="0">
                <a:solidFill>
                  <a:prstClr val="black"/>
                </a:solidFill>
                <a:latin typeface="Sakkal Majalla" panose="02000000000000000000" pitchFamily="2" charset="-78"/>
                <a:ea typeface="Samim" panose="020B0603030804020204" pitchFamily="34" charset="0"/>
                <a:cs typeface="Sakkal Majalla" panose="02000000000000000000" pitchFamily="2" charset="-78"/>
                <a:sym typeface="Quicksand"/>
              </a:rPr>
              <a:t> مرتبطة بنظام الرخص المهنية.</a:t>
            </a:r>
          </a:p>
        </p:txBody>
      </p:sp>
    </p:spTree>
    <p:extLst>
      <p:ext uri="{BB962C8B-B14F-4D97-AF65-F5344CB8AC3E}">
        <p14:creationId xmlns:p14="http://schemas.microsoft.com/office/powerpoint/2010/main" val="3369072118"/>
      </p:ext>
    </p:extLst>
  </p:cSld>
  <p:clrMapOvr>
    <a:masterClrMapping/>
  </p:clrMapOvr>
  <mc:AlternateContent xmlns:mc="http://schemas.openxmlformats.org/markup-compatibility/2006" xmlns:p14="http://schemas.microsoft.com/office/powerpoint/2010/main">
    <mc:Choice Requires="p14">
      <p:transition spd="slow" p14:dur="1200">
        <p14:prism dir="r"/>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67"/>
                                        </p:tgtEl>
                                        <p:attrNameLst>
                                          <p:attrName>style.visibility</p:attrName>
                                        </p:attrNameLst>
                                      </p:cBhvr>
                                      <p:to>
                                        <p:strVal val="visible"/>
                                      </p:to>
                                    </p:set>
                                    <p:animEffect transition="in" filter="barn(inVertical)">
                                      <p:cBhvr>
                                        <p:cTn id="7" dur="1750"/>
                                        <p:tgtEl>
                                          <p:spTgt spid="67"/>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nodeType="clickEffect">
                                  <p:stCondLst>
                                    <p:cond delay="0"/>
                                  </p:stCondLst>
                                  <p:childTnLst>
                                    <p:set>
                                      <p:cBhvr>
                                        <p:cTn id="11" dur="1" fill="hold">
                                          <p:stCondLst>
                                            <p:cond delay="0"/>
                                          </p:stCondLst>
                                        </p:cTn>
                                        <p:tgtEl>
                                          <p:spTgt spid="60"/>
                                        </p:tgtEl>
                                        <p:attrNameLst>
                                          <p:attrName>style.visibility</p:attrName>
                                        </p:attrNameLst>
                                      </p:cBhvr>
                                      <p:to>
                                        <p:strVal val="visible"/>
                                      </p:to>
                                    </p:set>
                                    <p:animEffect transition="in" filter="barn(inVertical)">
                                      <p:cBhvr>
                                        <p:cTn id="12" dur="1750"/>
                                        <p:tgtEl>
                                          <p:spTgt spid="60"/>
                                        </p:tgtEl>
                                      </p:cBhvr>
                                    </p:animEffect>
                                  </p:childTnLst>
                                </p:cTn>
                              </p:par>
                            </p:childTnLst>
                          </p:cTn>
                        </p:par>
                      </p:childTnLst>
                    </p:cTn>
                  </p:par>
                  <p:par>
                    <p:cTn id="13" fill="hold">
                      <p:stCondLst>
                        <p:cond delay="indefinite"/>
                      </p:stCondLst>
                      <p:childTnLst>
                        <p:par>
                          <p:cTn id="14" fill="hold">
                            <p:stCondLst>
                              <p:cond delay="0"/>
                            </p:stCondLst>
                            <p:childTnLst>
                              <p:par>
                                <p:cTn id="15" presetID="16" presetClass="entr" presetSubtype="21" fill="hold" nodeType="clickEffect">
                                  <p:stCondLst>
                                    <p:cond delay="0"/>
                                  </p:stCondLst>
                                  <p:childTnLst>
                                    <p:set>
                                      <p:cBhvr>
                                        <p:cTn id="16" dur="1" fill="hold">
                                          <p:stCondLst>
                                            <p:cond delay="0"/>
                                          </p:stCondLst>
                                        </p:cTn>
                                        <p:tgtEl>
                                          <p:spTgt spid="78"/>
                                        </p:tgtEl>
                                        <p:attrNameLst>
                                          <p:attrName>style.visibility</p:attrName>
                                        </p:attrNameLst>
                                      </p:cBhvr>
                                      <p:to>
                                        <p:strVal val="visible"/>
                                      </p:to>
                                    </p:set>
                                    <p:animEffect transition="in" filter="barn(inVertical)">
                                      <p:cBhvr>
                                        <p:cTn id="17" dur="1750"/>
                                        <p:tgtEl>
                                          <p:spTgt spid="78"/>
                                        </p:tgtEl>
                                      </p:cBhvr>
                                    </p:animEffect>
                                  </p:childTnLst>
                                </p:cTn>
                              </p:par>
                              <p:par>
                                <p:cTn id="18" presetID="16" presetClass="entr" presetSubtype="21" fill="hold" grpId="0" nodeType="withEffect">
                                  <p:stCondLst>
                                    <p:cond delay="0"/>
                                  </p:stCondLst>
                                  <p:childTnLst>
                                    <p:set>
                                      <p:cBhvr>
                                        <p:cTn id="19" dur="1" fill="hold">
                                          <p:stCondLst>
                                            <p:cond delay="0"/>
                                          </p:stCondLst>
                                        </p:cTn>
                                        <p:tgtEl>
                                          <p:spTgt spid="77"/>
                                        </p:tgtEl>
                                        <p:attrNameLst>
                                          <p:attrName>style.visibility</p:attrName>
                                        </p:attrNameLst>
                                      </p:cBhvr>
                                      <p:to>
                                        <p:strVal val="visible"/>
                                      </p:to>
                                    </p:set>
                                    <p:animEffect transition="in" filter="barn(inVertical)">
                                      <p:cBhvr>
                                        <p:cTn id="20" dur="1750"/>
                                        <p:tgtEl>
                                          <p:spTgt spid="77"/>
                                        </p:tgtEl>
                                      </p:cBhvr>
                                    </p:animEffect>
                                  </p:childTnLst>
                                </p:cTn>
                              </p:par>
                            </p:childTnLst>
                          </p:cTn>
                        </p:par>
                      </p:childTnLst>
                    </p:cTn>
                  </p:par>
                  <p:par>
                    <p:cTn id="21" fill="hold">
                      <p:stCondLst>
                        <p:cond delay="indefinite"/>
                      </p:stCondLst>
                      <p:childTnLst>
                        <p:par>
                          <p:cTn id="22" fill="hold">
                            <p:stCondLst>
                              <p:cond delay="0"/>
                            </p:stCondLst>
                            <p:childTnLst>
                              <p:par>
                                <p:cTn id="23" presetID="16" presetClass="entr" presetSubtype="21" fill="hold" nodeType="clickEffect">
                                  <p:stCondLst>
                                    <p:cond delay="0"/>
                                  </p:stCondLst>
                                  <p:childTnLst>
                                    <p:set>
                                      <p:cBhvr>
                                        <p:cTn id="24" dur="1" fill="hold">
                                          <p:stCondLst>
                                            <p:cond delay="0"/>
                                          </p:stCondLst>
                                        </p:cTn>
                                        <p:tgtEl>
                                          <p:spTgt spid="214"/>
                                        </p:tgtEl>
                                        <p:attrNameLst>
                                          <p:attrName>style.visibility</p:attrName>
                                        </p:attrNameLst>
                                      </p:cBhvr>
                                      <p:to>
                                        <p:strVal val="visible"/>
                                      </p:to>
                                    </p:set>
                                    <p:animEffect transition="in" filter="barn(inVertical)">
                                      <p:cBhvr>
                                        <p:cTn id="25" dur="1750"/>
                                        <p:tgtEl>
                                          <p:spTgt spid="214"/>
                                        </p:tgtEl>
                                      </p:cBhvr>
                                    </p:animEffect>
                                  </p:childTnLst>
                                </p:cTn>
                              </p:par>
                              <p:par>
                                <p:cTn id="26" presetID="16" presetClass="entr" presetSubtype="21" fill="hold" grpId="0" nodeType="withEffect">
                                  <p:stCondLst>
                                    <p:cond delay="0"/>
                                  </p:stCondLst>
                                  <p:childTnLst>
                                    <p:set>
                                      <p:cBhvr>
                                        <p:cTn id="27" dur="1" fill="hold">
                                          <p:stCondLst>
                                            <p:cond delay="0"/>
                                          </p:stCondLst>
                                        </p:cTn>
                                        <p:tgtEl>
                                          <p:spTgt spid="213"/>
                                        </p:tgtEl>
                                        <p:attrNameLst>
                                          <p:attrName>style.visibility</p:attrName>
                                        </p:attrNameLst>
                                      </p:cBhvr>
                                      <p:to>
                                        <p:strVal val="visible"/>
                                      </p:to>
                                    </p:set>
                                    <p:animEffect transition="in" filter="barn(inVertical)">
                                      <p:cBhvr>
                                        <p:cTn id="28" dur="1750"/>
                                        <p:tgtEl>
                                          <p:spTgt spid="213"/>
                                        </p:tgtEl>
                                      </p:cBhvr>
                                    </p:animEffect>
                                  </p:childTnLst>
                                </p:cTn>
                              </p:par>
                            </p:childTnLst>
                          </p:cTn>
                        </p:par>
                      </p:childTnLst>
                    </p:cTn>
                  </p:par>
                  <p:par>
                    <p:cTn id="29" fill="hold">
                      <p:stCondLst>
                        <p:cond delay="indefinite"/>
                      </p:stCondLst>
                      <p:childTnLst>
                        <p:par>
                          <p:cTn id="30" fill="hold">
                            <p:stCondLst>
                              <p:cond delay="0"/>
                            </p:stCondLst>
                            <p:childTnLst>
                              <p:par>
                                <p:cTn id="31" presetID="16" presetClass="entr" presetSubtype="21" fill="hold" nodeType="clickEffect">
                                  <p:stCondLst>
                                    <p:cond delay="0"/>
                                  </p:stCondLst>
                                  <p:childTnLst>
                                    <p:set>
                                      <p:cBhvr>
                                        <p:cTn id="32" dur="1" fill="hold">
                                          <p:stCondLst>
                                            <p:cond delay="0"/>
                                          </p:stCondLst>
                                        </p:cTn>
                                        <p:tgtEl>
                                          <p:spTgt spid="217"/>
                                        </p:tgtEl>
                                        <p:attrNameLst>
                                          <p:attrName>style.visibility</p:attrName>
                                        </p:attrNameLst>
                                      </p:cBhvr>
                                      <p:to>
                                        <p:strVal val="visible"/>
                                      </p:to>
                                    </p:set>
                                    <p:animEffect transition="in" filter="barn(inVertical)">
                                      <p:cBhvr>
                                        <p:cTn id="33" dur="1750"/>
                                        <p:tgtEl>
                                          <p:spTgt spid="217"/>
                                        </p:tgtEl>
                                      </p:cBhvr>
                                    </p:animEffect>
                                  </p:childTnLst>
                                </p:cTn>
                              </p:par>
                              <p:par>
                                <p:cTn id="34" presetID="16" presetClass="entr" presetSubtype="21" fill="hold" grpId="0" nodeType="withEffect">
                                  <p:stCondLst>
                                    <p:cond delay="0"/>
                                  </p:stCondLst>
                                  <p:childTnLst>
                                    <p:set>
                                      <p:cBhvr>
                                        <p:cTn id="35" dur="1" fill="hold">
                                          <p:stCondLst>
                                            <p:cond delay="0"/>
                                          </p:stCondLst>
                                        </p:cTn>
                                        <p:tgtEl>
                                          <p:spTgt spid="216"/>
                                        </p:tgtEl>
                                        <p:attrNameLst>
                                          <p:attrName>style.visibility</p:attrName>
                                        </p:attrNameLst>
                                      </p:cBhvr>
                                      <p:to>
                                        <p:strVal val="visible"/>
                                      </p:to>
                                    </p:set>
                                    <p:animEffect transition="in" filter="barn(inVertical)">
                                      <p:cBhvr>
                                        <p:cTn id="36" dur="1750"/>
                                        <p:tgtEl>
                                          <p:spTgt spid="216"/>
                                        </p:tgtEl>
                                      </p:cBhvr>
                                    </p:animEffect>
                                  </p:childTnLst>
                                </p:cTn>
                              </p:par>
                            </p:childTnLst>
                          </p:cTn>
                        </p:par>
                      </p:childTnLst>
                    </p:cTn>
                  </p:par>
                  <p:par>
                    <p:cTn id="37" fill="hold">
                      <p:stCondLst>
                        <p:cond delay="indefinite"/>
                      </p:stCondLst>
                      <p:childTnLst>
                        <p:par>
                          <p:cTn id="38" fill="hold">
                            <p:stCondLst>
                              <p:cond delay="0"/>
                            </p:stCondLst>
                            <p:childTnLst>
                              <p:par>
                                <p:cTn id="39" presetID="16" presetClass="entr" presetSubtype="21" fill="hold" nodeType="clickEffect">
                                  <p:stCondLst>
                                    <p:cond delay="0"/>
                                  </p:stCondLst>
                                  <p:childTnLst>
                                    <p:set>
                                      <p:cBhvr>
                                        <p:cTn id="40" dur="1" fill="hold">
                                          <p:stCondLst>
                                            <p:cond delay="0"/>
                                          </p:stCondLst>
                                        </p:cTn>
                                        <p:tgtEl>
                                          <p:spTgt spid="225"/>
                                        </p:tgtEl>
                                        <p:attrNameLst>
                                          <p:attrName>style.visibility</p:attrName>
                                        </p:attrNameLst>
                                      </p:cBhvr>
                                      <p:to>
                                        <p:strVal val="visible"/>
                                      </p:to>
                                    </p:set>
                                    <p:animEffect transition="in" filter="barn(inVertical)">
                                      <p:cBhvr>
                                        <p:cTn id="41" dur="1750"/>
                                        <p:tgtEl>
                                          <p:spTgt spid="225"/>
                                        </p:tgtEl>
                                      </p:cBhvr>
                                    </p:animEffect>
                                  </p:childTnLst>
                                </p:cTn>
                              </p:par>
                              <p:par>
                                <p:cTn id="42" presetID="16" presetClass="entr" presetSubtype="21" fill="hold" grpId="0" nodeType="withEffect">
                                  <p:stCondLst>
                                    <p:cond delay="0"/>
                                  </p:stCondLst>
                                  <p:childTnLst>
                                    <p:set>
                                      <p:cBhvr>
                                        <p:cTn id="43" dur="1" fill="hold">
                                          <p:stCondLst>
                                            <p:cond delay="0"/>
                                          </p:stCondLst>
                                        </p:cTn>
                                        <p:tgtEl>
                                          <p:spTgt spid="224"/>
                                        </p:tgtEl>
                                        <p:attrNameLst>
                                          <p:attrName>style.visibility</p:attrName>
                                        </p:attrNameLst>
                                      </p:cBhvr>
                                      <p:to>
                                        <p:strVal val="visible"/>
                                      </p:to>
                                    </p:set>
                                    <p:animEffect transition="in" filter="barn(inVertical)">
                                      <p:cBhvr>
                                        <p:cTn id="44" dur="1750"/>
                                        <p:tgtEl>
                                          <p:spTgt spid="224"/>
                                        </p:tgtEl>
                                      </p:cBhvr>
                                    </p:animEffect>
                                  </p:childTnLst>
                                </p:cTn>
                              </p:par>
                            </p:childTnLst>
                          </p:cTn>
                        </p:par>
                      </p:childTnLst>
                    </p:cTn>
                  </p:par>
                  <p:par>
                    <p:cTn id="45" fill="hold">
                      <p:stCondLst>
                        <p:cond delay="indefinite"/>
                      </p:stCondLst>
                      <p:childTnLst>
                        <p:par>
                          <p:cTn id="46" fill="hold">
                            <p:stCondLst>
                              <p:cond delay="0"/>
                            </p:stCondLst>
                            <p:childTnLst>
                              <p:par>
                                <p:cTn id="47" presetID="16" presetClass="entr" presetSubtype="21" fill="hold" nodeType="clickEffect">
                                  <p:stCondLst>
                                    <p:cond delay="0"/>
                                  </p:stCondLst>
                                  <p:childTnLst>
                                    <p:set>
                                      <p:cBhvr>
                                        <p:cTn id="48" dur="1" fill="hold">
                                          <p:stCondLst>
                                            <p:cond delay="0"/>
                                          </p:stCondLst>
                                        </p:cTn>
                                        <p:tgtEl>
                                          <p:spTgt spid="230"/>
                                        </p:tgtEl>
                                        <p:attrNameLst>
                                          <p:attrName>style.visibility</p:attrName>
                                        </p:attrNameLst>
                                      </p:cBhvr>
                                      <p:to>
                                        <p:strVal val="visible"/>
                                      </p:to>
                                    </p:set>
                                    <p:animEffect transition="in" filter="barn(inVertical)">
                                      <p:cBhvr>
                                        <p:cTn id="49" dur="1750"/>
                                        <p:tgtEl>
                                          <p:spTgt spid="230"/>
                                        </p:tgtEl>
                                      </p:cBhvr>
                                    </p:animEffect>
                                  </p:childTnLst>
                                </p:cTn>
                              </p:par>
                              <p:par>
                                <p:cTn id="50" presetID="16" presetClass="entr" presetSubtype="21" fill="hold" grpId="0" nodeType="withEffect">
                                  <p:stCondLst>
                                    <p:cond delay="0"/>
                                  </p:stCondLst>
                                  <p:childTnLst>
                                    <p:set>
                                      <p:cBhvr>
                                        <p:cTn id="51" dur="1" fill="hold">
                                          <p:stCondLst>
                                            <p:cond delay="0"/>
                                          </p:stCondLst>
                                        </p:cTn>
                                        <p:tgtEl>
                                          <p:spTgt spid="229"/>
                                        </p:tgtEl>
                                        <p:attrNameLst>
                                          <p:attrName>style.visibility</p:attrName>
                                        </p:attrNameLst>
                                      </p:cBhvr>
                                      <p:to>
                                        <p:strVal val="visible"/>
                                      </p:to>
                                    </p:set>
                                    <p:animEffect transition="in" filter="barn(inVertical)">
                                      <p:cBhvr>
                                        <p:cTn id="52" dur="1750"/>
                                        <p:tgtEl>
                                          <p:spTgt spid="229"/>
                                        </p:tgtEl>
                                      </p:cBhvr>
                                    </p:animEffect>
                                  </p:childTnLst>
                                </p:cTn>
                              </p:par>
                            </p:childTnLst>
                          </p:cTn>
                        </p:par>
                      </p:childTnLst>
                    </p:cTn>
                  </p:par>
                  <p:par>
                    <p:cTn id="53" fill="hold">
                      <p:stCondLst>
                        <p:cond delay="indefinite"/>
                      </p:stCondLst>
                      <p:childTnLst>
                        <p:par>
                          <p:cTn id="54" fill="hold">
                            <p:stCondLst>
                              <p:cond delay="0"/>
                            </p:stCondLst>
                            <p:childTnLst>
                              <p:par>
                                <p:cTn id="55" presetID="16" presetClass="entr" presetSubtype="21" fill="hold" nodeType="clickEffect">
                                  <p:stCondLst>
                                    <p:cond delay="0"/>
                                  </p:stCondLst>
                                  <p:childTnLst>
                                    <p:set>
                                      <p:cBhvr>
                                        <p:cTn id="56" dur="1" fill="hold">
                                          <p:stCondLst>
                                            <p:cond delay="0"/>
                                          </p:stCondLst>
                                        </p:cTn>
                                        <p:tgtEl>
                                          <p:spTgt spid="238"/>
                                        </p:tgtEl>
                                        <p:attrNameLst>
                                          <p:attrName>style.visibility</p:attrName>
                                        </p:attrNameLst>
                                      </p:cBhvr>
                                      <p:to>
                                        <p:strVal val="visible"/>
                                      </p:to>
                                    </p:set>
                                    <p:animEffect transition="in" filter="barn(inVertical)">
                                      <p:cBhvr>
                                        <p:cTn id="57" dur="1750"/>
                                        <p:tgtEl>
                                          <p:spTgt spid="238"/>
                                        </p:tgtEl>
                                      </p:cBhvr>
                                    </p:animEffect>
                                  </p:childTnLst>
                                </p:cTn>
                              </p:par>
                              <p:par>
                                <p:cTn id="58" presetID="16" presetClass="entr" presetSubtype="21" fill="hold" grpId="0" nodeType="withEffect">
                                  <p:stCondLst>
                                    <p:cond delay="0"/>
                                  </p:stCondLst>
                                  <p:childTnLst>
                                    <p:set>
                                      <p:cBhvr>
                                        <p:cTn id="59" dur="1" fill="hold">
                                          <p:stCondLst>
                                            <p:cond delay="0"/>
                                          </p:stCondLst>
                                        </p:cTn>
                                        <p:tgtEl>
                                          <p:spTgt spid="237"/>
                                        </p:tgtEl>
                                        <p:attrNameLst>
                                          <p:attrName>style.visibility</p:attrName>
                                        </p:attrNameLst>
                                      </p:cBhvr>
                                      <p:to>
                                        <p:strVal val="visible"/>
                                      </p:to>
                                    </p:set>
                                    <p:animEffect transition="in" filter="barn(inVertical)">
                                      <p:cBhvr>
                                        <p:cTn id="60" dur="1750"/>
                                        <p:tgtEl>
                                          <p:spTgt spid="237"/>
                                        </p:tgtEl>
                                      </p:cBhvr>
                                    </p:animEffect>
                                  </p:childTnLst>
                                </p:cTn>
                              </p:par>
                            </p:childTnLst>
                          </p:cTn>
                        </p:par>
                      </p:childTnLst>
                    </p:cTn>
                  </p:par>
                  <p:par>
                    <p:cTn id="61" fill="hold">
                      <p:stCondLst>
                        <p:cond delay="indefinite"/>
                      </p:stCondLst>
                      <p:childTnLst>
                        <p:par>
                          <p:cTn id="62" fill="hold">
                            <p:stCondLst>
                              <p:cond delay="0"/>
                            </p:stCondLst>
                            <p:childTnLst>
                              <p:par>
                                <p:cTn id="63" presetID="2" presetClass="entr" presetSubtype="4" fill="hold" grpId="0" nodeType="clickEffect">
                                  <p:stCondLst>
                                    <p:cond delay="0"/>
                                  </p:stCondLst>
                                  <p:childTnLst>
                                    <p:set>
                                      <p:cBhvr>
                                        <p:cTn id="64" dur="1" fill="hold">
                                          <p:stCondLst>
                                            <p:cond delay="0"/>
                                          </p:stCondLst>
                                        </p:cTn>
                                        <p:tgtEl>
                                          <p:spTgt spid="3"/>
                                        </p:tgtEl>
                                        <p:attrNameLst>
                                          <p:attrName>style.visibility</p:attrName>
                                        </p:attrNameLst>
                                      </p:cBhvr>
                                      <p:to>
                                        <p:strVal val="visible"/>
                                      </p:to>
                                    </p:set>
                                    <p:anim calcmode="lin" valueType="num">
                                      <p:cBhvr additive="base">
                                        <p:cTn id="65" dur="500" fill="hold"/>
                                        <p:tgtEl>
                                          <p:spTgt spid="3"/>
                                        </p:tgtEl>
                                        <p:attrNameLst>
                                          <p:attrName>ppt_x</p:attrName>
                                        </p:attrNameLst>
                                      </p:cBhvr>
                                      <p:tavLst>
                                        <p:tav tm="0">
                                          <p:val>
                                            <p:strVal val="#ppt_x"/>
                                          </p:val>
                                        </p:tav>
                                        <p:tav tm="100000">
                                          <p:val>
                                            <p:strVal val="#ppt_x"/>
                                          </p:val>
                                        </p:tav>
                                      </p:tavLst>
                                    </p:anim>
                                    <p:anim calcmode="lin" valueType="num">
                                      <p:cBhvr additive="base">
                                        <p:cTn id="66"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p:bldP spid="77" grpId="0" animBg="1"/>
      <p:bldP spid="213" grpId="0" animBg="1"/>
      <p:bldP spid="216" grpId="0" animBg="1"/>
      <p:bldP spid="224" grpId="0" animBg="1"/>
      <p:bldP spid="229" grpId="0" animBg="1"/>
      <p:bldP spid="237" grpId="0" animBg="1"/>
      <p:bldP spid="3"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Google Shape;904;p31">
            <a:extLst>
              <a:ext uri="{FF2B5EF4-FFF2-40B4-BE49-F238E27FC236}">
                <a16:creationId xmlns:a16="http://schemas.microsoft.com/office/drawing/2014/main" id="{A731FBCF-FDCA-5F9B-34C2-6305557869E7}"/>
              </a:ext>
            </a:extLst>
          </p:cNvPr>
          <p:cNvSpPr txBox="1"/>
          <p:nvPr/>
        </p:nvSpPr>
        <p:spPr>
          <a:xfrm>
            <a:off x="2282436" y="2626410"/>
            <a:ext cx="1538125" cy="757591"/>
          </a:xfrm>
          <a:prstGeom prst="rect">
            <a:avLst/>
          </a:prstGeom>
          <a:solidFill>
            <a:srgbClr val="96FF75">
              <a:alpha val="69804"/>
            </a:srgbClr>
          </a:solidFill>
          <a:ln w="9525" cap="flat" cmpd="sng">
            <a:solidFill>
              <a:srgbClr val="97A4FF"/>
            </a:solidFill>
            <a:prstDash val="solid"/>
            <a:round/>
            <a:headEnd type="none" w="sm" len="sm"/>
            <a:tailEnd type="none" w="sm" len="sm"/>
          </a:ln>
        </p:spPr>
        <p:txBody>
          <a:bodyPr spcFirstLastPara="1" wrap="square" lIns="121900" tIns="121900" rIns="121900" bIns="121900" anchor="ctr" anchorCtr="0">
            <a:noAutofit/>
          </a:bodyPr>
          <a:lstStyle/>
          <a:p>
            <a:pPr algn="ctr" defTabSz="1219140" rtl="1" latinLnBrk="0">
              <a:defRPr/>
            </a:pPr>
            <a:r>
              <a:rPr lang="ar-SA" b="1" dirty="0">
                <a:solidFill>
                  <a:srgbClr val="01083A"/>
                </a:solidFill>
                <a:latin typeface="Samim" panose="020B0603030804020204" pitchFamily="34" charset="0"/>
                <a:ea typeface="Samim" panose="020B0603030804020204" pitchFamily="34" charset="0"/>
                <a:cs typeface="Samim" panose="020B0603030804020204" pitchFamily="34" charset="0"/>
                <a:sym typeface="Josefin Sans"/>
              </a:rPr>
              <a:t>مخرجات التعليم</a:t>
            </a:r>
            <a:endParaRPr b="1" dirty="0">
              <a:solidFill>
                <a:srgbClr val="01083A"/>
              </a:solidFill>
              <a:latin typeface="Samim" panose="020B0603030804020204" pitchFamily="34" charset="0"/>
              <a:ea typeface="Samim" panose="020B0603030804020204" pitchFamily="34" charset="0"/>
              <a:cs typeface="Samim" panose="020B0603030804020204" pitchFamily="34" charset="0"/>
              <a:sym typeface="Josefin Sans"/>
            </a:endParaRPr>
          </a:p>
        </p:txBody>
      </p:sp>
      <p:sp>
        <p:nvSpPr>
          <p:cNvPr id="22" name="Google Shape;905;p31">
            <a:extLst>
              <a:ext uri="{FF2B5EF4-FFF2-40B4-BE49-F238E27FC236}">
                <a16:creationId xmlns:a16="http://schemas.microsoft.com/office/drawing/2014/main" id="{4C78D933-B655-CD3B-8C74-BD479010CEBF}"/>
              </a:ext>
            </a:extLst>
          </p:cNvPr>
          <p:cNvSpPr txBox="1"/>
          <p:nvPr/>
        </p:nvSpPr>
        <p:spPr>
          <a:xfrm>
            <a:off x="4180600" y="1537857"/>
            <a:ext cx="4459354" cy="3418607"/>
          </a:xfrm>
          <a:prstGeom prst="rect">
            <a:avLst/>
          </a:prstGeom>
          <a:noFill/>
          <a:ln w="28575" cap="flat" cmpd="sng">
            <a:solidFill>
              <a:srgbClr val="7030A0"/>
            </a:solidFill>
            <a:prstDash val="solid"/>
            <a:round/>
            <a:headEnd type="none" w="sm" len="sm"/>
            <a:tailEnd type="none" w="sm" len="sm"/>
          </a:ln>
        </p:spPr>
        <p:txBody>
          <a:bodyPr spcFirstLastPara="1" wrap="square" lIns="60933" tIns="60933" rIns="60933" bIns="0" anchor="t" anchorCtr="0">
            <a:noAutofit/>
          </a:bodyPr>
          <a:lstStyle/>
          <a:p>
            <a:pPr algn="r" defTabSz="1219140" rtl="1" latinLnBrk="0">
              <a:defRPr/>
            </a:pPr>
            <a:endParaRPr dirty="0">
              <a:solidFill>
                <a:srgbClr val="01083A"/>
              </a:solidFill>
              <a:latin typeface="Samim" panose="020B0603030804020204" pitchFamily="34" charset="0"/>
              <a:ea typeface="Samim" panose="020B0603030804020204" pitchFamily="34" charset="0"/>
              <a:cs typeface="Samim" panose="020B0603030804020204" pitchFamily="34" charset="0"/>
              <a:sym typeface="Quicksand"/>
            </a:endParaRPr>
          </a:p>
        </p:txBody>
      </p:sp>
      <p:cxnSp>
        <p:nvCxnSpPr>
          <p:cNvPr id="23" name="Google Shape;921;p31">
            <a:extLst>
              <a:ext uri="{FF2B5EF4-FFF2-40B4-BE49-F238E27FC236}">
                <a16:creationId xmlns:a16="http://schemas.microsoft.com/office/drawing/2014/main" id="{CD73E69F-E098-2DC5-85F6-B568BF23F66E}"/>
              </a:ext>
            </a:extLst>
          </p:cNvPr>
          <p:cNvCxnSpPr>
            <a:cxnSpLocks/>
          </p:cNvCxnSpPr>
          <p:nvPr/>
        </p:nvCxnSpPr>
        <p:spPr>
          <a:xfrm rot="10800000" flipV="1">
            <a:off x="3789743" y="3016376"/>
            <a:ext cx="396000" cy="0"/>
          </a:xfrm>
          <a:prstGeom prst="bentConnector3">
            <a:avLst>
              <a:gd name="adj1" fmla="val 50000"/>
            </a:avLst>
          </a:prstGeom>
          <a:noFill/>
          <a:ln w="28575" cap="flat" cmpd="sng">
            <a:solidFill>
              <a:srgbClr val="8594FF"/>
            </a:solidFill>
            <a:prstDash val="solid"/>
            <a:round/>
            <a:headEnd type="none" w="med" len="med"/>
            <a:tailEnd type="arrow" w="med" len="med"/>
          </a:ln>
        </p:spPr>
      </p:cxnSp>
      <p:sp>
        <p:nvSpPr>
          <p:cNvPr id="25" name="Google Shape;924;p31">
            <a:extLst>
              <a:ext uri="{FF2B5EF4-FFF2-40B4-BE49-F238E27FC236}">
                <a16:creationId xmlns:a16="http://schemas.microsoft.com/office/drawing/2014/main" id="{A5BDB3DC-F2EA-B378-1467-13675C6CF093}"/>
              </a:ext>
            </a:extLst>
          </p:cNvPr>
          <p:cNvSpPr txBox="1"/>
          <p:nvPr/>
        </p:nvSpPr>
        <p:spPr>
          <a:xfrm>
            <a:off x="4275483" y="2657202"/>
            <a:ext cx="2686425" cy="939189"/>
          </a:xfrm>
          <a:prstGeom prst="rect">
            <a:avLst/>
          </a:prstGeom>
          <a:solidFill>
            <a:srgbClr val="E5E8FF"/>
          </a:solidFill>
          <a:ln w="9525" cap="flat" cmpd="sng">
            <a:solidFill>
              <a:srgbClr val="97A4FF"/>
            </a:solidFill>
            <a:prstDash val="solid"/>
            <a:round/>
            <a:headEnd type="none" w="sm" len="sm"/>
            <a:tailEnd type="none" w="sm" len="sm"/>
          </a:ln>
        </p:spPr>
        <p:txBody>
          <a:bodyPr spcFirstLastPara="1" wrap="square" lIns="121900" tIns="121900" rIns="121900" bIns="121900" anchor="t" anchorCtr="0">
            <a:noAutofit/>
          </a:bodyPr>
          <a:lstStyle/>
          <a:p>
            <a:pPr algn="ctr" defTabSz="1219140" rtl="1" latinLnBrk="0">
              <a:defRPr/>
            </a:pPr>
            <a:r>
              <a:rPr lang="ar-SA" b="1" kern="0" dirty="0">
                <a:solidFill>
                  <a:srgbClr val="C00000"/>
                </a:solidFill>
                <a:latin typeface="Samim" panose="020B0603030804020204" pitchFamily="34" charset="0"/>
                <a:ea typeface="Samim" panose="020B0603030804020204" pitchFamily="34" charset="0"/>
                <a:cs typeface="Samim" panose="020B0603030804020204" pitchFamily="34" charset="0"/>
                <a:sym typeface="Josefin Sans"/>
              </a:rPr>
              <a:t>المدرسة</a:t>
            </a:r>
          </a:p>
          <a:p>
            <a:pPr algn="ctr" defTabSz="1219140" rtl="1" latinLnBrk="0">
              <a:defRPr/>
            </a:pPr>
            <a:r>
              <a:rPr lang="ar-SA" sz="1200" b="1" kern="0" dirty="0">
                <a:solidFill>
                  <a:srgbClr val="01083A"/>
                </a:solidFill>
                <a:latin typeface="Samim" panose="020B0603030804020204" pitchFamily="34" charset="0"/>
                <a:ea typeface="Samim" panose="020B0603030804020204" pitchFamily="34" charset="0"/>
                <a:cs typeface="Samim" panose="020B0603030804020204" pitchFamily="34" charset="0"/>
                <a:sym typeface="Josefin Sans"/>
              </a:rPr>
              <a:t>( تقوم بكل العمليات وتعمل على كل التحسينات، تكامل عمليات التعليم والتعلم)</a:t>
            </a:r>
            <a:endParaRPr sz="1200" b="1" kern="0" dirty="0">
              <a:solidFill>
                <a:srgbClr val="01083A"/>
              </a:solidFill>
              <a:latin typeface="Samim" panose="020B0603030804020204" pitchFamily="34" charset="0"/>
              <a:ea typeface="Samim" panose="020B0603030804020204" pitchFamily="34" charset="0"/>
              <a:cs typeface="Samim" panose="020B0603030804020204" pitchFamily="34" charset="0"/>
              <a:sym typeface="Josefin Sans"/>
            </a:endParaRPr>
          </a:p>
        </p:txBody>
      </p:sp>
      <p:sp>
        <p:nvSpPr>
          <p:cNvPr id="26" name="Google Shape;907;p31">
            <a:extLst>
              <a:ext uri="{FF2B5EF4-FFF2-40B4-BE49-F238E27FC236}">
                <a16:creationId xmlns:a16="http://schemas.microsoft.com/office/drawing/2014/main" id="{3C511F9A-198C-ECDD-C99D-784762256FCE}"/>
              </a:ext>
            </a:extLst>
          </p:cNvPr>
          <p:cNvSpPr txBox="1"/>
          <p:nvPr/>
        </p:nvSpPr>
        <p:spPr>
          <a:xfrm>
            <a:off x="2014029" y="1393582"/>
            <a:ext cx="2076833" cy="418396"/>
          </a:xfrm>
          <a:prstGeom prst="rect">
            <a:avLst/>
          </a:prstGeom>
          <a:solidFill>
            <a:srgbClr val="ED7D31">
              <a:lumMod val="40000"/>
              <a:lumOff val="60000"/>
            </a:srgbClr>
          </a:solidFill>
          <a:ln w="9525" cap="flat" cmpd="sng">
            <a:solidFill>
              <a:srgbClr val="97A4FF"/>
            </a:solidFill>
            <a:prstDash val="solid"/>
            <a:round/>
            <a:headEnd type="none" w="sm" len="sm"/>
            <a:tailEnd type="none" w="sm" len="sm"/>
          </a:ln>
        </p:spPr>
        <p:txBody>
          <a:bodyPr spcFirstLastPara="1" wrap="square" lIns="121900" tIns="121900" rIns="121900" bIns="121900" anchor="ctr" anchorCtr="0">
            <a:noAutofit/>
          </a:bodyPr>
          <a:lstStyle/>
          <a:p>
            <a:pPr algn="ctr" defTabSz="1219140" latinLnBrk="0">
              <a:defRPr/>
            </a:pPr>
            <a:r>
              <a:rPr lang="ar-SA" sz="1600" b="1" kern="0" dirty="0">
                <a:solidFill>
                  <a:srgbClr val="01083A"/>
                </a:solidFill>
                <a:latin typeface="Samim" panose="020B0603030804020204" pitchFamily="34" charset="0"/>
                <a:ea typeface="Samim" panose="020B0603030804020204" pitchFamily="34" charset="0"/>
                <a:cs typeface="Samim" panose="020B0603030804020204" pitchFamily="34" charset="0"/>
                <a:sym typeface="Josefin Sans"/>
              </a:rPr>
              <a:t>هيئة تقويم التعليم</a:t>
            </a:r>
          </a:p>
        </p:txBody>
      </p:sp>
      <p:cxnSp>
        <p:nvCxnSpPr>
          <p:cNvPr id="27" name="Google Shape;921;p31">
            <a:extLst>
              <a:ext uri="{FF2B5EF4-FFF2-40B4-BE49-F238E27FC236}">
                <a16:creationId xmlns:a16="http://schemas.microsoft.com/office/drawing/2014/main" id="{AEA5E497-784E-B768-34D1-DB1AD92A4514}"/>
              </a:ext>
            </a:extLst>
          </p:cNvPr>
          <p:cNvCxnSpPr>
            <a:cxnSpLocks/>
          </p:cNvCxnSpPr>
          <p:nvPr/>
        </p:nvCxnSpPr>
        <p:spPr>
          <a:xfrm rot="16200000" flipH="1">
            <a:off x="2493595" y="2031741"/>
            <a:ext cx="783611" cy="405724"/>
          </a:xfrm>
          <a:prstGeom prst="bentConnector3">
            <a:avLst>
              <a:gd name="adj1" fmla="val 42641"/>
            </a:avLst>
          </a:prstGeom>
          <a:noFill/>
          <a:ln w="28575" cap="flat" cmpd="sng">
            <a:solidFill>
              <a:srgbClr val="8594FF"/>
            </a:solidFill>
            <a:prstDash val="solid"/>
            <a:round/>
            <a:headEnd type="none" w="med" len="med"/>
            <a:tailEnd type="arrow" w="med" len="med"/>
          </a:ln>
        </p:spPr>
      </p:cxnSp>
      <p:sp>
        <p:nvSpPr>
          <p:cNvPr id="28" name="Google Shape;907;p31">
            <a:extLst>
              <a:ext uri="{FF2B5EF4-FFF2-40B4-BE49-F238E27FC236}">
                <a16:creationId xmlns:a16="http://schemas.microsoft.com/office/drawing/2014/main" id="{B652E141-FE00-74B4-5E7D-FA046C9481FF}"/>
              </a:ext>
            </a:extLst>
          </p:cNvPr>
          <p:cNvSpPr txBox="1"/>
          <p:nvPr/>
        </p:nvSpPr>
        <p:spPr>
          <a:xfrm>
            <a:off x="1228273" y="2154950"/>
            <a:ext cx="1999659" cy="418396"/>
          </a:xfrm>
          <a:prstGeom prst="rect">
            <a:avLst/>
          </a:prstGeom>
          <a:noFill/>
          <a:ln w="9525" cap="flat" cmpd="sng">
            <a:noFill/>
            <a:prstDash val="solid"/>
            <a:round/>
            <a:headEnd type="none" w="sm" len="sm"/>
            <a:tailEnd type="none" w="sm" len="sm"/>
          </a:ln>
        </p:spPr>
        <p:txBody>
          <a:bodyPr spcFirstLastPara="1" wrap="square" lIns="121900" tIns="121900" rIns="121900" bIns="121900" anchor="ctr" anchorCtr="0">
            <a:noAutofit/>
          </a:bodyPr>
          <a:lstStyle/>
          <a:p>
            <a:pPr algn="ctr" defTabSz="1219140" latinLnBrk="0">
              <a:defRPr/>
            </a:pPr>
            <a:r>
              <a:rPr lang="ar-SA" sz="1600" kern="0" dirty="0">
                <a:solidFill>
                  <a:srgbClr val="FF0000"/>
                </a:solidFill>
                <a:latin typeface="Samim" panose="020B0603030804020204" pitchFamily="34" charset="0"/>
                <a:ea typeface="Samim" panose="020B0603030804020204" pitchFamily="34" charset="0"/>
                <a:cs typeface="Samim" panose="020B0603030804020204" pitchFamily="34" charset="0"/>
                <a:sym typeface="Josefin Sans"/>
              </a:rPr>
              <a:t>تخضع لتقييم خارجي</a:t>
            </a:r>
          </a:p>
        </p:txBody>
      </p:sp>
      <p:sp>
        <p:nvSpPr>
          <p:cNvPr id="30" name="Google Shape;907;p31">
            <a:extLst>
              <a:ext uri="{FF2B5EF4-FFF2-40B4-BE49-F238E27FC236}">
                <a16:creationId xmlns:a16="http://schemas.microsoft.com/office/drawing/2014/main" id="{671DFADB-9597-3736-FA0C-F08DCF467BE3}"/>
              </a:ext>
            </a:extLst>
          </p:cNvPr>
          <p:cNvSpPr txBox="1"/>
          <p:nvPr/>
        </p:nvSpPr>
        <p:spPr>
          <a:xfrm>
            <a:off x="1925829" y="4059594"/>
            <a:ext cx="2076833" cy="418396"/>
          </a:xfrm>
          <a:prstGeom prst="rect">
            <a:avLst/>
          </a:prstGeom>
          <a:solidFill>
            <a:srgbClr val="ED7D31">
              <a:lumMod val="40000"/>
              <a:lumOff val="60000"/>
            </a:srgbClr>
          </a:solidFill>
          <a:ln w="9525" cap="flat" cmpd="sng">
            <a:solidFill>
              <a:srgbClr val="97A4FF"/>
            </a:solidFill>
            <a:prstDash val="solid"/>
            <a:round/>
            <a:headEnd type="none" w="sm" len="sm"/>
            <a:tailEnd type="none" w="sm" len="sm"/>
          </a:ln>
        </p:spPr>
        <p:txBody>
          <a:bodyPr spcFirstLastPara="1" wrap="square" lIns="121900" tIns="121900" rIns="121900" bIns="121900" anchor="ctr" anchorCtr="0">
            <a:noAutofit/>
          </a:bodyPr>
          <a:lstStyle/>
          <a:p>
            <a:pPr algn="ctr" defTabSz="1219140" latinLnBrk="0">
              <a:defRPr/>
            </a:pPr>
            <a:r>
              <a:rPr lang="ar-SA" sz="1600" b="1" kern="0" dirty="0">
                <a:solidFill>
                  <a:srgbClr val="01083A"/>
                </a:solidFill>
                <a:latin typeface="Samim" panose="020B0603030804020204" pitchFamily="34" charset="0"/>
                <a:ea typeface="Samim" panose="020B0603030804020204" pitchFamily="34" charset="0"/>
                <a:cs typeface="Samim" panose="020B0603030804020204" pitchFamily="34" charset="0"/>
                <a:sym typeface="Josefin Sans"/>
              </a:rPr>
              <a:t>التقويم الدولي</a:t>
            </a:r>
          </a:p>
        </p:txBody>
      </p:sp>
      <p:cxnSp>
        <p:nvCxnSpPr>
          <p:cNvPr id="31" name="Google Shape;921;p31">
            <a:extLst>
              <a:ext uri="{FF2B5EF4-FFF2-40B4-BE49-F238E27FC236}">
                <a16:creationId xmlns:a16="http://schemas.microsoft.com/office/drawing/2014/main" id="{F80A200E-0C7A-2782-3C7F-4BA47F43401E}"/>
              </a:ext>
            </a:extLst>
          </p:cNvPr>
          <p:cNvCxnSpPr>
            <a:cxnSpLocks/>
          </p:cNvCxnSpPr>
          <p:nvPr/>
        </p:nvCxnSpPr>
        <p:spPr>
          <a:xfrm rot="5400000" flipH="1" flipV="1">
            <a:off x="2464863" y="3472015"/>
            <a:ext cx="702604" cy="472555"/>
          </a:xfrm>
          <a:prstGeom prst="bentConnector3">
            <a:avLst>
              <a:gd name="adj1" fmla="val 37103"/>
            </a:avLst>
          </a:prstGeom>
          <a:noFill/>
          <a:ln w="28575" cap="flat" cmpd="sng">
            <a:solidFill>
              <a:srgbClr val="8594FF"/>
            </a:solidFill>
            <a:prstDash val="solid"/>
            <a:round/>
            <a:headEnd type="none" w="med" len="med"/>
            <a:tailEnd type="arrow" w="med" len="med"/>
          </a:ln>
        </p:spPr>
      </p:cxnSp>
      <p:sp>
        <p:nvSpPr>
          <p:cNvPr id="32" name="Google Shape;907;p31">
            <a:extLst>
              <a:ext uri="{FF2B5EF4-FFF2-40B4-BE49-F238E27FC236}">
                <a16:creationId xmlns:a16="http://schemas.microsoft.com/office/drawing/2014/main" id="{01A60B20-0A4B-F686-ECF3-A149D0B8244C}"/>
              </a:ext>
            </a:extLst>
          </p:cNvPr>
          <p:cNvSpPr txBox="1"/>
          <p:nvPr/>
        </p:nvSpPr>
        <p:spPr>
          <a:xfrm>
            <a:off x="1094628" y="3360334"/>
            <a:ext cx="2214704" cy="447756"/>
          </a:xfrm>
          <a:prstGeom prst="rect">
            <a:avLst/>
          </a:prstGeom>
          <a:noFill/>
          <a:ln w="9525" cap="flat" cmpd="sng">
            <a:noFill/>
            <a:prstDash val="solid"/>
            <a:round/>
            <a:headEnd type="none" w="sm" len="sm"/>
            <a:tailEnd type="none" w="sm" len="sm"/>
          </a:ln>
        </p:spPr>
        <p:txBody>
          <a:bodyPr spcFirstLastPara="1" wrap="square" lIns="121900" tIns="121900" rIns="121900" bIns="121900" anchor="ctr" anchorCtr="0">
            <a:noAutofit/>
          </a:bodyPr>
          <a:lstStyle/>
          <a:p>
            <a:pPr algn="ctr" defTabSz="1219140" latinLnBrk="0">
              <a:defRPr/>
            </a:pPr>
            <a:r>
              <a:rPr lang="ar-SA" sz="1600" kern="0" dirty="0">
                <a:solidFill>
                  <a:srgbClr val="FF0000"/>
                </a:solidFill>
                <a:latin typeface="Samim" panose="020B0603030804020204" pitchFamily="34" charset="0"/>
                <a:ea typeface="Samim" panose="020B0603030804020204" pitchFamily="34" charset="0"/>
                <a:cs typeface="Samim" panose="020B0603030804020204" pitchFamily="34" charset="0"/>
                <a:sym typeface="Josefin Sans"/>
              </a:rPr>
              <a:t>تخضع لتقييم خارجي</a:t>
            </a:r>
          </a:p>
        </p:txBody>
      </p:sp>
      <p:sp>
        <p:nvSpPr>
          <p:cNvPr id="33" name="Google Shape;910;p31">
            <a:extLst>
              <a:ext uri="{FF2B5EF4-FFF2-40B4-BE49-F238E27FC236}">
                <a16:creationId xmlns:a16="http://schemas.microsoft.com/office/drawing/2014/main" id="{A57E9CD7-C085-4BA8-7F1C-CCE9AFCC649D}"/>
              </a:ext>
            </a:extLst>
          </p:cNvPr>
          <p:cNvSpPr txBox="1"/>
          <p:nvPr/>
        </p:nvSpPr>
        <p:spPr>
          <a:xfrm>
            <a:off x="6638537" y="1657793"/>
            <a:ext cx="1637179" cy="418395"/>
          </a:xfrm>
          <a:prstGeom prst="rect">
            <a:avLst/>
          </a:prstGeom>
          <a:solidFill>
            <a:srgbClr val="00FFCC">
              <a:alpha val="56078"/>
            </a:srgbClr>
          </a:solidFill>
          <a:ln w="9525" cap="flat" cmpd="sng">
            <a:solidFill>
              <a:srgbClr val="97A4FF"/>
            </a:solidFill>
            <a:prstDash val="solid"/>
            <a:round/>
            <a:headEnd type="none" w="sm" len="sm"/>
            <a:tailEnd type="none" w="sm" len="sm"/>
          </a:ln>
        </p:spPr>
        <p:txBody>
          <a:bodyPr spcFirstLastPara="1" wrap="square" lIns="121900" tIns="121900" rIns="121900" bIns="121900" anchor="ctr" anchorCtr="0">
            <a:noAutofit/>
          </a:bodyPr>
          <a:lstStyle/>
          <a:p>
            <a:pPr algn="ctr" defTabSz="1219140" rtl="1" latinLnBrk="0">
              <a:defRPr/>
            </a:pPr>
            <a:r>
              <a:rPr lang="ar-SA" b="1" dirty="0">
                <a:solidFill>
                  <a:srgbClr val="01083A"/>
                </a:solidFill>
                <a:latin typeface="Samim" panose="020B0603030804020204" pitchFamily="34" charset="0"/>
                <a:ea typeface="Samim" panose="020B0603030804020204" pitchFamily="34" charset="0"/>
                <a:cs typeface="Samim" panose="020B0603030804020204" pitchFamily="34" charset="0"/>
                <a:sym typeface="Josefin Sans"/>
              </a:rPr>
              <a:t>الإدارة التعليمية</a:t>
            </a:r>
            <a:endParaRPr b="1" dirty="0">
              <a:solidFill>
                <a:srgbClr val="01083A"/>
              </a:solidFill>
              <a:latin typeface="Samim" panose="020B0603030804020204" pitchFamily="34" charset="0"/>
              <a:ea typeface="Samim" panose="020B0603030804020204" pitchFamily="34" charset="0"/>
              <a:cs typeface="Samim" panose="020B0603030804020204" pitchFamily="34" charset="0"/>
              <a:sym typeface="Josefin Sans"/>
            </a:endParaRPr>
          </a:p>
        </p:txBody>
      </p:sp>
      <p:sp>
        <p:nvSpPr>
          <p:cNvPr id="34" name="Google Shape;910;p31">
            <a:extLst>
              <a:ext uri="{FF2B5EF4-FFF2-40B4-BE49-F238E27FC236}">
                <a16:creationId xmlns:a16="http://schemas.microsoft.com/office/drawing/2014/main" id="{776E4004-F2E2-F794-FACA-519451375753}"/>
              </a:ext>
            </a:extLst>
          </p:cNvPr>
          <p:cNvSpPr txBox="1"/>
          <p:nvPr/>
        </p:nvSpPr>
        <p:spPr>
          <a:xfrm>
            <a:off x="6664098" y="4134898"/>
            <a:ext cx="1637179" cy="418395"/>
          </a:xfrm>
          <a:prstGeom prst="rect">
            <a:avLst/>
          </a:prstGeom>
          <a:solidFill>
            <a:srgbClr val="00FFCC"/>
          </a:solidFill>
          <a:ln w="9525" cap="flat" cmpd="sng">
            <a:solidFill>
              <a:srgbClr val="97A4FF"/>
            </a:solidFill>
            <a:prstDash val="solid"/>
            <a:round/>
            <a:headEnd type="none" w="sm" len="sm"/>
            <a:tailEnd type="none" w="sm" len="sm"/>
          </a:ln>
        </p:spPr>
        <p:txBody>
          <a:bodyPr spcFirstLastPara="1" wrap="square" lIns="121900" tIns="121900" rIns="121900" bIns="121900" anchor="ctr" anchorCtr="0">
            <a:noAutofit/>
          </a:bodyPr>
          <a:lstStyle/>
          <a:p>
            <a:pPr algn="ctr" defTabSz="1219140" rtl="1" latinLnBrk="0">
              <a:defRPr/>
            </a:pPr>
            <a:r>
              <a:rPr lang="ar-SA" b="1" dirty="0">
                <a:solidFill>
                  <a:srgbClr val="01083A"/>
                </a:solidFill>
                <a:latin typeface="Samim" panose="020B0603030804020204" pitchFamily="34" charset="0"/>
                <a:ea typeface="Samim" panose="020B0603030804020204" pitchFamily="34" charset="0"/>
                <a:cs typeface="Samim" panose="020B0603030804020204" pitchFamily="34" charset="0"/>
                <a:sym typeface="Josefin Sans"/>
              </a:rPr>
              <a:t>مكتب التعليم</a:t>
            </a:r>
            <a:endParaRPr b="1" dirty="0">
              <a:solidFill>
                <a:srgbClr val="01083A"/>
              </a:solidFill>
              <a:latin typeface="Samim" panose="020B0603030804020204" pitchFamily="34" charset="0"/>
              <a:ea typeface="Samim" panose="020B0603030804020204" pitchFamily="34" charset="0"/>
              <a:cs typeface="Samim" panose="020B0603030804020204" pitchFamily="34" charset="0"/>
              <a:sym typeface="Josefin Sans"/>
            </a:endParaRPr>
          </a:p>
        </p:txBody>
      </p:sp>
      <p:cxnSp>
        <p:nvCxnSpPr>
          <p:cNvPr id="35" name="Google Shape;921;p31">
            <a:extLst>
              <a:ext uri="{FF2B5EF4-FFF2-40B4-BE49-F238E27FC236}">
                <a16:creationId xmlns:a16="http://schemas.microsoft.com/office/drawing/2014/main" id="{341984E6-3C84-65AE-9D41-F14D8EECE3D3}"/>
              </a:ext>
            </a:extLst>
          </p:cNvPr>
          <p:cNvCxnSpPr>
            <a:cxnSpLocks/>
          </p:cNvCxnSpPr>
          <p:nvPr/>
        </p:nvCxnSpPr>
        <p:spPr>
          <a:xfrm rot="16200000" flipH="1">
            <a:off x="7180747" y="3088096"/>
            <a:ext cx="2052000" cy="0"/>
          </a:xfrm>
          <a:prstGeom prst="bentConnector3">
            <a:avLst>
              <a:gd name="adj1" fmla="val 50000"/>
            </a:avLst>
          </a:prstGeom>
          <a:noFill/>
          <a:ln w="28575" cap="flat" cmpd="sng">
            <a:solidFill>
              <a:srgbClr val="8594FF"/>
            </a:solidFill>
            <a:prstDash val="solid"/>
            <a:round/>
            <a:headEnd type="arrow" w="med" len="med"/>
            <a:tailEnd type="arrow" w="med" len="med"/>
          </a:ln>
        </p:spPr>
      </p:cxnSp>
      <p:cxnSp>
        <p:nvCxnSpPr>
          <p:cNvPr id="36" name="Google Shape;921;p31">
            <a:extLst>
              <a:ext uri="{FF2B5EF4-FFF2-40B4-BE49-F238E27FC236}">
                <a16:creationId xmlns:a16="http://schemas.microsoft.com/office/drawing/2014/main" id="{4630A096-9E4A-B3EB-26D0-5B6B66027659}"/>
              </a:ext>
            </a:extLst>
          </p:cNvPr>
          <p:cNvCxnSpPr>
            <a:cxnSpLocks/>
            <a:endCxn id="25" idx="2"/>
          </p:cNvCxnSpPr>
          <p:nvPr/>
        </p:nvCxnSpPr>
        <p:spPr>
          <a:xfrm rot="10800000">
            <a:off x="5618697" y="3596391"/>
            <a:ext cx="978273" cy="599520"/>
          </a:xfrm>
          <a:prstGeom prst="bentConnector2">
            <a:avLst/>
          </a:prstGeom>
          <a:noFill/>
          <a:ln w="28575" cap="flat" cmpd="sng">
            <a:solidFill>
              <a:srgbClr val="FFC000"/>
            </a:solidFill>
            <a:prstDash val="solid"/>
            <a:round/>
            <a:headEnd type="none" w="med" len="med"/>
            <a:tailEnd type="arrow" w="med" len="med"/>
          </a:ln>
        </p:spPr>
      </p:cxnSp>
      <p:sp>
        <p:nvSpPr>
          <p:cNvPr id="37" name="Google Shape;907;p31">
            <a:extLst>
              <a:ext uri="{FF2B5EF4-FFF2-40B4-BE49-F238E27FC236}">
                <a16:creationId xmlns:a16="http://schemas.microsoft.com/office/drawing/2014/main" id="{B0256C32-20DE-548B-ED62-989F5B0A3F50}"/>
              </a:ext>
            </a:extLst>
          </p:cNvPr>
          <p:cNvSpPr txBox="1"/>
          <p:nvPr/>
        </p:nvSpPr>
        <p:spPr>
          <a:xfrm>
            <a:off x="5063326" y="4141993"/>
            <a:ext cx="1822120" cy="474976"/>
          </a:xfrm>
          <a:prstGeom prst="rect">
            <a:avLst/>
          </a:prstGeom>
          <a:noFill/>
          <a:ln w="9525" cap="flat" cmpd="sng">
            <a:noFill/>
            <a:prstDash val="solid"/>
            <a:round/>
            <a:headEnd type="none" w="sm" len="sm"/>
            <a:tailEnd type="none" w="sm" len="sm"/>
          </a:ln>
        </p:spPr>
        <p:txBody>
          <a:bodyPr spcFirstLastPara="1" wrap="square" lIns="121900" tIns="121900" rIns="121900" bIns="121900" anchor="ctr" anchorCtr="0">
            <a:noAutofit/>
          </a:bodyPr>
          <a:lstStyle/>
          <a:p>
            <a:pPr algn="ctr" defTabSz="1219140" latinLnBrk="0">
              <a:defRPr/>
            </a:pPr>
            <a:r>
              <a:rPr lang="ar-SA" sz="1600" b="1" kern="0" dirty="0">
                <a:solidFill>
                  <a:srgbClr val="ED7D31">
                    <a:lumMod val="75000"/>
                  </a:srgbClr>
                </a:solidFill>
                <a:latin typeface="Samim" panose="020B0603030804020204" pitchFamily="34" charset="0"/>
                <a:ea typeface="Samim" panose="020B0603030804020204" pitchFamily="34" charset="0"/>
                <a:cs typeface="Samim" panose="020B0603030804020204" pitchFamily="34" charset="0"/>
                <a:sym typeface="Josefin Sans"/>
              </a:rPr>
              <a:t>دعم ومساندة</a:t>
            </a:r>
          </a:p>
        </p:txBody>
      </p:sp>
      <p:sp>
        <p:nvSpPr>
          <p:cNvPr id="38" name="Google Shape;1374;p50">
            <a:extLst>
              <a:ext uri="{FF2B5EF4-FFF2-40B4-BE49-F238E27FC236}">
                <a16:creationId xmlns:a16="http://schemas.microsoft.com/office/drawing/2014/main" id="{48CBF393-6E2E-8570-BA79-6F9B756AEE7E}"/>
              </a:ext>
            </a:extLst>
          </p:cNvPr>
          <p:cNvSpPr txBox="1">
            <a:spLocks/>
          </p:cNvSpPr>
          <p:nvPr/>
        </p:nvSpPr>
        <p:spPr>
          <a:xfrm>
            <a:off x="2956464" y="389809"/>
            <a:ext cx="5944928" cy="637600"/>
          </a:xfrm>
          <a:prstGeom prst="rect">
            <a:avLst/>
          </a:prstGeom>
          <a:no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dk1"/>
              </a:buClr>
              <a:buSzPts val="3500"/>
              <a:buFont typeface="Bebas Neue"/>
              <a:buNone/>
              <a:defRPr sz="3000" b="0" i="0" u="none" strike="noStrike" cap="none">
                <a:solidFill>
                  <a:schemeClr val="hlink"/>
                </a:solidFill>
                <a:latin typeface="Fira Sans Extra Condensed SemiBold"/>
                <a:ea typeface="Fira Sans Extra Condensed SemiBold"/>
                <a:cs typeface="Fira Sans Extra Condensed SemiBold"/>
                <a:sym typeface="Fira Sans Extra Condensed SemiBold"/>
              </a:defRPr>
            </a:lvl1pPr>
            <a:lvl2pPr marR="0" lvl="1"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2pPr>
            <a:lvl3pPr marR="0" lvl="2"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3pPr>
            <a:lvl4pPr marR="0" lvl="3"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4pPr>
            <a:lvl5pPr marR="0" lvl="4"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5pPr>
            <a:lvl6pPr marR="0" lvl="5"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6pPr>
            <a:lvl7pPr marR="0" lvl="6"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7pPr>
            <a:lvl8pPr marR="0" lvl="7"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8pPr>
            <a:lvl9pPr marR="0" lvl="8" algn="l" rtl="0">
              <a:lnSpc>
                <a:spcPct val="100000"/>
              </a:lnSpc>
              <a:spcBef>
                <a:spcPts val="0"/>
              </a:spcBef>
              <a:spcAft>
                <a:spcPts val="0"/>
              </a:spcAft>
              <a:buClr>
                <a:schemeClr val="dk1"/>
              </a:buClr>
              <a:buSzPts val="3500"/>
              <a:buFont typeface="Bebas Neue"/>
              <a:buNone/>
              <a:defRPr sz="3500" b="0" i="0" u="none" strike="noStrike" cap="none">
                <a:solidFill>
                  <a:schemeClr val="dk1"/>
                </a:solidFill>
                <a:latin typeface="Bebas Neue"/>
                <a:ea typeface="Bebas Neue"/>
                <a:cs typeface="Bebas Neue"/>
                <a:sym typeface="Bebas Neue"/>
              </a:defRPr>
            </a:lvl9pPr>
          </a:lstStyle>
          <a:p>
            <a:pPr defTabSz="1219140" latinLnBrk="0">
              <a:buClr>
                <a:srgbClr val="000000"/>
              </a:buClr>
              <a:buSzPts val="1100"/>
              <a:defRPr/>
            </a:pPr>
            <a:r>
              <a:rPr lang="ar-SA" sz="1800" b="1" kern="0" dirty="0">
                <a:solidFill>
                  <a:srgbClr val="002060"/>
                </a:solidFill>
                <a:latin typeface="Samim" panose="020B0603030804020204" pitchFamily="34" charset="0"/>
                <a:ea typeface="Samim" panose="020B0603030804020204" pitchFamily="34" charset="0"/>
                <a:cs typeface="Samim" panose="020B0603030804020204" pitchFamily="34" charset="0"/>
              </a:rPr>
              <a:t>تكامل منظومة تقييم الأداء المدرسي</a:t>
            </a:r>
            <a:endParaRPr lang="en-US" sz="1800" b="1" kern="0" dirty="0">
              <a:solidFill>
                <a:srgbClr val="002060"/>
              </a:solidFill>
              <a:latin typeface="Samim" panose="020B0603030804020204" pitchFamily="34" charset="0"/>
              <a:ea typeface="Samim" panose="020B0603030804020204" pitchFamily="34" charset="0"/>
              <a:cs typeface="Samim" panose="020B0603030804020204" pitchFamily="34" charset="0"/>
            </a:endParaRPr>
          </a:p>
        </p:txBody>
      </p:sp>
      <p:cxnSp>
        <p:nvCxnSpPr>
          <p:cNvPr id="39" name="Google Shape;921;p31">
            <a:extLst>
              <a:ext uri="{FF2B5EF4-FFF2-40B4-BE49-F238E27FC236}">
                <a16:creationId xmlns:a16="http://schemas.microsoft.com/office/drawing/2014/main" id="{AEA30E5D-F41A-154F-5205-FB3D49603B7A}"/>
              </a:ext>
            </a:extLst>
          </p:cNvPr>
          <p:cNvCxnSpPr>
            <a:cxnSpLocks/>
            <a:stCxn id="33" idx="2"/>
            <a:endCxn id="25" idx="0"/>
          </p:cNvCxnSpPr>
          <p:nvPr/>
        </p:nvCxnSpPr>
        <p:spPr>
          <a:xfrm rot="5400000">
            <a:off x="6247405" y="1447480"/>
            <a:ext cx="581014" cy="1838431"/>
          </a:xfrm>
          <a:prstGeom prst="bentConnector3">
            <a:avLst>
              <a:gd name="adj1" fmla="val 50000"/>
            </a:avLst>
          </a:prstGeom>
          <a:noFill/>
          <a:ln w="28575" cap="flat" cmpd="sng">
            <a:solidFill>
              <a:srgbClr val="29978A"/>
            </a:solidFill>
            <a:prstDash val="solid"/>
            <a:round/>
            <a:headEnd type="none" w="med" len="med"/>
            <a:tailEnd type="arrow" w="med" len="med"/>
          </a:ln>
        </p:spPr>
      </p:cxnSp>
      <p:sp>
        <p:nvSpPr>
          <p:cNvPr id="40" name="Google Shape;907;p31">
            <a:extLst>
              <a:ext uri="{FF2B5EF4-FFF2-40B4-BE49-F238E27FC236}">
                <a16:creationId xmlns:a16="http://schemas.microsoft.com/office/drawing/2014/main" id="{8EB882A0-10C1-701B-2BA6-714B8354E436}"/>
              </a:ext>
            </a:extLst>
          </p:cNvPr>
          <p:cNvSpPr txBox="1"/>
          <p:nvPr/>
        </p:nvSpPr>
        <p:spPr>
          <a:xfrm>
            <a:off x="5299154" y="2002135"/>
            <a:ext cx="1490579" cy="346850"/>
          </a:xfrm>
          <a:prstGeom prst="rect">
            <a:avLst/>
          </a:prstGeom>
          <a:noFill/>
          <a:ln w="9525" cap="flat" cmpd="sng">
            <a:noFill/>
            <a:prstDash val="solid"/>
            <a:round/>
            <a:headEnd type="none" w="sm" len="sm"/>
            <a:tailEnd type="none" w="sm" len="sm"/>
          </a:ln>
        </p:spPr>
        <p:txBody>
          <a:bodyPr spcFirstLastPara="1" wrap="square" lIns="121900" tIns="121900" rIns="121900" bIns="121900" anchor="ctr" anchorCtr="0">
            <a:noAutofit/>
          </a:bodyPr>
          <a:lstStyle/>
          <a:p>
            <a:pPr algn="ctr" defTabSz="1219140" latinLnBrk="0">
              <a:defRPr/>
            </a:pPr>
            <a:r>
              <a:rPr lang="ar-SA" sz="1600" b="1" dirty="0">
                <a:solidFill>
                  <a:srgbClr val="29978A"/>
                </a:solidFill>
                <a:latin typeface="Samim" panose="020B0603030804020204" pitchFamily="34" charset="0"/>
                <a:ea typeface="Samim" panose="020B0603030804020204" pitchFamily="34" charset="0"/>
                <a:cs typeface="Samim" panose="020B0603030804020204" pitchFamily="34" charset="0"/>
                <a:sym typeface="Josefin Sans"/>
              </a:rPr>
              <a:t>دعم ومساندة</a:t>
            </a:r>
            <a:endParaRPr lang="ar-SA" sz="1600" b="1" kern="0" dirty="0">
              <a:solidFill>
                <a:srgbClr val="29978A"/>
              </a:solidFill>
              <a:latin typeface="Samim" panose="020B0603030804020204" pitchFamily="34" charset="0"/>
              <a:ea typeface="Samim" panose="020B0603030804020204" pitchFamily="34" charset="0"/>
              <a:cs typeface="Samim" panose="020B0603030804020204" pitchFamily="34" charset="0"/>
              <a:sym typeface="Josefin Sans"/>
            </a:endParaRPr>
          </a:p>
        </p:txBody>
      </p:sp>
      <p:cxnSp>
        <p:nvCxnSpPr>
          <p:cNvPr id="41" name="Google Shape;921;p31">
            <a:extLst>
              <a:ext uri="{FF2B5EF4-FFF2-40B4-BE49-F238E27FC236}">
                <a16:creationId xmlns:a16="http://schemas.microsoft.com/office/drawing/2014/main" id="{01C5273E-5D59-34DC-348B-A269D1F61C93}"/>
              </a:ext>
            </a:extLst>
          </p:cNvPr>
          <p:cNvCxnSpPr>
            <a:cxnSpLocks/>
          </p:cNvCxnSpPr>
          <p:nvPr/>
        </p:nvCxnSpPr>
        <p:spPr>
          <a:xfrm rot="16200000" flipH="1">
            <a:off x="3592261" y="1514591"/>
            <a:ext cx="845227" cy="1440000"/>
          </a:xfrm>
          <a:prstGeom prst="bentConnector3">
            <a:avLst>
              <a:gd name="adj1" fmla="val 50000"/>
            </a:avLst>
          </a:prstGeom>
          <a:noFill/>
          <a:ln w="28575" cap="flat" cmpd="sng">
            <a:solidFill>
              <a:srgbClr val="8594FF"/>
            </a:solidFill>
            <a:prstDash val="solid"/>
            <a:round/>
            <a:headEnd type="none" w="med" len="med"/>
            <a:tailEnd type="arrow" w="med" len="med"/>
          </a:ln>
        </p:spPr>
      </p:cxnSp>
      <p:cxnSp>
        <p:nvCxnSpPr>
          <p:cNvPr id="42" name="Google Shape;921;p31">
            <a:extLst>
              <a:ext uri="{FF2B5EF4-FFF2-40B4-BE49-F238E27FC236}">
                <a16:creationId xmlns:a16="http://schemas.microsoft.com/office/drawing/2014/main" id="{AC6BBCD2-0427-40E4-A199-5134B54313C5}"/>
              </a:ext>
            </a:extLst>
          </p:cNvPr>
          <p:cNvCxnSpPr>
            <a:cxnSpLocks/>
          </p:cNvCxnSpPr>
          <p:nvPr/>
        </p:nvCxnSpPr>
        <p:spPr>
          <a:xfrm flipV="1">
            <a:off x="4002662" y="3566334"/>
            <a:ext cx="800038" cy="720000"/>
          </a:xfrm>
          <a:prstGeom prst="bentConnector2">
            <a:avLst/>
          </a:prstGeom>
          <a:noFill/>
          <a:ln w="28575" cap="flat" cmpd="sng">
            <a:solidFill>
              <a:srgbClr val="8594FF"/>
            </a:solidFill>
            <a:prstDash val="solid"/>
            <a:round/>
            <a:headEnd type="none" w="med" len="med"/>
            <a:tailEnd type="arrow" w="med" len="med"/>
          </a:ln>
        </p:spPr>
      </p:cxnSp>
      <p:sp>
        <p:nvSpPr>
          <p:cNvPr id="43" name="Google Shape;904;p31">
            <a:extLst>
              <a:ext uri="{FF2B5EF4-FFF2-40B4-BE49-F238E27FC236}">
                <a16:creationId xmlns:a16="http://schemas.microsoft.com/office/drawing/2014/main" id="{1199CE99-6CEF-54A3-3790-F55DDF419A12}"/>
              </a:ext>
            </a:extLst>
          </p:cNvPr>
          <p:cNvSpPr txBox="1"/>
          <p:nvPr/>
        </p:nvSpPr>
        <p:spPr>
          <a:xfrm>
            <a:off x="9302152" y="2614690"/>
            <a:ext cx="1739810" cy="757591"/>
          </a:xfrm>
          <a:prstGeom prst="rect">
            <a:avLst/>
          </a:prstGeom>
          <a:solidFill>
            <a:srgbClr val="96FF75">
              <a:alpha val="69804"/>
            </a:srgbClr>
          </a:solidFill>
          <a:ln w="9525" cap="flat" cmpd="sng">
            <a:solidFill>
              <a:srgbClr val="97A4FF"/>
            </a:solidFill>
            <a:prstDash val="solid"/>
            <a:round/>
            <a:headEnd type="none" w="sm" len="sm"/>
            <a:tailEnd type="none" w="sm" len="sm"/>
          </a:ln>
        </p:spPr>
        <p:txBody>
          <a:bodyPr spcFirstLastPara="1" wrap="square" lIns="121900" tIns="121900" rIns="121900" bIns="121900" anchor="ctr" anchorCtr="0">
            <a:noAutofit/>
          </a:bodyPr>
          <a:lstStyle/>
          <a:p>
            <a:pPr algn="ctr" defTabSz="1219140" rtl="1" latinLnBrk="0">
              <a:defRPr/>
            </a:pPr>
            <a:r>
              <a:rPr lang="ar-SA" sz="2400" b="1" dirty="0">
                <a:solidFill>
                  <a:srgbClr val="01083A"/>
                </a:solidFill>
                <a:latin typeface="Samim" panose="020B0603030804020204" pitchFamily="34" charset="0"/>
                <a:ea typeface="Samim" panose="020B0603030804020204" pitchFamily="34" charset="0"/>
                <a:cs typeface="Samim" panose="020B0603030804020204" pitchFamily="34" charset="0"/>
                <a:sym typeface="Josefin Sans"/>
              </a:rPr>
              <a:t>المعايير</a:t>
            </a:r>
            <a:endParaRPr sz="2400" b="1" dirty="0">
              <a:solidFill>
                <a:srgbClr val="01083A"/>
              </a:solidFill>
              <a:latin typeface="Samim" panose="020B0603030804020204" pitchFamily="34" charset="0"/>
              <a:ea typeface="Samim" panose="020B0603030804020204" pitchFamily="34" charset="0"/>
              <a:cs typeface="Samim" panose="020B0603030804020204" pitchFamily="34" charset="0"/>
              <a:sym typeface="Josefin Sans"/>
            </a:endParaRPr>
          </a:p>
        </p:txBody>
      </p:sp>
      <p:cxnSp>
        <p:nvCxnSpPr>
          <p:cNvPr id="44" name="Google Shape;921;p31">
            <a:extLst>
              <a:ext uri="{FF2B5EF4-FFF2-40B4-BE49-F238E27FC236}">
                <a16:creationId xmlns:a16="http://schemas.microsoft.com/office/drawing/2014/main" id="{C2304AAB-00AD-FB4B-964C-E7F35A59C711}"/>
              </a:ext>
            </a:extLst>
          </p:cNvPr>
          <p:cNvCxnSpPr>
            <a:cxnSpLocks/>
            <a:stCxn id="43" idx="1"/>
          </p:cNvCxnSpPr>
          <p:nvPr/>
        </p:nvCxnSpPr>
        <p:spPr>
          <a:xfrm rot="10800000" flipV="1">
            <a:off x="6961910" y="3099532"/>
            <a:ext cx="2340243" cy="0"/>
          </a:xfrm>
          <a:prstGeom prst="bentConnector3">
            <a:avLst>
              <a:gd name="adj1" fmla="val 50000"/>
            </a:avLst>
          </a:prstGeom>
          <a:ln w="28575">
            <a:headEnd type="none" w="med" len="med"/>
            <a:tailEnd type="arrow" w="med" len="med"/>
          </a:ln>
        </p:spPr>
        <p:style>
          <a:lnRef idx="2">
            <a:schemeClr val="dk1"/>
          </a:lnRef>
          <a:fillRef idx="0">
            <a:schemeClr val="dk1"/>
          </a:fillRef>
          <a:effectRef idx="1">
            <a:schemeClr val="dk1"/>
          </a:effectRef>
          <a:fontRef idx="minor">
            <a:schemeClr val="tx1"/>
          </a:fontRef>
        </p:style>
      </p:cxnSp>
      <p:cxnSp>
        <p:nvCxnSpPr>
          <p:cNvPr id="45" name="Google Shape;921;p31">
            <a:extLst>
              <a:ext uri="{FF2B5EF4-FFF2-40B4-BE49-F238E27FC236}">
                <a16:creationId xmlns:a16="http://schemas.microsoft.com/office/drawing/2014/main" id="{6E8C164E-F858-85CD-45CE-F9715E02F45C}"/>
              </a:ext>
            </a:extLst>
          </p:cNvPr>
          <p:cNvCxnSpPr>
            <a:cxnSpLocks/>
            <a:stCxn id="26" idx="0"/>
            <a:endCxn id="43" idx="0"/>
          </p:cNvCxnSpPr>
          <p:nvPr/>
        </p:nvCxnSpPr>
        <p:spPr>
          <a:xfrm rot="16200000" flipH="1">
            <a:off x="6001697" y="-1555669"/>
            <a:ext cx="1221108" cy="7119611"/>
          </a:xfrm>
          <a:prstGeom prst="bentConnector3">
            <a:avLst>
              <a:gd name="adj1" fmla="val -18721"/>
            </a:avLst>
          </a:prstGeom>
          <a:noFill/>
          <a:ln w="28575" cap="flat" cmpd="sng">
            <a:solidFill>
              <a:srgbClr val="FF0000"/>
            </a:solidFill>
            <a:prstDash val="solid"/>
            <a:round/>
            <a:headEnd type="arrow" w="med" len="med"/>
            <a:tailEnd type="arrow" w="med" len="med"/>
          </a:ln>
        </p:spPr>
      </p:cxnSp>
      <p:sp>
        <p:nvSpPr>
          <p:cNvPr id="47" name="Google Shape;907;p31">
            <a:extLst>
              <a:ext uri="{FF2B5EF4-FFF2-40B4-BE49-F238E27FC236}">
                <a16:creationId xmlns:a16="http://schemas.microsoft.com/office/drawing/2014/main" id="{26AA80DC-3217-C524-260C-9FFEBBE97170}"/>
              </a:ext>
            </a:extLst>
          </p:cNvPr>
          <p:cNvSpPr txBox="1"/>
          <p:nvPr/>
        </p:nvSpPr>
        <p:spPr>
          <a:xfrm>
            <a:off x="6885446" y="2695251"/>
            <a:ext cx="1512406" cy="447756"/>
          </a:xfrm>
          <a:prstGeom prst="rect">
            <a:avLst/>
          </a:prstGeom>
          <a:noFill/>
          <a:ln w="9525" cap="flat" cmpd="sng">
            <a:noFill/>
            <a:prstDash val="solid"/>
            <a:round/>
            <a:headEnd type="none" w="sm" len="sm"/>
            <a:tailEnd type="none" w="sm" len="sm"/>
          </a:ln>
        </p:spPr>
        <p:txBody>
          <a:bodyPr spcFirstLastPara="1" wrap="square" lIns="121900" tIns="121900" rIns="121900" bIns="121900" anchor="ctr" anchorCtr="0">
            <a:noAutofit/>
          </a:bodyPr>
          <a:lstStyle/>
          <a:p>
            <a:pPr algn="ctr" defTabSz="1219140" latinLnBrk="0">
              <a:defRPr/>
            </a:pPr>
            <a:r>
              <a:rPr lang="ar-SA" sz="1400" b="1" kern="0" dirty="0">
                <a:solidFill>
                  <a:srgbClr val="FF0000"/>
                </a:solidFill>
                <a:latin typeface="Samim" panose="020B0603030804020204" pitchFamily="34" charset="0"/>
                <a:ea typeface="Samim" panose="020B0603030804020204" pitchFamily="34" charset="0"/>
                <a:cs typeface="Samim" panose="020B0603030804020204" pitchFamily="34" charset="0"/>
                <a:sym typeface="Josefin Sans"/>
              </a:rPr>
              <a:t>مهام المدرسة</a:t>
            </a:r>
          </a:p>
        </p:txBody>
      </p:sp>
      <p:sp>
        <p:nvSpPr>
          <p:cNvPr id="48" name="Google Shape;907;p31">
            <a:extLst>
              <a:ext uri="{FF2B5EF4-FFF2-40B4-BE49-F238E27FC236}">
                <a16:creationId xmlns:a16="http://schemas.microsoft.com/office/drawing/2014/main" id="{AD261263-C2FE-D23C-3149-8883462C3568}"/>
              </a:ext>
            </a:extLst>
          </p:cNvPr>
          <p:cNvSpPr txBox="1"/>
          <p:nvPr/>
        </p:nvSpPr>
        <p:spPr>
          <a:xfrm>
            <a:off x="7147552" y="3436811"/>
            <a:ext cx="930475" cy="447756"/>
          </a:xfrm>
          <a:prstGeom prst="rect">
            <a:avLst/>
          </a:prstGeom>
          <a:noFill/>
          <a:ln w="9525" cap="flat" cmpd="sng">
            <a:noFill/>
            <a:prstDash val="solid"/>
            <a:round/>
            <a:headEnd type="none" w="sm" len="sm"/>
            <a:tailEnd type="none" w="sm" len="sm"/>
          </a:ln>
        </p:spPr>
        <p:txBody>
          <a:bodyPr spcFirstLastPara="1" wrap="square" lIns="121900" tIns="121900" rIns="121900" bIns="121900" anchor="ctr" anchorCtr="0">
            <a:noAutofit/>
          </a:bodyPr>
          <a:lstStyle/>
          <a:p>
            <a:pPr algn="ctr" defTabSz="1219140" latinLnBrk="0">
              <a:defRPr/>
            </a:pPr>
            <a:r>
              <a:rPr lang="ar-SA" sz="1200" b="1" kern="0" dirty="0">
                <a:solidFill>
                  <a:srgbClr val="002060"/>
                </a:solidFill>
                <a:latin typeface="Samim" panose="020B0603030804020204" pitchFamily="34" charset="0"/>
                <a:ea typeface="Samim" panose="020B0603030804020204" pitchFamily="34" charset="0"/>
                <a:cs typeface="Samim" panose="020B0603030804020204" pitchFamily="34" charset="0"/>
                <a:sym typeface="Josefin Sans"/>
              </a:rPr>
              <a:t>تكامل في الأدوار</a:t>
            </a:r>
          </a:p>
        </p:txBody>
      </p:sp>
    </p:spTree>
    <p:extLst>
      <p:ext uri="{BB962C8B-B14F-4D97-AF65-F5344CB8AC3E}">
        <p14:creationId xmlns:p14="http://schemas.microsoft.com/office/powerpoint/2010/main" val="1213655334"/>
      </p:ext>
    </p:extLst>
  </p:cSld>
  <p:clrMapOvr>
    <a:masterClrMapping/>
  </p:clrMapOvr>
  <mc:AlternateContent xmlns:mc="http://schemas.openxmlformats.org/markup-compatibility/2006" xmlns:p14="http://schemas.microsoft.com/office/powerpoint/2010/main">
    <mc:Choice Requires="p14">
      <p:transition spd="slow" p14:dur="1200">
        <p14:prism dir="r"/>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38"/>
                                        </p:tgtEl>
                                        <p:attrNameLst>
                                          <p:attrName>style.visibility</p:attrName>
                                        </p:attrNameLst>
                                      </p:cBhvr>
                                      <p:to>
                                        <p:strVal val="visible"/>
                                      </p:to>
                                    </p:set>
                                    <p:animEffect transition="in" filter="barn(inVertical)">
                                      <p:cBhvr>
                                        <p:cTn id="7" dur="500"/>
                                        <p:tgtEl>
                                          <p:spTgt spid="38"/>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grpId="0" nodeType="clickEffect">
                                  <p:stCondLst>
                                    <p:cond delay="0"/>
                                  </p:stCondLst>
                                  <p:childTnLst>
                                    <p:set>
                                      <p:cBhvr>
                                        <p:cTn id="11" dur="1" fill="hold">
                                          <p:stCondLst>
                                            <p:cond delay="0"/>
                                          </p:stCondLst>
                                        </p:cTn>
                                        <p:tgtEl>
                                          <p:spTgt spid="22"/>
                                        </p:tgtEl>
                                        <p:attrNameLst>
                                          <p:attrName>style.visibility</p:attrName>
                                        </p:attrNameLst>
                                      </p:cBhvr>
                                      <p:to>
                                        <p:strVal val="visible"/>
                                      </p:to>
                                    </p:set>
                                    <p:animEffect transition="in" filter="barn(inVertical)">
                                      <p:cBhvr>
                                        <p:cTn id="12" dur="500"/>
                                        <p:tgtEl>
                                          <p:spTgt spid="22"/>
                                        </p:tgtEl>
                                      </p:cBhvr>
                                    </p:animEffect>
                                  </p:childTnLst>
                                </p:cTn>
                              </p:par>
                            </p:childTnLst>
                          </p:cTn>
                        </p:par>
                      </p:childTnLst>
                    </p:cTn>
                  </p:par>
                  <p:par>
                    <p:cTn id="13" fill="hold">
                      <p:stCondLst>
                        <p:cond delay="indefinite"/>
                      </p:stCondLst>
                      <p:childTnLst>
                        <p:par>
                          <p:cTn id="14" fill="hold">
                            <p:stCondLst>
                              <p:cond delay="0"/>
                            </p:stCondLst>
                            <p:childTnLst>
                              <p:par>
                                <p:cTn id="15" presetID="16" presetClass="entr" presetSubtype="21" fill="hold" grpId="0" nodeType="clickEffect">
                                  <p:stCondLst>
                                    <p:cond delay="0"/>
                                  </p:stCondLst>
                                  <p:childTnLst>
                                    <p:set>
                                      <p:cBhvr>
                                        <p:cTn id="16" dur="1" fill="hold">
                                          <p:stCondLst>
                                            <p:cond delay="0"/>
                                          </p:stCondLst>
                                        </p:cTn>
                                        <p:tgtEl>
                                          <p:spTgt spid="25"/>
                                        </p:tgtEl>
                                        <p:attrNameLst>
                                          <p:attrName>style.visibility</p:attrName>
                                        </p:attrNameLst>
                                      </p:cBhvr>
                                      <p:to>
                                        <p:strVal val="visible"/>
                                      </p:to>
                                    </p:set>
                                    <p:animEffect transition="in" filter="barn(inVertical)">
                                      <p:cBhvr>
                                        <p:cTn id="17" dur="500"/>
                                        <p:tgtEl>
                                          <p:spTgt spid="25"/>
                                        </p:tgtEl>
                                      </p:cBhvr>
                                    </p:animEffect>
                                  </p:childTnLst>
                                </p:cTn>
                              </p:par>
                            </p:childTnLst>
                          </p:cTn>
                        </p:par>
                      </p:childTnLst>
                    </p:cTn>
                  </p:par>
                  <p:par>
                    <p:cTn id="18" fill="hold">
                      <p:stCondLst>
                        <p:cond delay="indefinite"/>
                      </p:stCondLst>
                      <p:childTnLst>
                        <p:par>
                          <p:cTn id="19" fill="hold">
                            <p:stCondLst>
                              <p:cond delay="0"/>
                            </p:stCondLst>
                            <p:childTnLst>
                              <p:par>
                                <p:cTn id="20" presetID="16" presetClass="entr" presetSubtype="21" fill="hold" grpId="0" nodeType="clickEffect">
                                  <p:stCondLst>
                                    <p:cond delay="0"/>
                                  </p:stCondLst>
                                  <p:childTnLst>
                                    <p:set>
                                      <p:cBhvr>
                                        <p:cTn id="21" dur="1" fill="hold">
                                          <p:stCondLst>
                                            <p:cond delay="0"/>
                                          </p:stCondLst>
                                        </p:cTn>
                                        <p:tgtEl>
                                          <p:spTgt spid="43"/>
                                        </p:tgtEl>
                                        <p:attrNameLst>
                                          <p:attrName>style.visibility</p:attrName>
                                        </p:attrNameLst>
                                      </p:cBhvr>
                                      <p:to>
                                        <p:strVal val="visible"/>
                                      </p:to>
                                    </p:set>
                                    <p:animEffect transition="in" filter="barn(inVertical)">
                                      <p:cBhvr>
                                        <p:cTn id="22" dur="500"/>
                                        <p:tgtEl>
                                          <p:spTgt spid="43"/>
                                        </p:tgtEl>
                                      </p:cBhvr>
                                    </p:animEffect>
                                  </p:childTnLst>
                                </p:cTn>
                              </p:par>
                            </p:childTnLst>
                          </p:cTn>
                        </p:par>
                      </p:childTnLst>
                    </p:cTn>
                  </p:par>
                  <p:par>
                    <p:cTn id="23" fill="hold">
                      <p:stCondLst>
                        <p:cond delay="indefinite"/>
                      </p:stCondLst>
                      <p:childTnLst>
                        <p:par>
                          <p:cTn id="24" fill="hold">
                            <p:stCondLst>
                              <p:cond delay="0"/>
                            </p:stCondLst>
                            <p:childTnLst>
                              <p:par>
                                <p:cTn id="25" presetID="16" presetClass="entr" presetSubtype="21" fill="hold" nodeType="clickEffect">
                                  <p:stCondLst>
                                    <p:cond delay="0"/>
                                  </p:stCondLst>
                                  <p:childTnLst>
                                    <p:set>
                                      <p:cBhvr>
                                        <p:cTn id="26" dur="1" fill="hold">
                                          <p:stCondLst>
                                            <p:cond delay="0"/>
                                          </p:stCondLst>
                                        </p:cTn>
                                        <p:tgtEl>
                                          <p:spTgt spid="44"/>
                                        </p:tgtEl>
                                        <p:attrNameLst>
                                          <p:attrName>style.visibility</p:attrName>
                                        </p:attrNameLst>
                                      </p:cBhvr>
                                      <p:to>
                                        <p:strVal val="visible"/>
                                      </p:to>
                                    </p:set>
                                    <p:animEffect transition="in" filter="barn(inVertical)">
                                      <p:cBhvr>
                                        <p:cTn id="27" dur="750"/>
                                        <p:tgtEl>
                                          <p:spTgt spid="44"/>
                                        </p:tgtEl>
                                      </p:cBhvr>
                                    </p:animEffect>
                                  </p:childTnLst>
                                </p:cTn>
                              </p:par>
                            </p:childTnLst>
                          </p:cTn>
                        </p:par>
                      </p:childTnLst>
                    </p:cTn>
                  </p:par>
                  <p:par>
                    <p:cTn id="28" fill="hold">
                      <p:stCondLst>
                        <p:cond delay="indefinite"/>
                      </p:stCondLst>
                      <p:childTnLst>
                        <p:par>
                          <p:cTn id="29" fill="hold">
                            <p:stCondLst>
                              <p:cond delay="0"/>
                            </p:stCondLst>
                            <p:childTnLst>
                              <p:par>
                                <p:cTn id="30" presetID="16" presetClass="entr" presetSubtype="21" fill="hold" grpId="0" nodeType="clickEffect">
                                  <p:stCondLst>
                                    <p:cond delay="0"/>
                                  </p:stCondLst>
                                  <p:childTnLst>
                                    <p:set>
                                      <p:cBhvr>
                                        <p:cTn id="31" dur="1" fill="hold">
                                          <p:stCondLst>
                                            <p:cond delay="0"/>
                                          </p:stCondLst>
                                        </p:cTn>
                                        <p:tgtEl>
                                          <p:spTgt spid="47"/>
                                        </p:tgtEl>
                                        <p:attrNameLst>
                                          <p:attrName>style.visibility</p:attrName>
                                        </p:attrNameLst>
                                      </p:cBhvr>
                                      <p:to>
                                        <p:strVal val="visible"/>
                                      </p:to>
                                    </p:set>
                                    <p:animEffect transition="in" filter="barn(inVertical)">
                                      <p:cBhvr>
                                        <p:cTn id="32" dur="500"/>
                                        <p:tgtEl>
                                          <p:spTgt spid="47"/>
                                        </p:tgtEl>
                                      </p:cBhvr>
                                    </p:animEffect>
                                  </p:childTnLst>
                                </p:cTn>
                              </p:par>
                            </p:childTnLst>
                          </p:cTn>
                        </p:par>
                      </p:childTnLst>
                    </p:cTn>
                  </p:par>
                  <p:par>
                    <p:cTn id="33" fill="hold">
                      <p:stCondLst>
                        <p:cond delay="indefinite"/>
                      </p:stCondLst>
                      <p:childTnLst>
                        <p:par>
                          <p:cTn id="34" fill="hold">
                            <p:stCondLst>
                              <p:cond delay="0"/>
                            </p:stCondLst>
                            <p:childTnLst>
                              <p:par>
                                <p:cTn id="35" presetID="16" presetClass="entr" presetSubtype="21" fill="hold" nodeType="clickEffect">
                                  <p:stCondLst>
                                    <p:cond delay="0"/>
                                  </p:stCondLst>
                                  <p:childTnLst>
                                    <p:set>
                                      <p:cBhvr>
                                        <p:cTn id="36" dur="1" fill="hold">
                                          <p:stCondLst>
                                            <p:cond delay="0"/>
                                          </p:stCondLst>
                                        </p:cTn>
                                        <p:tgtEl>
                                          <p:spTgt spid="23"/>
                                        </p:tgtEl>
                                        <p:attrNameLst>
                                          <p:attrName>style.visibility</p:attrName>
                                        </p:attrNameLst>
                                      </p:cBhvr>
                                      <p:to>
                                        <p:strVal val="visible"/>
                                      </p:to>
                                    </p:set>
                                    <p:animEffect transition="in" filter="barn(inVertical)">
                                      <p:cBhvr>
                                        <p:cTn id="37" dur="500"/>
                                        <p:tgtEl>
                                          <p:spTgt spid="23"/>
                                        </p:tgtEl>
                                      </p:cBhvr>
                                    </p:animEffect>
                                  </p:childTnLst>
                                </p:cTn>
                              </p:par>
                              <p:par>
                                <p:cTn id="38" presetID="16" presetClass="entr" presetSubtype="21" fill="hold" grpId="0" nodeType="withEffect">
                                  <p:stCondLst>
                                    <p:cond delay="0"/>
                                  </p:stCondLst>
                                  <p:childTnLst>
                                    <p:set>
                                      <p:cBhvr>
                                        <p:cTn id="39" dur="1" fill="hold">
                                          <p:stCondLst>
                                            <p:cond delay="0"/>
                                          </p:stCondLst>
                                        </p:cTn>
                                        <p:tgtEl>
                                          <p:spTgt spid="3"/>
                                        </p:tgtEl>
                                        <p:attrNameLst>
                                          <p:attrName>style.visibility</p:attrName>
                                        </p:attrNameLst>
                                      </p:cBhvr>
                                      <p:to>
                                        <p:strVal val="visible"/>
                                      </p:to>
                                    </p:set>
                                    <p:animEffect transition="in" filter="barn(inVertical)">
                                      <p:cBhvr>
                                        <p:cTn id="40" dur="500"/>
                                        <p:tgtEl>
                                          <p:spTgt spid="3"/>
                                        </p:tgtEl>
                                      </p:cBhvr>
                                    </p:animEffect>
                                  </p:childTnLst>
                                </p:cTn>
                              </p:par>
                            </p:childTnLst>
                          </p:cTn>
                        </p:par>
                      </p:childTnLst>
                    </p:cTn>
                  </p:par>
                  <p:par>
                    <p:cTn id="41" fill="hold">
                      <p:stCondLst>
                        <p:cond delay="indefinite"/>
                      </p:stCondLst>
                      <p:childTnLst>
                        <p:par>
                          <p:cTn id="42" fill="hold">
                            <p:stCondLst>
                              <p:cond delay="0"/>
                            </p:stCondLst>
                            <p:childTnLst>
                              <p:par>
                                <p:cTn id="43" presetID="16" presetClass="entr" presetSubtype="21" fill="hold" grpId="0" nodeType="clickEffect">
                                  <p:stCondLst>
                                    <p:cond delay="0"/>
                                  </p:stCondLst>
                                  <p:childTnLst>
                                    <p:set>
                                      <p:cBhvr>
                                        <p:cTn id="44" dur="1" fill="hold">
                                          <p:stCondLst>
                                            <p:cond delay="0"/>
                                          </p:stCondLst>
                                        </p:cTn>
                                        <p:tgtEl>
                                          <p:spTgt spid="26"/>
                                        </p:tgtEl>
                                        <p:attrNameLst>
                                          <p:attrName>style.visibility</p:attrName>
                                        </p:attrNameLst>
                                      </p:cBhvr>
                                      <p:to>
                                        <p:strVal val="visible"/>
                                      </p:to>
                                    </p:set>
                                    <p:animEffect transition="in" filter="barn(inVertical)">
                                      <p:cBhvr>
                                        <p:cTn id="45" dur="500"/>
                                        <p:tgtEl>
                                          <p:spTgt spid="26"/>
                                        </p:tgtEl>
                                      </p:cBhvr>
                                    </p:animEffect>
                                  </p:childTnLst>
                                </p:cTn>
                              </p:par>
                              <p:par>
                                <p:cTn id="46" presetID="16" presetClass="entr" presetSubtype="21" fill="hold" nodeType="withEffect">
                                  <p:stCondLst>
                                    <p:cond delay="0"/>
                                  </p:stCondLst>
                                  <p:childTnLst>
                                    <p:set>
                                      <p:cBhvr>
                                        <p:cTn id="47" dur="1" fill="hold">
                                          <p:stCondLst>
                                            <p:cond delay="0"/>
                                          </p:stCondLst>
                                        </p:cTn>
                                        <p:tgtEl>
                                          <p:spTgt spid="27"/>
                                        </p:tgtEl>
                                        <p:attrNameLst>
                                          <p:attrName>style.visibility</p:attrName>
                                        </p:attrNameLst>
                                      </p:cBhvr>
                                      <p:to>
                                        <p:strVal val="visible"/>
                                      </p:to>
                                    </p:set>
                                    <p:animEffect transition="in" filter="barn(inVertical)">
                                      <p:cBhvr>
                                        <p:cTn id="48" dur="500"/>
                                        <p:tgtEl>
                                          <p:spTgt spid="27"/>
                                        </p:tgtEl>
                                      </p:cBhvr>
                                    </p:animEffect>
                                  </p:childTnLst>
                                </p:cTn>
                              </p:par>
                              <p:par>
                                <p:cTn id="49" presetID="16" presetClass="entr" presetSubtype="21" fill="hold" grpId="0" nodeType="withEffect">
                                  <p:stCondLst>
                                    <p:cond delay="0"/>
                                  </p:stCondLst>
                                  <p:childTnLst>
                                    <p:set>
                                      <p:cBhvr>
                                        <p:cTn id="50" dur="1" fill="hold">
                                          <p:stCondLst>
                                            <p:cond delay="0"/>
                                          </p:stCondLst>
                                        </p:cTn>
                                        <p:tgtEl>
                                          <p:spTgt spid="28"/>
                                        </p:tgtEl>
                                        <p:attrNameLst>
                                          <p:attrName>style.visibility</p:attrName>
                                        </p:attrNameLst>
                                      </p:cBhvr>
                                      <p:to>
                                        <p:strVal val="visible"/>
                                      </p:to>
                                    </p:set>
                                    <p:animEffect transition="in" filter="barn(inVertical)">
                                      <p:cBhvr>
                                        <p:cTn id="51" dur="500"/>
                                        <p:tgtEl>
                                          <p:spTgt spid="28"/>
                                        </p:tgtEl>
                                      </p:cBhvr>
                                    </p:animEffect>
                                  </p:childTnLst>
                                </p:cTn>
                              </p:par>
                            </p:childTnLst>
                          </p:cTn>
                        </p:par>
                      </p:childTnLst>
                    </p:cTn>
                  </p:par>
                  <p:par>
                    <p:cTn id="52" fill="hold">
                      <p:stCondLst>
                        <p:cond delay="indefinite"/>
                      </p:stCondLst>
                      <p:childTnLst>
                        <p:par>
                          <p:cTn id="53" fill="hold">
                            <p:stCondLst>
                              <p:cond delay="0"/>
                            </p:stCondLst>
                            <p:childTnLst>
                              <p:par>
                                <p:cTn id="54" presetID="16" presetClass="entr" presetSubtype="21" fill="hold" nodeType="clickEffect">
                                  <p:stCondLst>
                                    <p:cond delay="0"/>
                                  </p:stCondLst>
                                  <p:childTnLst>
                                    <p:set>
                                      <p:cBhvr>
                                        <p:cTn id="55" dur="1" fill="hold">
                                          <p:stCondLst>
                                            <p:cond delay="0"/>
                                          </p:stCondLst>
                                        </p:cTn>
                                        <p:tgtEl>
                                          <p:spTgt spid="41"/>
                                        </p:tgtEl>
                                        <p:attrNameLst>
                                          <p:attrName>style.visibility</p:attrName>
                                        </p:attrNameLst>
                                      </p:cBhvr>
                                      <p:to>
                                        <p:strVal val="visible"/>
                                      </p:to>
                                    </p:set>
                                    <p:animEffect transition="in" filter="barn(inVertical)">
                                      <p:cBhvr>
                                        <p:cTn id="56" dur="500"/>
                                        <p:tgtEl>
                                          <p:spTgt spid="41"/>
                                        </p:tgtEl>
                                      </p:cBhvr>
                                    </p:animEffect>
                                  </p:childTnLst>
                                </p:cTn>
                              </p:par>
                            </p:childTnLst>
                          </p:cTn>
                        </p:par>
                      </p:childTnLst>
                    </p:cTn>
                  </p:par>
                  <p:par>
                    <p:cTn id="57" fill="hold">
                      <p:stCondLst>
                        <p:cond delay="indefinite"/>
                      </p:stCondLst>
                      <p:childTnLst>
                        <p:par>
                          <p:cTn id="58" fill="hold">
                            <p:stCondLst>
                              <p:cond delay="0"/>
                            </p:stCondLst>
                            <p:childTnLst>
                              <p:par>
                                <p:cTn id="59" presetID="16" presetClass="entr" presetSubtype="21" fill="hold" nodeType="clickEffect">
                                  <p:stCondLst>
                                    <p:cond delay="0"/>
                                  </p:stCondLst>
                                  <p:childTnLst>
                                    <p:set>
                                      <p:cBhvr>
                                        <p:cTn id="60" dur="1" fill="hold">
                                          <p:stCondLst>
                                            <p:cond delay="0"/>
                                          </p:stCondLst>
                                        </p:cTn>
                                        <p:tgtEl>
                                          <p:spTgt spid="45"/>
                                        </p:tgtEl>
                                        <p:attrNameLst>
                                          <p:attrName>style.visibility</p:attrName>
                                        </p:attrNameLst>
                                      </p:cBhvr>
                                      <p:to>
                                        <p:strVal val="visible"/>
                                      </p:to>
                                    </p:set>
                                    <p:animEffect transition="in" filter="barn(inVertical)">
                                      <p:cBhvr>
                                        <p:cTn id="61" dur="500"/>
                                        <p:tgtEl>
                                          <p:spTgt spid="45"/>
                                        </p:tgtEl>
                                      </p:cBhvr>
                                    </p:animEffect>
                                  </p:childTnLst>
                                </p:cTn>
                              </p:par>
                            </p:childTnLst>
                          </p:cTn>
                        </p:par>
                      </p:childTnLst>
                    </p:cTn>
                  </p:par>
                  <p:par>
                    <p:cTn id="62" fill="hold">
                      <p:stCondLst>
                        <p:cond delay="indefinite"/>
                      </p:stCondLst>
                      <p:childTnLst>
                        <p:par>
                          <p:cTn id="63" fill="hold">
                            <p:stCondLst>
                              <p:cond delay="0"/>
                            </p:stCondLst>
                            <p:childTnLst>
                              <p:par>
                                <p:cTn id="64" presetID="16" presetClass="entr" presetSubtype="21" fill="hold" grpId="0" nodeType="clickEffect">
                                  <p:stCondLst>
                                    <p:cond delay="0"/>
                                  </p:stCondLst>
                                  <p:childTnLst>
                                    <p:set>
                                      <p:cBhvr>
                                        <p:cTn id="65" dur="1" fill="hold">
                                          <p:stCondLst>
                                            <p:cond delay="0"/>
                                          </p:stCondLst>
                                        </p:cTn>
                                        <p:tgtEl>
                                          <p:spTgt spid="30"/>
                                        </p:tgtEl>
                                        <p:attrNameLst>
                                          <p:attrName>style.visibility</p:attrName>
                                        </p:attrNameLst>
                                      </p:cBhvr>
                                      <p:to>
                                        <p:strVal val="visible"/>
                                      </p:to>
                                    </p:set>
                                    <p:animEffect transition="in" filter="barn(inVertical)">
                                      <p:cBhvr>
                                        <p:cTn id="66" dur="500"/>
                                        <p:tgtEl>
                                          <p:spTgt spid="30"/>
                                        </p:tgtEl>
                                      </p:cBhvr>
                                    </p:animEffect>
                                  </p:childTnLst>
                                </p:cTn>
                              </p:par>
                            </p:childTnLst>
                          </p:cTn>
                        </p:par>
                      </p:childTnLst>
                    </p:cTn>
                  </p:par>
                  <p:par>
                    <p:cTn id="67" fill="hold">
                      <p:stCondLst>
                        <p:cond delay="indefinite"/>
                      </p:stCondLst>
                      <p:childTnLst>
                        <p:par>
                          <p:cTn id="68" fill="hold">
                            <p:stCondLst>
                              <p:cond delay="0"/>
                            </p:stCondLst>
                            <p:childTnLst>
                              <p:par>
                                <p:cTn id="69" presetID="16" presetClass="entr" presetSubtype="21" fill="hold" nodeType="clickEffect">
                                  <p:stCondLst>
                                    <p:cond delay="0"/>
                                  </p:stCondLst>
                                  <p:childTnLst>
                                    <p:set>
                                      <p:cBhvr>
                                        <p:cTn id="70" dur="1" fill="hold">
                                          <p:stCondLst>
                                            <p:cond delay="0"/>
                                          </p:stCondLst>
                                        </p:cTn>
                                        <p:tgtEl>
                                          <p:spTgt spid="31"/>
                                        </p:tgtEl>
                                        <p:attrNameLst>
                                          <p:attrName>style.visibility</p:attrName>
                                        </p:attrNameLst>
                                      </p:cBhvr>
                                      <p:to>
                                        <p:strVal val="visible"/>
                                      </p:to>
                                    </p:set>
                                    <p:animEffect transition="in" filter="barn(inVertical)">
                                      <p:cBhvr>
                                        <p:cTn id="71" dur="500"/>
                                        <p:tgtEl>
                                          <p:spTgt spid="31"/>
                                        </p:tgtEl>
                                      </p:cBhvr>
                                    </p:animEffect>
                                  </p:childTnLst>
                                </p:cTn>
                              </p:par>
                            </p:childTnLst>
                          </p:cTn>
                        </p:par>
                      </p:childTnLst>
                    </p:cTn>
                  </p:par>
                  <p:par>
                    <p:cTn id="72" fill="hold">
                      <p:stCondLst>
                        <p:cond delay="indefinite"/>
                      </p:stCondLst>
                      <p:childTnLst>
                        <p:par>
                          <p:cTn id="73" fill="hold">
                            <p:stCondLst>
                              <p:cond delay="0"/>
                            </p:stCondLst>
                            <p:childTnLst>
                              <p:par>
                                <p:cTn id="74" presetID="16" presetClass="entr" presetSubtype="21" fill="hold" grpId="0" nodeType="clickEffect">
                                  <p:stCondLst>
                                    <p:cond delay="0"/>
                                  </p:stCondLst>
                                  <p:childTnLst>
                                    <p:set>
                                      <p:cBhvr>
                                        <p:cTn id="75" dur="1" fill="hold">
                                          <p:stCondLst>
                                            <p:cond delay="0"/>
                                          </p:stCondLst>
                                        </p:cTn>
                                        <p:tgtEl>
                                          <p:spTgt spid="32"/>
                                        </p:tgtEl>
                                        <p:attrNameLst>
                                          <p:attrName>style.visibility</p:attrName>
                                        </p:attrNameLst>
                                      </p:cBhvr>
                                      <p:to>
                                        <p:strVal val="visible"/>
                                      </p:to>
                                    </p:set>
                                    <p:animEffect transition="in" filter="barn(inVertical)">
                                      <p:cBhvr>
                                        <p:cTn id="76" dur="500"/>
                                        <p:tgtEl>
                                          <p:spTgt spid="32"/>
                                        </p:tgtEl>
                                      </p:cBhvr>
                                    </p:animEffect>
                                  </p:childTnLst>
                                </p:cTn>
                              </p:par>
                            </p:childTnLst>
                          </p:cTn>
                        </p:par>
                      </p:childTnLst>
                    </p:cTn>
                  </p:par>
                  <p:par>
                    <p:cTn id="77" fill="hold">
                      <p:stCondLst>
                        <p:cond delay="indefinite"/>
                      </p:stCondLst>
                      <p:childTnLst>
                        <p:par>
                          <p:cTn id="78" fill="hold">
                            <p:stCondLst>
                              <p:cond delay="0"/>
                            </p:stCondLst>
                            <p:childTnLst>
                              <p:par>
                                <p:cTn id="79" presetID="16" presetClass="entr" presetSubtype="21" fill="hold" nodeType="clickEffect">
                                  <p:stCondLst>
                                    <p:cond delay="0"/>
                                  </p:stCondLst>
                                  <p:childTnLst>
                                    <p:set>
                                      <p:cBhvr>
                                        <p:cTn id="80" dur="1" fill="hold">
                                          <p:stCondLst>
                                            <p:cond delay="0"/>
                                          </p:stCondLst>
                                        </p:cTn>
                                        <p:tgtEl>
                                          <p:spTgt spid="42"/>
                                        </p:tgtEl>
                                        <p:attrNameLst>
                                          <p:attrName>style.visibility</p:attrName>
                                        </p:attrNameLst>
                                      </p:cBhvr>
                                      <p:to>
                                        <p:strVal val="visible"/>
                                      </p:to>
                                    </p:set>
                                    <p:animEffect transition="in" filter="barn(inVertical)">
                                      <p:cBhvr>
                                        <p:cTn id="81" dur="500"/>
                                        <p:tgtEl>
                                          <p:spTgt spid="42"/>
                                        </p:tgtEl>
                                      </p:cBhvr>
                                    </p:animEffect>
                                  </p:childTnLst>
                                </p:cTn>
                              </p:par>
                            </p:childTnLst>
                          </p:cTn>
                        </p:par>
                      </p:childTnLst>
                    </p:cTn>
                  </p:par>
                  <p:par>
                    <p:cTn id="82" fill="hold">
                      <p:stCondLst>
                        <p:cond delay="indefinite"/>
                      </p:stCondLst>
                      <p:childTnLst>
                        <p:par>
                          <p:cTn id="83" fill="hold">
                            <p:stCondLst>
                              <p:cond delay="0"/>
                            </p:stCondLst>
                            <p:childTnLst>
                              <p:par>
                                <p:cTn id="84" presetID="16" presetClass="entr" presetSubtype="21" fill="hold" grpId="0" nodeType="clickEffect">
                                  <p:stCondLst>
                                    <p:cond delay="0"/>
                                  </p:stCondLst>
                                  <p:childTnLst>
                                    <p:set>
                                      <p:cBhvr>
                                        <p:cTn id="85" dur="1" fill="hold">
                                          <p:stCondLst>
                                            <p:cond delay="0"/>
                                          </p:stCondLst>
                                        </p:cTn>
                                        <p:tgtEl>
                                          <p:spTgt spid="33"/>
                                        </p:tgtEl>
                                        <p:attrNameLst>
                                          <p:attrName>style.visibility</p:attrName>
                                        </p:attrNameLst>
                                      </p:cBhvr>
                                      <p:to>
                                        <p:strVal val="visible"/>
                                      </p:to>
                                    </p:set>
                                    <p:animEffect transition="in" filter="barn(inVertical)">
                                      <p:cBhvr>
                                        <p:cTn id="86" dur="500"/>
                                        <p:tgtEl>
                                          <p:spTgt spid="33"/>
                                        </p:tgtEl>
                                      </p:cBhvr>
                                    </p:animEffect>
                                  </p:childTnLst>
                                </p:cTn>
                              </p:par>
                            </p:childTnLst>
                          </p:cTn>
                        </p:par>
                      </p:childTnLst>
                    </p:cTn>
                  </p:par>
                  <p:par>
                    <p:cTn id="87" fill="hold">
                      <p:stCondLst>
                        <p:cond delay="indefinite"/>
                      </p:stCondLst>
                      <p:childTnLst>
                        <p:par>
                          <p:cTn id="88" fill="hold">
                            <p:stCondLst>
                              <p:cond delay="0"/>
                            </p:stCondLst>
                            <p:childTnLst>
                              <p:par>
                                <p:cTn id="89" presetID="16" presetClass="entr" presetSubtype="21" fill="hold" nodeType="clickEffect">
                                  <p:stCondLst>
                                    <p:cond delay="0"/>
                                  </p:stCondLst>
                                  <p:childTnLst>
                                    <p:set>
                                      <p:cBhvr>
                                        <p:cTn id="90" dur="1" fill="hold">
                                          <p:stCondLst>
                                            <p:cond delay="0"/>
                                          </p:stCondLst>
                                        </p:cTn>
                                        <p:tgtEl>
                                          <p:spTgt spid="39"/>
                                        </p:tgtEl>
                                        <p:attrNameLst>
                                          <p:attrName>style.visibility</p:attrName>
                                        </p:attrNameLst>
                                      </p:cBhvr>
                                      <p:to>
                                        <p:strVal val="visible"/>
                                      </p:to>
                                    </p:set>
                                    <p:animEffect transition="in" filter="barn(inVertical)">
                                      <p:cBhvr>
                                        <p:cTn id="91" dur="500"/>
                                        <p:tgtEl>
                                          <p:spTgt spid="39"/>
                                        </p:tgtEl>
                                      </p:cBhvr>
                                    </p:animEffect>
                                  </p:childTnLst>
                                </p:cTn>
                              </p:par>
                            </p:childTnLst>
                          </p:cTn>
                        </p:par>
                      </p:childTnLst>
                    </p:cTn>
                  </p:par>
                  <p:par>
                    <p:cTn id="92" fill="hold">
                      <p:stCondLst>
                        <p:cond delay="indefinite"/>
                      </p:stCondLst>
                      <p:childTnLst>
                        <p:par>
                          <p:cTn id="93" fill="hold">
                            <p:stCondLst>
                              <p:cond delay="0"/>
                            </p:stCondLst>
                            <p:childTnLst>
                              <p:par>
                                <p:cTn id="94" presetID="16" presetClass="entr" presetSubtype="21" fill="hold" grpId="0" nodeType="clickEffect">
                                  <p:stCondLst>
                                    <p:cond delay="0"/>
                                  </p:stCondLst>
                                  <p:childTnLst>
                                    <p:set>
                                      <p:cBhvr>
                                        <p:cTn id="95" dur="1" fill="hold">
                                          <p:stCondLst>
                                            <p:cond delay="0"/>
                                          </p:stCondLst>
                                        </p:cTn>
                                        <p:tgtEl>
                                          <p:spTgt spid="40"/>
                                        </p:tgtEl>
                                        <p:attrNameLst>
                                          <p:attrName>style.visibility</p:attrName>
                                        </p:attrNameLst>
                                      </p:cBhvr>
                                      <p:to>
                                        <p:strVal val="visible"/>
                                      </p:to>
                                    </p:set>
                                    <p:animEffect transition="in" filter="barn(inVertical)">
                                      <p:cBhvr>
                                        <p:cTn id="96" dur="500"/>
                                        <p:tgtEl>
                                          <p:spTgt spid="40"/>
                                        </p:tgtEl>
                                      </p:cBhvr>
                                    </p:animEffect>
                                  </p:childTnLst>
                                </p:cTn>
                              </p:par>
                            </p:childTnLst>
                          </p:cTn>
                        </p:par>
                      </p:childTnLst>
                    </p:cTn>
                  </p:par>
                  <p:par>
                    <p:cTn id="97" fill="hold">
                      <p:stCondLst>
                        <p:cond delay="indefinite"/>
                      </p:stCondLst>
                      <p:childTnLst>
                        <p:par>
                          <p:cTn id="98" fill="hold">
                            <p:stCondLst>
                              <p:cond delay="0"/>
                            </p:stCondLst>
                            <p:childTnLst>
                              <p:par>
                                <p:cTn id="99" presetID="16" presetClass="entr" presetSubtype="21" fill="hold" grpId="0" nodeType="clickEffect">
                                  <p:stCondLst>
                                    <p:cond delay="0"/>
                                  </p:stCondLst>
                                  <p:childTnLst>
                                    <p:set>
                                      <p:cBhvr>
                                        <p:cTn id="100" dur="1" fill="hold">
                                          <p:stCondLst>
                                            <p:cond delay="0"/>
                                          </p:stCondLst>
                                        </p:cTn>
                                        <p:tgtEl>
                                          <p:spTgt spid="34"/>
                                        </p:tgtEl>
                                        <p:attrNameLst>
                                          <p:attrName>style.visibility</p:attrName>
                                        </p:attrNameLst>
                                      </p:cBhvr>
                                      <p:to>
                                        <p:strVal val="visible"/>
                                      </p:to>
                                    </p:set>
                                    <p:animEffect transition="in" filter="barn(inVertical)">
                                      <p:cBhvr>
                                        <p:cTn id="101" dur="500"/>
                                        <p:tgtEl>
                                          <p:spTgt spid="34"/>
                                        </p:tgtEl>
                                      </p:cBhvr>
                                    </p:animEffect>
                                  </p:childTnLst>
                                </p:cTn>
                              </p:par>
                            </p:childTnLst>
                          </p:cTn>
                        </p:par>
                      </p:childTnLst>
                    </p:cTn>
                  </p:par>
                  <p:par>
                    <p:cTn id="102" fill="hold">
                      <p:stCondLst>
                        <p:cond delay="indefinite"/>
                      </p:stCondLst>
                      <p:childTnLst>
                        <p:par>
                          <p:cTn id="103" fill="hold">
                            <p:stCondLst>
                              <p:cond delay="0"/>
                            </p:stCondLst>
                            <p:childTnLst>
                              <p:par>
                                <p:cTn id="104" presetID="16" presetClass="entr" presetSubtype="21" fill="hold" nodeType="clickEffect">
                                  <p:stCondLst>
                                    <p:cond delay="0"/>
                                  </p:stCondLst>
                                  <p:childTnLst>
                                    <p:set>
                                      <p:cBhvr>
                                        <p:cTn id="105" dur="1" fill="hold">
                                          <p:stCondLst>
                                            <p:cond delay="0"/>
                                          </p:stCondLst>
                                        </p:cTn>
                                        <p:tgtEl>
                                          <p:spTgt spid="36"/>
                                        </p:tgtEl>
                                        <p:attrNameLst>
                                          <p:attrName>style.visibility</p:attrName>
                                        </p:attrNameLst>
                                      </p:cBhvr>
                                      <p:to>
                                        <p:strVal val="visible"/>
                                      </p:to>
                                    </p:set>
                                    <p:animEffect transition="in" filter="barn(inVertical)">
                                      <p:cBhvr>
                                        <p:cTn id="106" dur="500"/>
                                        <p:tgtEl>
                                          <p:spTgt spid="36"/>
                                        </p:tgtEl>
                                      </p:cBhvr>
                                    </p:animEffect>
                                  </p:childTnLst>
                                </p:cTn>
                              </p:par>
                            </p:childTnLst>
                          </p:cTn>
                        </p:par>
                      </p:childTnLst>
                    </p:cTn>
                  </p:par>
                  <p:par>
                    <p:cTn id="107" fill="hold">
                      <p:stCondLst>
                        <p:cond delay="indefinite"/>
                      </p:stCondLst>
                      <p:childTnLst>
                        <p:par>
                          <p:cTn id="108" fill="hold">
                            <p:stCondLst>
                              <p:cond delay="0"/>
                            </p:stCondLst>
                            <p:childTnLst>
                              <p:par>
                                <p:cTn id="109" presetID="16" presetClass="entr" presetSubtype="21" fill="hold" grpId="0" nodeType="clickEffect">
                                  <p:stCondLst>
                                    <p:cond delay="0"/>
                                  </p:stCondLst>
                                  <p:childTnLst>
                                    <p:set>
                                      <p:cBhvr>
                                        <p:cTn id="110" dur="1" fill="hold">
                                          <p:stCondLst>
                                            <p:cond delay="0"/>
                                          </p:stCondLst>
                                        </p:cTn>
                                        <p:tgtEl>
                                          <p:spTgt spid="37"/>
                                        </p:tgtEl>
                                        <p:attrNameLst>
                                          <p:attrName>style.visibility</p:attrName>
                                        </p:attrNameLst>
                                      </p:cBhvr>
                                      <p:to>
                                        <p:strVal val="visible"/>
                                      </p:to>
                                    </p:set>
                                    <p:animEffect transition="in" filter="barn(inVertical)">
                                      <p:cBhvr>
                                        <p:cTn id="111" dur="500"/>
                                        <p:tgtEl>
                                          <p:spTgt spid="37"/>
                                        </p:tgtEl>
                                      </p:cBhvr>
                                    </p:animEffect>
                                  </p:childTnLst>
                                </p:cTn>
                              </p:par>
                            </p:childTnLst>
                          </p:cTn>
                        </p:par>
                      </p:childTnLst>
                    </p:cTn>
                  </p:par>
                  <p:par>
                    <p:cTn id="112" fill="hold">
                      <p:stCondLst>
                        <p:cond delay="indefinite"/>
                      </p:stCondLst>
                      <p:childTnLst>
                        <p:par>
                          <p:cTn id="113" fill="hold">
                            <p:stCondLst>
                              <p:cond delay="0"/>
                            </p:stCondLst>
                            <p:childTnLst>
                              <p:par>
                                <p:cTn id="114" presetID="16" presetClass="entr" presetSubtype="21" fill="hold" nodeType="clickEffect">
                                  <p:stCondLst>
                                    <p:cond delay="0"/>
                                  </p:stCondLst>
                                  <p:childTnLst>
                                    <p:set>
                                      <p:cBhvr>
                                        <p:cTn id="115" dur="1" fill="hold">
                                          <p:stCondLst>
                                            <p:cond delay="0"/>
                                          </p:stCondLst>
                                        </p:cTn>
                                        <p:tgtEl>
                                          <p:spTgt spid="35"/>
                                        </p:tgtEl>
                                        <p:attrNameLst>
                                          <p:attrName>style.visibility</p:attrName>
                                        </p:attrNameLst>
                                      </p:cBhvr>
                                      <p:to>
                                        <p:strVal val="visible"/>
                                      </p:to>
                                    </p:set>
                                    <p:animEffect transition="in" filter="barn(inVertical)">
                                      <p:cBhvr>
                                        <p:cTn id="116" dur="1000"/>
                                        <p:tgtEl>
                                          <p:spTgt spid="35"/>
                                        </p:tgtEl>
                                      </p:cBhvr>
                                    </p:animEffect>
                                  </p:childTnLst>
                                </p:cTn>
                              </p:par>
                            </p:childTnLst>
                          </p:cTn>
                        </p:par>
                      </p:childTnLst>
                    </p:cTn>
                  </p:par>
                  <p:par>
                    <p:cTn id="117" fill="hold">
                      <p:stCondLst>
                        <p:cond delay="indefinite"/>
                      </p:stCondLst>
                      <p:childTnLst>
                        <p:par>
                          <p:cTn id="118" fill="hold">
                            <p:stCondLst>
                              <p:cond delay="0"/>
                            </p:stCondLst>
                            <p:childTnLst>
                              <p:par>
                                <p:cTn id="119" presetID="16" presetClass="entr" presetSubtype="21" fill="hold" grpId="0" nodeType="clickEffect">
                                  <p:stCondLst>
                                    <p:cond delay="0"/>
                                  </p:stCondLst>
                                  <p:childTnLst>
                                    <p:set>
                                      <p:cBhvr>
                                        <p:cTn id="120" dur="1" fill="hold">
                                          <p:stCondLst>
                                            <p:cond delay="0"/>
                                          </p:stCondLst>
                                        </p:cTn>
                                        <p:tgtEl>
                                          <p:spTgt spid="48"/>
                                        </p:tgtEl>
                                        <p:attrNameLst>
                                          <p:attrName>style.visibility</p:attrName>
                                        </p:attrNameLst>
                                      </p:cBhvr>
                                      <p:to>
                                        <p:strVal val="visible"/>
                                      </p:to>
                                    </p:set>
                                    <p:animEffect transition="in" filter="barn(inVertical)">
                                      <p:cBhvr>
                                        <p:cTn id="121" dur="5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22" grpId="0" animBg="1"/>
      <p:bldP spid="25" grpId="0" animBg="1"/>
      <p:bldP spid="26" grpId="0" animBg="1"/>
      <p:bldP spid="28" grpId="0"/>
      <p:bldP spid="30" grpId="0" animBg="1"/>
      <p:bldP spid="32" grpId="0"/>
      <p:bldP spid="33" grpId="0" animBg="1"/>
      <p:bldP spid="34" grpId="0" animBg="1"/>
      <p:bldP spid="37" grpId="0"/>
      <p:bldP spid="38" grpId="0"/>
      <p:bldP spid="40" grpId="0"/>
      <p:bldP spid="43" grpId="0" animBg="1"/>
      <p:bldP spid="47" grpId="0"/>
      <p:bldP spid="48"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عنوان 2">
            <a:extLst>
              <a:ext uri="{FF2B5EF4-FFF2-40B4-BE49-F238E27FC236}">
                <a16:creationId xmlns:a16="http://schemas.microsoft.com/office/drawing/2014/main" id="{84EF2991-ABF0-C817-B8EA-273FF2B783AD}"/>
              </a:ext>
            </a:extLst>
          </p:cNvPr>
          <p:cNvSpPr txBox="1">
            <a:spLocks/>
          </p:cNvSpPr>
          <p:nvPr/>
        </p:nvSpPr>
        <p:spPr bwMode="auto">
          <a:xfrm>
            <a:off x="3869277" y="233377"/>
            <a:ext cx="4098225" cy="429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fontAlgn="base">
              <a:spcBef>
                <a:spcPct val="0"/>
              </a:spcBef>
              <a:spcAft>
                <a:spcPct val="0"/>
              </a:spcAft>
              <a:defRPr sz="4400">
                <a:solidFill>
                  <a:schemeClr val="tx2"/>
                </a:solidFill>
                <a:latin typeface="Arial" pitchFamily="34" charset="0"/>
              </a:defRPr>
            </a:lvl6pPr>
            <a:lvl7pPr marL="914400" algn="ctr" rtl="0" fontAlgn="base">
              <a:spcBef>
                <a:spcPct val="0"/>
              </a:spcBef>
              <a:spcAft>
                <a:spcPct val="0"/>
              </a:spcAft>
              <a:defRPr sz="4400">
                <a:solidFill>
                  <a:schemeClr val="tx2"/>
                </a:solidFill>
                <a:latin typeface="Arial" pitchFamily="34" charset="0"/>
              </a:defRPr>
            </a:lvl7pPr>
            <a:lvl8pPr marL="1371600" algn="ctr" rtl="0" fontAlgn="base">
              <a:spcBef>
                <a:spcPct val="0"/>
              </a:spcBef>
              <a:spcAft>
                <a:spcPct val="0"/>
              </a:spcAft>
              <a:defRPr sz="4400">
                <a:solidFill>
                  <a:schemeClr val="tx2"/>
                </a:solidFill>
                <a:latin typeface="Arial" pitchFamily="34" charset="0"/>
              </a:defRPr>
            </a:lvl8pPr>
            <a:lvl9pPr marL="1828800" algn="ctr" rtl="0" fontAlgn="base">
              <a:spcBef>
                <a:spcPct val="0"/>
              </a:spcBef>
              <a:spcAft>
                <a:spcPct val="0"/>
              </a:spcAft>
              <a:defRPr sz="4400">
                <a:solidFill>
                  <a:schemeClr val="tx2"/>
                </a:solidFill>
                <a:latin typeface="Arial" pitchFamily="34" charset="0"/>
              </a:defRPr>
            </a:lvl9pPr>
          </a:lstStyle>
          <a:p>
            <a:r>
              <a:rPr lang="ar-SA" altLang="ar-SA" sz="2800" b="1" kern="0" dirty="0">
                <a:solidFill>
                  <a:srgbClr val="009281"/>
                </a:solidFill>
                <a:latin typeface="Sakkal Majalla" panose="02000000000000000000" pitchFamily="2" charset="-78"/>
                <a:cs typeface="Sakkal Majalla" panose="02000000000000000000" pitchFamily="2" charset="-78"/>
                <a:sym typeface="Arial"/>
              </a:rPr>
              <a:t>دور إدارة التعليم ومكاتب التعليم</a:t>
            </a:r>
          </a:p>
        </p:txBody>
      </p:sp>
      <p:sp>
        <p:nvSpPr>
          <p:cNvPr id="6" name="Rounded Rectangle 5">
            <a:extLst>
              <a:ext uri="{FF2B5EF4-FFF2-40B4-BE49-F238E27FC236}">
                <a16:creationId xmlns:a16="http://schemas.microsoft.com/office/drawing/2014/main" id="{2EC7F3E3-F69C-5533-E004-FF87E17301BE}"/>
              </a:ext>
            </a:extLst>
          </p:cNvPr>
          <p:cNvSpPr/>
          <p:nvPr/>
        </p:nvSpPr>
        <p:spPr>
          <a:xfrm>
            <a:off x="8143796" y="3075191"/>
            <a:ext cx="3095625" cy="1296988"/>
          </a:xfrm>
          <a:prstGeom prst="roundRect">
            <a:avLst/>
          </a:prstGeom>
          <a:solidFill>
            <a:sysClr val="window" lastClr="FFFFFF"/>
          </a:solidFill>
          <a:ln w="12700" cap="flat" cmpd="sng" algn="ctr">
            <a:solidFill>
              <a:srgbClr val="70AD47"/>
            </a:solidFill>
            <a:prstDash val="solid"/>
            <a:miter lim="800000"/>
          </a:ln>
          <a:effectLst/>
        </p:spPr>
        <p:txBody>
          <a:bodyPr lIns="80010" tIns="40005" rIns="80010" bIns="40005" rtlCol="1" anchor="ctr"/>
          <a:lstStyle/>
          <a:p>
            <a:pPr algn="ctr" defTabSz="800100">
              <a:defRPr/>
            </a:pPr>
            <a:r>
              <a:rPr lang="ar-SA" sz="2400" b="1" kern="0" dirty="0">
                <a:solidFill>
                  <a:srgbClr val="002060"/>
                </a:solidFill>
                <a:latin typeface="Sakkal Majalla" panose="02000000000000000000" pitchFamily="2" charset="-78"/>
                <a:cs typeface="Sakkal Majalla" panose="02000000000000000000" pitchFamily="2" charset="-78"/>
                <a:sym typeface="Arial"/>
              </a:rPr>
              <a:t>معايير الأداء المدرسي</a:t>
            </a:r>
          </a:p>
          <a:p>
            <a:pPr algn="ctr" defTabSz="800100">
              <a:defRPr/>
            </a:pPr>
            <a:r>
              <a:rPr lang="ar-SA" sz="2000" b="1" kern="0" dirty="0">
                <a:solidFill>
                  <a:srgbClr val="C00000"/>
                </a:solidFill>
                <a:latin typeface="Sakkal Majalla" panose="02000000000000000000" pitchFamily="2" charset="-78"/>
                <a:cs typeface="Sakkal Majalla" panose="02000000000000000000" pitchFamily="2" charset="-78"/>
                <a:sym typeface="Arial"/>
              </a:rPr>
              <a:t>( ضبط الجودة )</a:t>
            </a:r>
          </a:p>
        </p:txBody>
      </p:sp>
      <p:sp>
        <p:nvSpPr>
          <p:cNvPr id="9" name="Rounded Rectangle 5">
            <a:extLst>
              <a:ext uri="{FF2B5EF4-FFF2-40B4-BE49-F238E27FC236}">
                <a16:creationId xmlns:a16="http://schemas.microsoft.com/office/drawing/2014/main" id="{23714EE1-7EF3-B681-BF83-E823AF5CF63F}"/>
              </a:ext>
            </a:extLst>
          </p:cNvPr>
          <p:cNvSpPr/>
          <p:nvPr/>
        </p:nvSpPr>
        <p:spPr>
          <a:xfrm>
            <a:off x="873923" y="3094545"/>
            <a:ext cx="2320769" cy="1295400"/>
          </a:xfrm>
          <a:prstGeom prst="roundRect">
            <a:avLst/>
          </a:prstGeom>
          <a:solidFill>
            <a:sysClr val="window" lastClr="FFFFFF"/>
          </a:solidFill>
          <a:ln w="12700" cap="flat" cmpd="sng" algn="ctr">
            <a:solidFill>
              <a:srgbClr val="70AD47"/>
            </a:solidFill>
            <a:prstDash val="solid"/>
            <a:miter lim="800000"/>
          </a:ln>
          <a:effectLst/>
        </p:spPr>
        <p:txBody>
          <a:bodyPr lIns="80010" tIns="40005" rIns="80010" bIns="40005" rtlCol="1" anchor="ctr"/>
          <a:lstStyle/>
          <a:p>
            <a:pPr lvl="0" algn="ctr" defTabSz="800100">
              <a:defRPr/>
            </a:pPr>
            <a:endParaRPr lang="ar-SA" sz="2400" b="1" kern="0" dirty="0">
              <a:solidFill>
                <a:srgbClr val="002060"/>
              </a:solidFill>
              <a:latin typeface="Sakkal Majalla" panose="02000000000000000000" pitchFamily="2" charset="-78"/>
              <a:cs typeface="Sakkal Majalla" panose="02000000000000000000" pitchFamily="2" charset="-78"/>
              <a:sym typeface="Arial"/>
            </a:endParaRPr>
          </a:p>
          <a:p>
            <a:pPr lvl="0" algn="ctr" defTabSz="800100">
              <a:defRPr/>
            </a:pPr>
            <a:r>
              <a:rPr lang="ar-SA" sz="2400" b="1" kern="0" dirty="0">
                <a:solidFill>
                  <a:srgbClr val="002060"/>
                </a:solidFill>
                <a:latin typeface="Sakkal Majalla" panose="02000000000000000000" pitchFamily="2" charset="-78"/>
                <a:cs typeface="Sakkal Majalla" panose="02000000000000000000" pitchFamily="2" charset="-78"/>
                <a:sym typeface="Arial"/>
              </a:rPr>
              <a:t>تقويم الأداء المدرسي</a:t>
            </a:r>
          </a:p>
          <a:p>
            <a:pPr lvl="0" algn="ctr" defTabSz="800100">
              <a:defRPr/>
            </a:pPr>
            <a:r>
              <a:rPr lang="ar-SA" sz="2000" b="1" kern="0" dirty="0">
                <a:solidFill>
                  <a:srgbClr val="C00000"/>
                </a:solidFill>
                <a:latin typeface="Sakkal Majalla" panose="02000000000000000000" pitchFamily="2" charset="-78"/>
                <a:cs typeface="Sakkal Majalla" panose="02000000000000000000" pitchFamily="2" charset="-78"/>
                <a:sym typeface="Arial"/>
              </a:rPr>
              <a:t>( ضمان الجودة )</a:t>
            </a:r>
          </a:p>
        </p:txBody>
      </p:sp>
      <p:sp>
        <p:nvSpPr>
          <p:cNvPr id="10" name="Rectangular Callout 16">
            <a:extLst>
              <a:ext uri="{FF2B5EF4-FFF2-40B4-BE49-F238E27FC236}">
                <a16:creationId xmlns:a16="http://schemas.microsoft.com/office/drawing/2014/main" id="{1171C077-8741-E660-805D-16063598E3D7}"/>
              </a:ext>
            </a:extLst>
          </p:cNvPr>
          <p:cNvSpPr/>
          <p:nvPr/>
        </p:nvSpPr>
        <p:spPr>
          <a:xfrm>
            <a:off x="4543862" y="2893121"/>
            <a:ext cx="2448272" cy="1697540"/>
          </a:xfrm>
          <a:prstGeom prst="wedgeRectCallout">
            <a:avLst>
              <a:gd name="adj1" fmla="val -19627"/>
              <a:gd name="adj2" fmla="val 48732"/>
            </a:avLst>
          </a:prstGeom>
          <a:solidFill>
            <a:srgbClr val="D3EBD5"/>
          </a:solidFill>
          <a:ln w="12700" cap="flat" cmpd="sng" algn="ctr">
            <a:solidFill>
              <a:sysClr val="windowText" lastClr="000000"/>
            </a:solidFill>
            <a:prstDash val="solid"/>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3200" b="1" i="0" u="none" strike="noStrike" kern="0" cap="none" spc="0" normalizeH="0" baseline="0" noProof="0" dirty="0">
                <a:ln>
                  <a:noFill/>
                </a:ln>
                <a:solidFill>
                  <a:srgbClr val="002060"/>
                </a:solidFill>
                <a:effectLst/>
                <a:uLnTx/>
                <a:uFillTx/>
                <a:latin typeface="Sakkal Majalla" panose="02000000000000000000" pitchFamily="2" charset="-78"/>
                <a:cs typeface="Sakkal Majalla" panose="02000000000000000000" pitchFamily="2" charset="-78"/>
                <a:sym typeface="Arial"/>
              </a:rPr>
              <a:t>المدرسة</a:t>
            </a:r>
          </a:p>
          <a:p>
            <a:pPr marL="0" marR="0" lvl="0" indent="0" algn="ctr" defTabSz="914400" rtl="0" eaLnBrk="1" fontAlgn="auto" latinLnBrk="0" hangingPunct="1">
              <a:lnSpc>
                <a:spcPct val="100000"/>
              </a:lnSpc>
              <a:spcBef>
                <a:spcPts val="0"/>
              </a:spcBef>
              <a:spcAft>
                <a:spcPts val="0"/>
              </a:spcAft>
              <a:buClrTx/>
              <a:buSzTx/>
              <a:buFontTx/>
              <a:buNone/>
              <a:tabLst/>
              <a:defRPr/>
            </a:pPr>
            <a:r>
              <a:rPr lang="ar-SA" sz="2400" b="1" kern="0" dirty="0">
                <a:solidFill>
                  <a:srgbClr val="002060"/>
                </a:solidFill>
                <a:latin typeface="Sakkal Majalla" panose="02000000000000000000" pitchFamily="2" charset="-78"/>
                <a:cs typeface="Sakkal Majalla" panose="02000000000000000000" pitchFamily="2" charset="-78"/>
                <a:sym typeface="Arial"/>
              </a:rPr>
              <a:t>المهام تتمثل في:</a:t>
            </a:r>
            <a:r>
              <a:rPr kumimoji="0" lang="ar-SA" sz="2400" b="1" i="0" u="none" strike="noStrike" kern="0" cap="none" spc="0" normalizeH="0" baseline="0" noProof="0" dirty="0">
                <a:ln>
                  <a:noFill/>
                </a:ln>
                <a:solidFill>
                  <a:srgbClr val="002060"/>
                </a:solidFill>
                <a:effectLst/>
                <a:uLnTx/>
                <a:uFillTx/>
                <a:latin typeface="Sakkal Majalla" panose="02000000000000000000" pitchFamily="2" charset="-78"/>
                <a:cs typeface="Sakkal Majalla" panose="02000000000000000000" pitchFamily="2" charset="-78"/>
                <a:sym typeface="Arial"/>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lang="ar-SA" sz="2000" b="1" kern="0" dirty="0">
                <a:solidFill>
                  <a:srgbClr val="002060"/>
                </a:solidFill>
                <a:latin typeface="Sakkal Majalla" panose="02000000000000000000" pitchFamily="2" charset="-78"/>
                <a:cs typeface="Sakkal Majalla" panose="02000000000000000000" pitchFamily="2" charset="-78"/>
                <a:sym typeface="Arial"/>
              </a:rPr>
              <a:t>(الأداء في ضوء المعايير )</a:t>
            </a:r>
            <a:endParaRPr kumimoji="0" lang="en-US" sz="2000" b="1" i="0" u="none" strike="noStrike" kern="0" cap="none" spc="0" normalizeH="0" baseline="0" noProof="0" dirty="0">
              <a:ln>
                <a:noFill/>
              </a:ln>
              <a:solidFill>
                <a:srgbClr val="002060"/>
              </a:solidFill>
              <a:effectLst/>
              <a:uLnTx/>
              <a:uFillTx/>
              <a:latin typeface="Sakkal Majalla" panose="02000000000000000000" pitchFamily="2" charset="-78"/>
              <a:cs typeface="Sakkal Majalla" panose="02000000000000000000" pitchFamily="2" charset="-78"/>
              <a:sym typeface="Arial"/>
            </a:endParaRPr>
          </a:p>
        </p:txBody>
      </p:sp>
      <p:cxnSp>
        <p:nvCxnSpPr>
          <p:cNvPr id="11" name="رابط كسهم مستقيم 10">
            <a:extLst>
              <a:ext uri="{FF2B5EF4-FFF2-40B4-BE49-F238E27FC236}">
                <a16:creationId xmlns:a16="http://schemas.microsoft.com/office/drawing/2014/main" id="{A1687550-126A-9ABF-CFE8-C48DDFD13F24}"/>
              </a:ext>
            </a:extLst>
          </p:cNvPr>
          <p:cNvCxnSpPr>
            <a:cxnSpLocks noChangeShapeType="1"/>
            <a:stCxn id="6" idx="1"/>
            <a:endCxn id="10" idx="3"/>
          </p:cNvCxnSpPr>
          <p:nvPr/>
        </p:nvCxnSpPr>
        <p:spPr bwMode="auto">
          <a:xfrm flipH="1">
            <a:off x="6992134" y="3723685"/>
            <a:ext cx="1151662" cy="0"/>
          </a:xfrm>
          <a:prstGeom prst="straightConnector1">
            <a:avLst/>
          </a:prstGeom>
          <a:noFill/>
          <a:ln w="28575" algn="ctr">
            <a:solidFill>
              <a:srgbClr val="0070C0"/>
            </a:solidFill>
            <a:round/>
            <a:headEnd type="none" w="med" len="med"/>
            <a:tailEnd type="arrow"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 name="رابط كسهم مستقيم 11">
            <a:extLst>
              <a:ext uri="{FF2B5EF4-FFF2-40B4-BE49-F238E27FC236}">
                <a16:creationId xmlns:a16="http://schemas.microsoft.com/office/drawing/2014/main" id="{183D9394-FD00-95E9-895B-C193DE7B0CE5}"/>
              </a:ext>
            </a:extLst>
          </p:cNvPr>
          <p:cNvCxnSpPr>
            <a:cxnSpLocks noChangeShapeType="1"/>
            <a:stCxn id="10" idx="1"/>
            <a:endCxn id="9" idx="3"/>
          </p:cNvCxnSpPr>
          <p:nvPr/>
        </p:nvCxnSpPr>
        <p:spPr bwMode="auto">
          <a:xfrm flipH="1">
            <a:off x="3194692" y="3741891"/>
            <a:ext cx="1349170" cy="354"/>
          </a:xfrm>
          <a:prstGeom prst="straightConnector1">
            <a:avLst/>
          </a:prstGeom>
          <a:noFill/>
          <a:ln w="38100" algn="ctr">
            <a:solidFill>
              <a:srgbClr val="0070C0"/>
            </a:solidFill>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 name="Google Shape;921;p31">
            <a:extLst>
              <a:ext uri="{FF2B5EF4-FFF2-40B4-BE49-F238E27FC236}">
                <a16:creationId xmlns:a16="http://schemas.microsoft.com/office/drawing/2014/main" id="{FA12AD06-AB08-9C87-C2B3-445A54892658}"/>
              </a:ext>
            </a:extLst>
          </p:cNvPr>
          <p:cNvCxnSpPr>
            <a:cxnSpLocks/>
            <a:stCxn id="6" idx="0"/>
            <a:endCxn id="9" idx="0"/>
          </p:cNvCxnSpPr>
          <p:nvPr/>
        </p:nvCxnSpPr>
        <p:spPr>
          <a:xfrm rot="16200000" flipH="1" flipV="1">
            <a:off x="5853282" y="-743783"/>
            <a:ext cx="19354" cy="7657301"/>
          </a:xfrm>
          <a:prstGeom prst="bentConnector3">
            <a:avLst>
              <a:gd name="adj1" fmla="val -2684448"/>
            </a:avLst>
          </a:prstGeom>
          <a:noFill/>
          <a:ln w="28575" cap="flat" cmpd="sng">
            <a:solidFill>
              <a:srgbClr val="002060"/>
            </a:solidFill>
            <a:prstDash val="solid"/>
            <a:round/>
            <a:headEnd type="arrow" w="med" len="med"/>
            <a:tailEnd type="arrow" w="med" len="med"/>
          </a:ln>
        </p:spPr>
      </p:cxnSp>
      <p:cxnSp>
        <p:nvCxnSpPr>
          <p:cNvPr id="15" name="Google Shape;921;p31">
            <a:extLst>
              <a:ext uri="{FF2B5EF4-FFF2-40B4-BE49-F238E27FC236}">
                <a16:creationId xmlns:a16="http://schemas.microsoft.com/office/drawing/2014/main" id="{B5327AFF-A68A-1059-F061-2505BC53910F}"/>
              </a:ext>
            </a:extLst>
          </p:cNvPr>
          <p:cNvCxnSpPr>
            <a:cxnSpLocks/>
            <a:stCxn id="10" idx="2"/>
            <a:endCxn id="9" idx="2"/>
          </p:cNvCxnSpPr>
          <p:nvPr/>
        </p:nvCxnSpPr>
        <p:spPr>
          <a:xfrm rot="5400000" flipH="1">
            <a:off x="3800795" y="2623458"/>
            <a:ext cx="200716" cy="3733690"/>
          </a:xfrm>
          <a:prstGeom prst="bentConnector3">
            <a:avLst>
              <a:gd name="adj1" fmla="val -113892"/>
            </a:avLst>
          </a:prstGeom>
          <a:noFill/>
          <a:ln w="28575" cap="flat" cmpd="sng">
            <a:solidFill>
              <a:srgbClr val="002060"/>
            </a:solidFill>
            <a:prstDash val="solid"/>
            <a:round/>
            <a:headEnd type="arrow" w="med" len="med"/>
            <a:tailEnd type="arrow" w="med" len="med"/>
          </a:ln>
        </p:spPr>
      </p:cxnSp>
      <p:sp>
        <p:nvSpPr>
          <p:cNvPr id="16" name="Rounded Rectangle 5">
            <a:extLst>
              <a:ext uri="{FF2B5EF4-FFF2-40B4-BE49-F238E27FC236}">
                <a16:creationId xmlns:a16="http://schemas.microsoft.com/office/drawing/2014/main" id="{72AB1E76-E277-9594-173A-8F316D5D4AD1}"/>
              </a:ext>
            </a:extLst>
          </p:cNvPr>
          <p:cNvSpPr/>
          <p:nvPr/>
        </p:nvSpPr>
        <p:spPr>
          <a:xfrm>
            <a:off x="1425356" y="5183481"/>
            <a:ext cx="4342641" cy="1153084"/>
          </a:xfrm>
          <a:prstGeom prst="roundRect">
            <a:avLst/>
          </a:prstGeom>
          <a:solidFill>
            <a:sysClr val="window" lastClr="FFFFFF"/>
          </a:solidFill>
          <a:ln w="12700" cap="flat" cmpd="sng" algn="ctr">
            <a:solidFill>
              <a:srgbClr val="70AD47"/>
            </a:solidFill>
            <a:prstDash val="solid"/>
            <a:miter lim="800000"/>
          </a:ln>
          <a:effectLst/>
        </p:spPr>
        <p:txBody>
          <a:bodyPr lIns="80010" tIns="40005" rIns="80010" bIns="40005" rtlCol="1" anchor="ctr"/>
          <a:lstStyle/>
          <a:p>
            <a:pPr lvl="0" algn="ctr" defTabSz="800100">
              <a:defRPr/>
            </a:pPr>
            <a:r>
              <a:rPr lang="ar-SA" sz="2400" b="1" kern="0" dirty="0">
                <a:solidFill>
                  <a:srgbClr val="002060"/>
                </a:solidFill>
                <a:latin typeface="Sakkal Majalla" panose="02000000000000000000" pitchFamily="2" charset="-78"/>
                <a:cs typeface="Sakkal Majalla" panose="02000000000000000000" pitchFamily="2" charset="-78"/>
                <a:sym typeface="Arial"/>
              </a:rPr>
              <a:t>التطوير والتحسين المستمر</a:t>
            </a:r>
          </a:p>
          <a:p>
            <a:pPr lvl="0" algn="ctr" defTabSz="800100">
              <a:defRPr/>
            </a:pPr>
            <a:r>
              <a:rPr lang="ar-SA" b="1" kern="0" dirty="0">
                <a:solidFill>
                  <a:srgbClr val="C00000"/>
                </a:solidFill>
                <a:latin typeface="Sakkal Majalla" panose="02000000000000000000" pitchFamily="2" charset="-78"/>
                <a:cs typeface="Sakkal Majalla" panose="02000000000000000000" pitchFamily="2" charset="-78"/>
                <a:sym typeface="Arial"/>
              </a:rPr>
              <a:t>( تقارير مفصلة للمدرسة تتضمن بيانات شاملة عن أداء المدرسة في مختلف جوانب العملية التعليمية تشمل كل معايير الأداء المدرسي )</a:t>
            </a:r>
          </a:p>
        </p:txBody>
      </p:sp>
      <p:sp>
        <p:nvSpPr>
          <p:cNvPr id="17" name="Google Shape;907;p31">
            <a:extLst>
              <a:ext uri="{FF2B5EF4-FFF2-40B4-BE49-F238E27FC236}">
                <a16:creationId xmlns:a16="http://schemas.microsoft.com/office/drawing/2014/main" id="{0118F12C-8DAA-E9BC-D5CB-8C5439151DC9}"/>
              </a:ext>
            </a:extLst>
          </p:cNvPr>
          <p:cNvSpPr txBox="1"/>
          <p:nvPr/>
        </p:nvSpPr>
        <p:spPr>
          <a:xfrm>
            <a:off x="7016471" y="3630162"/>
            <a:ext cx="1156443" cy="702368"/>
          </a:xfrm>
          <a:prstGeom prst="rect">
            <a:avLst/>
          </a:prstGeom>
          <a:noFill/>
          <a:ln w="9525" cap="flat" cmpd="sng">
            <a:noFill/>
            <a:prstDash val="solid"/>
            <a:round/>
            <a:headEnd type="none" w="sm" len="sm"/>
            <a:tailEnd type="none" w="sm" len="sm"/>
          </a:ln>
        </p:spPr>
        <p:txBody>
          <a:bodyPr spcFirstLastPara="1" wrap="square" lIns="121900" tIns="121900" rIns="121900" bIns="121900" anchor="ctr" anchorCtr="0">
            <a:noAutofit/>
          </a:bodyPr>
          <a:lstStyle/>
          <a:p>
            <a:pPr algn="ctr" defTabSz="1219170" rtl="0">
              <a:defRPr/>
            </a:pPr>
            <a:r>
              <a:rPr lang="ar-SA" b="1" kern="0" dirty="0">
                <a:solidFill>
                  <a:schemeClr val="accent1">
                    <a:lumMod val="75000"/>
                  </a:schemeClr>
                </a:solidFill>
                <a:latin typeface="Sakkal Majalla" panose="02000000000000000000" pitchFamily="2" charset="-78"/>
                <a:ea typeface="Samim" panose="020B0603030804020204" pitchFamily="34" charset="0"/>
                <a:cs typeface="Sakkal Majalla" panose="02000000000000000000" pitchFamily="2" charset="-78"/>
                <a:sym typeface="Josefin Sans"/>
              </a:rPr>
              <a:t>مهام المدرسة</a:t>
            </a:r>
          </a:p>
        </p:txBody>
      </p:sp>
      <p:sp>
        <p:nvSpPr>
          <p:cNvPr id="18" name="Google Shape;907;p31">
            <a:extLst>
              <a:ext uri="{FF2B5EF4-FFF2-40B4-BE49-F238E27FC236}">
                <a16:creationId xmlns:a16="http://schemas.microsoft.com/office/drawing/2014/main" id="{796A358D-B2BD-1863-2CCB-D67D24423353}"/>
              </a:ext>
            </a:extLst>
          </p:cNvPr>
          <p:cNvSpPr txBox="1"/>
          <p:nvPr/>
        </p:nvSpPr>
        <p:spPr>
          <a:xfrm>
            <a:off x="2989434" y="4338799"/>
            <a:ext cx="1156443" cy="702368"/>
          </a:xfrm>
          <a:prstGeom prst="rect">
            <a:avLst/>
          </a:prstGeom>
          <a:noFill/>
          <a:ln w="9525" cap="flat" cmpd="sng">
            <a:noFill/>
            <a:prstDash val="solid"/>
            <a:round/>
            <a:headEnd type="none" w="sm" len="sm"/>
            <a:tailEnd type="none" w="sm" len="sm"/>
          </a:ln>
        </p:spPr>
        <p:txBody>
          <a:bodyPr spcFirstLastPara="1" wrap="square" lIns="121900" tIns="121900" rIns="121900" bIns="121900" anchor="ctr" anchorCtr="0">
            <a:noAutofit/>
          </a:bodyPr>
          <a:lstStyle/>
          <a:p>
            <a:pPr algn="ctr" defTabSz="1219170" rtl="0">
              <a:defRPr/>
            </a:pPr>
            <a:r>
              <a:rPr lang="ar-SA" b="1" kern="0" dirty="0">
                <a:solidFill>
                  <a:schemeClr val="accent1">
                    <a:lumMod val="75000"/>
                  </a:schemeClr>
                </a:solidFill>
                <a:latin typeface="Sakkal Majalla" panose="02000000000000000000" pitchFamily="2" charset="-78"/>
                <a:ea typeface="Samim" panose="020B0603030804020204" pitchFamily="34" charset="0"/>
                <a:cs typeface="Sakkal Majalla" panose="02000000000000000000" pitchFamily="2" charset="-78"/>
                <a:sym typeface="Josefin Sans"/>
              </a:rPr>
              <a:t>تغذية راجعة </a:t>
            </a:r>
          </a:p>
        </p:txBody>
      </p:sp>
      <p:sp>
        <p:nvSpPr>
          <p:cNvPr id="19" name="Google Shape;907;p31">
            <a:extLst>
              <a:ext uri="{FF2B5EF4-FFF2-40B4-BE49-F238E27FC236}">
                <a16:creationId xmlns:a16="http://schemas.microsoft.com/office/drawing/2014/main" id="{51DA9542-C562-5FC2-7D7E-AF66E7600F8F}"/>
              </a:ext>
            </a:extLst>
          </p:cNvPr>
          <p:cNvSpPr txBox="1"/>
          <p:nvPr/>
        </p:nvSpPr>
        <p:spPr>
          <a:xfrm>
            <a:off x="7390119" y="4508578"/>
            <a:ext cx="3699163" cy="1295400"/>
          </a:xfrm>
          <a:prstGeom prst="rect">
            <a:avLst/>
          </a:prstGeom>
          <a:noFill/>
          <a:ln w="9525" cap="flat" cmpd="sng">
            <a:noFill/>
            <a:prstDash val="solid"/>
            <a:round/>
            <a:headEnd type="none" w="sm" len="sm"/>
            <a:tailEnd type="none" w="sm" len="sm"/>
          </a:ln>
        </p:spPr>
        <p:txBody>
          <a:bodyPr spcFirstLastPara="1" wrap="square" lIns="121900" tIns="121900" rIns="121900" bIns="121900" anchor="ctr" anchorCtr="0">
            <a:noAutofit/>
          </a:bodyPr>
          <a:lstStyle/>
          <a:p>
            <a:pPr algn="r" defTabSz="1219170" rtl="1">
              <a:defRPr/>
            </a:pPr>
            <a:r>
              <a:rPr lang="ar-SA" b="1" kern="0" dirty="0">
                <a:solidFill>
                  <a:schemeClr val="accent2">
                    <a:lumMod val="50000"/>
                  </a:schemeClr>
                </a:solidFill>
                <a:latin typeface="Sakkal Majalla" panose="02000000000000000000" pitchFamily="2" charset="-78"/>
                <a:ea typeface="Samim" panose="020B0603030804020204" pitchFamily="34" charset="0"/>
                <a:cs typeface="Sakkal Majalla" panose="02000000000000000000" pitchFamily="2" charset="-78"/>
                <a:sym typeface="Josefin Sans"/>
              </a:rPr>
              <a:t>أدوار الهيئة الرئيسية في المدارس:</a:t>
            </a:r>
          </a:p>
          <a:p>
            <a:pPr algn="r" defTabSz="1219170" rtl="1">
              <a:defRPr/>
            </a:pPr>
            <a:r>
              <a:rPr lang="ar-SA" sz="1600" b="1" kern="0" dirty="0">
                <a:solidFill>
                  <a:srgbClr val="0070C0"/>
                </a:solidFill>
                <a:latin typeface="Sakkal Majalla" panose="02000000000000000000" pitchFamily="2" charset="-78"/>
                <a:ea typeface="Samim" panose="020B0603030804020204" pitchFamily="34" charset="0"/>
                <a:cs typeface="Sakkal Majalla" panose="02000000000000000000" pitchFamily="2" charset="-78"/>
                <a:sym typeface="Josefin Sans"/>
              </a:rPr>
              <a:t>1- ضبط الجودة ( معايير الأداء المدرسي )</a:t>
            </a:r>
          </a:p>
          <a:p>
            <a:pPr algn="r" defTabSz="1219170" rtl="1">
              <a:defRPr/>
            </a:pPr>
            <a:r>
              <a:rPr lang="ar-SA" sz="1600" b="1" kern="0" dirty="0">
                <a:solidFill>
                  <a:srgbClr val="0070C0"/>
                </a:solidFill>
                <a:latin typeface="Sakkal Majalla" panose="02000000000000000000" pitchFamily="2" charset="-78"/>
                <a:ea typeface="Samim" panose="020B0603030804020204" pitchFamily="34" charset="0"/>
                <a:cs typeface="Sakkal Majalla" panose="02000000000000000000" pitchFamily="2" charset="-78"/>
                <a:sym typeface="Josefin Sans"/>
              </a:rPr>
              <a:t>2- ضمان الجودة ( تقويم الأداء المدرسي )</a:t>
            </a:r>
          </a:p>
          <a:p>
            <a:pPr algn="r" defTabSz="1219170" rtl="1">
              <a:defRPr/>
            </a:pPr>
            <a:r>
              <a:rPr lang="ar-SA" sz="1600" b="1" kern="0" dirty="0">
                <a:solidFill>
                  <a:srgbClr val="0070C0"/>
                </a:solidFill>
                <a:latin typeface="Sakkal Majalla" panose="02000000000000000000" pitchFamily="2" charset="-78"/>
                <a:ea typeface="Samim" panose="020B0603030804020204" pitchFamily="34" charset="0"/>
                <a:cs typeface="Sakkal Majalla" panose="02000000000000000000" pitchFamily="2" charset="-78"/>
                <a:sym typeface="Josefin Sans"/>
              </a:rPr>
              <a:t>3- مقترحات التحسين والتطوير ( تغذية راجعة من خلال تقارير مفصلة تتضمن نتائج تقويم الأداء المدرسي)</a:t>
            </a:r>
          </a:p>
        </p:txBody>
      </p:sp>
      <p:sp>
        <p:nvSpPr>
          <p:cNvPr id="20" name="شكل بيضاوي 19">
            <a:extLst>
              <a:ext uri="{FF2B5EF4-FFF2-40B4-BE49-F238E27FC236}">
                <a16:creationId xmlns:a16="http://schemas.microsoft.com/office/drawing/2014/main" id="{744C5A6D-EE1F-2772-C815-B8CAFE5E12EF}"/>
              </a:ext>
            </a:extLst>
          </p:cNvPr>
          <p:cNvSpPr/>
          <p:nvPr/>
        </p:nvSpPr>
        <p:spPr>
          <a:xfrm>
            <a:off x="10719459" y="3072557"/>
            <a:ext cx="578199" cy="519084"/>
          </a:xfrm>
          <a:prstGeom prst="ellipse">
            <a:avLst/>
          </a:prstGeom>
          <a:solidFill>
            <a:schemeClr val="accent4">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r>
              <a:rPr lang="ar-SA" sz="2800" dirty="0">
                <a:solidFill>
                  <a:schemeClr val="tx1"/>
                </a:solidFill>
              </a:rPr>
              <a:t>1</a:t>
            </a:r>
            <a:endParaRPr lang="ar-SA" dirty="0">
              <a:solidFill>
                <a:schemeClr val="tx1"/>
              </a:solidFill>
            </a:endParaRPr>
          </a:p>
        </p:txBody>
      </p:sp>
      <p:sp>
        <p:nvSpPr>
          <p:cNvPr id="21" name="شكل بيضاوي 20">
            <a:extLst>
              <a:ext uri="{FF2B5EF4-FFF2-40B4-BE49-F238E27FC236}">
                <a16:creationId xmlns:a16="http://schemas.microsoft.com/office/drawing/2014/main" id="{C2AB2F25-C313-18D4-4565-1C2AB031B310}"/>
              </a:ext>
            </a:extLst>
          </p:cNvPr>
          <p:cNvSpPr/>
          <p:nvPr/>
        </p:nvSpPr>
        <p:spPr>
          <a:xfrm>
            <a:off x="847157" y="3072557"/>
            <a:ext cx="578199" cy="519084"/>
          </a:xfrm>
          <a:prstGeom prst="ellipse">
            <a:avLst/>
          </a:prstGeom>
          <a:solidFill>
            <a:schemeClr val="accent4">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r>
              <a:rPr lang="ar-SA" sz="2800" dirty="0">
                <a:solidFill>
                  <a:schemeClr val="tx1"/>
                </a:solidFill>
              </a:rPr>
              <a:t>2</a:t>
            </a:r>
            <a:endParaRPr lang="ar-SA" dirty="0">
              <a:solidFill>
                <a:schemeClr val="tx1"/>
              </a:solidFill>
            </a:endParaRPr>
          </a:p>
        </p:txBody>
      </p:sp>
      <p:sp>
        <p:nvSpPr>
          <p:cNvPr id="24" name="شكل بيضاوي 23">
            <a:extLst>
              <a:ext uri="{FF2B5EF4-FFF2-40B4-BE49-F238E27FC236}">
                <a16:creationId xmlns:a16="http://schemas.microsoft.com/office/drawing/2014/main" id="{0B8675A4-D516-0370-6043-CFD25089BF66}"/>
              </a:ext>
            </a:extLst>
          </p:cNvPr>
          <p:cNvSpPr/>
          <p:nvPr/>
        </p:nvSpPr>
        <p:spPr>
          <a:xfrm>
            <a:off x="1367312" y="4982765"/>
            <a:ext cx="578199" cy="519084"/>
          </a:xfrm>
          <a:prstGeom prst="ellipse">
            <a:avLst/>
          </a:prstGeom>
          <a:solidFill>
            <a:schemeClr val="accent4">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r>
              <a:rPr lang="ar-SA" sz="2800" dirty="0">
                <a:solidFill>
                  <a:schemeClr val="tx1"/>
                </a:solidFill>
              </a:rPr>
              <a:t>3</a:t>
            </a:r>
            <a:endParaRPr lang="ar-SA" dirty="0">
              <a:solidFill>
                <a:schemeClr val="tx1"/>
              </a:solidFill>
            </a:endParaRPr>
          </a:p>
        </p:txBody>
      </p:sp>
      <p:sp>
        <p:nvSpPr>
          <p:cNvPr id="3" name="Rounded Rectangle 5">
            <a:extLst>
              <a:ext uri="{FF2B5EF4-FFF2-40B4-BE49-F238E27FC236}">
                <a16:creationId xmlns:a16="http://schemas.microsoft.com/office/drawing/2014/main" id="{8431E4EE-232D-4848-7536-665D6C98BDB7}"/>
              </a:ext>
            </a:extLst>
          </p:cNvPr>
          <p:cNvSpPr/>
          <p:nvPr/>
        </p:nvSpPr>
        <p:spPr>
          <a:xfrm>
            <a:off x="3948412" y="771846"/>
            <a:ext cx="3729569" cy="1295400"/>
          </a:xfrm>
          <a:prstGeom prst="roundRect">
            <a:avLst/>
          </a:prstGeom>
          <a:solidFill>
            <a:sysClr val="window" lastClr="FFFFFF"/>
          </a:solidFill>
          <a:ln w="12700" cap="flat" cmpd="sng" algn="ctr">
            <a:solidFill>
              <a:srgbClr val="70AD47"/>
            </a:solidFill>
            <a:prstDash val="solid"/>
            <a:miter lim="800000"/>
          </a:ln>
          <a:effectLst/>
        </p:spPr>
        <p:txBody>
          <a:bodyPr lIns="80010" tIns="40005" rIns="80010" bIns="40005" rtlCol="1" anchor="ctr"/>
          <a:lstStyle/>
          <a:p>
            <a:pPr lvl="0" algn="ctr" defTabSz="800100">
              <a:defRPr/>
            </a:pPr>
            <a:r>
              <a:rPr lang="ar-SA" sz="2000" b="1" kern="0" dirty="0">
                <a:solidFill>
                  <a:srgbClr val="7030A0"/>
                </a:solidFill>
                <a:latin typeface="Sakkal Majalla" panose="02000000000000000000" pitchFamily="2" charset="-78"/>
                <a:cs typeface="Sakkal Majalla" panose="02000000000000000000" pitchFamily="2" charset="-78"/>
                <a:sym typeface="Arial"/>
              </a:rPr>
              <a:t>أدوار إدارة التعليم ومكاتب التعليم</a:t>
            </a:r>
          </a:p>
          <a:p>
            <a:pPr lvl="0" algn="ctr" defTabSz="800100">
              <a:defRPr/>
            </a:pPr>
            <a:r>
              <a:rPr lang="ar-SA" sz="2000" b="1" kern="0" dirty="0">
                <a:solidFill>
                  <a:srgbClr val="009999"/>
                </a:solidFill>
                <a:latin typeface="Sakkal Majalla" panose="02000000000000000000" pitchFamily="2" charset="-78"/>
                <a:cs typeface="Sakkal Majalla" panose="02000000000000000000" pitchFamily="2" charset="-78"/>
                <a:sym typeface="Arial"/>
              </a:rPr>
              <a:t>تقديم الدعم والمساندة في المعايير التعليمية وغير التعليمية بما يسهم في تحقيق المدارس لمعايير الأداء المدرسي ومهامها الأخرى  .</a:t>
            </a:r>
          </a:p>
        </p:txBody>
      </p:sp>
      <p:cxnSp>
        <p:nvCxnSpPr>
          <p:cNvPr id="22" name="Google Shape;921;p31">
            <a:extLst>
              <a:ext uri="{FF2B5EF4-FFF2-40B4-BE49-F238E27FC236}">
                <a16:creationId xmlns:a16="http://schemas.microsoft.com/office/drawing/2014/main" id="{40088321-9CFB-4960-B9A4-471915344C5C}"/>
              </a:ext>
            </a:extLst>
          </p:cNvPr>
          <p:cNvCxnSpPr>
            <a:cxnSpLocks/>
            <a:stCxn id="10" idx="0"/>
            <a:endCxn id="3" idx="2"/>
          </p:cNvCxnSpPr>
          <p:nvPr/>
        </p:nvCxnSpPr>
        <p:spPr>
          <a:xfrm rot="5400000" flipH="1" flipV="1">
            <a:off x="5400259" y="2480184"/>
            <a:ext cx="825875" cy="0"/>
          </a:xfrm>
          <a:prstGeom prst="bentConnector3">
            <a:avLst>
              <a:gd name="adj1" fmla="val 50000"/>
            </a:avLst>
          </a:prstGeom>
          <a:noFill/>
          <a:ln w="28575" cap="flat" cmpd="sng">
            <a:solidFill>
              <a:srgbClr val="00B4B0"/>
            </a:solidFill>
            <a:prstDash val="solid"/>
            <a:round/>
            <a:headEnd type="arrow" w="med" len="med"/>
            <a:tailEnd type="none" w="med" len="med"/>
          </a:ln>
        </p:spPr>
      </p:cxnSp>
      <p:sp>
        <p:nvSpPr>
          <p:cNvPr id="25" name="مستطيل: زوايا مستديرة 24">
            <a:extLst>
              <a:ext uri="{FF2B5EF4-FFF2-40B4-BE49-F238E27FC236}">
                <a16:creationId xmlns:a16="http://schemas.microsoft.com/office/drawing/2014/main" id="{86F7E6F6-4579-DB6F-2A43-101BA78F8724}"/>
              </a:ext>
            </a:extLst>
          </p:cNvPr>
          <p:cNvSpPr/>
          <p:nvPr/>
        </p:nvSpPr>
        <p:spPr>
          <a:xfrm>
            <a:off x="720167" y="2358324"/>
            <a:ext cx="10836106" cy="4129687"/>
          </a:xfrm>
          <a:prstGeom prst="roundRect">
            <a:avLst/>
          </a:prstGeom>
          <a:solidFill>
            <a:schemeClr val="accent5">
              <a:lumMod val="20000"/>
              <a:lumOff val="80000"/>
              <a:alpha val="50196"/>
            </a:schemeClr>
          </a:solidFill>
          <a:ln w="28575">
            <a:solidFill>
              <a:srgbClr val="FF0000">
                <a:alpha val="49020"/>
              </a:srgb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algn="ctr"/>
            <a:endParaRPr lang="ar-SA" dirty="0"/>
          </a:p>
        </p:txBody>
      </p:sp>
    </p:spTree>
    <p:extLst>
      <p:ext uri="{BB962C8B-B14F-4D97-AF65-F5344CB8AC3E}">
        <p14:creationId xmlns:p14="http://schemas.microsoft.com/office/powerpoint/2010/main" val="2070995927"/>
      </p:ext>
    </p:extLst>
  </p:cSld>
  <p:clrMapOvr>
    <a:masterClrMapping/>
  </p:clrMapOvr>
  <mc:AlternateContent xmlns:mc="http://schemas.openxmlformats.org/markup-compatibility/2006" xmlns:p14="http://schemas.microsoft.com/office/powerpoint/2010/main">
    <mc:Choice Requires="p14">
      <p:transition spd="slow" p14:dur="1200">
        <p14:prism dir="r"/>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arn(inVertical)">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grpId="0" nodeType="click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barn(inVertical)">
                                      <p:cBhvr>
                                        <p:cTn id="12" dur="1000"/>
                                        <p:tgtEl>
                                          <p:spTgt spid="20"/>
                                        </p:tgtEl>
                                      </p:cBhvr>
                                    </p:animEffect>
                                  </p:childTnLst>
                                </p:cTn>
                              </p:par>
                              <p:par>
                                <p:cTn id="13" presetID="9" presetClass="entr" presetSubtype="0" fill="hold" grpId="0" nodeType="with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dissolve">
                                      <p:cBhvr>
                                        <p:cTn id="15" dur="1000"/>
                                        <p:tgtEl>
                                          <p:spTgt spid="6"/>
                                        </p:tgtEl>
                                      </p:cBhvr>
                                    </p:animEffect>
                                  </p:childTnLst>
                                </p:cTn>
                              </p:par>
                            </p:childTnLst>
                          </p:cTn>
                        </p:par>
                      </p:childTnLst>
                    </p:cTn>
                  </p:par>
                  <p:par>
                    <p:cTn id="16" fill="hold">
                      <p:stCondLst>
                        <p:cond delay="indefinite"/>
                      </p:stCondLst>
                      <p:childTnLst>
                        <p:par>
                          <p:cTn id="17" fill="hold">
                            <p:stCondLst>
                              <p:cond delay="0"/>
                            </p:stCondLst>
                            <p:childTnLst>
                              <p:par>
                                <p:cTn id="18" presetID="6" presetClass="entr" presetSubtype="16" fill="hold" nodeType="clickEffect">
                                  <p:stCondLst>
                                    <p:cond delay="0"/>
                                  </p:stCondLst>
                                  <p:childTnLst>
                                    <p:set>
                                      <p:cBhvr>
                                        <p:cTn id="19" dur="1" fill="hold">
                                          <p:stCondLst>
                                            <p:cond delay="0"/>
                                          </p:stCondLst>
                                        </p:cTn>
                                        <p:tgtEl>
                                          <p:spTgt spid="11"/>
                                        </p:tgtEl>
                                        <p:attrNameLst>
                                          <p:attrName>style.visibility</p:attrName>
                                        </p:attrNameLst>
                                      </p:cBhvr>
                                      <p:to>
                                        <p:strVal val="visible"/>
                                      </p:to>
                                    </p:set>
                                    <p:animEffect transition="in" filter="circle(in)">
                                      <p:cBhvr>
                                        <p:cTn id="20" dur="2000"/>
                                        <p:tgtEl>
                                          <p:spTgt spid="11"/>
                                        </p:tgtEl>
                                      </p:cBhvr>
                                    </p:animEffect>
                                  </p:childTnLst>
                                </p:cTn>
                              </p:par>
                            </p:childTnLst>
                          </p:cTn>
                        </p:par>
                      </p:childTnLst>
                    </p:cTn>
                  </p:par>
                  <p:par>
                    <p:cTn id="21" fill="hold">
                      <p:stCondLst>
                        <p:cond delay="indefinite"/>
                      </p:stCondLst>
                      <p:childTnLst>
                        <p:par>
                          <p:cTn id="22" fill="hold">
                            <p:stCondLst>
                              <p:cond delay="0"/>
                            </p:stCondLst>
                            <p:childTnLst>
                              <p:par>
                                <p:cTn id="23" presetID="16" presetClass="entr" presetSubtype="21" fill="hold" grpId="0" nodeType="clickEffect">
                                  <p:stCondLst>
                                    <p:cond delay="0"/>
                                  </p:stCondLst>
                                  <p:childTnLst>
                                    <p:set>
                                      <p:cBhvr>
                                        <p:cTn id="24" dur="1" fill="hold">
                                          <p:stCondLst>
                                            <p:cond delay="0"/>
                                          </p:stCondLst>
                                        </p:cTn>
                                        <p:tgtEl>
                                          <p:spTgt spid="17"/>
                                        </p:tgtEl>
                                        <p:attrNameLst>
                                          <p:attrName>style.visibility</p:attrName>
                                        </p:attrNameLst>
                                      </p:cBhvr>
                                      <p:to>
                                        <p:strVal val="visible"/>
                                      </p:to>
                                    </p:set>
                                    <p:animEffect transition="in" filter="barn(inVertical)">
                                      <p:cBhvr>
                                        <p:cTn id="25" dur="500"/>
                                        <p:tgtEl>
                                          <p:spTgt spid="17"/>
                                        </p:tgtEl>
                                      </p:cBhvr>
                                    </p:animEffect>
                                  </p:childTnLst>
                                </p:cTn>
                              </p:par>
                            </p:childTnLst>
                          </p:cTn>
                        </p:par>
                      </p:childTnLst>
                    </p:cTn>
                  </p:par>
                  <p:par>
                    <p:cTn id="26" fill="hold">
                      <p:stCondLst>
                        <p:cond delay="indefinite"/>
                      </p:stCondLst>
                      <p:childTnLst>
                        <p:par>
                          <p:cTn id="27" fill="hold">
                            <p:stCondLst>
                              <p:cond delay="0"/>
                            </p:stCondLst>
                            <p:childTnLst>
                              <p:par>
                                <p:cTn id="28" presetID="6" presetClass="entr" presetSubtype="16" fill="hold" nodeType="clickEffect">
                                  <p:stCondLst>
                                    <p:cond delay="0"/>
                                  </p:stCondLst>
                                  <p:childTnLst>
                                    <p:set>
                                      <p:cBhvr>
                                        <p:cTn id="29" dur="1" fill="hold">
                                          <p:stCondLst>
                                            <p:cond delay="0"/>
                                          </p:stCondLst>
                                        </p:cTn>
                                        <p:tgtEl>
                                          <p:spTgt spid="10"/>
                                        </p:tgtEl>
                                        <p:attrNameLst>
                                          <p:attrName>style.visibility</p:attrName>
                                        </p:attrNameLst>
                                      </p:cBhvr>
                                      <p:to>
                                        <p:strVal val="visible"/>
                                      </p:to>
                                    </p:set>
                                    <p:animEffect transition="in" filter="circle(in)">
                                      <p:cBhvr>
                                        <p:cTn id="30" dur="1750"/>
                                        <p:tgtEl>
                                          <p:spTgt spid="10"/>
                                        </p:tgtEl>
                                      </p:cBhvr>
                                    </p:animEffect>
                                  </p:childTnLst>
                                </p:cTn>
                              </p:par>
                            </p:childTnLst>
                          </p:cTn>
                        </p:par>
                      </p:childTnLst>
                    </p:cTn>
                  </p:par>
                  <p:par>
                    <p:cTn id="31" fill="hold">
                      <p:stCondLst>
                        <p:cond delay="indefinite"/>
                      </p:stCondLst>
                      <p:childTnLst>
                        <p:par>
                          <p:cTn id="32" fill="hold">
                            <p:stCondLst>
                              <p:cond delay="0"/>
                            </p:stCondLst>
                            <p:childTnLst>
                              <p:par>
                                <p:cTn id="33" presetID="6" presetClass="entr" presetSubtype="16" fill="hold" nodeType="click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circle(in)">
                                      <p:cBhvr>
                                        <p:cTn id="35" dur="2000"/>
                                        <p:tgtEl>
                                          <p:spTgt spid="12"/>
                                        </p:tgtEl>
                                      </p:cBhvr>
                                    </p:animEffect>
                                  </p:childTnLst>
                                </p:cTn>
                              </p:par>
                            </p:childTnLst>
                          </p:cTn>
                        </p:par>
                      </p:childTnLst>
                    </p:cTn>
                  </p:par>
                  <p:par>
                    <p:cTn id="36" fill="hold">
                      <p:stCondLst>
                        <p:cond delay="indefinite"/>
                      </p:stCondLst>
                      <p:childTnLst>
                        <p:par>
                          <p:cTn id="37" fill="hold">
                            <p:stCondLst>
                              <p:cond delay="0"/>
                            </p:stCondLst>
                            <p:childTnLst>
                              <p:par>
                                <p:cTn id="38" presetID="9" presetClass="entr" presetSubtype="0" fill="hold" grpId="0" nodeType="clickEffect">
                                  <p:stCondLst>
                                    <p:cond delay="0"/>
                                  </p:stCondLst>
                                  <p:childTnLst>
                                    <p:set>
                                      <p:cBhvr>
                                        <p:cTn id="39" dur="1" fill="hold">
                                          <p:stCondLst>
                                            <p:cond delay="0"/>
                                          </p:stCondLst>
                                        </p:cTn>
                                        <p:tgtEl>
                                          <p:spTgt spid="9"/>
                                        </p:tgtEl>
                                        <p:attrNameLst>
                                          <p:attrName>style.visibility</p:attrName>
                                        </p:attrNameLst>
                                      </p:cBhvr>
                                      <p:to>
                                        <p:strVal val="visible"/>
                                      </p:to>
                                    </p:set>
                                    <p:animEffect transition="in" filter="dissolve">
                                      <p:cBhvr>
                                        <p:cTn id="40" dur="500"/>
                                        <p:tgtEl>
                                          <p:spTgt spid="9"/>
                                        </p:tgtEl>
                                      </p:cBhvr>
                                    </p:animEffect>
                                  </p:childTnLst>
                                </p:cTn>
                              </p:par>
                            </p:childTnLst>
                          </p:cTn>
                        </p:par>
                      </p:childTnLst>
                    </p:cTn>
                  </p:par>
                  <p:par>
                    <p:cTn id="41" fill="hold">
                      <p:stCondLst>
                        <p:cond delay="indefinite"/>
                      </p:stCondLst>
                      <p:childTnLst>
                        <p:par>
                          <p:cTn id="42" fill="hold">
                            <p:stCondLst>
                              <p:cond delay="0"/>
                            </p:stCondLst>
                            <p:childTnLst>
                              <p:par>
                                <p:cTn id="43" presetID="16" presetClass="entr" presetSubtype="21" fill="hold" grpId="0" nodeType="clickEffect">
                                  <p:stCondLst>
                                    <p:cond delay="0"/>
                                  </p:stCondLst>
                                  <p:childTnLst>
                                    <p:set>
                                      <p:cBhvr>
                                        <p:cTn id="44" dur="1" fill="hold">
                                          <p:stCondLst>
                                            <p:cond delay="0"/>
                                          </p:stCondLst>
                                        </p:cTn>
                                        <p:tgtEl>
                                          <p:spTgt spid="21"/>
                                        </p:tgtEl>
                                        <p:attrNameLst>
                                          <p:attrName>style.visibility</p:attrName>
                                        </p:attrNameLst>
                                      </p:cBhvr>
                                      <p:to>
                                        <p:strVal val="visible"/>
                                      </p:to>
                                    </p:set>
                                    <p:animEffect transition="in" filter="barn(inVertical)">
                                      <p:cBhvr>
                                        <p:cTn id="45" dur="1000"/>
                                        <p:tgtEl>
                                          <p:spTgt spid="21"/>
                                        </p:tgtEl>
                                      </p:cBhvr>
                                    </p:animEffect>
                                  </p:childTnLst>
                                </p:cTn>
                              </p:par>
                            </p:childTnLst>
                          </p:cTn>
                        </p:par>
                      </p:childTnLst>
                    </p:cTn>
                  </p:par>
                  <p:par>
                    <p:cTn id="46" fill="hold">
                      <p:stCondLst>
                        <p:cond delay="indefinite"/>
                      </p:stCondLst>
                      <p:childTnLst>
                        <p:par>
                          <p:cTn id="47" fill="hold">
                            <p:stCondLst>
                              <p:cond delay="0"/>
                            </p:stCondLst>
                            <p:childTnLst>
                              <p:par>
                                <p:cTn id="48" presetID="16" presetClass="entr" presetSubtype="21" fill="hold" nodeType="clickEffect">
                                  <p:stCondLst>
                                    <p:cond delay="0"/>
                                  </p:stCondLst>
                                  <p:childTnLst>
                                    <p:set>
                                      <p:cBhvr>
                                        <p:cTn id="49" dur="1" fill="hold">
                                          <p:stCondLst>
                                            <p:cond delay="0"/>
                                          </p:stCondLst>
                                        </p:cTn>
                                        <p:tgtEl>
                                          <p:spTgt spid="14"/>
                                        </p:tgtEl>
                                        <p:attrNameLst>
                                          <p:attrName>style.visibility</p:attrName>
                                        </p:attrNameLst>
                                      </p:cBhvr>
                                      <p:to>
                                        <p:strVal val="visible"/>
                                      </p:to>
                                    </p:set>
                                    <p:animEffect transition="in" filter="barn(inVertical)">
                                      <p:cBhvr>
                                        <p:cTn id="50" dur="1000"/>
                                        <p:tgtEl>
                                          <p:spTgt spid="14"/>
                                        </p:tgtEl>
                                      </p:cBhvr>
                                    </p:animEffect>
                                  </p:childTnLst>
                                </p:cTn>
                              </p:par>
                            </p:childTnLst>
                          </p:cTn>
                        </p:par>
                      </p:childTnLst>
                    </p:cTn>
                  </p:par>
                  <p:par>
                    <p:cTn id="51" fill="hold">
                      <p:stCondLst>
                        <p:cond delay="indefinite"/>
                      </p:stCondLst>
                      <p:childTnLst>
                        <p:par>
                          <p:cTn id="52" fill="hold">
                            <p:stCondLst>
                              <p:cond delay="0"/>
                            </p:stCondLst>
                            <p:childTnLst>
                              <p:par>
                                <p:cTn id="53" presetID="16" presetClass="entr" presetSubtype="21" fill="hold" nodeType="clickEffect">
                                  <p:stCondLst>
                                    <p:cond delay="0"/>
                                  </p:stCondLst>
                                  <p:childTnLst>
                                    <p:set>
                                      <p:cBhvr>
                                        <p:cTn id="54" dur="1" fill="hold">
                                          <p:stCondLst>
                                            <p:cond delay="0"/>
                                          </p:stCondLst>
                                        </p:cTn>
                                        <p:tgtEl>
                                          <p:spTgt spid="15"/>
                                        </p:tgtEl>
                                        <p:attrNameLst>
                                          <p:attrName>style.visibility</p:attrName>
                                        </p:attrNameLst>
                                      </p:cBhvr>
                                      <p:to>
                                        <p:strVal val="visible"/>
                                      </p:to>
                                    </p:set>
                                    <p:animEffect transition="in" filter="barn(inVertical)">
                                      <p:cBhvr>
                                        <p:cTn id="55" dur="500"/>
                                        <p:tgtEl>
                                          <p:spTgt spid="15"/>
                                        </p:tgtEl>
                                      </p:cBhvr>
                                    </p:animEffect>
                                  </p:childTnLst>
                                </p:cTn>
                              </p:par>
                            </p:childTnLst>
                          </p:cTn>
                        </p:par>
                      </p:childTnLst>
                    </p:cTn>
                  </p:par>
                  <p:par>
                    <p:cTn id="56" fill="hold">
                      <p:stCondLst>
                        <p:cond delay="indefinite"/>
                      </p:stCondLst>
                      <p:childTnLst>
                        <p:par>
                          <p:cTn id="57" fill="hold">
                            <p:stCondLst>
                              <p:cond delay="0"/>
                            </p:stCondLst>
                            <p:childTnLst>
                              <p:par>
                                <p:cTn id="58" presetID="16" presetClass="entr" presetSubtype="21" fill="hold" grpId="0" nodeType="clickEffect">
                                  <p:stCondLst>
                                    <p:cond delay="0"/>
                                  </p:stCondLst>
                                  <p:childTnLst>
                                    <p:set>
                                      <p:cBhvr>
                                        <p:cTn id="59" dur="1" fill="hold">
                                          <p:stCondLst>
                                            <p:cond delay="0"/>
                                          </p:stCondLst>
                                        </p:cTn>
                                        <p:tgtEl>
                                          <p:spTgt spid="18"/>
                                        </p:tgtEl>
                                        <p:attrNameLst>
                                          <p:attrName>style.visibility</p:attrName>
                                        </p:attrNameLst>
                                      </p:cBhvr>
                                      <p:to>
                                        <p:strVal val="visible"/>
                                      </p:to>
                                    </p:set>
                                    <p:animEffect transition="in" filter="barn(inVertical)">
                                      <p:cBhvr>
                                        <p:cTn id="60" dur="500"/>
                                        <p:tgtEl>
                                          <p:spTgt spid="18"/>
                                        </p:tgtEl>
                                      </p:cBhvr>
                                    </p:animEffect>
                                  </p:childTnLst>
                                </p:cTn>
                              </p:par>
                            </p:childTnLst>
                          </p:cTn>
                        </p:par>
                      </p:childTnLst>
                    </p:cTn>
                  </p:par>
                  <p:par>
                    <p:cTn id="61" fill="hold">
                      <p:stCondLst>
                        <p:cond delay="indefinite"/>
                      </p:stCondLst>
                      <p:childTnLst>
                        <p:par>
                          <p:cTn id="62" fill="hold">
                            <p:stCondLst>
                              <p:cond delay="0"/>
                            </p:stCondLst>
                            <p:childTnLst>
                              <p:par>
                                <p:cTn id="63" presetID="9" presetClass="entr" presetSubtype="0" fill="hold" grpId="0" nodeType="clickEffect">
                                  <p:stCondLst>
                                    <p:cond delay="0"/>
                                  </p:stCondLst>
                                  <p:childTnLst>
                                    <p:set>
                                      <p:cBhvr>
                                        <p:cTn id="64" dur="1" fill="hold">
                                          <p:stCondLst>
                                            <p:cond delay="0"/>
                                          </p:stCondLst>
                                        </p:cTn>
                                        <p:tgtEl>
                                          <p:spTgt spid="16"/>
                                        </p:tgtEl>
                                        <p:attrNameLst>
                                          <p:attrName>style.visibility</p:attrName>
                                        </p:attrNameLst>
                                      </p:cBhvr>
                                      <p:to>
                                        <p:strVal val="visible"/>
                                      </p:to>
                                    </p:set>
                                    <p:animEffect transition="in" filter="dissolve">
                                      <p:cBhvr>
                                        <p:cTn id="65" dur="500"/>
                                        <p:tgtEl>
                                          <p:spTgt spid="16"/>
                                        </p:tgtEl>
                                      </p:cBhvr>
                                    </p:animEffect>
                                  </p:childTnLst>
                                </p:cTn>
                              </p:par>
                            </p:childTnLst>
                          </p:cTn>
                        </p:par>
                      </p:childTnLst>
                    </p:cTn>
                  </p:par>
                  <p:par>
                    <p:cTn id="66" fill="hold">
                      <p:stCondLst>
                        <p:cond delay="indefinite"/>
                      </p:stCondLst>
                      <p:childTnLst>
                        <p:par>
                          <p:cTn id="67" fill="hold">
                            <p:stCondLst>
                              <p:cond delay="0"/>
                            </p:stCondLst>
                            <p:childTnLst>
                              <p:par>
                                <p:cTn id="68" presetID="16" presetClass="entr" presetSubtype="21" fill="hold" grpId="0" nodeType="clickEffect">
                                  <p:stCondLst>
                                    <p:cond delay="0"/>
                                  </p:stCondLst>
                                  <p:childTnLst>
                                    <p:set>
                                      <p:cBhvr>
                                        <p:cTn id="69" dur="1" fill="hold">
                                          <p:stCondLst>
                                            <p:cond delay="0"/>
                                          </p:stCondLst>
                                        </p:cTn>
                                        <p:tgtEl>
                                          <p:spTgt spid="24"/>
                                        </p:tgtEl>
                                        <p:attrNameLst>
                                          <p:attrName>style.visibility</p:attrName>
                                        </p:attrNameLst>
                                      </p:cBhvr>
                                      <p:to>
                                        <p:strVal val="visible"/>
                                      </p:to>
                                    </p:set>
                                    <p:animEffect transition="in" filter="barn(inVertical)">
                                      <p:cBhvr>
                                        <p:cTn id="70" dur="750"/>
                                        <p:tgtEl>
                                          <p:spTgt spid="24"/>
                                        </p:tgtEl>
                                      </p:cBhvr>
                                    </p:animEffect>
                                  </p:childTnLst>
                                </p:cTn>
                              </p:par>
                            </p:childTnLst>
                          </p:cTn>
                        </p:par>
                      </p:childTnLst>
                    </p:cTn>
                  </p:par>
                  <p:par>
                    <p:cTn id="71" fill="hold">
                      <p:stCondLst>
                        <p:cond delay="indefinite"/>
                      </p:stCondLst>
                      <p:childTnLst>
                        <p:par>
                          <p:cTn id="72" fill="hold">
                            <p:stCondLst>
                              <p:cond delay="0"/>
                            </p:stCondLst>
                            <p:childTnLst>
                              <p:par>
                                <p:cTn id="73" presetID="16" presetClass="entr" presetSubtype="21" fill="hold" grpId="0" nodeType="clickEffect">
                                  <p:stCondLst>
                                    <p:cond delay="0"/>
                                  </p:stCondLst>
                                  <p:childTnLst>
                                    <p:set>
                                      <p:cBhvr>
                                        <p:cTn id="74" dur="1" fill="hold">
                                          <p:stCondLst>
                                            <p:cond delay="0"/>
                                          </p:stCondLst>
                                        </p:cTn>
                                        <p:tgtEl>
                                          <p:spTgt spid="19"/>
                                        </p:tgtEl>
                                        <p:attrNameLst>
                                          <p:attrName>style.visibility</p:attrName>
                                        </p:attrNameLst>
                                      </p:cBhvr>
                                      <p:to>
                                        <p:strVal val="visible"/>
                                      </p:to>
                                    </p:set>
                                    <p:animEffect transition="in" filter="barn(inVertical)">
                                      <p:cBhvr>
                                        <p:cTn id="75" dur="1500"/>
                                        <p:tgtEl>
                                          <p:spTgt spid="19"/>
                                        </p:tgtEl>
                                      </p:cBhvr>
                                    </p:animEffect>
                                  </p:childTnLst>
                                </p:cTn>
                              </p:par>
                            </p:childTnLst>
                          </p:cTn>
                        </p:par>
                      </p:childTnLst>
                    </p:cTn>
                  </p:par>
                  <p:par>
                    <p:cTn id="76" fill="hold">
                      <p:stCondLst>
                        <p:cond delay="indefinite"/>
                      </p:stCondLst>
                      <p:childTnLst>
                        <p:par>
                          <p:cTn id="77" fill="hold">
                            <p:stCondLst>
                              <p:cond delay="0"/>
                            </p:stCondLst>
                            <p:childTnLst>
                              <p:par>
                                <p:cTn id="78" presetID="16" presetClass="entr" presetSubtype="21" fill="hold" grpId="0" nodeType="clickEffect">
                                  <p:stCondLst>
                                    <p:cond delay="0"/>
                                  </p:stCondLst>
                                  <p:childTnLst>
                                    <p:set>
                                      <p:cBhvr>
                                        <p:cTn id="79" dur="1" fill="hold">
                                          <p:stCondLst>
                                            <p:cond delay="0"/>
                                          </p:stCondLst>
                                        </p:cTn>
                                        <p:tgtEl>
                                          <p:spTgt spid="25"/>
                                        </p:tgtEl>
                                        <p:attrNameLst>
                                          <p:attrName>style.visibility</p:attrName>
                                        </p:attrNameLst>
                                      </p:cBhvr>
                                      <p:to>
                                        <p:strVal val="visible"/>
                                      </p:to>
                                    </p:set>
                                    <p:animEffect transition="in" filter="barn(inVertical)">
                                      <p:cBhvr>
                                        <p:cTn id="80" dur="1000"/>
                                        <p:tgtEl>
                                          <p:spTgt spid="25"/>
                                        </p:tgtEl>
                                      </p:cBhvr>
                                    </p:animEffect>
                                  </p:childTnLst>
                                </p:cTn>
                              </p:par>
                            </p:childTnLst>
                          </p:cTn>
                        </p:par>
                      </p:childTnLst>
                    </p:cTn>
                  </p:par>
                  <p:par>
                    <p:cTn id="81" fill="hold">
                      <p:stCondLst>
                        <p:cond delay="indefinite"/>
                      </p:stCondLst>
                      <p:childTnLst>
                        <p:par>
                          <p:cTn id="82" fill="hold">
                            <p:stCondLst>
                              <p:cond delay="0"/>
                            </p:stCondLst>
                            <p:childTnLst>
                              <p:par>
                                <p:cTn id="83" presetID="9" presetClass="entr" presetSubtype="0" fill="hold" grpId="0" nodeType="clickEffect">
                                  <p:stCondLst>
                                    <p:cond delay="0"/>
                                  </p:stCondLst>
                                  <p:childTnLst>
                                    <p:set>
                                      <p:cBhvr>
                                        <p:cTn id="84" dur="1" fill="hold">
                                          <p:stCondLst>
                                            <p:cond delay="0"/>
                                          </p:stCondLst>
                                        </p:cTn>
                                        <p:tgtEl>
                                          <p:spTgt spid="3"/>
                                        </p:tgtEl>
                                        <p:attrNameLst>
                                          <p:attrName>style.visibility</p:attrName>
                                        </p:attrNameLst>
                                      </p:cBhvr>
                                      <p:to>
                                        <p:strVal val="visible"/>
                                      </p:to>
                                    </p:set>
                                    <p:animEffect transition="in" filter="dissolve">
                                      <p:cBhvr>
                                        <p:cTn id="85" dur="500"/>
                                        <p:tgtEl>
                                          <p:spTgt spid="3"/>
                                        </p:tgtEl>
                                      </p:cBhvr>
                                    </p:animEffect>
                                  </p:childTnLst>
                                </p:cTn>
                              </p:par>
                            </p:childTnLst>
                          </p:cTn>
                        </p:par>
                      </p:childTnLst>
                    </p:cTn>
                  </p:par>
                  <p:par>
                    <p:cTn id="86" fill="hold">
                      <p:stCondLst>
                        <p:cond delay="indefinite"/>
                      </p:stCondLst>
                      <p:childTnLst>
                        <p:par>
                          <p:cTn id="87" fill="hold">
                            <p:stCondLst>
                              <p:cond delay="0"/>
                            </p:stCondLst>
                            <p:childTnLst>
                              <p:par>
                                <p:cTn id="88" presetID="16" presetClass="entr" presetSubtype="21" fill="hold" nodeType="clickEffect">
                                  <p:stCondLst>
                                    <p:cond delay="0"/>
                                  </p:stCondLst>
                                  <p:childTnLst>
                                    <p:set>
                                      <p:cBhvr>
                                        <p:cTn id="89" dur="1" fill="hold">
                                          <p:stCondLst>
                                            <p:cond delay="0"/>
                                          </p:stCondLst>
                                        </p:cTn>
                                        <p:tgtEl>
                                          <p:spTgt spid="22"/>
                                        </p:tgtEl>
                                        <p:attrNameLst>
                                          <p:attrName>style.visibility</p:attrName>
                                        </p:attrNameLst>
                                      </p:cBhvr>
                                      <p:to>
                                        <p:strVal val="visible"/>
                                      </p:to>
                                    </p:set>
                                    <p:animEffect transition="in" filter="barn(inVertical)">
                                      <p:cBhvr>
                                        <p:cTn id="90"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6" grpId="0" animBg="1"/>
      <p:bldP spid="9" grpId="0" animBg="1"/>
      <p:bldP spid="16" grpId="0" animBg="1"/>
      <p:bldP spid="17" grpId="0"/>
      <p:bldP spid="18" grpId="0"/>
      <p:bldP spid="19" grpId="0"/>
      <p:bldP spid="20" grpId="0" animBg="1"/>
      <p:bldP spid="21" grpId="0" animBg="1"/>
      <p:bldP spid="24" grpId="0" animBg="1"/>
      <p:bldP spid="3" grpId="0" animBg="1"/>
      <p:bldP spid="25"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عنوان 2">
            <a:extLst>
              <a:ext uri="{FF2B5EF4-FFF2-40B4-BE49-F238E27FC236}">
                <a16:creationId xmlns:a16="http://schemas.microsoft.com/office/drawing/2014/main" id="{17EC9140-5B5F-B06E-DC7C-014AE6E6D7F8}"/>
              </a:ext>
            </a:extLst>
          </p:cNvPr>
          <p:cNvSpPr txBox="1">
            <a:spLocks/>
          </p:cNvSpPr>
          <p:nvPr/>
        </p:nvSpPr>
        <p:spPr bwMode="auto">
          <a:xfrm>
            <a:off x="1870868" y="195486"/>
            <a:ext cx="7244667" cy="5040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fontAlgn="base">
              <a:spcBef>
                <a:spcPct val="0"/>
              </a:spcBef>
              <a:spcAft>
                <a:spcPct val="0"/>
              </a:spcAft>
              <a:defRPr sz="4400">
                <a:solidFill>
                  <a:schemeClr val="tx2"/>
                </a:solidFill>
                <a:latin typeface="Arial" pitchFamily="34" charset="0"/>
              </a:defRPr>
            </a:lvl6pPr>
            <a:lvl7pPr marL="914400" algn="ctr" rtl="0" fontAlgn="base">
              <a:spcBef>
                <a:spcPct val="0"/>
              </a:spcBef>
              <a:spcAft>
                <a:spcPct val="0"/>
              </a:spcAft>
              <a:defRPr sz="4400">
                <a:solidFill>
                  <a:schemeClr val="tx2"/>
                </a:solidFill>
                <a:latin typeface="Arial" pitchFamily="34" charset="0"/>
              </a:defRPr>
            </a:lvl7pPr>
            <a:lvl8pPr marL="1371600" algn="ctr" rtl="0" fontAlgn="base">
              <a:spcBef>
                <a:spcPct val="0"/>
              </a:spcBef>
              <a:spcAft>
                <a:spcPct val="0"/>
              </a:spcAft>
              <a:defRPr sz="4400">
                <a:solidFill>
                  <a:schemeClr val="tx2"/>
                </a:solidFill>
                <a:latin typeface="Arial" pitchFamily="34" charset="0"/>
              </a:defRPr>
            </a:lvl8pPr>
            <a:lvl9pPr marL="1828800" algn="ctr" rtl="0" fontAlgn="base">
              <a:spcBef>
                <a:spcPct val="0"/>
              </a:spcBef>
              <a:spcAft>
                <a:spcPct val="0"/>
              </a:spcAft>
              <a:defRPr sz="4400">
                <a:solidFill>
                  <a:schemeClr val="tx2"/>
                </a:solidFill>
                <a:latin typeface="Arial" pitchFamily="34" charset="0"/>
              </a:defRPr>
            </a:lvl9pPr>
          </a:lstStyle>
          <a:p>
            <a:pPr algn="r" defTabSz="914400" latinLnBrk="0"/>
            <a:r>
              <a:rPr lang="ar-SA" altLang="ar-SA" sz="2400" b="1" kern="0" dirty="0">
                <a:solidFill>
                  <a:srgbClr val="002060"/>
                </a:solidFill>
                <a:latin typeface="Sakkal Majalla" panose="02000000000000000000" pitchFamily="2" charset="-78"/>
                <a:cs typeface="Sakkal Majalla" panose="02000000000000000000" pitchFamily="2" charset="-78"/>
              </a:rPr>
              <a:t>افعل ما يلزم إذا أردت التحسين</a:t>
            </a:r>
          </a:p>
        </p:txBody>
      </p:sp>
      <p:sp>
        <p:nvSpPr>
          <p:cNvPr id="3" name="Rectangular Callout 13">
            <a:extLst>
              <a:ext uri="{FF2B5EF4-FFF2-40B4-BE49-F238E27FC236}">
                <a16:creationId xmlns:a16="http://schemas.microsoft.com/office/drawing/2014/main" id="{8D16CE31-2387-3C7B-97A5-3F8C2DFD779C}"/>
              </a:ext>
            </a:extLst>
          </p:cNvPr>
          <p:cNvSpPr/>
          <p:nvPr/>
        </p:nvSpPr>
        <p:spPr>
          <a:xfrm flipH="1">
            <a:off x="1870868" y="1275606"/>
            <a:ext cx="9461160" cy="3384376"/>
          </a:xfrm>
          <a:prstGeom prst="wedgeRectCallout">
            <a:avLst>
              <a:gd name="adj1" fmla="val -19463"/>
              <a:gd name="adj2" fmla="val -67286"/>
            </a:avLst>
          </a:prstGeom>
          <a:gradFill flip="none" rotWithShape="1">
            <a:gsLst>
              <a:gs pos="63000">
                <a:srgbClr val="FCFCFC">
                  <a:lumMod val="84000"/>
                  <a:lumOff val="16000"/>
                  <a:alpha val="86000"/>
                </a:srgbClr>
              </a:gs>
              <a:gs pos="56679">
                <a:srgbClr val="FDFDFD"/>
              </a:gs>
              <a:gs pos="0">
                <a:sysClr val="window" lastClr="FFFFFF">
                  <a:lumMod val="95000"/>
                </a:sysClr>
              </a:gs>
              <a:gs pos="64999">
                <a:sysClr val="window" lastClr="FFFFFF"/>
              </a:gs>
              <a:gs pos="100000">
                <a:sysClr val="window" lastClr="FFFFFF">
                  <a:lumMod val="85000"/>
                </a:sysClr>
              </a:gs>
            </a:gsLst>
            <a:lin ang="18900000" scaled="1"/>
            <a:tileRect/>
          </a:gradFill>
          <a:ln w="12700" cap="flat" cmpd="sng" algn="ctr">
            <a:solidFill>
              <a:sysClr val="windowText" lastClr="000000"/>
            </a:solidFill>
            <a:prstDash val="solid"/>
          </a:ln>
          <a:effectLst/>
        </p:spPr>
        <p:txBody>
          <a:bodyPr/>
          <a:lstStyle/>
          <a:p>
            <a:pPr lvl="0" algn="r" defTabSz="914400" rtl="1" fontAlgn="base" latinLnBrk="0">
              <a:spcBef>
                <a:spcPct val="0"/>
              </a:spcBef>
              <a:spcAft>
                <a:spcPct val="0"/>
              </a:spcAft>
              <a:buBlip>
                <a:blip r:embed="rId2"/>
              </a:buBlip>
              <a:defRPr/>
            </a:pPr>
            <a:r>
              <a:rPr lang="ar-SA" altLang="ar-SA" sz="2400" b="1" kern="0" dirty="0">
                <a:solidFill>
                  <a:srgbClr val="000000"/>
                </a:solidFill>
                <a:latin typeface="Sakkal Majalla" panose="02000000000000000000" pitchFamily="2" charset="-78"/>
                <a:cs typeface="Sakkal Majalla" panose="02000000000000000000" pitchFamily="2" charset="-78"/>
              </a:rPr>
              <a:t>  ركز  على المهام الأساسية ( معايير الأداء المدرسي) التي ستُقيم على نتائجها.</a:t>
            </a:r>
          </a:p>
          <a:p>
            <a:pPr algn="r" defTabSz="914400" rtl="1" fontAlgn="base" latinLnBrk="0">
              <a:lnSpc>
                <a:spcPct val="150000"/>
              </a:lnSpc>
              <a:spcBef>
                <a:spcPct val="0"/>
              </a:spcBef>
              <a:spcAft>
                <a:spcPct val="0"/>
              </a:spcAft>
              <a:buFontTx/>
              <a:buBlip>
                <a:blip r:embed="rId2"/>
              </a:buBlip>
              <a:defRPr/>
            </a:pPr>
            <a:r>
              <a:rPr lang="ar-SA" altLang="ar-SA" sz="2400" b="1" kern="0" dirty="0">
                <a:solidFill>
                  <a:srgbClr val="000000"/>
                </a:solidFill>
                <a:latin typeface="Sakkal Majalla" panose="02000000000000000000" pitchFamily="2" charset="-78"/>
                <a:cs typeface="Sakkal Majalla" panose="02000000000000000000" pitchFamily="2" charset="-78"/>
              </a:rPr>
              <a:t> لن نُسأل عن ماذا عملنا وماذا جربنا، بل سنُسأل عن نتائج تعلم طلابنا.</a:t>
            </a:r>
          </a:p>
          <a:p>
            <a:pPr algn="r" defTabSz="914400" rtl="1" fontAlgn="base" latinLnBrk="0">
              <a:lnSpc>
                <a:spcPct val="150000"/>
              </a:lnSpc>
              <a:spcBef>
                <a:spcPct val="0"/>
              </a:spcBef>
              <a:spcAft>
                <a:spcPct val="0"/>
              </a:spcAft>
              <a:buFontTx/>
              <a:buBlip>
                <a:blip r:embed="rId2"/>
              </a:buBlip>
              <a:defRPr/>
            </a:pPr>
            <a:r>
              <a:rPr lang="ar-SA" altLang="ar-SA" sz="2400" b="1" kern="0" dirty="0">
                <a:solidFill>
                  <a:srgbClr val="000000"/>
                </a:solidFill>
                <a:latin typeface="Sakkal Majalla" panose="02000000000000000000" pitchFamily="2" charset="-78"/>
                <a:cs typeface="Sakkal Majalla" panose="02000000000000000000" pitchFamily="2" charset="-78"/>
              </a:rPr>
              <a:t> الهدف النهائي هو تعلم الطلاب العميق.</a:t>
            </a:r>
          </a:p>
          <a:p>
            <a:pPr algn="r" defTabSz="914400" rtl="1" fontAlgn="base" latinLnBrk="0">
              <a:lnSpc>
                <a:spcPct val="150000"/>
              </a:lnSpc>
              <a:spcBef>
                <a:spcPct val="0"/>
              </a:spcBef>
              <a:spcAft>
                <a:spcPct val="0"/>
              </a:spcAft>
              <a:buFontTx/>
              <a:buBlip>
                <a:blip r:embed="rId2"/>
              </a:buBlip>
              <a:defRPr/>
            </a:pPr>
            <a:r>
              <a:rPr lang="ar-SA" altLang="ar-SA" sz="2400" b="1" kern="0" dirty="0">
                <a:solidFill>
                  <a:srgbClr val="000000"/>
                </a:solidFill>
                <a:latin typeface="Sakkal Majalla" panose="02000000000000000000" pitchFamily="2" charset="-78"/>
                <a:cs typeface="Sakkal Majalla" panose="02000000000000000000" pitchFamily="2" charset="-78"/>
              </a:rPr>
              <a:t> مهما قدمنا من عمل فلن يكون مجدي بدون أثر داخل الصف.</a:t>
            </a:r>
          </a:p>
          <a:p>
            <a:pPr algn="r" defTabSz="914400" rtl="1" fontAlgn="base" latinLnBrk="0">
              <a:lnSpc>
                <a:spcPct val="150000"/>
              </a:lnSpc>
              <a:spcBef>
                <a:spcPct val="0"/>
              </a:spcBef>
              <a:spcAft>
                <a:spcPct val="0"/>
              </a:spcAft>
              <a:buFontTx/>
              <a:buBlip>
                <a:blip r:embed="rId2"/>
              </a:buBlip>
              <a:defRPr/>
            </a:pPr>
            <a:r>
              <a:rPr lang="ar-SA" altLang="ar-SA" sz="2400" b="1" kern="0" dirty="0">
                <a:solidFill>
                  <a:srgbClr val="000000"/>
                </a:solidFill>
                <a:latin typeface="Sakkal Majalla" panose="02000000000000000000" pitchFamily="2" charset="-78"/>
                <a:cs typeface="Sakkal Majalla" panose="02000000000000000000" pitchFamily="2" charset="-78"/>
              </a:rPr>
              <a:t> الذي يحكم على نتائج عملنا هي جهات مستقلة وطنية ودولية.</a:t>
            </a:r>
          </a:p>
          <a:p>
            <a:pPr algn="r" defTabSz="914400" rtl="1" fontAlgn="base" latinLnBrk="0">
              <a:lnSpc>
                <a:spcPct val="150000"/>
              </a:lnSpc>
              <a:spcBef>
                <a:spcPct val="0"/>
              </a:spcBef>
              <a:spcAft>
                <a:spcPct val="0"/>
              </a:spcAft>
              <a:buFontTx/>
              <a:buBlip>
                <a:blip r:embed="rId2"/>
              </a:buBlip>
              <a:defRPr/>
            </a:pPr>
            <a:r>
              <a:rPr lang="ar-SA" altLang="ar-SA" sz="2400" b="1" kern="0" dirty="0">
                <a:solidFill>
                  <a:srgbClr val="000000"/>
                </a:solidFill>
                <a:latin typeface="Sakkal Majalla" panose="02000000000000000000" pitchFamily="2" charset="-78"/>
                <a:cs typeface="Sakkal Majalla" panose="02000000000000000000" pitchFamily="2" charset="-78"/>
              </a:rPr>
              <a:t> لا تخفِ التحديات، بل واجهها بوضوح.</a:t>
            </a:r>
          </a:p>
        </p:txBody>
      </p:sp>
    </p:spTree>
    <p:extLst>
      <p:ext uri="{BB962C8B-B14F-4D97-AF65-F5344CB8AC3E}">
        <p14:creationId xmlns:p14="http://schemas.microsoft.com/office/powerpoint/2010/main" val="41558228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arn(inVertical)">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47"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1000"/>
                                        <p:tgtEl>
                                          <p:spTgt spid="3"/>
                                        </p:tgtEl>
                                      </p:cBhvr>
                                    </p:animEffect>
                                    <p:anim calcmode="lin" valueType="num">
                                      <p:cBhvr>
                                        <p:cTn id="13" dur="1000" fill="hold"/>
                                        <p:tgtEl>
                                          <p:spTgt spid="3"/>
                                        </p:tgtEl>
                                        <p:attrNameLst>
                                          <p:attrName>ppt_x</p:attrName>
                                        </p:attrNameLst>
                                      </p:cBhvr>
                                      <p:tavLst>
                                        <p:tav tm="0">
                                          <p:val>
                                            <p:strVal val="#ppt_x"/>
                                          </p:val>
                                        </p:tav>
                                        <p:tav tm="100000">
                                          <p:val>
                                            <p:strVal val="#ppt_x"/>
                                          </p:val>
                                        </p:tav>
                                      </p:tavLst>
                                    </p:anim>
                                    <p:anim calcmode="lin" valueType="num">
                                      <p:cBhvr>
                                        <p:cTn id="14"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1F2A507F-CF32-E6F1-78C0-0F9E26FAEB47}"/>
              </a:ext>
            </a:extLst>
          </p:cNvPr>
          <p:cNvSpPr txBox="1">
            <a:spLocks/>
          </p:cNvSpPr>
          <p:nvPr/>
        </p:nvSpPr>
        <p:spPr bwMode="auto">
          <a:xfrm>
            <a:off x="610659" y="260649"/>
            <a:ext cx="10970683" cy="676588"/>
          </a:xfrm>
          <a:prstGeom prst="rect">
            <a:avLst/>
          </a:prstGeom>
          <a:noFill/>
          <a:ln w="9525">
            <a:noFill/>
            <a:miter lim="800000"/>
            <a:headEnd/>
            <a:tailEnd/>
          </a:ln>
          <a:effectLst/>
        </p:spPr>
        <p:txBody>
          <a:bodyPr vert="horz" wrap="square" lIns="121920" tIns="60960" rIns="121920" bIns="60960" numCol="1" anchor="ctr" anchorCtr="0" compatLnSpc="1">
            <a:prstTxWarp prst="textNoShape">
              <a:avLst/>
            </a:prstTxWarp>
          </a:bodyPr>
          <a:lstStyle>
            <a:lvl1pPr algn="l" rtl="0" fontAlgn="base">
              <a:spcBef>
                <a:spcPct val="0"/>
              </a:spcBef>
              <a:spcAft>
                <a:spcPct val="0"/>
              </a:spcAft>
              <a:buClr>
                <a:schemeClr val="tx1"/>
              </a:buClr>
              <a:defRPr sz="3200">
                <a:solidFill>
                  <a:schemeClr val="tx1"/>
                </a:solidFill>
                <a:latin typeface="+mj-lt"/>
                <a:ea typeface="+mj-ea"/>
                <a:cs typeface="+mj-cs"/>
              </a:defRPr>
            </a:lvl1pPr>
            <a:lvl2pPr algn="l" rtl="0" fontAlgn="base">
              <a:spcBef>
                <a:spcPct val="0"/>
              </a:spcBef>
              <a:spcAft>
                <a:spcPct val="0"/>
              </a:spcAft>
              <a:buClr>
                <a:schemeClr val="tx1"/>
              </a:buClr>
              <a:defRPr sz="3200">
                <a:solidFill>
                  <a:schemeClr val="tx1"/>
                </a:solidFill>
                <a:latin typeface="Arial" charset="0"/>
              </a:defRPr>
            </a:lvl2pPr>
            <a:lvl3pPr algn="l" rtl="0" fontAlgn="base">
              <a:spcBef>
                <a:spcPct val="0"/>
              </a:spcBef>
              <a:spcAft>
                <a:spcPct val="0"/>
              </a:spcAft>
              <a:buClr>
                <a:schemeClr val="tx1"/>
              </a:buClr>
              <a:defRPr sz="3200">
                <a:solidFill>
                  <a:schemeClr val="tx1"/>
                </a:solidFill>
                <a:latin typeface="Arial" charset="0"/>
              </a:defRPr>
            </a:lvl3pPr>
            <a:lvl4pPr algn="l" rtl="0" fontAlgn="base">
              <a:spcBef>
                <a:spcPct val="0"/>
              </a:spcBef>
              <a:spcAft>
                <a:spcPct val="0"/>
              </a:spcAft>
              <a:buClr>
                <a:schemeClr val="tx1"/>
              </a:buClr>
              <a:defRPr sz="3200">
                <a:solidFill>
                  <a:schemeClr val="tx1"/>
                </a:solidFill>
                <a:latin typeface="Arial" charset="0"/>
              </a:defRPr>
            </a:lvl4pPr>
            <a:lvl5pPr algn="l" rtl="0" fontAlgn="base">
              <a:spcBef>
                <a:spcPct val="0"/>
              </a:spcBef>
              <a:spcAft>
                <a:spcPct val="0"/>
              </a:spcAft>
              <a:buClr>
                <a:schemeClr val="tx1"/>
              </a:buClr>
              <a:defRPr sz="3200">
                <a:solidFill>
                  <a:schemeClr val="tx1"/>
                </a:solidFill>
                <a:latin typeface="Arial" charset="0"/>
              </a:defRPr>
            </a:lvl5pPr>
            <a:lvl6pPr marL="457200" algn="l" rtl="0" fontAlgn="base">
              <a:spcBef>
                <a:spcPct val="0"/>
              </a:spcBef>
              <a:spcAft>
                <a:spcPct val="0"/>
              </a:spcAft>
              <a:buClr>
                <a:schemeClr val="tx1"/>
              </a:buClr>
              <a:defRPr sz="3200">
                <a:solidFill>
                  <a:schemeClr val="tx1"/>
                </a:solidFill>
                <a:latin typeface="Arial" charset="0"/>
              </a:defRPr>
            </a:lvl6pPr>
            <a:lvl7pPr marL="914400" algn="l" rtl="0" fontAlgn="base">
              <a:spcBef>
                <a:spcPct val="0"/>
              </a:spcBef>
              <a:spcAft>
                <a:spcPct val="0"/>
              </a:spcAft>
              <a:buClr>
                <a:schemeClr val="tx1"/>
              </a:buClr>
              <a:defRPr sz="3200">
                <a:solidFill>
                  <a:schemeClr val="tx1"/>
                </a:solidFill>
                <a:latin typeface="Arial" charset="0"/>
              </a:defRPr>
            </a:lvl7pPr>
            <a:lvl8pPr marL="1371600" algn="l" rtl="0" fontAlgn="base">
              <a:spcBef>
                <a:spcPct val="0"/>
              </a:spcBef>
              <a:spcAft>
                <a:spcPct val="0"/>
              </a:spcAft>
              <a:buClr>
                <a:schemeClr val="tx1"/>
              </a:buClr>
              <a:defRPr sz="3200">
                <a:solidFill>
                  <a:schemeClr val="tx1"/>
                </a:solidFill>
                <a:latin typeface="Arial" charset="0"/>
              </a:defRPr>
            </a:lvl8pPr>
            <a:lvl9pPr marL="1828800" algn="l" rtl="0" fontAlgn="base">
              <a:spcBef>
                <a:spcPct val="0"/>
              </a:spcBef>
              <a:spcAft>
                <a:spcPct val="0"/>
              </a:spcAft>
              <a:buClr>
                <a:schemeClr val="tx1"/>
              </a:buClr>
              <a:defRPr sz="3200">
                <a:solidFill>
                  <a:schemeClr val="tx1"/>
                </a:solidFill>
                <a:latin typeface="Arial" charset="0"/>
              </a:defRPr>
            </a:lvl9pPr>
          </a:lstStyle>
          <a:p>
            <a:pPr algn="ctr" defTabSz="1219170">
              <a:buClr>
                <a:srgbClr val="28324A"/>
              </a:buClr>
            </a:pPr>
            <a:r>
              <a:rPr kumimoji="1" lang="ar-SA" altLang="ja-JP" b="1" kern="0" dirty="0">
                <a:solidFill>
                  <a:srgbClr val="7030A0"/>
                </a:solidFill>
                <a:latin typeface="Sakkal Majalla" panose="02000000000000000000" pitchFamily="2" charset="-78"/>
                <a:ea typeface="ＭＳ Ｐゴシック" panose="020B0600070205080204" pitchFamily="34" charset="-128"/>
                <a:cs typeface="Sakkal Majalla" panose="02000000000000000000" pitchFamily="2" charset="-78"/>
                <a:sym typeface="Arial"/>
              </a:rPr>
              <a:t>مكونات مجتمع التعليم</a:t>
            </a:r>
            <a:endParaRPr kumimoji="1" lang="ja-JP" altLang="en-US" b="1" kern="0" dirty="0">
              <a:solidFill>
                <a:srgbClr val="7030A0"/>
              </a:solidFill>
              <a:latin typeface="Sakkal Majalla" panose="02000000000000000000" pitchFamily="2" charset="-78"/>
              <a:ea typeface="ＭＳ Ｐゴシック" panose="020B0600070205080204" pitchFamily="34" charset="-128"/>
              <a:cs typeface="Sakkal Majalla" panose="02000000000000000000" pitchFamily="2" charset="-78"/>
              <a:sym typeface="Arial"/>
            </a:endParaRPr>
          </a:p>
        </p:txBody>
      </p:sp>
      <p:grpSp>
        <p:nvGrpSpPr>
          <p:cNvPr id="5" name="مجموعة 5">
            <a:extLst>
              <a:ext uri="{FF2B5EF4-FFF2-40B4-BE49-F238E27FC236}">
                <a16:creationId xmlns:a16="http://schemas.microsoft.com/office/drawing/2014/main" id="{19488BB8-A05B-D2EA-0304-5B028CBAEEF2}"/>
              </a:ext>
            </a:extLst>
          </p:cNvPr>
          <p:cNvGrpSpPr/>
          <p:nvPr/>
        </p:nvGrpSpPr>
        <p:grpSpPr>
          <a:xfrm>
            <a:off x="2664487" y="1412293"/>
            <a:ext cx="2635244" cy="2302137"/>
            <a:chOff x="3996332" y="0"/>
            <a:chExt cx="3471267" cy="2082760"/>
          </a:xfrm>
          <a:solidFill>
            <a:srgbClr val="00A7C8">
              <a:lumMod val="20000"/>
              <a:lumOff val="80000"/>
            </a:srgbClr>
          </a:solidFill>
          <a:scene3d>
            <a:camera prst="orthographicFront"/>
            <a:lightRig rig="flat" dir="t"/>
          </a:scene3d>
        </p:grpSpPr>
        <p:sp>
          <p:nvSpPr>
            <p:cNvPr id="6" name="مستطيل 5">
              <a:extLst>
                <a:ext uri="{FF2B5EF4-FFF2-40B4-BE49-F238E27FC236}">
                  <a16:creationId xmlns:a16="http://schemas.microsoft.com/office/drawing/2014/main" id="{74DD64FE-2EDF-5082-1C0F-A1E01A8CD3B7}"/>
                </a:ext>
              </a:extLst>
            </p:cNvPr>
            <p:cNvSpPr/>
            <p:nvPr/>
          </p:nvSpPr>
          <p:spPr>
            <a:xfrm>
              <a:off x="3996332" y="0"/>
              <a:ext cx="3471267" cy="2082760"/>
            </a:xfrm>
            <a:prstGeom prst="rect">
              <a:avLst/>
            </a:prstGeom>
            <a:grpFill/>
            <a:ln>
              <a:noFill/>
            </a:ln>
            <a:effectLst>
              <a:outerShdw blurRad="40000" dist="20000" dir="5400000" rotWithShape="0">
                <a:srgbClr val="000000">
                  <a:alpha val="38000"/>
                </a:srgbClr>
              </a:outerShdw>
            </a:effectLst>
            <a:sp3d prstMaterial="dkEdge">
              <a:bevelT w="8200" h="38100"/>
            </a:sp3d>
          </p:spPr>
          <p:txBody>
            <a:bodyPr/>
            <a:lstStyle/>
            <a:p>
              <a:pPr defTabSz="1218899"/>
              <a:endParaRPr lang="ar-SA" sz="2667">
                <a:solidFill>
                  <a:prstClr val="black"/>
                </a:solidFill>
                <a:latin typeface="Sakkal Majalla" panose="02000000000000000000" pitchFamily="2" charset="-78"/>
                <a:cs typeface="Sakkal Majalla" panose="02000000000000000000" pitchFamily="2" charset="-78"/>
              </a:endParaRPr>
            </a:p>
          </p:txBody>
        </p:sp>
        <p:sp>
          <p:nvSpPr>
            <p:cNvPr id="7" name="مستطيل 6">
              <a:extLst>
                <a:ext uri="{FF2B5EF4-FFF2-40B4-BE49-F238E27FC236}">
                  <a16:creationId xmlns:a16="http://schemas.microsoft.com/office/drawing/2014/main" id="{840FE982-74E7-9485-BDFE-585134E499A9}"/>
                </a:ext>
              </a:extLst>
            </p:cNvPr>
            <p:cNvSpPr/>
            <p:nvPr/>
          </p:nvSpPr>
          <p:spPr>
            <a:xfrm>
              <a:off x="3996332" y="0"/>
              <a:ext cx="3471267" cy="2082760"/>
            </a:xfrm>
            <a:prstGeom prst="rect">
              <a:avLst/>
            </a:prstGeom>
            <a:grpFill/>
            <a:ln>
              <a:noFill/>
            </a:ln>
            <a:effectLst/>
            <a:sp3d/>
          </p:spPr>
          <p:txBody>
            <a:bodyPr spcFirstLastPara="0" vert="horz" wrap="square" lIns="121920" tIns="121920" rIns="121920" bIns="121920" numCol="1" spcCol="1270" anchor="t" anchorCtr="0">
              <a:noAutofit/>
            </a:bodyPr>
            <a:lstStyle/>
            <a:p>
              <a:pPr algn="ctr" defTabSz="1955751" fontAlgn="base">
                <a:lnSpc>
                  <a:spcPct val="90000"/>
                </a:lnSpc>
                <a:spcBef>
                  <a:spcPct val="0"/>
                </a:spcBef>
                <a:spcAft>
                  <a:spcPct val="35000"/>
                </a:spcAft>
                <a:defRPr/>
              </a:pPr>
              <a:r>
                <a:rPr kumimoji="1" lang="ar-SA" altLang="ja-JP" sz="2667" b="1" kern="0" dirty="0">
                  <a:solidFill>
                    <a:srgbClr val="000000"/>
                  </a:solidFill>
                  <a:effectLst>
                    <a:outerShdw blurRad="38100" dist="38100" dir="2700000" algn="tl">
                      <a:srgbClr val="000000">
                        <a:alpha val="43137"/>
                      </a:srgbClr>
                    </a:outerShdw>
                  </a:effectLst>
                  <a:latin typeface="Sakkal Majalla" panose="02000000000000000000" pitchFamily="2" charset="-78"/>
                  <a:ea typeface="ＭＳ Ｐゴシック" panose="020B0600070205080204" pitchFamily="34" charset="-128"/>
                  <a:cs typeface="Sakkal Majalla" panose="02000000000000000000" pitchFamily="2" charset="-78"/>
                  <a:sym typeface="Arial"/>
                </a:rPr>
                <a:t>المجتمع</a:t>
              </a:r>
              <a:endParaRPr kumimoji="1" lang="ja-JP" altLang="en-US" sz="2667" b="1" kern="0" dirty="0">
                <a:solidFill>
                  <a:srgbClr val="000000"/>
                </a:solidFill>
                <a:effectLst>
                  <a:outerShdw blurRad="38100" dist="38100" dir="2700000" algn="tl">
                    <a:srgbClr val="000000">
                      <a:alpha val="43137"/>
                    </a:srgbClr>
                  </a:outerShdw>
                </a:effectLst>
                <a:latin typeface="Sakkal Majalla" panose="02000000000000000000" pitchFamily="2" charset="-78"/>
                <a:ea typeface="ＭＳ Ｐゴシック" panose="020B0600070205080204" pitchFamily="34" charset="-128"/>
                <a:cs typeface="Sakkal Majalla" panose="02000000000000000000" pitchFamily="2" charset="-78"/>
                <a:sym typeface="Arial"/>
              </a:endParaRPr>
            </a:p>
            <a:p>
              <a:pPr marL="304792" lvl="1" indent="-304792" defTabSz="1540895" fontAlgn="base">
                <a:lnSpc>
                  <a:spcPct val="90000"/>
                </a:lnSpc>
                <a:spcBef>
                  <a:spcPct val="0"/>
                </a:spcBef>
                <a:spcAft>
                  <a:spcPct val="15000"/>
                </a:spcAft>
                <a:buFontTx/>
                <a:buChar char="••"/>
                <a:defRPr/>
              </a:pPr>
              <a:r>
                <a:rPr kumimoji="1" lang="ar-SA" altLang="ja-JP" sz="2667" kern="0" dirty="0">
                  <a:solidFill>
                    <a:srgbClr val="000000"/>
                  </a:solidFill>
                  <a:latin typeface="Sakkal Majalla" panose="02000000000000000000" pitchFamily="2" charset="-78"/>
                  <a:ea typeface="ＭＳ Ｐゴシック" panose="020B0600070205080204" pitchFamily="34" charset="-128"/>
                  <a:cs typeface="Sakkal Majalla" panose="02000000000000000000" pitchFamily="2" charset="-78"/>
                  <a:sym typeface="Arial"/>
                </a:rPr>
                <a:t>الأسرة</a:t>
              </a:r>
              <a:endParaRPr kumimoji="1" lang="ja-JP" altLang="en-US" sz="2667" kern="0" dirty="0">
                <a:solidFill>
                  <a:srgbClr val="000000"/>
                </a:solidFill>
                <a:latin typeface="Sakkal Majalla" panose="02000000000000000000" pitchFamily="2" charset="-78"/>
                <a:ea typeface="ＭＳ Ｐゴシック" panose="020B0600070205080204" pitchFamily="34" charset="-128"/>
                <a:cs typeface="Sakkal Majalla" panose="02000000000000000000" pitchFamily="2" charset="-78"/>
                <a:sym typeface="Arial"/>
              </a:endParaRPr>
            </a:p>
            <a:p>
              <a:pPr marL="304792" lvl="1" indent="-304792" defTabSz="1422364" fontAlgn="base">
                <a:lnSpc>
                  <a:spcPct val="90000"/>
                </a:lnSpc>
                <a:spcBef>
                  <a:spcPct val="0"/>
                </a:spcBef>
                <a:spcAft>
                  <a:spcPct val="15000"/>
                </a:spcAft>
                <a:buFontTx/>
                <a:buChar char="••"/>
                <a:defRPr/>
              </a:pPr>
              <a:r>
                <a:rPr kumimoji="1" lang="ar-SA" altLang="ja-JP" sz="2667" kern="0" dirty="0">
                  <a:solidFill>
                    <a:srgbClr val="000000"/>
                  </a:solidFill>
                  <a:latin typeface="Sakkal Majalla" panose="02000000000000000000" pitchFamily="2" charset="-78"/>
                  <a:ea typeface="ＭＳ Ｐゴシック" panose="020B0600070205080204" pitchFamily="34" charset="-128"/>
                  <a:cs typeface="Sakkal Majalla" panose="02000000000000000000" pitchFamily="2" charset="-78"/>
                  <a:sym typeface="Arial"/>
                </a:rPr>
                <a:t>أفراد المجتمع</a:t>
              </a:r>
              <a:endParaRPr kumimoji="1" lang="en-US" altLang="ja-JP" sz="2667" kern="0" dirty="0">
                <a:solidFill>
                  <a:srgbClr val="000000"/>
                </a:solidFill>
                <a:latin typeface="Sakkal Majalla" panose="02000000000000000000" pitchFamily="2" charset="-78"/>
                <a:ea typeface="ＭＳ Ｐゴシック" panose="020B0600070205080204" pitchFamily="34" charset="-128"/>
                <a:cs typeface="Sakkal Majalla" panose="02000000000000000000" pitchFamily="2" charset="-78"/>
                <a:sym typeface="Arial"/>
              </a:endParaRPr>
            </a:p>
            <a:p>
              <a:pPr marL="304792" lvl="1" indent="-304792" defTabSz="1422364" fontAlgn="base">
                <a:lnSpc>
                  <a:spcPct val="90000"/>
                </a:lnSpc>
                <a:spcBef>
                  <a:spcPct val="0"/>
                </a:spcBef>
                <a:spcAft>
                  <a:spcPct val="15000"/>
                </a:spcAft>
                <a:buFontTx/>
                <a:buChar char="••"/>
                <a:defRPr/>
              </a:pPr>
              <a:r>
                <a:rPr kumimoji="1" lang="ar-SA" altLang="ja-JP" sz="2667" kern="0" dirty="0">
                  <a:solidFill>
                    <a:srgbClr val="000000"/>
                  </a:solidFill>
                  <a:latin typeface="Sakkal Majalla" panose="02000000000000000000" pitchFamily="2" charset="-78"/>
                  <a:ea typeface="ＭＳ Ｐゴシック" panose="020B0600070205080204" pitchFamily="34" charset="-128"/>
                  <a:cs typeface="Sakkal Majalla" panose="02000000000000000000" pitchFamily="2" charset="-78"/>
                  <a:sym typeface="Arial"/>
                </a:rPr>
                <a:t>المؤسسات</a:t>
              </a:r>
              <a:endParaRPr kumimoji="1" lang="ja-JP" altLang="en-US" sz="2667" kern="0" dirty="0">
                <a:solidFill>
                  <a:srgbClr val="000000"/>
                </a:solidFill>
                <a:latin typeface="Sakkal Majalla" panose="02000000000000000000" pitchFamily="2" charset="-78"/>
                <a:ea typeface="ＭＳ Ｐゴシック" panose="020B0600070205080204" pitchFamily="34" charset="-128"/>
                <a:cs typeface="Sakkal Majalla" panose="02000000000000000000" pitchFamily="2" charset="-78"/>
                <a:sym typeface="Arial"/>
              </a:endParaRPr>
            </a:p>
          </p:txBody>
        </p:sp>
      </p:grpSp>
      <p:grpSp>
        <p:nvGrpSpPr>
          <p:cNvPr id="8" name="مجموعة 8">
            <a:extLst>
              <a:ext uri="{FF2B5EF4-FFF2-40B4-BE49-F238E27FC236}">
                <a16:creationId xmlns:a16="http://schemas.microsoft.com/office/drawing/2014/main" id="{6C1DD307-84D4-6535-1445-69026742046F}"/>
              </a:ext>
            </a:extLst>
          </p:cNvPr>
          <p:cNvGrpSpPr/>
          <p:nvPr/>
        </p:nvGrpSpPr>
        <p:grpSpPr>
          <a:xfrm>
            <a:off x="6918993" y="1381365"/>
            <a:ext cx="2679695" cy="2302137"/>
            <a:chOff x="214316" y="-235386"/>
            <a:chExt cx="3471267" cy="2318146"/>
          </a:xfrm>
          <a:solidFill>
            <a:srgbClr val="00A7C8">
              <a:lumMod val="20000"/>
              <a:lumOff val="80000"/>
            </a:srgbClr>
          </a:solidFill>
          <a:scene3d>
            <a:camera prst="orthographicFront"/>
            <a:lightRig rig="flat" dir="t"/>
          </a:scene3d>
        </p:grpSpPr>
        <p:sp>
          <p:nvSpPr>
            <p:cNvPr id="9" name="مستطيل 8">
              <a:extLst>
                <a:ext uri="{FF2B5EF4-FFF2-40B4-BE49-F238E27FC236}">
                  <a16:creationId xmlns:a16="http://schemas.microsoft.com/office/drawing/2014/main" id="{23A5B9EA-D0A8-3CF6-7A5C-63DAA2CFD60A}"/>
                </a:ext>
              </a:extLst>
            </p:cNvPr>
            <p:cNvSpPr/>
            <p:nvPr/>
          </p:nvSpPr>
          <p:spPr>
            <a:xfrm>
              <a:off x="214316" y="0"/>
              <a:ext cx="3471267" cy="2082760"/>
            </a:xfrm>
            <a:prstGeom prst="rect">
              <a:avLst/>
            </a:prstGeom>
            <a:grpFill/>
            <a:ln>
              <a:noFill/>
            </a:ln>
            <a:effectLst>
              <a:outerShdw blurRad="40000" dist="20000" dir="5400000" rotWithShape="0">
                <a:srgbClr val="000000">
                  <a:alpha val="38000"/>
                </a:srgbClr>
              </a:outerShdw>
            </a:effectLst>
            <a:sp3d prstMaterial="dkEdge">
              <a:bevelT w="8200" h="38100"/>
            </a:sp3d>
          </p:spPr>
          <p:txBody>
            <a:bodyPr/>
            <a:lstStyle/>
            <a:p>
              <a:pPr defTabSz="1218899"/>
              <a:endParaRPr lang="ar-SA" sz="2667">
                <a:solidFill>
                  <a:prstClr val="black"/>
                </a:solidFill>
                <a:latin typeface="Sakkal Majalla" panose="02000000000000000000" pitchFamily="2" charset="-78"/>
                <a:cs typeface="Sakkal Majalla" panose="02000000000000000000" pitchFamily="2" charset="-78"/>
              </a:endParaRPr>
            </a:p>
          </p:txBody>
        </p:sp>
        <p:sp>
          <p:nvSpPr>
            <p:cNvPr id="10" name="مستطيل 9">
              <a:extLst>
                <a:ext uri="{FF2B5EF4-FFF2-40B4-BE49-F238E27FC236}">
                  <a16:creationId xmlns:a16="http://schemas.microsoft.com/office/drawing/2014/main" id="{6F84CAE3-8DF8-91B7-5CFE-D83D36408898}"/>
                </a:ext>
              </a:extLst>
            </p:cNvPr>
            <p:cNvSpPr/>
            <p:nvPr/>
          </p:nvSpPr>
          <p:spPr>
            <a:xfrm>
              <a:off x="214316" y="-235386"/>
              <a:ext cx="3471267" cy="2318146"/>
            </a:xfrm>
            <a:prstGeom prst="rect">
              <a:avLst/>
            </a:prstGeom>
            <a:grpFill/>
            <a:ln>
              <a:noFill/>
            </a:ln>
            <a:effectLst/>
            <a:sp3d/>
          </p:spPr>
          <p:txBody>
            <a:bodyPr spcFirstLastPara="0" vert="horz" wrap="square" lIns="172720" tIns="172720" rIns="172720" bIns="172720" numCol="1" spcCol="1270" anchor="t" anchorCtr="0">
              <a:noAutofit/>
            </a:bodyPr>
            <a:lstStyle/>
            <a:p>
              <a:pPr marL="0" lvl="1" algn="ctr" defTabSz="1600160" fontAlgn="base">
                <a:lnSpc>
                  <a:spcPct val="90000"/>
                </a:lnSpc>
                <a:spcBef>
                  <a:spcPct val="0"/>
                </a:spcBef>
                <a:spcAft>
                  <a:spcPct val="15000"/>
                </a:spcAft>
                <a:defRPr/>
              </a:pPr>
              <a:r>
                <a:rPr kumimoji="1" lang="ar-SA" altLang="ja-JP" sz="2667" b="1" kern="0" dirty="0">
                  <a:solidFill>
                    <a:srgbClr val="000000"/>
                  </a:solidFill>
                  <a:effectLst>
                    <a:outerShdw blurRad="38100" dist="38100" dir="2700000" algn="tl">
                      <a:srgbClr val="000000">
                        <a:alpha val="43137"/>
                      </a:srgbClr>
                    </a:outerShdw>
                  </a:effectLst>
                  <a:latin typeface="Sakkal Majalla" panose="02000000000000000000" pitchFamily="2" charset="-78"/>
                  <a:ea typeface="ＭＳ Ｐゴシック" panose="020B0600070205080204" pitchFamily="34" charset="-128"/>
                  <a:cs typeface="Sakkal Majalla" panose="02000000000000000000" pitchFamily="2" charset="-78"/>
                  <a:sym typeface="Arial"/>
                </a:rPr>
                <a:t>المدرسة</a:t>
              </a:r>
            </a:p>
            <a:p>
              <a:pPr marL="304792" lvl="1" indent="-304792" defTabSz="1600160" fontAlgn="base">
                <a:lnSpc>
                  <a:spcPct val="90000"/>
                </a:lnSpc>
                <a:spcBef>
                  <a:spcPct val="0"/>
                </a:spcBef>
                <a:spcAft>
                  <a:spcPct val="15000"/>
                </a:spcAft>
                <a:buFontTx/>
                <a:buChar char="••"/>
                <a:defRPr/>
              </a:pPr>
              <a:r>
                <a:rPr kumimoji="1" lang="ar-SA" altLang="ja-JP" sz="2667" kern="0" dirty="0">
                  <a:solidFill>
                    <a:srgbClr val="000000"/>
                  </a:solidFill>
                  <a:latin typeface="Sakkal Majalla" panose="02000000000000000000" pitchFamily="2" charset="-78"/>
                  <a:ea typeface="ＭＳ Ｐゴシック" panose="020B0600070205080204" pitchFamily="34" charset="-128"/>
                  <a:cs typeface="Sakkal Majalla" panose="02000000000000000000" pitchFamily="2" charset="-78"/>
                  <a:sym typeface="Arial"/>
                </a:rPr>
                <a:t>الطلاب</a:t>
              </a:r>
              <a:endParaRPr kumimoji="1" lang="ja-JP" altLang="en-US" sz="2667" kern="0" dirty="0">
                <a:solidFill>
                  <a:srgbClr val="000000"/>
                </a:solidFill>
                <a:latin typeface="Sakkal Majalla" panose="02000000000000000000" pitchFamily="2" charset="-78"/>
                <a:ea typeface="ＭＳ Ｐゴシック" panose="020B0600070205080204" pitchFamily="34" charset="-128"/>
                <a:cs typeface="Sakkal Majalla" panose="02000000000000000000" pitchFamily="2" charset="-78"/>
                <a:sym typeface="Arial"/>
              </a:endParaRPr>
            </a:p>
            <a:p>
              <a:pPr marL="304792" lvl="1" indent="-304792" defTabSz="1600160" fontAlgn="base">
                <a:lnSpc>
                  <a:spcPct val="90000"/>
                </a:lnSpc>
                <a:spcBef>
                  <a:spcPct val="0"/>
                </a:spcBef>
                <a:spcAft>
                  <a:spcPct val="15000"/>
                </a:spcAft>
                <a:buFontTx/>
                <a:buChar char="••"/>
                <a:defRPr/>
              </a:pPr>
              <a:r>
                <a:rPr kumimoji="1" lang="ar-SA" altLang="ja-JP" sz="2667" kern="0" dirty="0">
                  <a:solidFill>
                    <a:srgbClr val="000000"/>
                  </a:solidFill>
                  <a:latin typeface="Sakkal Majalla" panose="02000000000000000000" pitchFamily="2" charset="-78"/>
                  <a:ea typeface="ＭＳ Ｐゴシック" panose="020B0600070205080204" pitchFamily="34" charset="-128"/>
                  <a:cs typeface="Sakkal Majalla" panose="02000000000000000000" pitchFamily="2" charset="-78"/>
                  <a:sym typeface="Arial"/>
                </a:rPr>
                <a:t>المعلمين</a:t>
              </a:r>
            </a:p>
            <a:p>
              <a:pPr marL="304792" lvl="1" indent="-304792" defTabSz="1600160" fontAlgn="base">
                <a:lnSpc>
                  <a:spcPct val="90000"/>
                </a:lnSpc>
                <a:spcBef>
                  <a:spcPct val="0"/>
                </a:spcBef>
                <a:spcAft>
                  <a:spcPct val="15000"/>
                </a:spcAft>
                <a:buFontTx/>
                <a:buChar char="••"/>
                <a:defRPr/>
              </a:pPr>
              <a:r>
                <a:rPr kumimoji="1" lang="ar-SA" altLang="ja-JP" sz="2667" kern="0" dirty="0">
                  <a:solidFill>
                    <a:srgbClr val="000000"/>
                  </a:solidFill>
                  <a:latin typeface="Sakkal Majalla" panose="02000000000000000000" pitchFamily="2" charset="-78"/>
                  <a:ea typeface="ＭＳ Ｐゴシック" panose="020B0600070205080204" pitchFamily="34" charset="-128"/>
                  <a:cs typeface="Sakkal Majalla" panose="02000000000000000000" pitchFamily="2" charset="-78"/>
                  <a:sym typeface="Arial"/>
                </a:rPr>
                <a:t>المدير</a:t>
              </a:r>
              <a:endParaRPr kumimoji="1" lang="ja-JP" altLang="en-US" sz="2667" kern="0" dirty="0">
                <a:solidFill>
                  <a:srgbClr val="000000"/>
                </a:solidFill>
                <a:latin typeface="Sakkal Majalla" panose="02000000000000000000" pitchFamily="2" charset="-78"/>
                <a:ea typeface="ＭＳ Ｐゴシック" panose="020B0600070205080204" pitchFamily="34" charset="-128"/>
                <a:cs typeface="Sakkal Majalla" panose="02000000000000000000" pitchFamily="2" charset="-78"/>
                <a:sym typeface="Arial"/>
              </a:endParaRPr>
            </a:p>
          </p:txBody>
        </p:sp>
      </p:grpSp>
      <p:grpSp>
        <p:nvGrpSpPr>
          <p:cNvPr id="11" name="مجموعة 11">
            <a:extLst>
              <a:ext uri="{FF2B5EF4-FFF2-40B4-BE49-F238E27FC236}">
                <a16:creationId xmlns:a16="http://schemas.microsoft.com/office/drawing/2014/main" id="{DCFF71CA-DCE5-8BAD-F571-3519F5560545}"/>
              </a:ext>
            </a:extLst>
          </p:cNvPr>
          <p:cNvGrpSpPr/>
          <p:nvPr/>
        </p:nvGrpSpPr>
        <p:grpSpPr>
          <a:xfrm>
            <a:off x="4175787" y="4585366"/>
            <a:ext cx="4038600" cy="1531933"/>
            <a:chOff x="2386635" y="2433674"/>
            <a:chExt cx="3471267" cy="2082760"/>
          </a:xfrm>
          <a:solidFill>
            <a:srgbClr val="00A7C8">
              <a:lumMod val="20000"/>
              <a:lumOff val="80000"/>
            </a:srgbClr>
          </a:solidFill>
          <a:scene3d>
            <a:camera prst="orthographicFront"/>
            <a:lightRig rig="flat" dir="t"/>
          </a:scene3d>
        </p:grpSpPr>
        <p:sp>
          <p:nvSpPr>
            <p:cNvPr id="12" name="مستطيل 11">
              <a:extLst>
                <a:ext uri="{FF2B5EF4-FFF2-40B4-BE49-F238E27FC236}">
                  <a16:creationId xmlns:a16="http://schemas.microsoft.com/office/drawing/2014/main" id="{166E17ED-BEE9-2869-D5C6-17F79B8E1DEB}"/>
                </a:ext>
              </a:extLst>
            </p:cNvPr>
            <p:cNvSpPr/>
            <p:nvPr/>
          </p:nvSpPr>
          <p:spPr>
            <a:xfrm>
              <a:off x="2386635" y="2433674"/>
              <a:ext cx="3471267" cy="2082760"/>
            </a:xfrm>
            <a:prstGeom prst="rect">
              <a:avLst/>
            </a:prstGeom>
            <a:grpFill/>
            <a:ln>
              <a:noFill/>
            </a:ln>
            <a:effectLst>
              <a:outerShdw blurRad="40000" dist="20000" dir="5400000" rotWithShape="0">
                <a:srgbClr val="000000">
                  <a:alpha val="38000"/>
                </a:srgbClr>
              </a:outerShdw>
            </a:effectLst>
            <a:sp3d prstMaterial="dkEdge">
              <a:bevelT w="8200" h="38100"/>
            </a:sp3d>
          </p:spPr>
          <p:txBody>
            <a:bodyPr/>
            <a:lstStyle/>
            <a:p>
              <a:pPr defTabSz="1218899"/>
              <a:endParaRPr lang="ar-SA" sz="2667">
                <a:solidFill>
                  <a:prstClr val="black"/>
                </a:solidFill>
                <a:latin typeface="Sakkal Majalla" panose="02000000000000000000" pitchFamily="2" charset="-78"/>
                <a:cs typeface="Sakkal Majalla" panose="02000000000000000000" pitchFamily="2" charset="-78"/>
              </a:endParaRPr>
            </a:p>
          </p:txBody>
        </p:sp>
        <p:sp>
          <p:nvSpPr>
            <p:cNvPr id="13" name="مستطيل 12">
              <a:extLst>
                <a:ext uri="{FF2B5EF4-FFF2-40B4-BE49-F238E27FC236}">
                  <a16:creationId xmlns:a16="http://schemas.microsoft.com/office/drawing/2014/main" id="{6CC5F3D5-34E8-76FE-5B2E-99A99B119B59}"/>
                </a:ext>
              </a:extLst>
            </p:cNvPr>
            <p:cNvSpPr/>
            <p:nvPr/>
          </p:nvSpPr>
          <p:spPr>
            <a:xfrm>
              <a:off x="2386635" y="2433674"/>
              <a:ext cx="3471267" cy="2082760"/>
            </a:xfrm>
            <a:prstGeom prst="rect">
              <a:avLst/>
            </a:prstGeom>
            <a:grpFill/>
            <a:ln>
              <a:noFill/>
            </a:ln>
            <a:effectLst/>
            <a:sp3d/>
          </p:spPr>
          <p:txBody>
            <a:bodyPr spcFirstLastPara="0" vert="horz" wrap="square" lIns="172720" tIns="172720" rIns="172720" bIns="172720" numCol="1" spcCol="1270" anchor="t" anchorCtr="0">
              <a:noAutofit/>
            </a:bodyPr>
            <a:lstStyle/>
            <a:p>
              <a:pPr algn="ctr" defTabSz="2015016" fontAlgn="base">
                <a:lnSpc>
                  <a:spcPct val="90000"/>
                </a:lnSpc>
                <a:spcBef>
                  <a:spcPct val="0"/>
                </a:spcBef>
                <a:spcAft>
                  <a:spcPct val="35000"/>
                </a:spcAft>
                <a:defRPr/>
              </a:pPr>
              <a:r>
                <a:rPr kumimoji="1" lang="ar-SA" altLang="ja-JP" sz="2667" b="1" kern="0" dirty="0">
                  <a:solidFill>
                    <a:srgbClr val="000000"/>
                  </a:solidFill>
                  <a:effectLst>
                    <a:outerShdw blurRad="38100" dist="38100" dir="2700000" algn="tl">
                      <a:srgbClr val="000000">
                        <a:alpha val="43137"/>
                      </a:srgbClr>
                    </a:outerShdw>
                  </a:effectLst>
                  <a:latin typeface="Sakkal Majalla" panose="02000000000000000000" pitchFamily="2" charset="-78"/>
                  <a:ea typeface="ＭＳ Ｐゴシック" panose="020B0600070205080204" pitchFamily="34" charset="-128"/>
                  <a:cs typeface="Sakkal Majalla" panose="02000000000000000000" pitchFamily="2" charset="-78"/>
                  <a:sym typeface="Arial"/>
                </a:rPr>
                <a:t>الوزارة</a:t>
              </a:r>
              <a:endParaRPr kumimoji="1" lang="ja-JP" altLang="en-US" sz="2667" b="1" kern="0" dirty="0">
                <a:solidFill>
                  <a:srgbClr val="000000"/>
                </a:solidFill>
                <a:effectLst>
                  <a:outerShdw blurRad="38100" dist="38100" dir="2700000" algn="tl">
                    <a:srgbClr val="000000">
                      <a:alpha val="43137"/>
                    </a:srgbClr>
                  </a:outerShdw>
                </a:effectLst>
                <a:latin typeface="Sakkal Majalla" panose="02000000000000000000" pitchFamily="2" charset="-78"/>
                <a:ea typeface="ＭＳ Ｐゴシック" panose="020B0600070205080204" pitchFamily="34" charset="-128"/>
                <a:cs typeface="Sakkal Majalla" panose="02000000000000000000" pitchFamily="2" charset="-78"/>
                <a:sym typeface="Arial"/>
              </a:endParaRPr>
            </a:p>
            <a:p>
              <a:pPr marL="304792" lvl="1" indent="-304792" algn="ctr" defTabSz="1600160" fontAlgn="base">
                <a:lnSpc>
                  <a:spcPct val="90000"/>
                </a:lnSpc>
                <a:spcBef>
                  <a:spcPct val="0"/>
                </a:spcBef>
                <a:spcAft>
                  <a:spcPct val="15000"/>
                </a:spcAft>
                <a:buFontTx/>
                <a:buChar char="••"/>
                <a:defRPr/>
              </a:pPr>
              <a:r>
                <a:rPr kumimoji="1" lang="ar-SA" altLang="ja-JP" sz="2667" kern="0" dirty="0">
                  <a:solidFill>
                    <a:srgbClr val="000000"/>
                  </a:solidFill>
                  <a:latin typeface="Sakkal Majalla" panose="02000000000000000000" pitchFamily="2" charset="-78"/>
                  <a:ea typeface="ＭＳ Ｐゴシック" panose="020B0600070205080204" pitchFamily="34" charset="-128"/>
                  <a:cs typeface="Sakkal Majalla" panose="02000000000000000000" pitchFamily="2" charset="-78"/>
                  <a:sym typeface="Arial"/>
                </a:rPr>
                <a:t>إدارة التعليم</a:t>
              </a:r>
              <a:endParaRPr kumimoji="1" lang="ja-JP" altLang="en-US" sz="2667" kern="0" dirty="0">
                <a:solidFill>
                  <a:srgbClr val="000000"/>
                </a:solidFill>
                <a:latin typeface="Sakkal Majalla" panose="02000000000000000000" pitchFamily="2" charset="-78"/>
                <a:ea typeface="ＭＳ Ｐゴシック" panose="020B0600070205080204" pitchFamily="34" charset="-128"/>
                <a:cs typeface="Sakkal Majalla" panose="02000000000000000000" pitchFamily="2" charset="-78"/>
                <a:sym typeface="Arial"/>
              </a:endParaRPr>
            </a:p>
            <a:p>
              <a:pPr marL="304792" lvl="1" indent="-304792" algn="ctr" defTabSz="1600160" fontAlgn="base">
                <a:lnSpc>
                  <a:spcPct val="90000"/>
                </a:lnSpc>
                <a:spcBef>
                  <a:spcPct val="0"/>
                </a:spcBef>
                <a:spcAft>
                  <a:spcPct val="15000"/>
                </a:spcAft>
                <a:buFontTx/>
                <a:buChar char="••"/>
                <a:defRPr/>
              </a:pPr>
              <a:r>
                <a:rPr kumimoji="1" lang="ar-SA" altLang="ja-JP" sz="2667" kern="0" dirty="0">
                  <a:solidFill>
                    <a:srgbClr val="000000"/>
                  </a:solidFill>
                  <a:latin typeface="Sakkal Majalla" panose="02000000000000000000" pitchFamily="2" charset="-78"/>
                  <a:ea typeface="ＭＳ Ｐゴシック" panose="020B0600070205080204" pitchFamily="34" charset="-128"/>
                  <a:cs typeface="Sakkal Majalla" panose="02000000000000000000" pitchFamily="2" charset="-78"/>
                  <a:sym typeface="Arial"/>
                </a:rPr>
                <a:t>مكاتب التعليم</a:t>
              </a:r>
              <a:endParaRPr kumimoji="1" lang="ja-JP" altLang="en-US" sz="2667" kern="0" dirty="0">
                <a:solidFill>
                  <a:srgbClr val="000000"/>
                </a:solidFill>
                <a:latin typeface="Sakkal Majalla" panose="02000000000000000000" pitchFamily="2" charset="-78"/>
                <a:ea typeface="ＭＳ Ｐゴシック" panose="020B0600070205080204" pitchFamily="34" charset="-128"/>
                <a:cs typeface="Sakkal Majalla" panose="02000000000000000000" pitchFamily="2" charset="-78"/>
                <a:sym typeface="Arial"/>
              </a:endParaRPr>
            </a:p>
          </p:txBody>
        </p:sp>
      </p:grpSp>
      <p:cxnSp>
        <p:nvCxnSpPr>
          <p:cNvPr id="14" name="رابط كسهم مستقيم 13">
            <a:extLst>
              <a:ext uri="{FF2B5EF4-FFF2-40B4-BE49-F238E27FC236}">
                <a16:creationId xmlns:a16="http://schemas.microsoft.com/office/drawing/2014/main" id="{16CC8631-5826-F641-A5D3-0262DA26D7A8}"/>
              </a:ext>
            </a:extLst>
          </p:cNvPr>
          <p:cNvCxnSpPr/>
          <p:nvPr/>
        </p:nvCxnSpPr>
        <p:spPr>
          <a:xfrm rot="10800000">
            <a:off x="5299731" y="2579022"/>
            <a:ext cx="1619261" cy="2117"/>
          </a:xfrm>
          <a:prstGeom prst="straightConnector1">
            <a:avLst/>
          </a:prstGeom>
          <a:noFill/>
          <a:ln w="19050" cap="flat" cmpd="sng" algn="ctr">
            <a:solidFill>
              <a:srgbClr val="000000">
                <a:lumMod val="95000"/>
                <a:lumOff val="5000"/>
              </a:srgbClr>
            </a:solidFill>
            <a:prstDash val="solid"/>
            <a:headEnd type="triangle" w="med" len="med"/>
            <a:tailEnd type="triangle" w="med" len="med"/>
          </a:ln>
          <a:effectLst/>
        </p:spPr>
      </p:cxnSp>
      <p:cxnSp>
        <p:nvCxnSpPr>
          <p:cNvPr id="15" name="رابط كسهم مستقيم 14">
            <a:extLst>
              <a:ext uri="{FF2B5EF4-FFF2-40B4-BE49-F238E27FC236}">
                <a16:creationId xmlns:a16="http://schemas.microsoft.com/office/drawing/2014/main" id="{D864BA1C-5FE5-5D9C-CA91-5E11D64A6EA2}"/>
              </a:ext>
            </a:extLst>
          </p:cNvPr>
          <p:cNvCxnSpPr/>
          <p:nvPr/>
        </p:nvCxnSpPr>
        <p:spPr>
          <a:xfrm rot="5400000">
            <a:off x="7060809" y="4148839"/>
            <a:ext cx="857256" cy="2117"/>
          </a:xfrm>
          <a:prstGeom prst="straightConnector1">
            <a:avLst/>
          </a:prstGeom>
          <a:noFill/>
          <a:ln w="19050" cap="flat" cmpd="sng" algn="ctr">
            <a:solidFill>
              <a:srgbClr val="000000">
                <a:lumMod val="95000"/>
                <a:lumOff val="5000"/>
              </a:srgbClr>
            </a:solidFill>
            <a:prstDash val="solid"/>
            <a:headEnd type="triangle" w="med" len="med"/>
            <a:tailEnd type="triangle" w="med" len="med"/>
          </a:ln>
          <a:effectLst/>
        </p:spPr>
      </p:cxnSp>
      <p:cxnSp>
        <p:nvCxnSpPr>
          <p:cNvPr id="16" name="رابط كسهم مستقيم 15">
            <a:extLst>
              <a:ext uri="{FF2B5EF4-FFF2-40B4-BE49-F238E27FC236}">
                <a16:creationId xmlns:a16="http://schemas.microsoft.com/office/drawing/2014/main" id="{167C82B4-12D3-74F2-1EE0-6A222B137D00}"/>
              </a:ext>
            </a:extLst>
          </p:cNvPr>
          <p:cNvCxnSpPr/>
          <p:nvPr/>
        </p:nvCxnSpPr>
        <p:spPr>
          <a:xfrm rot="5400000">
            <a:off x="4395908" y="4148839"/>
            <a:ext cx="857256" cy="2117"/>
          </a:xfrm>
          <a:prstGeom prst="straightConnector1">
            <a:avLst/>
          </a:prstGeom>
          <a:noFill/>
          <a:ln w="19050" cap="flat" cmpd="sng" algn="ctr">
            <a:solidFill>
              <a:srgbClr val="000000">
                <a:lumMod val="95000"/>
                <a:lumOff val="5000"/>
              </a:srgbClr>
            </a:solidFill>
            <a:prstDash val="solid"/>
            <a:headEnd type="triangle" w="med" len="med"/>
            <a:tailEnd type="triangle" w="med" len="med"/>
          </a:ln>
          <a:effectLst/>
        </p:spPr>
      </p:cxnSp>
    </p:spTree>
    <p:extLst>
      <p:ext uri="{BB962C8B-B14F-4D97-AF65-F5344CB8AC3E}">
        <p14:creationId xmlns:p14="http://schemas.microsoft.com/office/powerpoint/2010/main" val="24431491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7" presetClass="entr" presetSubtype="1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 calcmode="lin" valueType="num">
                                      <p:cBhvr>
                                        <p:cTn id="12" dur="500" fill="hold"/>
                                        <p:tgtEl>
                                          <p:spTgt spid="8"/>
                                        </p:tgtEl>
                                        <p:attrNameLst>
                                          <p:attrName>ppt_w</p:attrName>
                                        </p:attrNameLst>
                                      </p:cBhvr>
                                      <p:tavLst>
                                        <p:tav tm="0">
                                          <p:val>
                                            <p:fltVal val="0"/>
                                          </p:val>
                                        </p:tav>
                                        <p:tav tm="100000">
                                          <p:val>
                                            <p:strVal val="#ppt_w"/>
                                          </p:val>
                                        </p:tav>
                                      </p:tavLst>
                                    </p:anim>
                                    <p:anim calcmode="lin" valueType="num">
                                      <p:cBhvr>
                                        <p:cTn id="13" dur="500" fill="hold"/>
                                        <p:tgtEl>
                                          <p:spTgt spid="8"/>
                                        </p:tgtEl>
                                        <p:attrNameLst>
                                          <p:attrName>ppt_h</p:attrName>
                                        </p:attrNameLst>
                                      </p:cBhvr>
                                      <p:tavLst>
                                        <p:tav tm="0">
                                          <p:val>
                                            <p:strVal val="#ppt_h"/>
                                          </p:val>
                                        </p:tav>
                                        <p:tav tm="100000">
                                          <p:val>
                                            <p:strVal val="#ppt_h"/>
                                          </p:val>
                                        </p:tav>
                                      </p:tavLst>
                                    </p:anim>
                                  </p:childTnLst>
                                </p:cTn>
                              </p:par>
                            </p:childTnLst>
                          </p:cTn>
                        </p:par>
                      </p:childTnLst>
                    </p:cTn>
                  </p:par>
                  <p:par>
                    <p:cTn id="14" fill="hold">
                      <p:stCondLst>
                        <p:cond delay="indefinite"/>
                      </p:stCondLst>
                      <p:childTnLst>
                        <p:par>
                          <p:cTn id="15" fill="hold">
                            <p:stCondLst>
                              <p:cond delay="0"/>
                            </p:stCondLst>
                            <p:childTnLst>
                              <p:par>
                                <p:cTn id="16" presetID="17" presetClass="entr" presetSubtype="10" fill="hold" nodeType="clickEffect">
                                  <p:stCondLst>
                                    <p:cond delay="0"/>
                                  </p:stCondLst>
                                  <p:childTnLst>
                                    <p:set>
                                      <p:cBhvr>
                                        <p:cTn id="17" dur="1" fill="hold">
                                          <p:stCondLst>
                                            <p:cond delay="0"/>
                                          </p:stCondLst>
                                        </p:cTn>
                                        <p:tgtEl>
                                          <p:spTgt spid="5"/>
                                        </p:tgtEl>
                                        <p:attrNameLst>
                                          <p:attrName>style.visibility</p:attrName>
                                        </p:attrNameLst>
                                      </p:cBhvr>
                                      <p:to>
                                        <p:strVal val="visible"/>
                                      </p:to>
                                    </p:set>
                                    <p:anim calcmode="lin" valueType="num">
                                      <p:cBhvr>
                                        <p:cTn id="18" dur="500" fill="hold"/>
                                        <p:tgtEl>
                                          <p:spTgt spid="5"/>
                                        </p:tgtEl>
                                        <p:attrNameLst>
                                          <p:attrName>ppt_w</p:attrName>
                                        </p:attrNameLst>
                                      </p:cBhvr>
                                      <p:tavLst>
                                        <p:tav tm="0">
                                          <p:val>
                                            <p:fltVal val="0"/>
                                          </p:val>
                                        </p:tav>
                                        <p:tav tm="100000">
                                          <p:val>
                                            <p:strVal val="#ppt_w"/>
                                          </p:val>
                                        </p:tav>
                                      </p:tavLst>
                                    </p:anim>
                                    <p:anim calcmode="lin" valueType="num">
                                      <p:cBhvr>
                                        <p:cTn id="19" dur="500" fill="hold"/>
                                        <p:tgtEl>
                                          <p:spTgt spid="5"/>
                                        </p:tgtEl>
                                        <p:attrNameLst>
                                          <p:attrName>ppt_h</p:attrName>
                                        </p:attrNameLst>
                                      </p:cBhvr>
                                      <p:tavLst>
                                        <p:tav tm="0">
                                          <p:val>
                                            <p:strVal val="#ppt_h"/>
                                          </p:val>
                                        </p:tav>
                                        <p:tav tm="100000">
                                          <p:val>
                                            <p:strVal val="#ppt_h"/>
                                          </p:val>
                                        </p:tav>
                                      </p:tavLst>
                                    </p:anim>
                                  </p:childTnLst>
                                </p:cTn>
                              </p:par>
                            </p:childTnLst>
                          </p:cTn>
                        </p:par>
                      </p:childTnLst>
                    </p:cTn>
                  </p:par>
                  <p:par>
                    <p:cTn id="20" fill="hold">
                      <p:stCondLst>
                        <p:cond delay="indefinite"/>
                      </p:stCondLst>
                      <p:childTnLst>
                        <p:par>
                          <p:cTn id="21" fill="hold">
                            <p:stCondLst>
                              <p:cond delay="0"/>
                            </p:stCondLst>
                            <p:childTnLst>
                              <p:par>
                                <p:cTn id="22" presetID="17" presetClass="entr" presetSubtype="10" fill="hold" nodeType="clickEffect">
                                  <p:stCondLst>
                                    <p:cond delay="0"/>
                                  </p:stCondLst>
                                  <p:childTnLst>
                                    <p:set>
                                      <p:cBhvr>
                                        <p:cTn id="23" dur="1" fill="hold">
                                          <p:stCondLst>
                                            <p:cond delay="0"/>
                                          </p:stCondLst>
                                        </p:cTn>
                                        <p:tgtEl>
                                          <p:spTgt spid="11"/>
                                        </p:tgtEl>
                                        <p:attrNameLst>
                                          <p:attrName>style.visibility</p:attrName>
                                        </p:attrNameLst>
                                      </p:cBhvr>
                                      <p:to>
                                        <p:strVal val="visible"/>
                                      </p:to>
                                    </p:set>
                                    <p:anim calcmode="lin" valueType="num">
                                      <p:cBhvr>
                                        <p:cTn id="24" dur="500" fill="hold"/>
                                        <p:tgtEl>
                                          <p:spTgt spid="11"/>
                                        </p:tgtEl>
                                        <p:attrNameLst>
                                          <p:attrName>ppt_w</p:attrName>
                                        </p:attrNameLst>
                                      </p:cBhvr>
                                      <p:tavLst>
                                        <p:tav tm="0">
                                          <p:val>
                                            <p:fltVal val="0"/>
                                          </p:val>
                                        </p:tav>
                                        <p:tav tm="100000">
                                          <p:val>
                                            <p:strVal val="#ppt_w"/>
                                          </p:val>
                                        </p:tav>
                                      </p:tavLst>
                                    </p:anim>
                                    <p:anim calcmode="lin" valueType="num">
                                      <p:cBhvr>
                                        <p:cTn id="25" dur="500" fill="hold"/>
                                        <p:tgtEl>
                                          <p:spTgt spid="11"/>
                                        </p:tgtEl>
                                        <p:attrNameLst>
                                          <p:attrName>ppt_h</p:attrName>
                                        </p:attrNameLst>
                                      </p:cBhvr>
                                      <p:tavLst>
                                        <p:tav tm="0">
                                          <p:val>
                                            <p:strVal val="#ppt_h"/>
                                          </p:val>
                                        </p:tav>
                                        <p:tav tm="100000">
                                          <p:val>
                                            <p:strVal val="#ppt_h"/>
                                          </p:val>
                                        </p:tav>
                                      </p:tavLst>
                                    </p:anim>
                                  </p:childTnLst>
                                </p:cTn>
                              </p:par>
                            </p:childTnLst>
                          </p:cTn>
                        </p:par>
                        <p:par>
                          <p:cTn id="26" fill="hold">
                            <p:stCondLst>
                              <p:cond delay="500"/>
                            </p:stCondLst>
                            <p:childTnLst>
                              <p:par>
                                <p:cTn id="27" presetID="55" presetClass="entr" presetSubtype="0" fill="hold" nodeType="afterEffect">
                                  <p:stCondLst>
                                    <p:cond delay="0"/>
                                  </p:stCondLst>
                                  <p:childTnLst>
                                    <p:set>
                                      <p:cBhvr>
                                        <p:cTn id="28" dur="1" fill="hold">
                                          <p:stCondLst>
                                            <p:cond delay="0"/>
                                          </p:stCondLst>
                                        </p:cTn>
                                        <p:tgtEl>
                                          <p:spTgt spid="14"/>
                                        </p:tgtEl>
                                        <p:attrNameLst>
                                          <p:attrName>style.visibility</p:attrName>
                                        </p:attrNameLst>
                                      </p:cBhvr>
                                      <p:to>
                                        <p:strVal val="visible"/>
                                      </p:to>
                                    </p:set>
                                    <p:anim calcmode="lin" valueType="num">
                                      <p:cBhvr>
                                        <p:cTn id="29" dur="1000" fill="hold"/>
                                        <p:tgtEl>
                                          <p:spTgt spid="14"/>
                                        </p:tgtEl>
                                        <p:attrNameLst>
                                          <p:attrName>ppt_w</p:attrName>
                                        </p:attrNameLst>
                                      </p:cBhvr>
                                      <p:tavLst>
                                        <p:tav tm="0">
                                          <p:val>
                                            <p:strVal val="#ppt_w*0.70"/>
                                          </p:val>
                                        </p:tav>
                                        <p:tav tm="100000">
                                          <p:val>
                                            <p:strVal val="#ppt_w"/>
                                          </p:val>
                                        </p:tav>
                                      </p:tavLst>
                                    </p:anim>
                                    <p:anim calcmode="lin" valueType="num">
                                      <p:cBhvr>
                                        <p:cTn id="30" dur="1000" fill="hold"/>
                                        <p:tgtEl>
                                          <p:spTgt spid="14"/>
                                        </p:tgtEl>
                                        <p:attrNameLst>
                                          <p:attrName>ppt_h</p:attrName>
                                        </p:attrNameLst>
                                      </p:cBhvr>
                                      <p:tavLst>
                                        <p:tav tm="0">
                                          <p:val>
                                            <p:strVal val="#ppt_h"/>
                                          </p:val>
                                        </p:tav>
                                        <p:tav tm="100000">
                                          <p:val>
                                            <p:strVal val="#ppt_h"/>
                                          </p:val>
                                        </p:tav>
                                      </p:tavLst>
                                    </p:anim>
                                    <p:animEffect transition="in" filter="fade">
                                      <p:cBhvr>
                                        <p:cTn id="31" dur="1000"/>
                                        <p:tgtEl>
                                          <p:spTgt spid="14"/>
                                        </p:tgtEl>
                                      </p:cBhvr>
                                    </p:animEffect>
                                  </p:childTnLst>
                                </p:cTn>
                              </p:par>
                            </p:childTnLst>
                          </p:cTn>
                        </p:par>
                        <p:par>
                          <p:cTn id="32" fill="hold">
                            <p:stCondLst>
                              <p:cond delay="1500"/>
                            </p:stCondLst>
                            <p:childTnLst>
                              <p:par>
                                <p:cTn id="33" presetID="55" presetClass="entr" presetSubtype="0" fill="hold" nodeType="afterEffect">
                                  <p:stCondLst>
                                    <p:cond delay="0"/>
                                  </p:stCondLst>
                                  <p:childTnLst>
                                    <p:set>
                                      <p:cBhvr>
                                        <p:cTn id="34" dur="1" fill="hold">
                                          <p:stCondLst>
                                            <p:cond delay="0"/>
                                          </p:stCondLst>
                                        </p:cTn>
                                        <p:tgtEl>
                                          <p:spTgt spid="16"/>
                                        </p:tgtEl>
                                        <p:attrNameLst>
                                          <p:attrName>style.visibility</p:attrName>
                                        </p:attrNameLst>
                                      </p:cBhvr>
                                      <p:to>
                                        <p:strVal val="visible"/>
                                      </p:to>
                                    </p:set>
                                    <p:anim calcmode="lin" valueType="num">
                                      <p:cBhvr>
                                        <p:cTn id="35" dur="1000" fill="hold"/>
                                        <p:tgtEl>
                                          <p:spTgt spid="16"/>
                                        </p:tgtEl>
                                        <p:attrNameLst>
                                          <p:attrName>ppt_w</p:attrName>
                                        </p:attrNameLst>
                                      </p:cBhvr>
                                      <p:tavLst>
                                        <p:tav tm="0">
                                          <p:val>
                                            <p:strVal val="#ppt_w*0.70"/>
                                          </p:val>
                                        </p:tav>
                                        <p:tav tm="100000">
                                          <p:val>
                                            <p:strVal val="#ppt_w"/>
                                          </p:val>
                                        </p:tav>
                                      </p:tavLst>
                                    </p:anim>
                                    <p:anim calcmode="lin" valueType="num">
                                      <p:cBhvr>
                                        <p:cTn id="36" dur="1000" fill="hold"/>
                                        <p:tgtEl>
                                          <p:spTgt spid="16"/>
                                        </p:tgtEl>
                                        <p:attrNameLst>
                                          <p:attrName>ppt_h</p:attrName>
                                        </p:attrNameLst>
                                      </p:cBhvr>
                                      <p:tavLst>
                                        <p:tav tm="0">
                                          <p:val>
                                            <p:strVal val="#ppt_h"/>
                                          </p:val>
                                        </p:tav>
                                        <p:tav tm="100000">
                                          <p:val>
                                            <p:strVal val="#ppt_h"/>
                                          </p:val>
                                        </p:tav>
                                      </p:tavLst>
                                    </p:anim>
                                    <p:animEffect transition="in" filter="fade">
                                      <p:cBhvr>
                                        <p:cTn id="37" dur="1000"/>
                                        <p:tgtEl>
                                          <p:spTgt spid="16"/>
                                        </p:tgtEl>
                                      </p:cBhvr>
                                    </p:animEffect>
                                  </p:childTnLst>
                                </p:cTn>
                              </p:par>
                            </p:childTnLst>
                          </p:cTn>
                        </p:par>
                        <p:par>
                          <p:cTn id="38" fill="hold">
                            <p:stCondLst>
                              <p:cond delay="2500"/>
                            </p:stCondLst>
                            <p:childTnLst>
                              <p:par>
                                <p:cTn id="39" presetID="55" presetClass="entr" presetSubtype="0" fill="hold" nodeType="afterEffect">
                                  <p:stCondLst>
                                    <p:cond delay="0"/>
                                  </p:stCondLst>
                                  <p:childTnLst>
                                    <p:set>
                                      <p:cBhvr>
                                        <p:cTn id="40" dur="1" fill="hold">
                                          <p:stCondLst>
                                            <p:cond delay="0"/>
                                          </p:stCondLst>
                                        </p:cTn>
                                        <p:tgtEl>
                                          <p:spTgt spid="15"/>
                                        </p:tgtEl>
                                        <p:attrNameLst>
                                          <p:attrName>style.visibility</p:attrName>
                                        </p:attrNameLst>
                                      </p:cBhvr>
                                      <p:to>
                                        <p:strVal val="visible"/>
                                      </p:to>
                                    </p:set>
                                    <p:anim calcmode="lin" valueType="num">
                                      <p:cBhvr>
                                        <p:cTn id="41" dur="1000" fill="hold"/>
                                        <p:tgtEl>
                                          <p:spTgt spid="15"/>
                                        </p:tgtEl>
                                        <p:attrNameLst>
                                          <p:attrName>ppt_w</p:attrName>
                                        </p:attrNameLst>
                                      </p:cBhvr>
                                      <p:tavLst>
                                        <p:tav tm="0">
                                          <p:val>
                                            <p:strVal val="#ppt_w*0.70"/>
                                          </p:val>
                                        </p:tav>
                                        <p:tav tm="100000">
                                          <p:val>
                                            <p:strVal val="#ppt_w"/>
                                          </p:val>
                                        </p:tav>
                                      </p:tavLst>
                                    </p:anim>
                                    <p:anim calcmode="lin" valueType="num">
                                      <p:cBhvr>
                                        <p:cTn id="42" dur="1000" fill="hold"/>
                                        <p:tgtEl>
                                          <p:spTgt spid="15"/>
                                        </p:tgtEl>
                                        <p:attrNameLst>
                                          <p:attrName>ppt_h</p:attrName>
                                        </p:attrNameLst>
                                      </p:cBhvr>
                                      <p:tavLst>
                                        <p:tav tm="0">
                                          <p:val>
                                            <p:strVal val="#ppt_h"/>
                                          </p:val>
                                        </p:tav>
                                        <p:tav tm="100000">
                                          <p:val>
                                            <p:strVal val="#ppt_h"/>
                                          </p:val>
                                        </p:tav>
                                      </p:tavLst>
                                    </p:anim>
                                    <p:animEffect transition="in" filter="fade">
                                      <p:cBhvr>
                                        <p:cTn id="43" dur="10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Google Shape;583;p30">
            <a:extLst>
              <a:ext uri="{FF2B5EF4-FFF2-40B4-BE49-F238E27FC236}">
                <a16:creationId xmlns:a16="http://schemas.microsoft.com/office/drawing/2014/main" id="{48F6D564-3563-6E6B-1896-BDD00C7664F2}"/>
              </a:ext>
            </a:extLst>
          </p:cNvPr>
          <p:cNvSpPr txBox="1">
            <a:spLocks/>
          </p:cNvSpPr>
          <p:nvPr/>
        </p:nvSpPr>
        <p:spPr>
          <a:xfrm>
            <a:off x="2155948" y="339133"/>
            <a:ext cx="8229600" cy="4815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000000"/>
              </a:buClr>
              <a:buSzPts val="3000"/>
              <a:buFont typeface="Fira Sans Extra Condensed"/>
              <a:buNone/>
              <a:defRPr sz="3000" b="1" i="0" u="none" strike="noStrike" cap="none">
                <a:solidFill>
                  <a:srgbClr val="000000"/>
                </a:solidFill>
                <a:latin typeface="Fira Sans Extra Condensed"/>
                <a:ea typeface="Fira Sans Extra Condensed"/>
                <a:cs typeface="Fira Sans Extra Condensed"/>
                <a:sym typeface="Fira Sans Extra Condensed"/>
              </a:defRPr>
            </a:lvl1pPr>
            <a:lvl2pPr marR="0" lvl="1" algn="ctr" rtl="0">
              <a:lnSpc>
                <a:spcPct val="100000"/>
              </a:lnSpc>
              <a:spcBef>
                <a:spcPts val="0"/>
              </a:spcBef>
              <a:spcAft>
                <a:spcPts val="0"/>
              </a:spcAft>
              <a:buClr>
                <a:srgbClr val="000000"/>
              </a:buClr>
              <a:buSzPts val="3000"/>
              <a:buFont typeface="Fira Sans Extra Condensed"/>
              <a:buNone/>
              <a:defRPr sz="3000" b="1" i="0" u="none" strike="noStrike" cap="none">
                <a:solidFill>
                  <a:srgbClr val="000000"/>
                </a:solidFill>
                <a:latin typeface="Fira Sans Extra Condensed"/>
                <a:ea typeface="Fira Sans Extra Condensed"/>
                <a:cs typeface="Fira Sans Extra Condensed"/>
                <a:sym typeface="Fira Sans Extra Condensed"/>
              </a:defRPr>
            </a:lvl2pPr>
            <a:lvl3pPr marR="0" lvl="2" algn="ctr" rtl="0">
              <a:lnSpc>
                <a:spcPct val="100000"/>
              </a:lnSpc>
              <a:spcBef>
                <a:spcPts val="0"/>
              </a:spcBef>
              <a:spcAft>
                <a:spcPts val="0"/>
              </a:spcAft>
              <a:buClr>
                <a:srgbClr val="000000"/>
              </a:buClr>
              <a:buSzPts val="3000"/>
              <a:buFont typeface="Fira Sans Extra Condensed"/>
              <a:buNone/>
              <a:defRPr sz="3000" b="1" i="0" u="none" strike="noStrike" cap="none">
                <a:solidFill>
                  <a:srgbClr val="000000"/>
                </a:solidFill>
                <a:latin typeface="Fira Sans Extra Condensed"/>
                <a:ea typeface="Fira Sans Extra Condensed"/>
                <a:cs typeface="Fira Sans Extra Condensed"/>
                <a:sym typeface="Fira Sans Extra Condensed"/>
              </a:defRPr>
            </a:lvl3pPr>
            <a:lvl4pPr marR="0" lvl="3" algn="ctr" rtl="0">
              <a:lnSpc>
                <a:spcPct val="100000"/>
              </a:lnSpc>
              <a:spcBef>
                <a:spcPts val="0"/>
              </a:spcBef>
              <a:spcAft>
                <a:spcPts val="0"/>
              </a:spcAft>
              <a:buClr>
                <a:srgbClr val="000000"/>
              </a:buClr>
              <a:buSzPts val="3000"/>
              <a:buFont typeface="Fira Sans Extra Condensed"/>
              <a:buNone/>
              <a:defRPr sz="3000" b="1" i="0" u="none" strike="noStrike" cap="none">
                <a:solidFill>
                  <a:srgbClr val="000000"/>
                </a:solidFill>
                <a:latin typeface="Fira Sans Extra Condensed"/>
                <a:ea typeface="Fira Sans Extra Condensed"/>
                <a:cs typeface="Fira Sans Extra Condensed"/>
                <a:sym typeface="Fira Sans Extra Condensed"/>
              </a:defRPr>
            </a:lvl4pPr>
            <a:lvl5pPr marR="0" lvl="4" algn="ctr" rtl="0">
              <a:lnSpc>
                <a:spcPct val="100000"/>
              </a:lnSpc>
              <a:spcBef>
                <a:spcPts val="0"/>
              </a:spcBef>
              <a:spcAft>
                <a:spcPts val="0"/>
              </a:spcAft>
              <a:buClr>
                <a:srgbClr val="000000"/>
              </a:buClr>
              <a:buSzPts val="3000"/>
              <a:buFont typeface="Fira Sans Extra Condensed"/>
              <a:buNone/>
              <a:defRPr sz="3000" b="1" i="0" u="none" strike="noStrike" cap="none">
                <a:solidFill>
                  <a:srgbClr val="000000"/>
                </a:solidFill>
                <a:latin typeface="Fira Sans Extra Condensed"/>
                <a:ea typeface="Fira Sans Extra Condensed"/>
                <a:cs typeface="Fira Sans Extra Condensed"/>
                <a:sym typeface="Fira Sans Extra Condensed"/>
              </a:defRPr>
            </a:lvl5pPr>
            <a:lvl6pPr marR="0" lvl="5" algn="ctr" rtl="0">
              <a:lnSpc>
                <a:spcPct val="100000"/>
              </a:lnSpc>
              <a:spcBef>
                <a:spcPts val="0"/>
              </a:spcBef>
              <a:spcAft>
                <a:spcPts val="0"/>
              </a:spcAft>
              <a:buClr>
                <a:srgbClr val="000000"/>
              </a:buClr>
              <a:buSzPts val="3000"/>
              <a:buFont typeface="Fira Sans Extra Condensed"/>
              <a:buNone/>
              <a:defRPr sz="3000" b="1" i="0" u="none" strike="noStrike" cap="none">
                <a:solidFill>
                  <a:srgbClr val="000000"/>
                </a:solidFill>
                <a:latin typeface="Fira Sans Extra Condensed"/>
                <a:ea typeface="Fira Sans Extra Condensed"/>
                <a:cs typeface="Fira Sans Extra Condensed"/>
                <a:sym typeface="Fira Sans Extra Condensed"/>
              </a:defRPr>
            </a:lvl6pPr>
            <a:lvl7pPr marR="0" lvl="6" algn="ctr" rtl="0">
              <a:lnSpc>
                <a:spcPct val="100000"/>
              </a:lnSpc>
              <a:spcBef>
                <a:spcPts val="0"/>
              </a:spcBef>
              <a:spcAft>
                <a:spcPts val="0"/>
              </a:spcAft>
              <a:buClr>
                <a:srgbClr val="000000"/>
              </a:buClr>
              <a:buSzPts val="3000"/>
              <a:buFont typeface="Fira Sans Extra Condensed"/>
              <a:buNone/>
              <a:defRPr sz="3000" b="1" i="0" u="none" strike="noStrike" cap="none">
                <a:solidFill>
                  <a:srgbClr val="000000"/>
                </a:solidFill>
                <a:latin typeface="Fira Sans Extra Condensed"/>
                <a:ea typeface="Fira Sans Extra Condensed"/>
                <a:cs typeface="Fira Sans Extra Condensed"/>
                <a:sym typeface="Fira Sans Extra Condensed"/>
              </a:defRPr>
            </a:lvl7pPr>
            <a:lvl8pPr marR="0" lvl="7" algn="ctr" rtl="0">
              <a:lnSpc>
                <a:spcPct val="100000"/>
              </a:lnSpc>
              <a:spcBef>
                <a:spcPts val="0"/>
              </a:spcBef>
              <a:spcAft>
                <a:spcPts val="0"/>
              </a:spcAft>
              <a:buClr>
                <a:srgbClr val="000000"/>
              </a:buClr>
              <a:buSzPts val="3000"/>
              <a:buFont typeface="Fira Sans Extra Condensed"/>
              <a:buNone/>
              <a:defRPr sz="3000" b="1" i="0" u="none" strike="noStrike" cap="none">
                <a:solidFill>
                  <a:srgbClr val="000000"/>
                </a:solidFill>
                <a:latin typeface="Fira Sans Extra Condensed"/>
                <a:ea typeface="Fira Sans Extra Condensed"/>
                <a:cs typeface="Fira Sans Extra Condensed"/>
                <a:sym typeface="Fira Sans Extra Condensed"/>
              </a:defRPr>
            </a:lvl8pPr>
            <a:lvl9pPr marR="0" lvl="8" algn="ctr" rtl="0">
              <a:lnSpc>
                <a:spcPct val="100000"/>
              </a:lnSpc>
              <a:spcBef>
                <a:spcPts val="0"/>
              </a:spcBef>
              <a:spcAft>
                <a:spcPts val="0"/>
              </a:spcAft>
              <a:buClr>
                <a:srgbClr val="000000"/>
              </a:buClr>
              <a:buSzPts val="3000"/>
              <a:buFont typeface="Fira Sans Extra Condensed"/>
              <a:buNone/>
              <a:defRPr sz="3000" b="1" i="0" u="none" strike="noStrike" cap="none">
                <a:solidFill>
                  <a:srgbClr val="000000"/>
                </a:solidFill>
                <a:latin typeface="Fira Sans Extra Condensed"/>
                <a:ea typeface="Fira Sans Extra Condensed"/>
                <a:cs typeface="Fira Sans Extra Condensed"/>
                <a:sym typeface="Fira Sans Extra Condensed"/>
              </a:defRPr>
            </a:lvl9pPr>
          </a:lstStyle>
          <a:p>
            <a:pPr>
              <a:defRPr/>
            </a:pPr>
            <a:r>
              <a:rPr lang="ar-SA" kern="0" dirty="0">
                <a:latin typeface="Sakkal Majalla" panose="02000000000000000000" pitchFamily="2" charset="-78"/>
                <a:cs typeface="Sakkal Majalla" panose="02000000000000000000" pitchFamily="2" charset="-78"/>
              </a:rPr>
              <a:t>أداء النظام </a:t>
            </a:r>
            <a:r>
              <a:rPr lang="ar-SA" sz="3600" kern="0" dirty="0">
                <a:solidFill>
                  <a:srgbClr val="FF0000"/>
                </a:solidFill>
                <a:latin typeface="Sakkal Majalla" panose="02000000000000000000" pitchFamily="2" charset="-78"/>
                <a:cs typeface="Sakkal Majalla" panose="02000000000000000000" pitchFamily="2" charset="-78"/>
              </a:rPr>
              <a:t>التعليمي</a:t>
            </a:r>
            <a:r>
              <a:rPr lang="ar-SA" kern="0" dirty="0">
                <a:latin typeface="Sakkal Majalla" panose="02000000000000000000" pitchFamily="2" charset="-78"/>
                <a:cs typeface="Sakkal Majalla" panose="02000000000000000000" pitchFamily="2" charset="-78"/>
              </a:rPr>
              <a:t> في المنطقة</a:t>
            </a:r>
            <a:endParaRPr lang="en-US" kern="0" dirty="0">
              <a:latin typeface="Sakkal Majalla" panose="02000000000000000000" pitchFamily="2" charset="-78"/>
              <a:cs typeface="Sakkal Majalla" panose="02000000000000000000" pitchFamily="2" charset="-78"/>
            </a:endParaRPr>
          </a:p>
        </p:txBody>
      </p:sp>
      <p:sp>
        <p:nvSpPr>
          <p:cNvPr id="3" name="Google Shape;585;p30">
            <a:extLst>
              <a:ext uri="{FF2B5EF4-FFF2-40B4-BE49-F238E27FC236}">
                <a16:creationId xmlns:a16="http://schemas.microsoft.com/office/drawing/2014/main" id="{70401C21-785A-1FA3-9D4D-E11597B625B5}"/>
              </a:ext>
            </a:extLst>
          </p:cNvPr>
          <p:cNvSpPr txBox="1"/>
          <p:nvPr/>
        </p:nvSpPr>
        <p:spPr>
          <a:xfrm>
            <a:off x="9090317" y="2793567"/>
            <a:ext cx="1897283" cy="280500"/>
          </a:xfrm>
          <a:prstGeom prst="rect">
            <a:avLst/>
          </a:prstGeom>
          <a:noFill/>
          <a:ln>
            <a:noFill/>
          </a:ln>
        </p:spPr>
        <p:txBody>
          <a:bodyPr spcFirstLastPara="1" wrap="square" lIns="91425" tIns="91425" rIns="91425" bIns="91425" anchor="ctr" anchorCtr="0">
            <a:noAutofit/>
          </a:bodyPr>
          <a:lstStyle/>
          <a:p>
            <a:pPr algn="ctr">
              <a:buClr>
                <a:srgbClr val="000000"/>
              </a:buClr>
              <a:buFont typeface="Arial"/>
              <a:buNone/>
            </a:pPr>
            <a:r>
              <a:rPr lang="ar-SA" sz="2000" b="1" kern="0" dirty="0">
                <a:solidFill>
                  <a:srgbClr val="FF6600"/>
                </a:solidFill>
                <a:latin typeface="Sakkal Majalla" panose="02000000000000000000" pitchFamily="2" charset="-78"/>
                <a:ea typeface="Fira Sans Condensed SemiBold"/>
                <a:cs typeface="Sakkal Majalla" panose="02000000000000000000" pitchFamily="2" charset="-78"/>
                <a:sym typeface="Fira Sans Condensed SemiBold"/>
              </a:rPr>
              <a:t>أداء إدارة التعليم</a:t>
            </a:r>
            <a:endParaRPr sz="2000" b="1" kern="0" dirty="0">
              <a:solidFill>
                <a:srgbClr val="FF6600"/>
              </a:solidFill>
              <a:latin typeface="Sakkal Majalla" panose="02000000000000000000" pitchFamily="2" charset="-78"/>
              <a:ea typeface="Fira Sans Condensed SemiBold"/>
              <a:cs typeface="Sakkal Majalla" panose="02000000000000000000" pitchFamily="2" charset="-78"/>
              <a:sym typeface="Fira Sans Condensed SemiBold"/>
            </a:endParaRPr>
          </a:p>
        </p:txBody>
      </p:sp>
      <p:sp>
        <p:nvSpPr>
          <p:cNvPr id="4" name="Google Shape;586;p30">
            <a:extLst>
              <a:ext uri="{FF2B5EF4-FFF2-40B4-BE49-F238E27FC236}">
                <a16:creationId xmlns:a16="http://schemas.microsoft.com/office/drawing/2014/main" id="{387B8BF8-FF23-CF12-346F-EE651223171E}"/>
              </a:ext>
            </a:extLst>
          </p:cNvPr>
          <p:cNvSpPr/>
          <p:nvPr/>
        </p:nvSpPr>
        <p:spPr>
          <a:xfrm rot="-5400000">
            <a:off x="9560250" y="1527279"/>
            <a:ext cx="1076363" cy="1076393"/>
          </a:xfrm>
          <a:custGeom>
            <a:avLst/>
            <a:gdLst/>
            <a:ahLst/>
            <a:cxnLst/>
            <a:rect l="l" t="t" r="r" b="b"/>
            <a:pathLst>
              <a:path w="35024" h="35025" extrusionOk="0">
                <a:moveTo>
                  <a:pt x="17511" y="1"/>
                </a:moveTo>
                <a:cubicBezTo>
                  <a:pt x="12867" y="1"/>
                  <a:pt x="8413" y="1846"/>
                  <a:pt x="5129" y="5129"/>
                </a:cubicBezTo>
                <a:cubicBezTo>
                  <a:pt x="1845" y="8413"/>
                  <a:pt x="0" y="12867"/>
                  <a:pt x="0" y="17513"/>
                </a:cubicBezTo>
                <a:cubicBezTo>
                  <a:pt x="0" y="22157"/>
                  <a:pt x="1845" y="26611"/>
                  <a:pt x="5129" y="29895"/>
                </a:cubicBezTo>
                <a:cubicBezTo>
                  <a:pt x="8413" y="33179"/>
                  <a:pt x="12867" y="35025"/>
                  <a:pt x="17512" y="35025"/>
                </a:cubicBezTo>
                <a:cubicBezTo>
                  <a:pt x="22157" y="35025"/>
                  <a:pt x="26611" y="33179"/>
                  <a:pt x="29895" y="29895"/>
                </a:cubicBezTo>
                <a:cubicBezTo>
                  <a:pt x="33178" y="26611"/>
                  <a:pt x="35023" y="22157"/>
                  <a:pt x="35023" y="17513"/>
                </a:cubicBezTo>
                <a:cubicBezTo>
                  <a:pt x="35023" y="12867"/>
                  <a:pt x="33178" y="8413"/>
                  <a:pt x="29895" y="5129"/>
                </a:cubicBezTo>
                <a:cubicBezTo>
                  <a:pt x="26611" y="1846"/>
                  <a:pt x="22157" y="1"/>
                  <a:pt x="17511" y="1"/>
                </a:cubicBezTo>
                <a:close/>
              </a:path>
            </a:pathLst>
          </a:custGeom>
          <a:solidFill>
            <a:srgbClr val="E76F51"/>
          </a:solidFill>
          <a:ln>
            <a:noFill/>
          </a:ln>
        </p:spPr>
        <p:txBody>
          <a:bodyPr spcFirstLastPara="1" wrap="square" lIns="91425" tIns="91425" rIns="91425" bIns="91425" anchor="ctr" anchorCtr="0">
            <a:noAutofit/>
          </a:bodyPr>
          <a:lstStyle/>
          <a:p>
            <a:pPr algn="l" rtl="0">
              <a:buClr>
                <a:srgbClr val="000000"/>
              </a:buClr>
              <a:buFont typeface="Arial"/>
              <a:buNone/>
              <a:defRPr/>
            </a:pPr>
            <a:endParaRPr sz="1400" kern="0">
              <a:solidFill>
                <a:srgbClr val="000000"/>
              </a:solidFill>
              <a:latin typeface="Arial"/>
              <a:cs typeface="Arial"/>
              <a:sym typeface="Arial"/>
            </a:endParaRPr>
          </a:p>
        </p:txBody>
      </p:sp>
      <p:sp>
        <p:nvSpPr>
          <p:cNvPr id="5" name="Google Shape;587;p30">
            <a:extLst>
              <a:ext uri="{FF2B5EF4-FFF2-40B4-BE49-F238E27FC236}">
                <a16:creationId xmlns:a16="http://schemas.microsoft.com/office/drawing/2014/main" id="{6B7C4FEE-707A-0F3D-A01B-4D14CDFAE7F7}"/>
              </a:ext>
            </a:extLst>
          </p:cNvPr>
          <p:cNvSpPr/>
          <p:nvPr/>
        </p:nvSpPr>
        <p:spPr>
          <a:xfrm rot="-5400000">
            <a:off x="9703984" y="1713662"/>
            <a:ext cx="788894" cy="762772"/>
          </a:xfrm>
          <a:custGeom>
            <a:avLst/>
            <a:gdLst/>
            <a:ahLst/>
            <a:cxnLst/>
            <a:rect l="l" t="t" r="r" b="b"/>
            <a:pathLst>
              <a:path w="25670" h="24820" extrusionOk="0">
                <a:moveTo>
                  <a:pt x="12836" y="0"/>
                </a:moveTo>
                <a:cubicBezTo>
                  <a:pt x="11875" y="0"/>
                  <a:pt x="10911" y="112"/>
                  <a:pt x="9961" y="338"/>
                </a:cubicBezTo>
                <a:cubicBezTo>
                  <a:pt x="6759" y="1099"/>
                  <a:pt x="3991" y="3103"/>
                  <a:pt x="2266" y="5906"/>
                </a:cubicBezTo>
                <a:cubicBezTo>
                  <a:pt x="541" y="8709"/>
                  <a:pt x="0" y="12082"/>
                  <a:pt x="763" y="15284"/>
                </a:cubicBezTo>
                <a:cubicBezTo>
                  <a:pt x="1525" y="18486"/>
                  <a:pt x="3527" y="21254"/>
                  <a:pt x="6331" y="22979"/>
                </a:cubicBezTo>
                <a:cubicBezTo>
                  <a:pt x="8302" y="24193"/>
                  <a:pt x="10556" y="24820"/>
                  <a:pt x="12834" y="24820"/>
                </a:cubicBezTo>
                <a:cubicBezTo>
                  <a:pt x="13795" y="24820"/>
                  <a:pt x="14760" y="24708"/>
                  <a:pt x="15709" y="24482"/>
                </a:cubicBezTo>
                <a:cubicBezTo>
                  <a:pt x="18911" y="23720"/>
                  <a:pt x="21679" y="21718"/>
                  <a:pt x="23404" y="18914"/>
                </a:cubicBezTo>
                <a:cubicBezTo>
                  <a:pt x="25129" y="16112"/>
                  <a:pt x="25669" y="12738"/>
                  <a:pt x="24907" y="9535"/>
                </a:cubicBezTo>
                <a:cubicBezTo>
                  <a:pt x="24145" y="6334"/>
                  <a:pt x="22142" y="3566"/>
                  <a:pt x="19339" y="1841"/>
                </a:cubicBezTo>
                <a:cubicBezTo>
                  <a:pt x="17367" y="628"/>
                  <a:pt x="15114" y="0"/>
                  <a:pt x="12836" y="0"/>
                </a:cubicBezTo>
                <a:close/>
              </a:path>
            </a:pathLst>
          </a:custGeom>
          <a:solidFill>
            <a:srgbClr val="FFFFFF"/>
          </a:solidFill>
          <a:ln>
            <a:noFill/>
          </a:ln>
        </p:spPr>
        <p:txBody>
          <a:bodyPr spcFirstLastPara="1" wrap="square" lIns="91425" tIns="91425" rIns="91425" bIns="91425" anchor="ctr" anchorCtr="0">
            <a:noAutofit/>
          </a:bodyPr>
          <a:lstStyle/>
          <a:p>
            <a:pPr algn="l" rtl="0">
              <a:buClr>
                <a:srgbClr val="000000"/>
              </a:buClr>
              <a:buFont typeface="Arial"/>
              <a:buNone/>
              <a:defRPr/>
            </a:pPr>
            <a:endParaRPr sz="1400" kern="0">
              <a:solidFill>
                <a:srgbClr val="000000"/>
              </a:solidFill>
              <a:latin typeface="Arial"/>
              <a:cs typeface="Arial"/>
              <a:sym typeface="Arial"/>
            </a:endParaRPr>
          </a:p>
        </p:txBody>
      </p:sp>
      <p:sp>
        <p:nvSpPr>
          <p:cNvPr id="6" name="Google Shape;588;p30">
            <a:extLst>
              <a:ext uri="{FF2B5EF4-FFF2-40B4-BE49-F238E27FC236}">
                <a16:creationId xmlns:a16="http://schemas.microsoft.com/office/drawing/2014/main" id="{B715212D-FA73-440E-A922-9EF5E6298AC9}"/>
              </a:ext>
            </a:extLst>
          </p:cNvPr>
          <p:cNvSpPr/>
          <p:nvPr/>
        </p:nvSpPr>
        <p:spPr>
          <a:xfrm rot="-5400000">
            <a:off x="9722720" y="1714331"/>
            <a:ext cx="760686" cy="760686"/>
          </a:xfrm>
          <a:prstGeom prst="pie">
            <a:avLst>
              <a:gd name="adj1" fmla="val 21503948"/>
              <a:gd name="adj2" fmla="val 16200000"/>
            </a:avLst>
          </a:prstGeom>
          <a:solidFill>
            <a:srgbClr val="F4A261"/>
          </a:solidFill>
          <a:ln w="9525" cap="flat" cmpd="sng">
            <a:solidFill>
              <a:srgbClr val="F4A261"/>
            </a:solidFill>
            <a:prstDash val="solid"/>
            <a:round/>
            <a:headEnd type="none" w="sm" len="sm"/>
            <a:tailEnd type="none" w="sm" len="sm"/>
          </a:ln>
        </p:spPr>
        <p:txBody>
          <a:bodyPr spcFirstLastPara="1" wrap="square" lIns="91425" tIns="91425" rIns="91425" bIns="91425" anchor="ctr" anchorCtr="0">
            <a:noAutofit/>
          </a:bodyPr>
          <a:lstStyle/>
          <a:p>
            <a:pPr algn="l" rtl="0">
              <a:buClr>
                <a:srgbClr val="000000"/>
              </a:buClr>
              <a:buFont typeface="Arial"/>
              <a:buNone/>
              <a:defRPr/>
            </a:pPr>
            <a:endParaRPr sz="1400" kern="0">
              <a:solidFill>
                <a:srgbClr val="000000"/>
              </a:solidFill>
              <a:latin typeface="Arial"/>
              <a:cs typeface="Arial"/>
              <a:sym typeface="Arial"/>
            </a:endParaRPr>
          </a:p>
        </p:txBody>
      </p:sp>
      <p:sp>
        <p:nvSpPr>
          <p:cNvPr id="7" name="Google Shape;590;p30">
            <a:extLst>
              <a:ext uri="{FF2B5EF4-FFF2-40B4-BE49-F238E27FC236}">
                <a16:creationId xmlns:a16="http://schemas.microsoft.com/office/drawing/2014/main" id="{62B20B12-55E4-BDB4-7EE8-AECF998795F9}"/>
              </a:ext>
            </a:extLst>
          </p:cNvPr>
          <p:cNvSpPr txBox="1"/>
          <p:nvPr/>
        </p:nvSpPr>
        <p:spPr>
          <a:xfrm>
            <a:off x="4863346" y="2876612"/>
            <a:ext cx="2041501" cy="280500"/>
          </a:xfrm>
          <a:prstGeom prst="rect">
            <a:avLst/>
          </a:prstGeom>
          <a:noFill/>
          <a:ln>
            <a:noFill/>
          </a:ln>
        </p:spPr>
        <p:txBody>
          <a:bodyPr spcFirstLastPara="1" wrap="square" lIns="91425" tIns="91425" rIns="91425" bIns="91425" anchor="ctr" anchorCtr="0">
            <a:noAutofit/>
          </a:bodyPr>
          <a:lstStyle/>
          <a:p>
            <a:pPr algn="ctr">
              <a:buClr>
                <a:srgbClr val="000000"/>
              </a:buClr>
              <a:buFont typeface="Arial"/>
              <a:buNone/>
            </a:pPr>
            <a:r>
              <a:rPr lang="ar-SA" sz="2000" b="1" kern="0" dirty="0">
                <a:solidFill>
                  <a:srgbClr val="0070C0"/>
                </a:solidFill>
                <a:latin typeface="Sakkal Majalla" panose="02000000000000000000" pitchFamily="2" charset="-78"/>
                <a:ea typeface="Fira Sans Condensed SemiBold"/>
                <a:cs typeface="Sakkal Majalla" panose="02000000000000000000" pitchFamily="2" charset="-78"/>
                <a:sym typeface="Fira Sans Condensed SemiBold"/>
              </a:rPr>
              <a:t>متوسط أداء المدارس</a:t>
            </a:r>
            <a:endParaRPr sz="2000" b="1" kern="0" dirty="0">
              <a:solidFill>
                <a:srgbClr val="0070C0"/>
              </a:solidFill>
              <a:latin typeface="Sakkal Majalla" panose="02000000000000000000" pitchFamily="2" charset="-78"/>
              <a:ea typeface="Fira Sans Condensed SemiBold"/>
              <a:cs typeface="Sakkal Majalla" panose="02000000000000000000" pitchFamily="2" charset="-78"/>
              <a:sym typeface="Fira Sans Condensed SemiBold"/>
            </a:endParaRPr>
          </a:p>
        </p:txBody>
      </p:sp>
      <p:sp>
        <p:nvSpPr>
          <p:cNvPr id="8" name="Google Shape;591;p30">
            <a:extLst>
              <a:ext uri="{FF2B5EF4-FFF2-40B4-BE49-F238E27FC236}">
                <a16:creationId xmlns:a16="http://schemas.microsoft.com/office/drawing/2014/main" id="{FE7B9103-40A2-9C7A-A3D6-78B28429561E}"/>
              </a:ext>
            </a:extLst>
          </p:cNvPr>
          <p:cNvSpPr/>
          <p:nvPr/>
        </p:nvSpPr>
        <p:spPr>
          <a:xfrm rot="-5400000">
            <a:off x="5345901" y="1523537"/>
            <a:ext cx="1076393" cy="1076393"/>
          </a:xfrm>
          <a:custGeom>
            <a:avLst/>
            <a:gdLst/>
            <a:ahLst/>
            <a:cxnLst/>
            <a:rect l="l" t="t" r="r" b="b"/>
            <a:pathLst>
              <a:path w="35025" h="35025" extrusionOk="0">
                <a:moveTo>
                  <a:pt x="17512" y="1"/>
                </a:moveTo>
                <a:cubicBezTo>
                  <a:pt x="12868" y="1"/>
                  <a:pt x="8413" y="1846"/>
                  <a:pt x="5130" y="5129"/>
                </a:cubicBezTo>
                <a:cubicBezTo>
                  <a:pt x="1845" y="8413"/>
                  <a:pt x="1" y="12867"/>
                  <a:pt x="1" y="17513"/>
                </a:cubicBezTo>
                <a:cubicBezTo>
                  <a:pt x="1" y="22157"/>
                  <a:pt x="1845" y="26611"/>
                  <a:pt x="5130" y="29895"/>
                </a:cubicBezTo>
                <a:cubicBezTo>
                  <a:pt x="8413" y="33179"/>
                  <a:pt x="12868" y="35025"/>
                  <a:pt x="17512" y="35025"/>
                </a:cubicBezTo>
                <a:cubicBezTo>
                  <a:pt x="22157" y="35025"/>
                  <a:pt x="26611" y="33179"/>
                  <a:pt x="29895" y="29895"/>
                </a:cubicBezTo>
                <a:cubicBezTo>
                  <a:pt x="33179" y="26611"/>
                  <a:pt x="35024" y="22157"/>
                  <a:pt x="35024" y="17513"/>
                </a:cubicBezTo>
                <a:cubicBezTo>
                  <a:pt x="35024" y="12867"/>
                  <a:pt x="33179" y="8413"/>
                  <a:pt x="29895" y="5129"/>
                </a:cubicBezTo>
                <a:cubicBezTo>
                  <a:pt x="26611" y="1846"/>
                  <a:pt x="22157" y="1"/>
                  <a:pt x="17512" y="1"/>
                </a:cubicBezTo>
                <a:close/>
              </a:path>
            </a:pathLst>
          </a:custGeom>
          <a:solidFill>
            <a:srgbClr val="32AEB8"/>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9" name="Google Shape;592;p30">
            <a:extLst>
              <a:ext uri="{FF2B5EF4-FFF2-40B4-BE49-F238E27FC236}">
                <a16:creationId xmlns:a16="http://schemas.microsoft.com/office/drawing/2014/main" id="{C758064E-56CF-CBD3-A3A2-22BCBD79245A}"/>
              </a:ext>
            </a:extLst>
          </p:cNvPr>
          <p:cNvSpPr/>
          <p:nvPr/>
        </p:nvSpPr>
        <p:spPr>
          <a:xfrm rot="-5400000">
            <a:off x="5489651" y="1667848"/>
            <a:ext cx="788894" cy="762803"/>
          </a:xfrm>
          <a:custGeom>
            <a:avLst/>
            <a:gdLst/>
            <a:ahLst/>
            <a:cxnLst/>
            <a:rect l="l" t="t" r="r" b="b"/>
            <a:pathLst>
              <a:path w="25670" h="24821" extrusionOk="0">
                <a:moveTo>
                  <a:pt x="12836" y="0"/>
                </a:moveTo>
                <a:cubicBezTo>
                  <a:pt x="11875" y="0"/>
                  <a:pt x="10910" y="112"/>
                  <a:pt x="9960" y="338"/>
                </a:cubicBezTo>
                <a:cubicBezTo>
                  <a:pt x="6759" y="1100"/>
                  <a:pt x="3991" y="3103"/>
                  <a:pt x="2266" y="5906"/>
                </a:cubicBezTo>
                <a:cubicBezTo>
                  <a:pt x="541" y="8709"/>
                  <a:pt x="1" y="12082"/>
                  <a:pt x="763" y="15285"/>
                </a:cubicBezTo>
                <a:cubicBezTo>
                  <a:pt x="1525" y="18486"/>
                  <a:pt x="3527" y="21254"/>
                  <a:pt x="6331" y="22979"/>
                </a:cubicBezTo>
                <a:cubicBezTo>
                  <a:pt x="8303" y="24193"/>
                  <a:pt x="10557" y="24821"/>
                  <a:pt x="12836" y="24821"/>
                </a:cubicBezTo>
                <a:cubicBezTo>
                  <a:pt x="13795" y="24821"/>
                  <a:pt x="14759" y="24709"/>
                  <a:pt x="15708" y="24483"/>
                </a:cubicBezTo>
                <a:cubicBezTo>
                  <a:pt x="18911" y="23721"/>
                  <a:pt x="21679" y="21718"/>
                  <a:pt x="23404" y="18914"/>
                </a:cubicBezTo>
                <a:cubicBezTo>
                  <a:pt x="25129" y="16112"/>
                  <a:pt x="25669" y="12738"/>
                  <a:pt x="24907" y="9536"/>
                </a:cubicBezTo>
                <a:cubicBezTo>
                  <a:pt x="24145" y="6334"/>
                  <a:pt x="22142" y="3566"/>
                  <a:pt x="19339" y="1841"/>
                </a:cubicBezTo>
                <a:cubicBezTo>
                  <a:pt x="17367" y="628"/>
                  <a:pt x="15114" y="0"/>
                  <a:pt x="12836" y="0"/>
                </a:cubicBezTo>
                <a:close/>
              </a:path>
            </a:pathLst>
          </a:custGeom>
          <a:solidFill>
            <a:srgbClr val="FFFFFF"/>
          </a:solidFill>
          <a:ln>
            <a:noFill/>
          </a:ln>
        </p:spPr>
        <p:txBody>
          <a:bodyPr spcFirstLastPara="1" wrap="square" lIns="91425" tIns="91425" rIns="91425" bIns="91425" anchor="ctr" anchorCtr="0">
            <a:noAutofit/>
          </a:bodyPr>
          <a:lstStyle/>
          <a:p>
            <a:pPr algn="l" rtl="0">
              <a:buClr>
                <a:srgbClr val="000000"/>
              </a:buClr>
              <a:buFont typeface="Arial"/>
              <a:buNone/>
            </a:pPr>
            <a:endParaRPr sz="1400" kern="0">
              <a:solidFill>
                <a:srgbClr val="000000"/>
              </a:solidFill>
              <a:latin typeface="Arial"/>
              <a:cs typeface="Arial"/>
              <a:sym typeface="Arial"/>
            </a:endParaRPr>
          </a:p>
        </p:txBody>
      </p:sp>
      <p:sp>
        <p:nvSpPr>
          <p:cNvPr id="10" name="Google Shape;593;p30">
            <a:extLst>
              <a:ext uri="{FF2B5EF4-FFF2-40B4-BE49-F238E27FC236}">
                <a16:creationId xmlns:a16="http://schemas.microsoft.com/office/drawing/2014/main" id="{AF472AE2-5B3B-0B8E-0D95-313DD00206E1}"/>
              </a:ext>
            </a:extLst>
          </p:cNvPr>
          <p:cNvSpPr/>
          <p:nvPr/>
        </p:nvSpPr>
        <p:spPr>
          <a:xfrm rot="-5400000">
            <a:off x="5503755" y="1681389"/>
            <a:ext cx="760686" cy="760686"/>
          </a:xfrm>
          <a:prstGeom prst="pie">
            <a:avLst>
              <a:gd name="adj1" fmla="val 3065192"/>
              <a:gd name="adj2" fmla="val 16200000"/>
            </a:avLst>
          </a:prstGeom>
          <a:solidFill>
            <a:srgbClr val="0070C0"/>
          </a:solidFill>
          <a:ln w="9525" cap="flat" cmpd="sng">
            <a:solidFill>
              <a:srgbClr val="8AB17D"/>
            </a:solidFill>
            <a:prstDash val="solid"/>
            <a:round/>
            <a:headEnd type="none" w="sm" len="sm"/>
            <a:tailEnd type="none" w="sm" len="sm"/>
          </a:ln>
        </p:spPr>
        <p:txBody>
          <a:bodyPr spcFirstLastPara="1" wrap="square" lIns="91425" tIns="91425" rIns="91425" bIns="91425" anchor="ctr" anchorCtr="0">
            <a:noAutofit/>
          </a:bodyPr>
          <a:lstStyle/>
          <a:p>
            <a:pPr algn="l" rtl="0">
              <a:buClr>
                <a:srgbClr val="000000"/>
              </a:buClr>
              <a:buFont typeface="Arial"/>
              <a:buNone/>
              <a:defRPr/>
            </a:pPr>
            <a:endParaRPr sz="1400" kern="0">
              <a:solidFill>
                <a:srgbClr val="000000"/>
              </a:solidFill>
              <a:latin typeface="Arial"/>
              <a:cs typeface="Arial"/>
              <a:sym typeface="Arial"/>
            </a:endParaRPr>
          </a:p>
        </p:txBody>
      </p:sp>
      <p:sp>
        <p:nvSpPr>
          <p:cNvPr id="11" name="Google Shape;596;p30">
            <a:extLst>
              <a:ext uri="{FF2B5EF4-FFF2-40B4-BE49-F238E27FC236}">
                <a16:creationId xmlns:a16="http://schemas.microsoft.com/office/drawing/2014/main" id="{7046A6EF-EB26-BFDF-03AB-89E58079D045}"/>
              </a:ext>
            </a:extLst>
          </p:cNvPr>
          <p:cNvSpPr/>
          <p:nvPr/>
        </p:nvSpPr>
        <p:spPr>
          <a:xfrm rot="-5400000">
            <a:off x="7362125" y="1523537"/>
            <a:ext cx="1076393" cy="1076393"/>
          </a:xfrm>
          <a:custGeom>
            <a:avLst/>
            <a:gdLst/>
            <a:ahLst/>
            <a:cxnLst/>
            <a:rect l="l" t="t" r="r" b="b"/>
            <a:pathLst>
              <a:path w="35025" h="35025" extrusionOk="0">
                <a:moveTo>
                  <a:pt x="17512" y="1"/>
                </a:moveTo>
                <a:cubicBezTo>
                  <a:pt x="12868" y="1"/>
                  <a:pt x="8413" y="1846"/>
                  <a:pt x="5130" y="5129"/>
                </a:cubicBezTo>
                <a:cubicBezTo>
                  <a:pt x="1845" y="8413"/>
                  <a:pt x="1" y="12867"/>
                  <a:pt x="1" y="17513"/>
                </a:cubicBezTo>
                <a:cubicBezTo>
                  <a:pt x="1" y="22157"/>
                  <a:pt x="1845" y="26611"/>
                  <a:pt x="5130" y="29895"/>
                </a:cubicBezTo>
                <a:cubicBezTo>
                  <a:pt x="8413" y="33179"/>
                  <a:pt x="12868" y="35025"/>
                  <a:pt x="17512" y="35025"/>
                </a:cubicBezTo>
                <a:cubicBezTo>
                  <a:pt x="22157" y="35025"/>
                  <a:pt x="26611" y="33179"/>
                  <a:pt x="29895" y="29895"/>
                </a:cubicBezTo>
                <a:cubicBezTo>
                  <a:pt x="33180" y="26611"/>
                  <a:pt x="35024" y="22157"/>
                  <a:pt x="35024" y="17513"/>
                </a:cubicBezTo>
                <a:cubicBezTo>
                  <a:pt x="35024" y="12867"/>
                  <a:pt x="33180" y="8413"/>
                  <a:pt x="29895" y="5129"/>
                </a:cubicBezTo>
                <a:cubicBezTo>
                  <a:pt x="26611" y="1846"/>
                  <a:pt x="22157" y="1"/>
                  <a:pt x="17512" y="1"/>
                </a:cubicBezTo>
                <a:close/>
              </a:path>
            </a:pathLst>
          </a:custGeom>
          <a:solidFill>
            <a:srgbClr val="264653"/>
          </a:solidFill>
          <a:ln>
            <a:noFill/>
          </a:ln>
        </p:spPr>
        <p:txBody>
          <a:bodyPr spcFirstLastPara="1" wrap="square" lIns="91425" tIns="91425" rIns="91425" bIns="91425" anchor="ctr" anchorCtr="0">
            <a:noAutofit/>
          </a:bodyPr>
          <a:lstStyle/>
          <a:p>
            <a:pPr algn="l" rtl="0">
              <a:buClr>
                <a:srgbClr val="000000"/>
              </a:buClr>
              <a:buFont typeface="Arial"/>
              <a:buNone/>
              <a:defRPr/>
            </a:pPr>
            <a:endParaRPr sz="1400" kern="0">
              <a:solidFill>
                <a:srgbClr val="000000"/>
              </a:solidFill>
              <a:latin typeface="Arial"/>
              <a:cs typeface="Arial"/>
              <a:sym typeface="Arial"/>
            </a:endParaRPr>
          </a:p>
        </p:txBody>
      </p:sp>
      <p:sp>
        <p:nvSpPr>
          <p:cNvPr id="12" name="Google Shape;597;p30">
            <a:extLst>
              <a:ext uri="{FF2B5EF4-FFF2-40B4-BE49-F238E27FC236}">
                <a16:creationId xmlns:a16="http://schemas.microsoft.com/office/drawing/2014/main" id="{7B00C027-5E1A-B1DF-02A1-978BD433687A}"/>
              </a:ext>
            </a:extLst>
          </p:cNvPr>
          <p:cNvSpPr/>
          <p:nvPr/>
        </p:nvSpPr>
        <p:spPr>
          <a:xfrm rot="-5400000">
            <a:off x="7505860" y="1680329"/>
            <a:ext cx="788925" cy="762803"/>
          </a:xfrm>
          <a:custGeom>
            <a:avLst/>
            <a:gdLst/>
            <a:ahLst/>
            <a:cxnLst/>
            <a:rect l="l" t="t" r="r" b="b"/>
            <a:pathLst>
              <a:path w="25671" h="24821" extrusionOk="0">
                <a:moveTo>
                  <a:pt x="12834" y="1"/>
                </a:moveTo>
                <a:cubicBezTo>
                  <a:pt x="11874" y="1"/>
                  <a:pt x="10910" y="112"/>
                  <a:pt x="9961" y="338"/>
                </a:cubicBezTo>
                <a:cubicBezTo>
                  <a:pt x="6760" y="1100"/>
                  <a:pt x="3992" y="3104"/>
                  <a:pt x="2267" y="5907"/>
                </a:cubicBezTo>
                <a:cubicBezTo>
                  <a:pt x="542" y="8710"/>
                  <a:pt x="1" y="12083"/>
                  <a:pt x="763" y="15285"/>
                </a:cubicBezTo>
                <a:cubicBezTo>
                  <a:pt x="1525" y="18487"/>
                  <a:pt x="3529" y="21255"/>
                  <a:pt x="6331" y="22980"/>
                </a:cubicBezTo>
                <a:cubicBezTo>
                  <a:pt x="8303" y="24194"/>
                  <a:pt x="10557" y="24821"/>
                  <a:pt x="12835" y="24821"/>
                </a:cubicBezTo>
                <a:cubicBezTo>
                  <a:pt x="13795" y="24821"/>
                  <a:pt x="14760" y="24709"/>
                  <a:pt x="15710" y="24483"/>
                </a:cubicBezTo>
                <a:cubicBezTo>
                  <a:pt x="18911" y="23721"/>
                  <a:pt x="21679" y="21719"/>
                  <a:pt x="23404" y="18915"/>
                </a:cubicBezTo>
                <a:cubicBezTo>
                  <a:pt x="25129" y="16113"/>
                  <a:pt x="25670" y="12739"/>
                  <a:pt x="24908" y="9536"/>
                </a:cubicBezTo>
                <a:cubicBezTo>
                  <a:pt x="24146" y="6335"/>
                  <a:pt x="22142" y="3567"/>
                  <a:pt x="19340" y="1842"/>
                </a:cubicBezTo>
                <a:cubicBezTo>
                  <a:pt x="17367" y="628"/>
                  <a:pt x="15113" y="1"/>
                  <a:pt x="12834" y="1"/>
                </a:cubicBezTo>
                <a:close/>
              </a:path>
            </a:pathLst>
          </a:custGeom>
          <a:solidFill>
            <a:srgbClr val="FFFFFF"/>
          </a:solidFill>
          <a:ln>
            <a:noFill/>
          </a:ln>
        </p:spPr>
        <p:txBody>
          <a:bodyPr spcFirstLastPara="1" wrap="square" lIns="91425" tIns="91425" rIns="91425" bIns="91425" anchor="ctr" anchorCtr="0">
            <a:noAutofit/>
          </a:bodyPr>
          <a:lstStyle/>
          <a:p>
            <a:pPr algn="l" rtl="0">
              <a:buClr>
                <a:srgbClr val="000000"/>
              </a:buClr>
              <a:buFont typeface="Arial"/>
              <a:buNone/>
            </a:pPr>
            <a:endParaRPr sz="1400" kern="0">
              <a:solidFill>
                <a:srgbClr val="000000"/>
              </a:solidFill>
              <a:latin typeface="Arial"/>
              <a:cs typeface="Arial"/>
              <a:sym typeface="Arial"/>
            </a:endParaRPr>
          </a:p>
        </p:txBody>
      </p:sp>
      <p:sp>
        <p:nvSpPr>
          <p:cNvPr id="13" name="Google Shape;598;p30">
            <a:extLst>
              <a:ext uri="{FF2B5EF4-FFF2-40B4-BE49-F238E27FC236}">
                <a16:creationId xmlns:a16="http://schemas.microsoft.com/office/drawing/2014/main" id="{ADB28831-D63F-5386-D289-F4F4F3E87FEB}"/>
              </a:ext>
            </a:extLst>
          </p:cNvPr>
          <p:cNvSpPr/>
          <p:nvPr/>
        </p:nvSpPr>
        <p:spPr>
          <a:xfrm rot="-5400000">
            <a:off x="7519990" y="1699160"/>
            <a:ext cx="760686" cy="760686"/>
          </a:xfrm>
          <a:prstGeom prst="pie">
            <a:avLst>
              <a:gd name="adj1" fmla="val 8557176"/>
              <a:gd name="adj2" fmla="val 16200000"/>
            </a:avLst>
          </a:prstGeom>
          <a:solidFill>
            <a:srgbClr val="2A9D8F"/>
          </a:solidFill>
          <a:ln w="9525" cap="flat" cmpd="sng">
            <a:solidFill>
              <a:srgbClr val="2A9D8F"/>
            </a:solidFill>
            <a:prstDash val="solid"/>
            <a:round/>
            <a:headEnd type="none" w="sm" len="sm"/>
            <a:tailEnd type="none" w="sm" len="sm"/>
          </a:ln>
        </p:spPr>
        <p:txBody>
          <a:bodyPr spcFirstLastPara="1" wrap="square" lIns="91425" tIns="91425" rIns="91425" bIns="91425" anchor="ctr" anchorCtr="0">
            <a:noAutofit/>
          </a:bodyPr>
          <a:lstStyle/>
          <a:p>
            <a:pPr algn="l" rtl="0">
              <a:buClr>
                <a:srgbClr val="000000"/>
              </a:buClr>
              <a:buFont typeface="Arial"/>
              <a:buNone/>
              <a:defRPr/>
            </a:pPr>
            <a:endParaRPr sz="1400" kern="0">
              <a:solidFill>
                <a:srgbClr val="000000"/>
              </a:solidFill>
              <a:latin typeface="Arial"/>
              <a:cs typeface="Arial"/>
              <a:sym typeface="Arial"/>
            </a:endParaRPr>
          </a:p>
        </p:txBody>
      </p:sp>
      <p:sp>
        <p:nvSpPr>
          <p:cNvPr id="14" name="Google Shape;599;p30">
            <a:extLst>
              <a:ext uri="{FF2B5EF4-FFF2-40B4-BE49-F238E27FC236}">
                <a16:creationId xmlns:a16="http://schemas.microsoft.com/office/drawing/2014/main" id="{B0147CD1-AC25-EBD1-6B34-1E0DF971E8F1}"/>
              </a:ext>
            </a:extLst>
          </p:cNvPr>
          <p:cNvSpPr txBox="1"/>
          <p:nvPr/>
        </p:nvSpPr>
        <p:spPr>
          <a:xfrm>
            <a:off x="7002085" y="2712866"/>
            <a:ext cx="1749611" cy="538863"/>
          </a:xfrm>
          <a:prstGeom prst="rect">
            <a:avLst/>
          </a:prstGeom>
          <a:noFill/>
          <a:ln>
            <a:noFill/>
          </a:ln>
        </p:spPr>
        <p:txBody>
          <a:bodyPr spcFirstLastPara="1" wrap="square" lIns="91425" tIns="91425" rIns="91425" bIns="91425" anchor="ctr" anchorCtr="0">
            <a:noAutofit/>
          </a:bodyPr>
          <a:lstStyle/>
          <a:p>
            <a:pPr algn="ctr">
              <a:buClr>
                <a:srgbClr val="000000"/>
              </a:buClr>
              <a:buFont typeface="Arial"/>
              <a:buNone/>
            </a:pPr>
            <a:r>
              <a:rPr lang="ar-SA" sz="2400" kern="0" dirty="0">
                <a:solidFill>
                  <a:srgbClr val="2A9D8F"/>
                </a:solidFill>
                <a:latin typeface="Sakkal Majalla" panose="02000000000000000000" pitchFamily="2" charset="-78"/>
                <a:ea typeface="Fira Sans Condensed Black"/>
                <a:cs typeface="Sakkal Majalla" panose="02000000000000000000" pitchFamily="2" charset="-78"/>
                <a:sym typeface="Fira Sans Condensed Black"/>
              </a:rPr>
              <a:t>أداء مكتب التعليم</a:t>
            </a:r>
            <a:endParaRPr sz="2400" kern="0" dirty="0">
              <a:solidFill>
                <a:srgbClr val="2A9D8F"/>
              </a:solidFill>
              <a:latin typeface="Sakkal Majalla" panose="02000000000000000000" pitchFamily="2" charset="-78"/>
              <a:ea typeface="Fira Sans Condensed Black"/>
              <a:cs typeface="Sakkal Majalla" panose="02000000000000000000" pitchFamily="2" charset="-78"/>
              <a:sym typeface="Fira Sans Condensed Black"/>
            </a:endParaRPr>
          </a:p>
        </p:txBody>
      </p:sp>
      <p:grpSp>
        <p:nvGrpSpPr>
          <p:cNvPr id="15" name="Google Shape;275;p28">
            <a:extLst>
              <a:ext uri="{FF2B5EF4-FFF2-40B4-BE49-F238E27FC236}">
                <a16:creationId xmlns:a16="http://schemas.microsoft.com/office/drawing/2014/main" id="{AA511BEF-FE56-DEF5-1261-CA50E28124F2}"/>
              </a:ext>
            </a:extLst>
          </p:cNvPr>
          <p:cNvGrpSpPr/>
          <p:nvPr/>
        </p:nvGrpSpPr>
        <p:grpSpPr>
          <a:xfrm>
            <a:off x="269887" y="1077222"/>
            <a:ext cx="4686415" cy="4336003"/>
            <a:chOff x="2991269" y="1153325"/>
            <a:chExt cx="3514811" cy="3252002"/>
          </a:xfrm>
        </p:grpSpPr>
        <p:sp>
          <p:nvSpPr>
            <p:cNvPr id="16" name="Google Shape;276;p28">
              <a:extLst>
                <a:ext uri="{FF2B5EF4-FFF2-40B4-BE49-F238E27FC236}">
                  <a16:creationId xmlns:a16="http://schemas.microsoft.com/office/drawing/2014/main" id="{07EE99F4-0933-223E-FE80-917B8116846E}"/>
                </a:ext>
              </a:extLst>
            </p:cNvPr>
            <p:cNvSpPr/>
            <p:nvPr/>
          </p:nvSpPr>
          <p:spPr>
            <a:xfrm>
              <a:off x="3477586" y="2585458"/>
              <a:ext cx="2541910" cy="950456"/>
            </a:xfrm>
            <a:custGeom>
              <a:avLst/>
              <a:gdLst/>
              <a:ahLst/>
              <a:cxnLst/>
              <a:rect l="l" t="t" r="r" b="b"/>
              <a:pathLst>
                <a:path w="126826" h="43529" extrusionOk="0">
                  <a:moveTo>
                    <a:pt x="0" y="20002"/>
                  </a:moveTo>
                  <a:lnTo>
                    <a:pt x="63389" y="43529"/>
                  </a:lnTo>
                  <a:lnTo>
                    <a:pt x="126826" y="19907"/>
                  </a:lnTo>
                  <a:lnTo>
                    <a:pt x="63580" y="0"/>
                  </a:lnTo>
                  <a:close/>
                </a:path>
              </a:pathLst>
            </a:custGeom>
            <a:solidFill>
              <a:srgbClr val="EEECE1"/>
            </a:solidFill>
            <a:ln>
              <a:noFill/>
            </a:ln>
          </p:spPr>
          <p:txBody>
            <a:bodyPr/>
            <a:lstStyle/>
            <a:p>
              <a:pPr marL="0" marR="0" lvl="0" indent="0" algn="l" defTabSz="913836" rtl="0" eaLnBrk="1" fontAlgn="auto" latinLnBrk="1" hangingPunct="1">
                <a:lnSpc>
                  <a:spcPct val="100000"/>
                </a:lnSpc>
                <a:spcBef>
                  <a:spcPts val="0"/>
                </a:spcBef>
                <a:spcAft>
                  <a:spcPts val="0"/>
                </a:spcAft>
                <a:buClrTx/>
                <a:buSzTx/>
                <a:buFontTx/>
                <a:buNone/>
                <a:tabLst/>
                <a:defRPr/>
              </a:pPr>
              <a:endParaRPr kumimoji="0" lang="ar-SA" sz="2400" b="0" i="0" u="none" strike="noStrike" kern="0" cap="none" spc="0" normalizeH="0" baseline="0" noProof="0">
                <a:ln>
                  <a:noFill/>
                </a:ln>
                <a:solidFill>
                  <a:prstClr val="black"/>
                </a:solidFill>
                <a:effectLst/>
                <a:uLnTx/>
                <a:uFillTx/>
                <a:latin typeface="Arial"/>
              </a:endParaRPr>
            </a:p>
          </p:txBody>
        </p:sp>
        <p:sp>
          <p:nvSpPr>
            <p:cNvPr id="17" name="Google Shape;277;p28">
              <a:extLst>
                <a:ext uri="{FF2B5EF4-FFF2-40B4-BE49-F238E27FC236}">
                  <a16:creationId xmlns:a16="http://schemas.microsoft.com/office/drawing/2014/main" id="{51A52EC1-E57E-DDA7-70BD-0F7067EAC971}"/>
                </a:ext>
              </a:extLst>
            </p:cNvPr>
            <p:cNvSpPr/>
            <p:nvPr/>
          </p:nvSpPr>
          <p:spPr>
            <a:xfrm>
              <a:off x="2991269" y="3020977"/>
              <a:ext cx="1758228" cy="1384350"/>
            </a:xfrm>
            <a:custGeom>
              <a:avLst/>
              <a:gdLst/>
              <a:ahLst/>
              <a:cxnLst/>
              <a:rect l="l" t="t" r="r" b="b"/>
              <a:pathLst>
                <a:path w="87725" h="63817" extrusionOk="0">
                  <a:moveTo>
                    <a:pt x="24288" y="0"/>
                  </a:moveTo>
                  <a:lnTo>
                    <a:pt x="0" y="29908"/>
                  </a:lnTo>
                  <a:lnTo>
                    <a:pt x="87725" y="63817"/>
                  </a:lnTo>
                  <a:lnTo>
                    <a:pt x="87725" y="42291"/>
                  </a:lnTo>
                  <a:lnTo>
                    <a:pt x="87725" y="23526"/>
                  </a:lnTo>
                  <a:close/>
                </a:path>
              </a:pathLst>
            </a:custGeom>
            <a:solidFill>
              <a:srgbClr val="32AEB8"/>
            </a:solidFill>
            <a:ln>
              <a:noFill/>
            </a:ln>
          </p:spPr>
          <p:txBody>
            <a:bodyPr/>
            <a:lstStyle/>
            <a:p>
              <a:pPr marL="0" marR="0" lvl="0" indent="0" algn="l" defTabSz="913836" rtl="0" eaLnBrk="1" fontAlgn="auto" latinLnBrk="1" hangingPunct="1">
                <a:lnSpc>
                  <a:spcPct val="100000"/>
                </a:lnSpc>
                <a:spcBef>
                  <a:spcPts val="0"/>
                </a:spcBef>
                <a:spcAft>
                  <a:spcPts val="0"/>
                </a:spcAft>
                <a:buClrTx/>
                <a:buSzTx/>
                <a:buFontTx/>
                <a:buNone/>
                <a:tabLst/>
                <a:defRPr/>
              </a:pPr>
              <a:endParaRPr kumimoji="0" lang="ar-SA" sz="2400" b="0" i="0" u="none" strike="noStrike" kern="0" cap="none" spc="0" normalizeH="0" baseline="0" noProof="0">
                <a:ln>
                  <a:noFill/>
                </a:ln>
                <a:solidFill>
                  <a:prstClr val="black"/>
                </a:solidFill>
                <a:effectLst/>
                <a:uLnTx/>
                <a:uFillTx/>
                <a:latin typeface="Arial"/>
              </a:endParaRPr>
            </a:p>
          </p:txBody>
        </p:sp>
        <p:sp>
          <p:nvSpPr>
            <p:cNvPr id="18" name="Google Shape;278;p28">
              <a:extLst>
                <a:ext uri="{FF2B5EF4-FFF2-40B4-BE49-F238E27FC236}">
                  <a16:creationId xmlns:a16="http://schemas.microsoft.com/office/drawing/2014/main" id="{BEC965A1-B63E-F84C-6EBE-A954D434AA19}"/>
                </a:ext>
              </a:extLst>
            </p:cNvPr>
            <p:cNvSpPr/>
            <p:nvPr/>
          </p:nvSpPr>
          <p:spPr>
            <a:xfrm flipH="1">
              <a:off x="4747852" y="3020977"/>
              <a:ext cx="1758228" cy="1384350"/>
            </a:xfrm>
            <a:custGeom>
              <a:avLst/>
              <a:gdLst/>
              <a:ahLst/>
              <a:cxnLst/>
              <a:rect l="l" t="t" r="r" b="b"/>
              <a:pathLst>
                <a:path w="87725" h="63817" extrusionOk="0">
                  <a:moveTo>
                    <a:pt x="24288" y="0"/>
                  </a:moveTo>
                  <a:lnTo>
                    <a:pt x="0" y="29908"/>
                  </a:lnTo>
                  <a:lnTo>
                    <a:pt x="87725" y="63817"/>
                  </a:lnTo>
                  <a:lnTo>
                    <a:pt x="87725" y="42291"/>
                  </a:lnTo>
                  <a:lnTo>
                    <a:pt x="87725" y="23526"/>
                  </a:lnTo>
                  <a:close/>
                </a:path>
              </a:pathLst>
            </a:custGeom>
            <a:solidFill>
              <a:srgbClr val="F2A40D"/>
            </a:solidFill>
            <a:ln>
              <a:noFill/>
            </a:ln>
          </p:spPr>
          <p:txBody>
            <a:bodyPr/>
            <a:lstStyle/>
            <a:p>
              <a:pPr marL="0" marR="0" lvl="0" indent="0" algn="l" defTabSz="913836" rtl="0" eaLnBrk="1" fontAlgn="auto" latinLnBrk="1" hangingPunct="1">
                <a:lnSpc>
                  <a:spcPct val="100000"/>
                </a:lnSpc>
                <a:spcBef>
                  <a:spcPts val="0"/>
                </a:spcBef>
                <a:spcAft>
                  <a:spcPts val="0"/>
                </a:spcAft>
                <a:buClrTx/>
                <a:buSzTx/>
                <a:buFontTx/>
                <a:buNone/>
                <a:tabLst/>
                <a:defRPr/>
              </a:pPr>
              <a:endParaRPr kumimoji="0" lang="ar-SA" sz="2400" b="0" i="0" u="none" strike="noStrike" kern="0" cap="none" spc="0" normalizeH="0" baseline="0" noProof="0">
                <a:ln>
                  <a:noFill/>
                </a:ln>
                <a:solidFill>
                  <a:prstClr val="black"/>
                </a:solidFill>
                <a:effectLst/>
                <a:uLnTx/>
                <a:uFillTx/>
                <a:latin typeface="Arial"/>
              </a:endParaRPr>
            </a:p>
          </p:txBody>
        </p:sp>
        <p:sp>
          <p:nvSpPr>
            <p:cNvPr id="19" name="Google Shape;279;p28">
              <a:extLst>
                <a:ext uri="{FF2B5EF4-FFF2-40B4-BE49-F238E27FC236}">
                  <a16:creationId xmlns:a16="http://schemas.microsoft.com/office/drawing/2014/main" id="{47396E1A-6E79-E1F0-2A6B-D46AA583C7CD}"/>
                </a:ext>
              </a:extLst>
            </p:cNvPr>
            <p:cNvSpPr/>
            <p:nvPr/>
          </p:nvSpPr>
          <p:spPr>
            <a:xfrm>
              <a:off x="3969199" y="2001324"/>
              <a:ext cx="1565850" cy="585863"/>
            </a:xfrm>
            <a:custGeom>
              <a:avLst/>
              <a:gdLst/>
              <a:ahLst/>
              <a:cxnLst/>
              <a:rect l="l" t="t" r="r" b="b"/>
              <a:pathLst>
                <a:path w="24053" h="8150" extrusionOk="0">
                  <a:moveTo>
                    <a:pt x="0" y="3827"/>
                  </a:moveTo>
                  <a:lnTo>
                    <a:pt x="11976" y="8150"/>
                  </a:lnTo>
                  <a:lnTo>
                    <a:pt x="24053" y="3827"/>
                  </a:lnTo>
                  <a:lnTo>
                    <a:pt x="12126" y="0"/>
                  </a:lnTo>
                  <a:close/>
                </a:path>
              </a:pathLst>
            </a:custGeom>
            <a:solidFill>
              <a:srgbClr val="EEECE1"/>
            </a:solidFill>
            <a:ln>
              <a:noFill/>
            </a:ln>
          </p:spPr>
          <p:txBody>
            <a:bodyPr/>
            <a:lstStyle/>
            <a:p>
              <a:pPr marL="0" marR="0" lvl="0" indent="0" algn="l" defTabSz="913836" rtl="0" eaLnBrk="1" fontAlgn="auto" latinLnBrk="1" hangingPunct="1">
                <a:lnSpc>
                  <a:spcPct val="100000"/>
                </a:lnSpc>
                <a:spcBef>
                  <a:spcPts val="0"/>
                </a:spcBef>
                <a:spcAft>
                  <a:spcPts val="0"/>
                </a:spcAft>
                <a:buClrTx/>
                <a:buSzTx/>
                <a:buFontTx/>
                <a:buNone/>
                <a:tabLst/>
                <a:defRPr/>
              </a:pPr>
              <a:endParaRPr kumimoji="0" lang="ar-SA" sz="2400" b="0" i="0" u="none" strike="noStrike" kern="0" cap="none" spc="0" normalizeH="0" baseline="0" noProof="0">
                <a:ln>
                  <a:noFill/>
                </a:ln>
                <a:solidFill>
                  <a:prstClr val="black"/>
                </a:solidFill>
                <a:effectLst/>
                <a:uLnTx/>
                <a:uFillTx/>
                <a:latin typeface="Arial"/>
              </a:endParaRPr>
            </a:p>
          </p:txBody>
        </p:sp>
        <p:sp>
          <p:nvSpPr>
            <p:cNvPr id="20" name="Google Shape;280;p28">
              <a:extLst>
                <a:ext uri="{FF2B5EF4-FFF2-40B4-BE49-F238E27FC236}">
                  <a16:creationId xmlns:a16="http://schemas.microsoft.com/office/drawing/2014/main" id="{D0D400D1-41B7-7C52-90F1-01815418632C}"/>
                </a:ext>
              </a:extLst>
            </p:cNvPr>
            <p:cNvSpPr/>
            <p:nvPr/>
          </p:nvSpPr>
          <p:spPr>
            <a:xfrm>
              <a:off x="3563255" y="2275837"/>
              <a:ext cx="1189300" cy="1015326"/>
            </a:xfrm>
            <a:custGeom>
              <a:avLst/>
              <a:gdLst/>
              <a:ahLst/>
              <a:cxnLst/>
              <a:rect l="l" t="t" r="r" b="b"/>
              <a:pathLst>
                <a:path w="18238" h="14114" extrusionOk="0">
                  <a:moveTo>
                    <a:pt x="6262" y="0"/>
                  </a:moveTo>
                  <a:lnTo>
                    <a:pt x="18238" y="4324"/>
                  </a:lnTo>
                  <a:lnTo>
                    <a:pt x="18238" y="14114"/>
                  </a:lnTo>
                  <a:lnTo>
                    <a:pt x="0" y="7554"/>
                  </a:lnTo>
                  <a:close/>
                </a:path>
              </a:pathLst>
            </a:custGeom>
            <a:solidFill>
              <a:srgbClr val="32AEB8"/>
            </a:solidFill>
            <a:ln>
              <a:noFill/>
            </a:ln>
          </p:spPr>
          <p:txBody>
            <a:bodyPr/>
            <a:lstStyle/>
            <a:p>
              <a:pPr marL="0" marR="0" lvl="0" indent="0" algn="l" defTabSz="913836" rtl="0" eaLnBrk="1" fontAlgn="auto" latinLnBrk="1" hangingPunct="1">
                <a:lnSpc>
                  <a:spcPct val="100000"/>
                </a:lnSpc>
                <a:spcBef>
                  <a:spcPts val="0"/>
                </a:spcBef>
                <a:spcAft>
                  <a:spcPts val="0"/>
                </a:spcAft>
                <a:buClrTx/>
                <a:buSzTx/>
                <a:buFontTx/>
                <a:buNone/>
                <a:tabLst/>
                <a:defRPr/>
              </a:pPr>
              <a:endParaRPr kumimoji="0" lang="ar-SA" sz="2400" b="0" i="0" u="none" strike="noStrike" kern="0" cap="none" spc="0" normalizeH="0" baseline="0" noProof="0">
                <a:ln>
                  <a:noFill/>
                </a:ln>
                <a:solidFill>
                  <a:prstClr val="black"/>
                </a:solidFill>
                <a:effectLst/>
                <a:uLnTx/>
                <a:uFillTx/>
                <a:latin typeface="Arial"/>
              </a:endParaRPr>
            </a:p>
          </p:txBody>
        </p:sp>
        <p:sp>
          <p:nvSpPr>
            <p:cNvPr id="21" name="Google Shape;281;p28">
              <a:extLst>
                <a:ext uri="{FF2B5EF4-FFF2-40B4-BE49-F238E27FC236}">
                  <a16:creationId xmlns:a16="http://schemas.microsoft.com/office/drawing/2014/main" id="{90C5581F-916F-F5C0-23C4-D99F7F6BE1D0}"/>
                </a:ext>
              </a:extLst>
            </p:cNvPr>
            <p:cNvSpPr/>
            <p:nvPr/>
          </p:nvSpPr>
          <p:spPr>
            <a:xfrm flipH="1">
              <a:off x="4749365" y="2275837"/>
              <a:ext cx="1189300" cy="1015326"/>
            </a:xfrm>
            <a:custGeom>
              <a:avLst/>
              <a:gdLst/>
              <a:ahLst/>
              <a:cxnLst/>
              <a:rect l="l" t="t" r="r" b="b"/>
              <a:pathLst>
                <a:path w="18238" h="14114" extrusionOk="0">
                  <a:moveTo>
                    <a:pt x="6262" y="0"/>
                  </a:moveTo>
                  <a:lnTo>
                    <a:pt x="18238" y="4324"/>
                  </a:lnTo>
                  <a:lnTo>
                    <a:pt x="18238" y="14114"/>
                  </a:lnTo>
                  <a:lnTo>
                    <a:pt x="0" y="7554"/>
                  </a:lnTo>
                  <a:close/>
                </a:path>
              </a:pathLst>
            </a:custGeom>
            <a:solidFill>
              <a:srgbClr val="32AEB8"/>
            </a:solidFill>
            <a:ln>
              <a:noFill/>
            </a:ln>
          </p:spPr>
          <p:txBody>
            <a:bodyPr/>
            <a:lstStyle/>
            <a:p>
              <a:pPr marL="0" marR="0" lvl="0" indent="0" algn="l" defTabSz="913836" rtl="0" eaLnBrk="1" fontAlgn="auto" latinLnBrk="1" hangingPunct="1">
                <a:lnSpc>
                  <a:spcPct val="100000"/>
                </a:lnSpc>
                <a:spcBef>
                  <a:spcPts val="0"/>
                </a:spcBef>
                <a:spcAft>
                  <a:spcPts val="0"/>
                </a:spcAft>
                <a:buClrTx/>
                <a:buSzTx/>
                <a:buFontTx/>
                <a:buNone/>
                <a:tabLst/>
                <a:defRPr/>
              </a:pPr>
              <a:endParaRPr kumimoji="0" lang="ar-SA" sz="2400" b="0" i="0" u="none" strike="noStrike" kern="0" cap="none" spc="0" normalizeH="0" baseline="0" noProof="0">
                <a:ln>
                  <a:noFill/>
                </a:ln>
                <a:solidFill>
                  <a:prstClr val="black"/>
                </a:solidFill>
                <a:effectLst/>
                <a:uLnTx/>
                <a:uFillTx/>
                <a:latin typeface="Arial"/>
              </a:endParaRPr>
            </a:p>
          </p:txBody>
        </p:sp>
        <p:sp>
          <p:nvSpPr>
            <p:cNvPr id="22" name="Google Shape;282;p28">
              <a:extLst>
                <a:ext uri="{FF2B5EF4-FFF2-40B4-BE49-F238E27FC236}">
                  <a16:creationId xmlns:a16="http://schemas.microsoft.com/office/drawing/2014/main" id="{FA653E4C-0FEB-C4A2-D537-81B19C79768D}"/>
                </a:ext>
              </a:extLst>
            </p:cNvPr>
            <p:cNvSpPr/>
            <p:nvPr/>
          </p:nvSpPr>
          <p:spPr>
            <a:xfrm>
              <a:off x="4059061" y="1153325"/>
              <a:ext cx="693508" cy="1201140"/>
            </a:xfrm>
            <a:custGeom>
              <a:avLst/>
              <a:gdLst/>
              <a:ahLst/>
              <a:cxnLst/>
              <a:rect l="l" t="t" r="r" b="b"/>
              <a:pathLst>
                <a:path w="10635" h="16697" extrusionOk="0">
                  <a:moveTo>
                    <a:pt x="10635" y="0"/>
                  </a:moveTo>
                  <a:lnTo>
                    <a:pt x="0" y="12722"/>
                  </a:lnTo>
                  <a:lnTo>
                    <a:pt x="10635" y="16697"/>
                  </a:lnTo>
                  <a:close/>
                </a:path>
              </a:pathLst>
            </a:custGeom>
            <a:solidFill>
              <a:srgbClr val="32AEB8"/>
            </a:solidFill>
            <a:ln>
              <a:noFill/>
            </a:ln>
          </p:spPr>
          <p:txBody>
            <a:bodyPr/>
            <a:lstStyle/>
            <a:p>
              <a:pPr marL="0" marR="0" lvl="0" indent="0" algn="l" defTabSz="913836" rtl="0" eaLnBrk="1" fontAlgn="auto" latinLnBrk="1" hangingPunct="1">
                <a:lnSpc>
                  <a:spcPct val="100000"/>
                </a:lnSpc>
                <a:spcBef>
                  <a:spcPts val="0"/>
                </a:spcBef>
                <a:spcAft>
                  <a:spcPts val="0"/>
                </a:spcAft>
                <a:buClrTx/>
                <a:buSzTx/>
                <a:buFontTx/>
                <a:buNone/>
                <a:tabLst/>
                <a:defRPr/>
              </a:pPr>
              <a:endParaRPr kumimoji="0" lang="ar-SA" sz="2400" b="0" i="0" u="none" strike="noStrike" kern="0" cap="none" spc="0" normalizeH="0" baseline="0" noProof="0">
                <a:ln>
                  <a:noFill/>
                </a:ln>
                <a:solidFill>
                  <a:prstClr val="black"/>
                </a:solidFill>
                <a:effectLst/>
                <a:uLnTx/>
                <a:uFillTx/>
                <a:latin typeface="Arial"/>
              </a:endParaRPr>
            </a:p>
          </p:txBody>
        </p:sp>
        <p:sp>
          <p:nvSpPr>
            <p:cNvPr id="23" name="Google Shape;283;p28">
              <a:extLst>
                <a:ext uri="{FF2B5EF4-FFF2-40B4-BE49-F238E27FC236}">
                  <a16:creationId xmlns:a16="http://schemas.microsoft.com/office/drawing/2014/main" id="{AA2F9DD8-CBB2-E675-6B10-FF2CD66F55D4}"/>
                </a:ext>
              </a:extLst>
            </p:cNvPr>
            <p:cNvSpPr/>
            <p:nvPr/>
          </p:nvSpPr>
          <p:spPr>
            <a:xfrm flipH="1">
              <a:off x="4749350" y="1153325"/>
              <a:ext cx="693508" cy="1201140"/>
            </a:xfrm>
            <a:custGeom>
              <a:avLst/>
              <a:gdLst/>
              <a:ahLst/>
              <a:cxnLst/>
              <a:rect l="l" t="t" r="r" b="b"/>
              <a:pathLst>
                <a:path w="10635" h="16697" extrusionOk="0">
                  <a:moveTo>
                    <a:pt x="10635" y="0"/>
                  </a:moveTo>
                  <a:lnTo>
                    <a:pt x="0" y="12722"/>
                  </a:lnTo>
                  <a:lnTo>
                    <a:pt x="10635" y="16697"/>
                  </a:lnTo>
                  <a:close/>
                </a:path>
              </a:pathLst>
            </a:custGeom>
            <a:solidFill>
              <a:srgbClr val="F2A40D"/>
            </a:solidFill>
            <a:ln>
              <a:noFill/>
            </a:ln>
          </p:spPr>
          <p:txBody>
            <a:bodyPr/>
            <a:lstStyle/>
            <a:p>
              <a:pPr marL="0" marR="0" lvl="0" indent="0" algn="l" defTabSz="913836" rtl="0" eaLnBrk="1" fontAlgn="auto" latinLnBrk="1" hangingPunct="1">
                <a:lnSpc>
                  <a:spcPct val="100000"/>
                </a:lnSpc>
                <a:spcBef>
                  <a:spcPts val="0"/>
                </a:spcBef>
                <a:spcAft>
                  <a:spcPts val="0"/>
                </a:spcAft>
                <a:buClrTx/>
                <a:buSzTx/>
                <a:buFontTx/>
                <a:buNone/>
                <a:tabLst/>
                <a:defRPr/>
              </a:pPr>
              <a:endParaRPr kumimoji="0" lang="ar-SA" sz="2400" b="0" i="0" u="none" strike="noStrike" kern="0" cap="none" spc="0" normalizeH="0" baseline="0" noProof="0">
                <a:ln>
                  <a:noFill/>
                </a:ln>
                <a:solidFill>
                  <a:prstClr val="black"/>
                </a:solidFill>
                <a:effectLst/>
                <a:uLnTx/>
                <a:uFillTx/>
                <a:latin typeface="Arial"/>
              </a:endParaRPr>
            </a:p>
          </p:txBody>
        </p:sp>
      </p:grpSp>
      <p:sp>
        <p:nvSpPr>
          <p:cNvPr id="24" name="Google Shape;272;p28">
            <a:extLst>
              <a:ext uri="{FF2B5EF4-FFF2-40B4-BE49-F238E27FC236}">
                <a16:creationId xmlns:a16="http://schemas.microsoft.com/office/drawing/2014/main" id="{20C78979-4A8E-4D94-99D7-1B5E2D8FE4C5}"/>
              </a:ext>
            </a:extLst>
          </p:cNvPr>
          <p:cNvSpPr txBox="1"/>
          <p:nvPr/>
        </p:nvSpPr>
        <p:spPr>
          <a:xfrm rot="20279779">
            <a:off x="2796970" y="3861344"/>
            <a:ext cx="1627645" cy="1104060"/>
          </a:xfrm>
          <a:prstGeom prst="rect">
            <a:avLst/>
          </a:prstGeom>
          <a:no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defTabSz="913836" rtl="1" latinLnBrk="1"/>
            <a:r>
              <a:rPr lang="ar-SA" sz="2400" b="1" dirty="0">
                <a:solidFill>
                  <a:srgbClr val="181F22"/>
                </a:solidFill>
                <a:latin typeface="Sakkal Majalla" panose="02000000000000000000" pitchFamily="2" charset="-78"/>
                <a:ea typeface="Titillium Web"/>
                <a:cs typeface="Sakkal Majalla" panose="02000000000000000000" pitchFamily="2" charset="-78"/>
                <a:sym typeface="Titillium Web"/>
              </a:rPr>
              <a:t>أداء المدرسة</a:t>
            </a:r>
          </a:p>
        </p:txBody>
      </p:sp>
      <p:sp>
        <p:nvSpPr>
          <p:cNvPr id="25" name="Google Shape;272;p28">
            <a:extLst>
              <a:ext uri="{FF2B5EF4-FFF2-40B4-BE49-F238E27FC236}">
                <a16:creationId xmlns:a16="http://schemas.microsoft.com/office/drawing/2014/main" id="{BB2363DC-FE14-374A-C937-D6F61E799A2F}"/>
              </a:ext>
            </a:extLst>
          </p:cNvPr>
          <p:cNvSpPr txBox="1"/>
          <p:nvPr/>
        </p:nvSpPr>
        <p:spPr>
          <a:xfrm rot="20279779">
            <a:off x="2455010" y="2669599"/>
            <a:ext cx="1585733" cy="1104060"/>
          </a:xfrm>
          <a:prstGeom prst="rect">
            <a:avLst/>
          </a:prstGeom>
          <a:no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defTabSz="913836" rtl="1" latinLnBrk="1"/>
            <a:r>
              <a:rPr lang="ar-SA" sz="2400" b="1" dirty="0">
                <a:solidFill>
                  <a:srgbClr val="181F22"/>
                </a:solidFill>
                <a:latin typeface="Sakkal Majalla" panose="02000000000000000000" pitchFamily="2" charset="-78"/>
                <a:ea typeface="Titillium Web"/>
                <a:cs typeface="Sakkal Majalla" panose="02000000000000000000" pitchFamily="2" charset="-78"/>
                <a:sym typeface="Titillium Web"/>
              </a:rPr>
              <a:t>أداء</a:t>
            </a:r>
          </a:p>
          <a:p>
            <a:pPr algn="ctr" defTabSz="913836" rtl="1" latinLnBrk="1"/>
            <a:r>
              <a:rPr lang="ar-SA" sz="2400" b="1" dirty="0">
                <a:solidFill>
                  <a:srgbClr val="181F22"/>
                </a:solidFill>
                <a:latin typeface="Sakkal Majalla" panose="02000000000000000000" pitchFamily="2" charset="-78"/>
                <a:ea typeface="Titillium Web"/>
                <a:cs typeface="Sakkal Majalla" panose="02000000000000000000" pitchFamily="2" charset="-78"/>
                <a:sym typeface="Titillium Web"/>
              </a:rPr>
              <a:t>مكتب التعليم</a:t>
            </a:r>
          </a:p>
        </p:txBody>
      </p:sp>
      <p:sp>
        <p:nvSpPr>
          <p:cNvPr id="26" name="Google Shape;272;p28">
            <a:extLst>
              <a:ext uri="{FF2B5EF4-FFF2-40B4-BE49-F238E27FC236}">
                <a16:creationId xmlns:a16="http://schemas.microsoft.com/office/drawing/2014/main" id="{522342EF-0831-188A-9624-661A62847707}"/>
              </a:ext>
            </a:extLst>
          </p:cNvPr>
          <p:cNvSpPr txBox="1"/>
          <p:nvPr/>
        </p:nvSpPr>
        <p:spPr>
          <a:xfrm rot="20279779">
            <a:off x="2128742" y="1447689"/>
            <a:ext cx="1585733" cy="1104060"/>
          </a:xfrm>
          <a:prstGeom prst="rect">
            <a:avLst/>
          </a:prstGeom>
          <a:no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defTabSz="913836" rtl="1" latinLnBrk="1"/>
            <a:r>
              <a:rPr lang="ar-SA" sz="2000" b="1" dirty="0">
                <a:solidFill>
                  <a:srgbClr val="181F22"/>
                </a:solidFill>
                <a:latin typeface="Sakkal Majalla" panose="02000000000000000000" pitchFamily="2" charset="-78"/>
                <a:ea typeface="Titillium Web"/>
                <a:cs typeface="Sakkal Majalla" panose="02000000000000000000" pitchFamily="2" charset="-78"/>
                <a:sym typeface="Titillium Web"/>
              </a:rPr>
              <a:t>أداء</a:t>
            </a:r>
          </a:p>
          <a:p>
            <a:pPr algn="ctr" defTabSz="913836" rtl="1" latinLnBrk="1"/>
            <a:r>
              <a:rPr lang="ar-SA" sz="2000" b="1" dirty="0">
                <a:solidFill>
                  <a:srgbClr val="181F22"/>
                </a:solidFill>
                <a:latin typeface="Sakkal Majalla" panose="02000000000000000000" pitchFamily="2" charset="-78"/>
                <a:ea typeface="Titillium Web"/>
                <a:cs typeface="Sakkal Majalla" panose="02000000000000000000" pitchFamily="2" charset="-78"/>
                <a:sym typeface="Titillium Web"/>
              </a:rPr>
              <a:t>إدارة</a:t>
            </a:r>
          </a:p>
          <a:p>
            <a:pPr algn="ctr" defTabSz="913836" rtl="1" latinLnBrk="1"/>
            <a:r>
              <a:rPr lang="ar-SA" sz="2000" b="1" dirty="0">
                <a:solidFill>
                  <a:srgbClr val="181F22"/>
                </a:solidFill>
                <a:latin typeface="Sakkal Majalla" panose="02000000000000000000" pitchFamily="2" charset="-78"/>
                <a:ea typeface="Titillium Web"/>
                <a:cs typeface="Sakkal Majalla" panose="02000000000000000000" pitchFamily="2" charset="-78"/>
                <a:sym typeface="Titillium Web"/>
              </a:rPr>
              <a:t> التعليم</a:t>
            </a:r>
          </a:p>
        </p:txBody>
      </p:sp>
      <p:sp>
        <p:nvSpPr>
          <p:cNvPr id="27" name="Rectangle 9">
            <a:extLst>
              <a:ext uri="{FF2B5EF4-FFF2-40B4-BE49-F238E27FC236}">
                <a16:creationId xmlns:a16="http://schemas.microsoft.com/office/drawing/2014/main" id="{C404DF7E-0C7B-F44F-663F-94EFC3FEBD54}"/>
              </a:ext>
            </a:extLst>
          </p:cNvPr>
          <p:cNvSpPr>
            <a:spLocks noChangeArrowheads="1"/>
          </p:cNvSpPr>
          <p:nvPr/>
        </p:nvSpPr>
        <p:spPr bwMode="auto">
          <a:xfrm>
            <a:off x="5883506" y="3531207"/>
            <a:ext cx="4703901" cy="1167384"/>
          </a:xfrm>
          <a:prstGeom prst="rect">
            <a:avLst/>
          </a:prstGeom>
          <a:noFill/>
          <a:ln w="9525">
            <a:noFill/>
            <a:miter lim="800000"/>
            <a:headEnd/>
            <a:tailEnd/>
          </a:ln>
        </p:spPr>
        <p:txBody>
          <a:bodyPr/>
          <a:lstStyle/>
          <a:p>
            <a:pPr defTabSz="914377" fontAlgn="base">
              <a:lnSpc>
                <a:spcPct val="125000"/>
              </a:lnSpc>
              <a:buClr>
                <a:srgbClr val="32AEB8"/>
              </a:buClr>
              <a:buSzPct val="100000"/>
              <a:buFont typeface="Source Sans Pro"/>
              <a:buChar char="◉"/>
            </a:pPr>
            <a:r>
              <a:rPr lang="ar-SA" b="1" kern="0" dirty="0">
                <a:solidFill>
                  <a:srgbClr val="002060"/>
                </a:solidFill>
                <a:latin typeface="Sakkal Majalla" panose="02000000000000000000" pitchFamily="2" charset="-78"/>
                <a:cs typeface="Sakkal Majalla" panose="02000000000000000000" pitchFamily="2" charset="-78"/>
                <a:sym typeface="Arial"/>
              </a:rPr>
              <a:t> متوسط أداء المدارس = أداء مكتب التعليم</a:t>
            </a:r>
          </a:p>
          <a:p>
            <a:pPr defTabSz="914377" fontAlgn="base">
              <a:lnSpc>
                <a:spcPct val="125000"/>
              </a:lnSpc>
              <a:buClr>
                <a:srgbClr val="32AEB8"/>
              </a:buClr>
              <a:buSzPct val="100000"/>
              <a:buFont typeface="Source Sans Pro"/>
              <a:buChar char="◉"/>
            </a:pPr>
            <a:r>
              <a:rPr lang="ar-SA" b="1" kern="0" dirty="0">
                <a:solidFill>
                  <a:srgbClr val="002060"/>
                </a:solidFill>
                <a:latin typeface="Sakkal Majalla" panose="02000000000000000000" pitchFamily="2" charset="-78"/>
                <a:cs typeface="Sakkal Majalla" panose="02000000000000000000" pitchFamily="2" charset="-78"/>
                <a:sym typeface="Arial"/>
              </a:rPr>
              <a:t>متوسط أداء مكاتب التعليم = أداء إدارة التعليم</a:t>
            </a:r>
          </a:p>
          <a:p>
            <a:pPr defTabSz="914377" fontAlgn="base">
              <a:lnSpc>
                <a:spcPct val="125000"/>
              </a:lnSpc>
              <a:buClr>
                <a:srgbClr val="32AEB8"/>
              </a:buClr>
              <a:buSzPct val="100000"/>
              <a:buFont typeface="Source Sans Pro"/>
              <a:buChar char="◉"/>
            </a:pPr>
            <a:r>
              <a:rPr lang="ar-SA" b="1" kern="0" dirty="0">
                <a:solidFill>
                  <a:srgbClr val="002060"/>
                </a:solidFill>
                <a:latin typeface="Sakkal Majalla" panose="02000000000000000000" pitchFamily="2" charset="-78"/>
                <a:cs typeface="Sakkal Majalla" panose="02000000000000000000" pitchFamily="2" charset="-78"/>
                <a:sym typeface="Arial"/>
              </a:rPr>
              <a:t> متوسط أداء إدارات التعليم = أداء النظام التعليمي</a:t>
            </a:r>
          </a:p>
        </p:txBody>
      </p:sp>
    </p:spTree>
    <p:extLst>
      <p:ext uri="{BB962C8B-B14F-4D97-AF65-F5344CB8AC3E}">
        <p14:creationId xmlns:p14="http://schemas.microsoft.com/office/powerpoint/2010/main" val="12088969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arn(inVertical)">
                                      <p:cBhvr>
                                        <p:cTn id="7" dur="1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nodeType="click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barn(inVertical)">
                                      <p:cBhvr>
                                        <p:cTn id="12" dur="500"/>
                                        <p:tgtEl>
                                          <p:spTgt spid="15"/>
                                        </p:tgtEl>
                                      </p:cBhvr>
                                    </p:animEffect>
                                  </p:childTnLst>
                                </p:cTn>
                              </p:par>
                            </p:childTnLst>
                          </p:cTn>
                        </p:par>
                      </p:childTnLst>
                    </p:cTn>
                  </p:par>
                  <p:par>
                    <p:cTn id="13" fill="hold">
                      <p:stCondLst>
                        <p:cond delay="indefinite"/>
                      </p:stCondLst>
                      <p:childTnLst>
                        <p:par>
                          <p:cTn id="14" fill="hold">
                            <p:stCondLst>
                              <p:cond delay="0"/>
                            </p:stCondLst>
                            <p:childTnLst>
                              <p:par>
                                <p:cTn id="15" presetID="16" presetClass="entr" presetSubtype="21" fill="hold" grpId="0" nodeType="clickEffect">
                                  <p:stCondLst>
                                    <p:cond delay="0"/>
                                  </p:stCondLst>
                                  <p:childTnLst>
                                    <p:set>
                                      <p:cBhvr>
                                        <p:cTn id="16" dur="1" fill="hold">
                                          <p:stCondLst>
                                            <p:cond delay="0"/>
                                          </p:stCondLst>
                                        </p:cTn>
                                        <p:tgtEl>
                                          <p:spTgt spid="24"/>
                                        </p:tgtEl>
                                        <p:attrNameLst>
                                          <p:attrName>style.visibility</p:attrName>
                                        </p:attrNameLst>
                                      </p:cBhvr>
                                      <p:to>
                                        <p:strVal val="visible"/>
                                      </p:to>
                                    </p:set>
                                    <p:animEffect transition="in" filter="barn(inVertical)">
                                      <p:cBhvr>
                                        <p:cTn id="17" dur="500"/>
                                        <p:tgtEl>
                                          <p:spTgt spid="24"/>
                                        </p:tgtEl>
                                      </p:cBhvr>
                                    </p:animEffect>
                                  </p:childTnLst>
                                </p:cTn>
                              </p:par>
                            </p:childTnLst>
                          </p:cTn>
                        </p:par>
                      </p:childTnLst>
                    </p:cTn>
                  </p:par>
                  <p:par>
                    <p:cTn id="18" fill="hold">
                      <p:stCondLst>
                        <p:cond delay="indefinite"/>
                      </p:stCondLst>
                      <p:childTnLst>
                        <p:par>
                          <p:cTn id="19" fill="hold">
                            <p:stCondLst>
                              <p:cond delay="0"/>
                            </p:stCondLst>
                            <p:childTnLst>
                              <p:par>
                                <p:cTn id="20" presetID="16" presetClass="entr" presetSubtype="21" fill="hold" grpId="0" nodeType="clickEffect">
                                  <p:stCondLst>
                                    <p:cond delay="0"/>
                                  </p:stCondLst>
                                  <p:childTnLst>
                                    <p:set>
                                      <p:cBhvr>
                                        <p:cTn id="21" dur="1" fill="hold">
                                          <p:stCondLst>
                                            <p:cond delay="0"/>
                                          </p:stCondLst>
                                        </p:cTn>
                                        <p:tgtEl>
                                          <p:spTgt spid="25"/>
                                        </p:tgtEl>
                                        <p:attrNameLst>
                                          <p:attrName>style.visibility</p:attrName>
                                        </p:attrNameLst>
                                      </p:cBhvr>
                                      <p:to>
                                        <p:strVal val="visible"/>
                                      </p:to>
                                    </p:set>
                                    <p:animEffect transition="in" filter="barn(inVertical)">
                                      <p:cBhvr>
                                        <p:cTn id="22" dur="500"/>
                                        <p:tgtEl>
                                          <p:spTgt spid="25"/>
                                        </p:tgtEl>
                                      </p:cBhvr>
                                    </p:animEffect>
                                  </p:childTnLst>
                                </p:cTn>
                              </p:par>
                            </p:childTnLst>
                          </p:cTn>
                        </p:par>
                      </p:childTnLst>
                    </p:cTn>
                  </p:par>
                  <p:par>
                    <p:cTn id="23" fill="hold">
                      <p:stCondLst>
                        <p:cond delay="indefinite"/>
                      </p:stCondLst>
                      <p:childTnLst>
                        <p:par>
                          <p:cTn id="24" fill="hold">
                            <p:stCondLst>
                              <p:cond delay="0"/>
                            </p:stCondLst>
                            <p:childTnLst>
                              <p:par>
                                <p:cTn id="25" presetID="16" presetClass="entr" presetSubtype="21" fill="hold" grpId="0" nodeType="clickEffect">
                                  <p:stCondLst>
                                    <p:cond delay="0"/>
                                  </p:stCondLst>
                                  <p:childTnLst>
                                    <p:set>
                                      <p:cBhvr>
                                        <p:cTn id="26" dur="1" fill="hold">
                                          <p:stCondLst>
                                            <p:cond delay="0"/>
                                          </p:stCondLst>
                                        </p:cTn>
                                        <p:tgtEl>
                                          <p:spTgt spid="26"/>
                                        </p:tgtEl>
                                        <p:attrNameLst>
                                          <p:attrName>style.visibility</p:attrName>
                                        </p:attrNameLst>
                                      </p:cBhvr>
                                      <p:to>
                                        <p:strVal val="visible"/>
                                      </p:to>
                                    </p:set>
                                    <p:animEffect transition="in" filter="barn(inVertical)">
                                      <p:cBhvr>
                                        <p:cTn id="27" dur="500"/>
                                        <p:tgtEl>
                                          <p:spTgt spid="26"/>
                                        </p:tgtEl>
                                      </p:cBhvr>
                                    </p:animEffect>
                                  </p:childTnLst>
                                </p:cTn>
                              </p:par>
                            </p:childTnLst>
                          </p:cTn>
                        </p:par>
                      </p:childTnLst>
                    </p:cTn>
                  </p:par>
                  <p:par>
                    <p:cTn id="28" fill="hold">
                      <p:stCondLst>
                        <p:cond delay="indefinite"/>
                      </p:stCondLst>
                      <p:childTnLst>
                        <p:par>
                          <p:cTn id="29" fill="hold">
                            <p:stCondLst>
                              <p:cond delay="0"/>
                            </p:stCondLst>
                            <p:childTnLst>
                              <p:par>
                                <p:cTn id="30" presetID="16" presetClass="entr" presetSubtype="21" fill="hold" grpId="0" nodeType="clickEffect">
                                  <p:stCondLst>
                                    <p:cond delay="0"/>
                                  </p:stCondLst>
                                  <p:childTnLst>
                                    <p:set>
                                      <p:cBhvr>
                                        <p:cTn id="31" dur="1" fill="hold">
                                          <p:stCondLst>
                                            <p:cond delay="0"/>
                                          </p:stCondLst>
                                        </p:cTn>
                                        <p:tgtEl>
                                          <p:spTgt spid="4"/>
                                        </p:tgtEl>
                                        <p:attrNameLst>
                                          <p:attrName>style.visibility</p:attrName>
                                        </p:attrNameLst>
                                      </p:cBhvr>
                                      <p:to>
                                        <p:strVal val="visible"/>
                                      </p:to>
                                    </p:set>
                                    <p:animEffect transition="in" filter="barn(inVertical)">
                                      <p:cBhvr>
                                        <p:cTn id="32" dur="1250"/>
                                        <p:tgtEl>
                                          <p:spTgt spid="4"/>
                                        </p:tgtEl>
                                      </p:cBhvr>
                                    </p:animEffect>
                                  </p:childTnLst>
                                </p:cTn>
                              </p:par>
                              <p:par>
                                <p:cTn id="33" presetID="16" presetClass="entr" presetSubtype="21" fill="hold" grpId="0" nodeType="withEffect">
                                  <p:stCondLst>
                                    <p:cond delay="0"/>
                                  </p:stCondLst>
                                  <p:childTnLst>
                                    <p:set>
                                      <p:cBhvr>
                                        <p:cTn id="34" dur="1" fill="hold">
                                          <p:stCondLst>
                                            <p:cond delay="0"/>
                                          </p:stCondLst>
                                        </p:cTn>
                                        <p:tgtEl>
                                          <p:spTgt spid="6"/>
                                        </p:tgtEl>
                                        <p:attrNameLst>
                                          <p:attrName>style.visibility</p:attrName>
                                        </p:attrNameLst>
                                      </p:cBhvr>
                                      <p:to>
                                        <p:strVal val="visible"/>
                                      </p:to>
                                    </p:set>
                                    <p:animEffect transition="in" filter="barn(inVertical)">
                                      <p:cBhvr>
                                        <p:cTn id="35" dur="1250"/>
                                        <p:tgtEl>
                                          <p:spTgt spid="6"/>
                                        </p:tgtEl>
                                      </p:cBhvr>
                                    </p:animEffect>
                                  </p:childTnLst>
                                </p:cTn>
                              </p:par>
                            </p:childTnLst>
                          </p:cTn>
                        </p:par>
                      </p:childTnLst>
                    </p:cTn>
                  </p:par>
                  <p:par>
                    <p:cTn id="36" fill="hold">
                      <p:stCondLst>
                        <p:cond delay="indefinite"/>
                      </p:stCondLst>
                      <p:childTnLst>
                        <p:par>
                          <p:cTn id="37" fill="hold">
                            <p:stCondLst>
                              <p:cond delay="0"/>
                            </p:stCondLst>
                            <p:childTnLst>
                              <p:par>
                                <p:cTn id="38" presetID="16" presetClass="entr" presetSubtype="21" fill="hold" grpId="0" nodeType="clickEffect">
                                  <p:stCondLst>
                                    <p:cond delay="0"/>
                                  </p:stCondLst>
                                  <p:childTnLst>
                                    <p:set>
                                      <p:cBhvr>
                                        <p:cTn id="39" dur="1" fill="hold">
                                          <p:stCondLst>
                                            <p:cond delay="0"/>
                                          </p:stCondLst>
                                        </p:cTn>
                                        <p:tgtEl>
                                          <p:spTgt spid="11"/>
                                        </p:tgtEl>
                                        <p:attrNameLst>
                                          <p:attrName>style.visibility</p:attrName>
                                        </p:attrNameLst>
                                      </p:cBhvr>
                                      <p:to>
                                        <p:strVal val="visible"/>
                                      </p:to>
                                    </p:set>
                                    <p:animEffect transition="in" filter="barn(inVertical)">
                                      <p:cBhvr>
                                        <p:cTn id="40" dur="1250"/>
                                        <p:tgtEl>
                                          <p:spTgt spid="11"/>
                                        </p:tgtEl>
                                      </p:cBhvr>
                                    </p:animEffect>
                                  </p:childTnLst>
                                </p:cTn>
                              </p:par>
                              <p:par>
                                <p:cTn id="41" presetID="16" presetClass="entr" presetSubtype="21" fill="hold" grpId="0" nodeType="withEffect">
                                  <p:stCondLst>
                                    <p:cond delay="0"/>
                                  </p:stCondLst>
                                  <p:childTnLst>
                                    <p:set>
                                      <p:cBhvr>
                                        <p:cTn id="42" dur="1" fill="hold">
                                          <p:stCondLst>
                                            <p:cond delay="0"/>
                                          </p:stCondLst>
                                        </p:cTn>
                                        <p:tgtEl>
                                          <p:spTgt spid="13"/>
                                        </p:tgtEl>
                                        <p:attrNameLst>
                                          <p:attrName>style.visibility</p:attrName>
                                        </p:attrNameLst>
                                      </p:cBhvr>
                                      <p:to>
                                        <p:strVal val="visible"/>
                                      </p:to>
                                    </p:set>
                                    <p:animEffect transition="in" filter="barn(inVertical)">
                                      <p:cBhvr>
                                        <p:cTn id="43" dur="1250"/>
                                        <p:tgtEl>
                                          <p:spTgt spid="13"/>
                                        </p:tgtEl>
                                      </p:cBhvr>
                                    </p:animEffect>
                                  </p:childTnLst>
                                </p:cTn>
                              </p:par>
                            </p:childTnLst>
                          </p:cTn>
                        </p:par>
                      </p:childTnLst>
                    </p:cTn>
                  </p:par>
                  <p:par>
                    <p:cTn id="44" fill="hold">
                      <p:stCondLst>
                        <p:cond delay="indefinite"/>
                      </p:stCondLst>
                      <p:childTnLst>
                        <p:par>
                          <p:cTn id="45" fill="hold">
                            <p:stCondLst>
                              <p:cond delay="0"/>
                            </p:stCondLst>
                            <p:childTnLst>
                              <p:par>
                                <p:cTn id="46" presetID="16" presetClass="entr" presetSubtype="21" fill="hold" grpId="0" nodeType="clickEffect">
                                  <p:stCondLst>
                                    <p:cond delay="0"/>
                                  </p:stCondLst>
                                  <p:childTnLst>
                                    <p:set>
                                      <p:cBhvr>
                                        <p:cTn id="47" dur="1" fill="hold">
                                          <p:stCondLst>
                                            <p:cond delay="0"/>
                                          </p:stCondLst>
                                        </p:cTn>
                                        <p:tgtEl>
                                          <p:spTgt spid="10"/>
                                        </p:tgtEl>
                                        <p:attrNameLst>
                                          <p:attrName>style.visibility</p:attrName>
                                        </p:attrNameLst>
                                      </p:cBhvr>
                                      <p:to>
                                        <p:strVal val="visible"/>
                                      </p:to>
                                    </p:set>
                                    <p:animEffect transition="in" filter="barn(inVertical)">
                                      <p:cBhvr>
                                        <p:cTn id="48" dur="500"/>
                                        <p:tgtEl>
                                          <p:spTgt spid="10"/>
                                        </p:tgtEl>
                                      </p:cBhvr>
                                    </p:animEffect>
                                  </p:childTnLst>
                                </p:cTn>
                              </p:par>
                              <p:par>
                                <p:cTn id="49" presetID="16" presetClass="entr" presetSubtype="21" fill="hold" grpId="0" nodeType="withEffect">
                                  <p:stCondLst>
                                    <p:cond delay="0"/>
                                  </p:stCondLst>
                                  <p:childTnLst>
                                    <p:set>
                                      <p:cBhvr>
                                        <p:cTn id="50" dur="1" fill="hold">
                                          <p:stCondLst>
                                            <p:cond delay="0"/>
                                          </p:stCondLst>
                                        </p:cTn>
                                        <p:tgtEl>
                                          <p:spTgt spid="8"/>
                                        </p:tgtEl>
                                        <p:attrNameLst>
                                          <p:attrName>style.visibility</p:attrName>
                                        </p:attrNameLst>
                                      </p:cBhvr>
                                      <p:to>
                                        <p:strVal val="visible"/>
                                      </p:to>
                                    </p:set>
                                    <p:animEffect transition="in" filter="barn(inVertical)">
                                      <p:cBhvr>
                                        <p:cTn id="51" dur="500"/>
                                        <p:tgtEl>
                                          <p:spTgt spid="8"/>
                                        </p:tgtEl>
                                      </p:cBhvr>
                                    </p:animEffect>
                                  </p:childTnLst>
                                </p:cTn>
                              </p:par>
                            </p:childTnLst>
                          </p:cTn>
                        </p:par>
                      </p:childTnLst>
                    </p:cTn>
                  </p:par>
                  <p:par>
                    <p:cTn id="52" fill="hold">
                      <p:stCondLst>
                        <p:cond delay="indefinite"/>
                      </p:stCondLst>
                      <p:childTnLst>
                        <p:par>
                          <p:cTn id="53" fill="hold">
                            <p:stCondLst>
                              <p:cond delay="0"/>
                            </p:stCondLst>
                            <p:childTnLst>
                              <p:par>
                                <p:cTn id="54" presetID="16" presetClass="entr" presetSubtype="21" fill="hold" grpId="0" nodeType="clickEffect">
                                  <p:stCondLst>
                                    <p:cond delay="0"/>
                                  </p:stCondLst>
                                  <p:childTnLst>
                                    <p:set>
                                      <p:cBhvr>
                                        <p:cTn id="55" dur="1" fill="hold">
                                          <p:stCondLst>
                                            <p:cond delay="0"/>
                                          </p:stCondLst>
                                        </p:cTn>
                                        <p:tgtEl>
                                          <p:spTgt spid="3"/>
                                        </p:tgtEl>
                                        <p:attrNameLst>
                                          <p:attrName>style.visibility</p:attrName>
                                        </p:attrNameLst>
                                      </p:cBhvr>
                                      <p:to>
                                        <p:strVal val="visible"/>
                                      </p:to>
                                    </p:set>
                                    <p:animEffect transition="in" filter="barn(inVertical)">
                                      <p:cBhvr>
                                        <p:cTn id="56" dur="500"/>
                                        <p:tgtEl>
                                          <p:spTgt spid="3"/>
                                        </p:tgtEl>
                                      </p:cBhvr>
                                    </p:animEffect>
                                  </p:childTnLst>
                                </p:cTn>
                              </p:par>
                            </p:childTnLst>
                          </p:cTn>
                        </p:par>
                      </p:childTnLst>
                    </p:cTn>
                  </p:par>
                  <p:par>
                    <p:cTn id="57" fill="hold">
                      <p:stCondLst>
                        <p:cond delay="indefinite"/>
                      </p:stCondLst>
                      <p:childTnLst>
                        <p:par>
                          <p:cTn id="58" fill="hold">
                            <p:stCondLst>
                              <p:cond delay="0"/>
                            </p:stCondLst>
                            <p:childTnLst>
                              <p:par>
                                <p:cTn id="59" presetID="16" presetClass="entr" presetSubtype="21" fill="hold" grpId="0" nodeType="clickEffect">
                                  <p:stCondLst>
                                    <p:cond delay="0"/>
                                  </p:stCondLst>
                                  <p:childTnLst>
                                    <p:set>
                                      <p:cBhvr>
                                        <p:cTn id="60" dur="1" fill="hold">
                                          <p:stCondLst>
                                            <p:cond delay="0"/>
                                          </p:stCondLst>
                                        </p:cTn>
                                        <p:tgtEl>
                                          <p:spTgt spid="14"/>
                                        </p:tgtEl>
                                        <p:attrNameLst>
                                          <p:attrName>style.visibility</p:attrName>
                                        </p:attrNameLst>
                                      </p:cBhvr>
                                      <p:to>
                                        <p:strVal val="visible"/>
                                      </p:to>
                                    </p:set>
                                    <p:animEffect transition="in" filter="barn(inVertical)">
                                      <p:cBhvr>
                                        <p:cTn id="61" dur="500"/>
                                        <p:tgtEl>
                                          <p:spTgt spid="14"/>
                                        </p:tgtEl>
                                      </p:cBhvr>
                                    </p:animEffect>
                                  </p:childTnLst>
                                </p:cTn>
                              </p:par>
                            </p:childTnLst>
                          </p:cTn>
                        </p:par>
                      </p:childTnLst>
                    </p:cTn>
                  </p:par>
                  <p:par>
                    <p:cTn id="62" fill="hold">
                      <p:stCondLst>
                        <p:cond delay="indefinite"/>
                      </p:stCondLst>
                      <p:childTnLst>
                        <p:par>
                          <p:cTn id="63" fill="hold">
                            <p:stCondLst>
                              <p:cond delay="0"/>
                            </p:stCondLst>
                            <p:childTnLst>
                              <p:par>
                                <p:cTn id="64" presetID="16" presetClass="entr" presetSubtype="21" fill="hold" grpId="0" nodeType="clickEffect">
                                  <p:stCondLst>
                                    <p:cond delay="0"/>
                                  </p:stCondLst>
                                  <p:childTnLst>
                                    <p:set>
                                      <p:cBhvr>
                                        <p:cTn id="65" dur="1" fill="hold">
                                          <p:stCondLst>
                                            <p:cond delay="0"/>
                                          </p:stCondLst>
                                        </p:cTn>
                                        <p:tgtEl>
                                          <p:spTgt spid="7"/>
                                        </p:tgtEl>
                                        <p:attrNameLst>
                                          <p:attrName>style.visibility</p:attrName>
                                        </p:attrNameLst>
                                      </p:cBhvr>
                                      <p:to>
                                        <p:strVal val="visible"/>
                                      </p:to>
                                    </p:set>
                                    <p:animEffect transition="in" filter="barn(inVertical)">
                                      <p:cBhvr>
                                        <p:cTn id="66" dur="500"/>
                                        <p:tgtEl>
                                          <p:spTgt spid="7"/>
                                        </p:tgtEl>
                                      </p:cBhvr>
                                    </p:animEffect>
                                  </p:childTnLst>
                                </p:cTn>
                              </p:par>
                            </p:childTnLst>
                          </p:cTn>
                        </p:par>
                      </p:childTnLst>
                    </p:cTn>
                  </p:par>
                  <p:par>
                    <p:cTn id="67" fill="hold">
                      <p:stCondLst>
                        <p:cond delay="indefinite"/>
                      </p:stCondLst>
                      <p:childTnLst>
                        <p:par>
                          <p:cTn id="68" fill="hold">
                            <p:stCondLst>
                              <p:cond delay="0"/>
                            </p:stCondLst>
                            <p:childTnLst>
                              <p:par>
                                <p:cTn id="69" presetID="47" presetClass="entr" presetSubtype="0" fill="hold" nodeType="clickEffect">
                                  <p:stCondLst>
                                    <p:cond delay="0"/>
                                  </p:stCondLst>
                                  <p:childTnLst>
                                    <p:set>
                                      <p:cBhvr>
                                        <p:cTn id="70" dur="1" fill="hold">
                                          <p:stCondLst>
                                            <p:cond delay="0"/>
                                          </p:stCondLst>
                                        </p:cTn>
                                        <p:tgtEl>
                                          <p:spTgt spid="27">
                                            <p:txEl>
                                              <p:pRg st="0" end="0"/>
                                            </p:txEl>
                                          </p:spTgt>
                                        </p:tgtEl>
                                        <p:attrNameLst>
                                          <p:attrName>style.visibility</p:attrName>
                                        </p:attrNameLst>
                                      </p:cBhvr>
                                      <p:to>
                                        <p:strVal val="visible"/>
                                      </p:to>
                                    </p:set>
                                    <p:animEffect transition="in" filter="fade">
                                      <p:cBhvr>
                                        <p:cTn id="71" dur="1000"/>
                                        <p:tgtEl>
                                          <p:spTgt spid="27">
                                            <p:txEl>
                                              <p:pRg st="0" end="0"/>
                                            </p:txEl>
                                          </p:spTgt>
                                        </p:tgtEl>
                                      </p:cBhvr>
                                    </p:animEffect>
                                    <p:anim calcmode="lin" valueType="num">
                                      <p:cBhvr>
                                        <p:cTn id="72" dur="1000" fill="hold"/>
                                        <p:tgtEl>
                                          <p:spTgt spid="27">
                                            <p:txEl>
                                              <p:pRg st="0" end="0"/>
                                            </p:txEl>
                                          </p:spTgt>
                                        </p:tgtEl>
                                        <p:attrNameLst>
                                          <p:attrName>ppt_x</p:attrName>
                                        </p:attrNameLst>
                                      </p:cBhvr>
                                      <p:tavLst>
                                        <p:tav tm="0">
                                          <p:val>
                                            <p:strVal val="#ppt_x"/>
                                          </p:val>
                                        </p:tav>
                                        <p:tav tm="100000">
                                          <p:val>
                                            <p:strVal val="#ppt_x"/>
                                          </p:val>
                                        </p:tav>
                                      </p:tavLst>
                                    </p:anim>
                                    <p:anim calcmode="lin" valueType="num">
                                      <p:cBhvr>
                                        <p:cTn id="73" dur="1000" fill="hold"/>
                                        <p:tgtEl>
                                          <p:spTgt spid="27">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74" fill="hold">
                      <p:stCondLst>
                        <p:cond delay="indefinite"/>
                      </p:stCondLst>
                      <p:childTnLst>
                        <p:par>
                          <p:cTn id="75" fill="hold">
                            <p:stCondLst>
                              <p:cond delay="0"/>
                            </p:stCondLst>
                            <p:childTnLst>
                              <p:par>
                                <p:cTn id="76" presetID="47" presetClass="entr" presetSubtype="0" fill="hold" nodeType="clickEffect">
                                  <p:stCondLst>
                                    <p:cond delay="0"/>
                                  </p:stCondLst>
                                  <p:childTnLst>
                                    <p:set>
                                      <p:cBhvr>
                                        <p:cTn id="77" dur="1" fill="hold">
                                          <p:stCondLst>
                                            <p:cond delay="0"/>
                                          </p:stCondLst>
                                        </p:cTn>
                                        <p:tgtEl>
                                          <p:spTgt spid="27">
                                            <p:txEl>
                                              <p:pRg st="1" end="1"/>
                                            </p:txEl>
                                          </p:spTgt>
                                        </p:tgtEl>
                                        <p:attrNameLst>
                                          <p:attrName>style.visibility</p:attrName>
                                        </p:attrNameLst>
                                      </p:cBhvr>
                                      <p:to>
                                        <p:strVal val="visible"/>
                                      </p:to>
                                    </p:set>
                                    <p:animEffect transition="in" filter="fade">
                                      <p:cBhvr>
                                        <p:cTn id="78" dur="1000"/>
                                        <p:tgtEl>
                                          <p:spTgt spid="27">
                                            <p:txEl>
                                              <p:pRg st="1" end="1"/>
                                            </p:txEl>
                                          </p:spTgt>
                                        </p:tgtEl>
                                      </p:cBhvr>
                                    </p:animEffect>
                                    <p:anim calcmode="lin" valueType="num">
                                      <p:cBhvr>
                                        <p:cTn id="79" dur="1000" fill="hold"/>
                                        <p:tgtEl>
                                          <p:spTgt spid="27">
                                            <p:txEl>
                                              <p:pRg st="1" end="1"/>
                                            </p:txEl>
                                          </p:spTgt>
                                        </p:tgtEl>
                                        <p:attrNameLst>
                                          <p:attrName>ppt_x</p:attrName>
                                        </p:attrNameLst>
                                      </p:cBhvr>
                                      <p:tavLst>
                                        <p:tav tm="0">
                                          <p:val>
                                            <p:strVal val="#ppt_x"/>
                                          </p:val>
                                        </p:tav>
                                        <p:tav tm="100000">
                                          <p:val>
                                            <p:strVal val="#ppt_x"/>
                                          </p:val>
                                        </p:tav>
                                      </p:tavLst>
                                    </p:anim>
                                    <p:anim calcmode="lin" valueType="num">
                                      <p:cBhvr>
                                        <p:cTn id="80" dur="1000" fill="hold"/>
                                        <p:tgtEl>
                                          <p:spTgt spid="27">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81" fill="hold">
                      <p:stCondLst>
                        <p:cond delay="indefinite"/>
                      </p:stCondLst>
                      <p:childTnLst>
                        <p:par>
                          <p:cTn id="82" fill="hold">
                            <p:stCondLst>
                              <p:cond delay="0"/>
                            </p:stCondLst>
                            <p:childTnLst>
                              <p:par>
                                <p:cTn id="83" presetID="47" presetClass="entr" presetSubtype="0" fill="hold" nodeType="clickEffect">
                                  <p:stCondLst>
                                    <p:cond delay="0"/>
                                  </p:stCondLst>
                                  <p:childTnLst>
                                    <p:set>
                                      <p:cBhvr>
                                        <p:cTn id="84" dur="1" fill="hold">
                                          <p:stCondLst>
                                            <p:cond delay="0"/>
                                          </p:stCondLst>
                                        </p:cTn>
                                        <p:tgtEl>
                                          <p:spTgt spid="27">
                                            <p:txEl>
                                              <p:pRg st="2" end="2"/>
                                            </p:txEl>
                                          </p:spTgt>
                                        </p:tgtEl>
                                        <p:attrNameLst>
                                          <p:attrName>style.visibility</p:attrName>
                                        </p:attrNameLst>
                                      </p:cBhvr>
                                      <p:to>
                                        <p:strVal val="visible"/>
                                      </p:to>
                                    </p:set>
                                    <p:animEffect transition="in" filter="fade">
                                      <p:cBhvr>
                                        <p:cTn id="85" dur="1000"/>
                                        <p:tgtEl>
                                          <p:spTgt spid="27">
                                            <p:txEl>
                                              <p:pRg st="2" end="2"/>
                                            </p:txEl>
                                          </p:spTgt>
                                        </p:tgtEl>
                                      </p:cBhvr>
                                    </p:animEffect>
                                    <p:anim calcmode="lin" valueType="num">
                                      <p:cBhvr>
                                        <p:cTn id="86" dur="1000" fill="hold"/>
                                        <p:tgtEl>
                                          <p:spTgt spid="27">
                                            <p:txEl>
                                              <p:pRg st="2" end="2"/>
                                            </p:txEl>
                                          </p:spTgt>
                                        </p:tgtEl>
                                        <p:attrNameLst>
                                          <p:attrName>ppt_x</p:attrName>
                                        </p:attrNameLst>
                                      </p:cBhvr>
                                      <p:tavLst>
                                        <p:tav tm="0">
                                          <p:val>
                                            <p:strVal val="#ppt_x"/>
                                          </p:val>
                                        </p:tav>
                                        <p:tav tm="100000">
                                          <p:val>
                                            <p:strVal val="#ppt_x"/>
                                          </p:val>
                                        </p:tav>
                                      </p:tavLst>
                                    </p:anim>
                                    <p:anim calcmode="lin" valueType="num">
                                      <p:cBhvr>
                                        <p:cTn id="87" dur="1000" fill="hold"/>
                                        <p:tgtEl>
                                          <p:spTgt spid="27">
                                            <p:txEl>
                                              <p:pRg st="2" end="2"/>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p:bldP spid="4" grpId="0" animBg="1"/>
      <p:bldP spid="6" grpId="0" animBg="1"/>
      <p:bldP spid="7" grpId="0"/>
      <p:bldP spid="8" grpId="0" animBg="1"/>
      <p:bldP spid="10" grpId="0" animBg="1"/>
      <p:bldP spid="11" grpId="0" animBg="1"/>
      <p:bldP spid="13" grpId="0" animBg="1"/>
      <p:bldP spid="14" grpId="0"/>
      <p:bldP spid="24" grpId="0"/>
      <p:bldP spid="25" grpId="0"/>
      <p:bldP spid="26" grpId="0"/>
    </p:bldLst>
  </p:timing>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AB8C311F-7253-4AED-9701-7FC0708C41C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E2384209-CB15-4CDF-9D31-C44FD9A3F20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2666617" y="-2666188"/>
            <a:ext cx="6858000" cy="12191233"/>
          </a:xfrm>
          <a:prstGeom prst="rect">
            <a:avLst/>
          </a:prstGeom>
          <a:gradFill>
            <a:gsLst>
              <a:gs pos="8000">
                <a:schemeClr val="accent1"/>
              </a:gs>
              <a:gs pos="100000">
                <a:schemeClr val="accent1">
                  <a:lumMod val="5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2633B3B5-CC90-43F0-8714-D31D1F3F020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2311" y="0"/>
            <a:ext cx="9070846" cy="6857572"/>
          </a:xfrm>
          <a:prstGeom prst="rect">
            <a:avLst/>
          </a:prstGeom>
          <a:gradFill>
            <a:gsLst>
              <a:gs pos="8000">
                <a:srgbClr val="000000">
                  <a:alpha val="52000"/>
                </a:srgbClr>
              </a:gs>
              <a:gs pos="100000">
                <a:schemeClr val="accent1"/>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A8D57A06-A426-446D-B02C-A2DC6B62E45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3649491" y="-1685840"/>
            <a:ext cx="4894564" cy="12193546"/>
          </a:xfrm>
          <a:prstGeom prst="rect">
            <a:avLst/>
          </a:prstGeom>
          <a:gradFill>
            <a:gsLst>
              <a:gs pos="0">
                <a:schemeClr val="accent5">
                  <a:lumMod val="60000"/>
                  <a:lumOff val="40000"/>
                  <a:alpha val="0"/>
                </a:schemeClr>
              </a:gs>
              <a:gs pos="100000">
                <a:srgbClr val="000000">
                  <a:alpha val="46000"/>
                </a:srgbClr>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Rectangle 28">
            <a:extLst>
              <a:ext uri="{FF2B5EF4-FFF2-40B4-BE49-F238E27FC236}">
                <a16:creationId xmlns:a16="http://schemas.microsoft.com/office/drawing/2014/main" id="{84448EF7-2EC1-3EB1-D07F-6E53D6292AC7}"/>
              </a:ext>
            </a:extLst>
          </p:cNvPr>
          <p:cNvSpPr/>
          <p:nvPr/>
        </p:nvSpPr>
        <p:spPr>
          <a:xfrm>
            <a:off x="96476" y="230142"/>
            <a:ext cx="8972059" cy="9505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1" tIns="60960" rIns="121921" bIns="6096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altLang="ko-KR" sz="4800" b="1" i="0" u="none" strike="noStrike" kern="1200" cap="none" spc="0" normalizeH="0" baseline="0" noProof="0" dirty="0">
                <a:ln>
                  <a:noFill/>
                </a:ln>
                <a:solidFill>
                  <a:prstClr val="white"/>
                </a:solidFill>
                <a:effectLst/>
                <a:uLnTx/>
                <a:uFillTx/>
                <a:latin typeface="Sakkal Majalla" panose="02000000000000000000" pitchFamily="2" charset="-78"/>
                <a:ea typeface="맑은 고딕" panose="020B0503020000020004" pitchFamily="34" charset="-127"/>
                <a:cs typeface="Sakkal Majalla" panose="02000000000000000000" pitchFamily="2" charset="-78"/>
              </a:rPr>
              <a:t>لنستشرف المستقبل معًا</a:t>
            </a:r>
            <a:endParaRPr kumimoji="0" lang="ko-KR" altLang="en-US" sz="4800" b="1" i="0" u="none" strike="noStrike" kern="1200" cap="none" spc="0" normalizeH="0" baseline="0" noProof="0" dirty="0">
              <a:ln>
                <a:noFill/>
              </a:ln>
              <a:solidFill>
                <a:prstClr val="white"/>
              </a:solidFill>
              <a:effectLst/>
              <a:uLnTx/>
              <a:uFillTx/>
              <a:latin typeface="Sakkal Majalla" panose="02000000000000000000" pitchFamily="2" charset="-78"/>
              <a:ea typeface="맑은 고딕" panose="020B0503020000020004" pitchFamily="34" charset="-127"/>
              <a:cs typeface="Sakkal Majalla" panose="02000000000000000000" pitchFamily="2" charset="-78"/>
            </a:endParaRPr>
          </a:p>
        </p:txBody>
      </p:sp>
      <p:pic>
        <p:nvPicPr>
          <p:cNvPr id="5" name="صورة 4">
            <a:extLst>
              <a:ext uri="{FF2B5EF4-FFF2-40B4-BE49-F238E27FC236}">
                <a16:creationId xmlns:a16="http://schemas.microsoft.com/office/drawing/2014/main" id="{B441CF33-621E-B87F-D7E2-A00B5BC653E8}"/>
              </a:ext>
            </a:extLst>
          </p:cNvPr>
          <p:cNvPicPr>
            <a:picLocks noChangeAspect="1"/>
          </p:cNvPicPr>
          <p:nvPr/>
        </p:nvPicPr>
        <p:blipFill>
          <a:blip r:embed="rId2"/>
          <a:stretch>
            <a:fillRect/>
          </a:stretch>
        </p:blipFill>
        <p:spPr>
          <a:xfrm>
            <a:off x="5598160" y="1195838"/>
            <a:ext cx="2749014" cy="2042792"/>
          </a:xfrm>
          <a:prstGeom prst="rect">
            <a:avLst/>
          </a:prstGeom>
        </p:spPr>
      </p:pic>
      <p:pic>
        <p:nvPicPr>
          <p:cNvPr id="7" name="صورة 6" descr="صورة تحتوي على نص, الرسومات, الخط, تصميم الجرافيك&#10;&#10;تم إنشاء الوصف تلقائياً">
            <a:extLst>
              <a:ext uri="{FF2B5EF4-FFF2-40B4-BE49-F238E27FC236}">
                <a16:creationId xmlns:a16="http://schemas.microsoft.com/office/drawing/2014/main" id="{F1FC60A7-170C-507D-9113-4213BE6AE28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9119" y="1195838"/>
            <a:ext cx="2749015" cy="2126482"/>
          </a:xfrm>
          <a:prstGeom prst="rect">
            <a:avLst/>
          </a:prstGeom>
        </p:spPr>
      </p:pic>
      <p:sp>
        <p:nvSpPr>
          <p:cNvPr id="9" name="Rectangle 28">
            <a:extLst>
              <a:ext uri="{FF2B5EF4-FFF2-40B4-BE49-F238E27FC236}">
                <a16:creationId xmlns:a16="http://schemas.microsoft.com/office/drawing/2014/main" id="{F0F82102-54FB-AB11-2837-5CC21D0BB694}"/>
              </a:ext>
            </a:extLst>
          </p:cNvPr>
          <p:cNvSpPr/>
          <p:nvPr/>
        </p:nvSpPr>
        <p:spPr>
          <a:xfrm>
            <a:off x="5276195" y="3280280"/>
            <a:ext cx="4192785" cy="10026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1" tIns="60960" rIns="121921" bIns="6096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altLang="ko-KR" sz="3200" b="1" i="0" u="none" strike="noStrike" kern="1200" cap="none" spc="0" normalizeH="0" baseline="0" noProof="0" dirty="0">
                <a:ln>
                  <a:noFill/>
                </a:ln>
                <a:solidFill>
                  <a:prstClr val="white"/>
                </a:solidFill>
                <a:effectLst/>
                <a:uLnTx/>
                <a:uFillTx/>
                <a:latin typeface="Sakkal Majalla" panose="02000000000000000000" pitchFamily="2" charset="-78"/>
                <a:ea typeface="맑은 고딕" panose="020B0503020000020004" pitchFamily="34" charset="-127"/>
                <a:cs typeface="Sakkal Majalla" panose="02000000000000000000" pitchFamily="2" charset="-78"/>
              </a:rPr>
              <a:t>اقتصاد المعرفة </a:t>
            </a:r>
            <a:endParaRPr kumimoji="0" lang="ko-KR" altLang="en-US" sz="3200" b="1" i="0" u="none" strike="noStrike" kern="1200" cap="none" spc="0" normalizeH="0" baseline="0" noProof="0" dirty="0">
              <a:ln>
                <a:noFill/>
              </a:ln>
              <a:solidFill>
                <a:prstClr val="white"/>
              </a:solidFill>
              <a:effectLst/>
              <a:uLnTx/>
              <a:uFillTx/>
              <a:latin typeface="Sakkal Majalla" panose="02000000000000000000" pitchFamily="2" charset="-78"/>
              <a:ea typeface="맑은 고딕" panose="020B0503020000020004" pitchFamily="34" charset="-127"/>
              <a:cs typeface="Sakkal Majalla" panose="02000000000000000000" pitchFamily="2" charset="-78"/>
            </a:endParaRPr>
          </a:p>
        </p:txBody>
      </p:sp>
      <p:sp>
        <p:nvSpPr>
          <p:cNvPr id="11" name="Rectangle 28">
            <a:extLst>
              <a:ext uri="{FF2B5EF4-FFF2-40B4-BE49-F238E27FC236}">
                <a16:creationId xmlns:a16="http://schemas.microsoft.com/office/drawing/2014/main" id="{607214B5-2881-68DC-DC65-44883E69827E}"/>
              </a:ext>
            </a:extLst>
          </p:cNvPr>
          <p:cNvSpPr/>
          <p:nvPr/>
        </p:nvSpPr>
        <p:spPr>
          <a:xfrm>
            <a:off x="2764220" y="3267583"/>
            <a:ext cx="3569451" cy="10026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1" tIns="60960" rIns="121921" bIns="6096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altLang="ko-KR" sz="3200" b="1" i="0" u="none" strike="noStrike" kern="1200" cap="none" spc="0" normalizeH="0" baseline="0" noProof="0" dirty="0">
                <a:ln>
                  <a:noFill/>
                </a:ln>
                <a:solidFill>
                  <a:prstClr val="white"/>
                </a:solidFill>
                <a:effectLst/>
                <a:uLnTx/>
                <a:uFillTx/>
                <a:latin typeface="Sakkal Majalla" panose="02000000000000000000" pitchFamily="2" charset="-78"/>
                <a:ea typeface="맑은 고딕" panose="020B0503020000020004" pitchFamily="34" charset="-127"/>
                <a:cs typeface="Sakkal Majalla" panose="02000000000000000000" pitchFamily="2" charset="-78"/>
              </a:rPr>
              <a:t>إلى ماذا يشير؟</a:t>
            </a:r>
            <a:endParaRPr kumimoji="0" lang="ko-KR" altLang="en-US" sz="3200" b="1" i="0" u="none" strike="noStrike" kern="1200" cap="none" spc="0" normalizeH="0" baseline="0" noProof="0" dirty="0">
              <a:ln>
                <a:noFill/>
              </a:ln>
              <a:solidFill>
                <a:prstClr val="white"/>
              </a:solidFill>
              <a:effectLst/>
              <a:uLnTx/>
              <a:uFillTx/>
              <a:latin typeface="Sakkal Majalla" panose="02000000000000000000" pitchFamily="2" charset="-78"/>
              <a:ea typeface="맑은 고딕" panose="020B0503020000020004" pitchFamily="34" charset="-127"/>
              <a:cs typeface="Sakkal Majalla" panose="02000000000000000000" pitchFamily="2" charset="-78"/>
            </a:endParaRPr>
          </a:p>
        </p:txBody>
      </p:sp>
      <p:sp>
        <p:nvSpPr>
          <p:cNvPr id="13" name="Rectangle 28">
            <a:extLst>
              <a:ext uri="{FF2B5EF4-FFF2-40B4-BE49-F238E27FC236}">
                <a16:creationId xmlns:a16="http://schemas.microsoft.com/office/drawing/2014/main" id="{9D6C2CD8-B8C0-42F8-9299-6F9F90927A2F}"/>
              </a:ext>
            </a:extLst>
          </p:cNvPr>
          <p:cNvSpPr/>
          <p:nvPr/>
        </p:nvSpPr>
        <p:spPr>
          <a:xfrm>
            <a:off x="-102234" y="3218314"/>
            <a:ext cx="3720662" cy="10026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1" tIns="60960" rIns="121921" bIns="6096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altLang="ko-KR" sz="3200" b="1" i="0" u="none" strike="noStrike" kern="1200" cap="none" spc="0" normalizeH="0" baseline="0" noProof="0" dirty="0">
                <a:ln>
                  <a:noFill/>
                </a:ln>
                <a:solidFill>
                  <a:prstClr val="white"/>
                </a:solidFill>
                <a:effectLst/>
                <a:uLnTx/>
                <a:uFillTx/>
                <a:latin typeface="Sakkal Majalla" panose="02000000000000000000" pitchFamily="2" charset="-78"/>
                <a:ea typeface="맑은 고딕" panose="020B0503020000020004" pitchFamily="34" charset="-127"/>
                <a:cs typeface="Sakkal Majalla" panose="02000000000000000000" pitchFamily="2" charset="-78"/>
              </a:rPr>
              <a:t>يشير إلى النمو </a:t>
            </a:r>
            <a:endParaRPr kumimoji="0" lang="ko-KR" altLang="en-US" sz="3200" b="1" i="0" u="none" strike="noStrike" kern="1200" cap="none" spc="0" normalizeH="0" baseline="0" noProof="0" dirty="0">
              <a:ln>
                <a:noFill/>
              </a:ln>
              <a:solidFill>
                <a:prstClr val="white"/>
              </a:solidFill>
              <a:effectLst/>
              <a:uLnTx/>
              <a:uFillTx/>
              <a:latin typeface="Sakkal Majalla" panose="02000000000000000000" pitchFamily="2" charset="-78"/>
              <a:ea typeface="맑은 고딕" panose="020B0503020000020004" pitchFamily="34" charset="-127"/>
              <a:cs typeface="Sakkal Majalla" panose="02000000000000000000" pitchFamily="2" charset="-78"/>
            </a:endParaRPr>
          </a:p>
        </p:txBody>
      </p:sp>
      <p:sp>
        <p:nvSpPr>
          <p:cNvPr id="15" name="Rectangle 28">
            <a:extLst>
              <a:ext uri="{FF2B5EF4-FFF2-40B4-BE49-F238E27FC236}">
                <a16:creationId xmlns:a16="http://schemas.microsoft.com/office/drawing/2014/main" id="{5CC6AE26-15BE-E8E2-1966-1D9B0E0D16C1}"/>
              </a:ext>
            </a:extLst>
          </p:cNvPr>
          <p:cNvSpPr/>
          <p:nvPr/>
        </p:nvSpPr>
        <p:spPr>
          <a:xfrm>
            <a:off x="5773120" y="4083799"/>
            <a:ext cx="3325056" cy="9505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1" tIns="60960" rIns="121921" bIns="6096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altLang="ko-KR" sz="3200" b="1" i="0" u="none" strike="noStrike" kern="1200" cap="none" spc="0" normalizeH="0" baseline="0" noProof="0" dirty="0">
                <a:ln>
                  <a:noFill/>
                </a:ln>
                <a:solidFill>
                  <a:prstClr val="white"/>
                </a:solidFill>
                <a:effectLst/>
                <a:uLnTx/>
                <a:uFillTx/>
                <a:latin typeface="Sakkal Majalla" panose="02000000000000000000" pitchFamily="2" charset="-78"/>
                <a:ea typeface="맑은 고딕" panose="020B0503020000020004" pitchFamily="34" charset="-127"/>
                <a:cs typeface="Sakkal Majalla" panose="02000000000000000000" pitchFamily="2" charset="-78"/>
              </a:rPr>
              <a:t>الاقتصادي</a:t>
            </a:r>
            <a:endParaRPr kumimoji="0" lang="ko-KR" altLang="en-US" sz="3200" b="1" i="0" u="none" strike="noStrike" kern="1200" cap="none" spc="0" normalizeH="0" baseline="0" noProof="0" dirty="0">
              <a:ln>
                <a:noFill/>
              </a:ln>
              <a:solidFill>
                <a:prstClr val="white"/>
              </a:solidFill>
              <a:effectLst/>
              <a:uLnTx/>
              <a:uFillTx/>
              <a:latin typeface="Sakkal Majalla" panose="02000000000000000000" pitchFamily="2" charset="-78"/>
              <a:ea typeface="맑은 고딕" panose="020B0503020000020004" pitchFamily="34" charset="-127"/>
              <a:cs typeface="Sakkal Majalla" panose="02000000000000000000" pitchFamily="2" charset="-78"/>
            </a:endParaRPr>
          </a:p>
        </p:txBody>
      </p:sp>
      <p:sp>
        <p:nvSpPr>
          <p:cNvPr id="17" name="Rectangle 28">
            <a:extLst>
              <a:ext uri="{FF2B5EF4-FFF2-40B4-BE49-F238E27FC236}">
                <a16:creationId xmlns:a16="http://schemas.microsoft.com/office/drawing/2014/main" id="{A84F454A-C8EA-1A37-8B27-1170068D968B}"/>
              </a:ext>
            </a:extLst>
          </p:cNvPr>
          <p:cNvSpPr/>
          <p:nvPr/>
        </p:nvSpPr>
        <p:spPr>
          <a:xfrm>
            <a:off x="3033488" y="4228943"/>
            <a:ext cx="3098034" cy="7795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1" tIns="60960" rIns="121921" bIns="6096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altLang="ko-KR" sz="3200" b="1" i="0" u="none" strike="noStrike" kern="1200" cap="none" spc="0" normalizeH="0" baseline="0" noProof="0" dirty="0">
                <a:ln>
                  <a:noFill/>
                </a:ln>
                <a:solidFill>
                  <a:prstClr val="white"/>
                </a:solidFill>
                <a:effectLst/>
                <a:uLnTx/>
                <a:uFillTx/>
                <a:latin typeface="Sakkal Majalla" panose="02000000000000000000" pitchFamily="2" charset="-78"/>
                <a:ea typeface="맑은 고딕" panose="020B0503020000020004" pitchFamily="34" charset="-127"/>
                <a:cs typeface="Sakkal Majalla" panose="02000000000000000000" pitchFamily="2" charset="-78"/>
              </a:rPr>
              <a:t>الذي يعتمد بشكل أساسي على</a:t>
            </a:r>
            <a:endParaRPr kumimoji="0" lang="ko-KR" altLang="en-US" sz="3200" b="1" i="0" u="none" strike="noStrike" kern="1200" cap="none" spc="0" normalizeH="0" baseline="0" noProof="0" dirty="0">
              <a:ln>
                <a:noFill/>
              </a:ln>
              <a:solidFill>
                <a:prstClr val="white"/>
              </a:solidFill>
              <a:effectLst/>
              <a:uLnTx/>
              <a:uFillTx/>
              <a:latin typeface="Sakkal Majalla" panose="02000000000000000000" pitchFamily="2" charset="-78"/>
              <a:ea typeface="맑은 고딕" panose="020B0503020000020004" pitchFamily="34" charset="-127"/>
              <a:cs typeface="Sakkal Majalla" panose="02000000000000000000" pitchFamily="2" charset="-78"/>
            </a:endParaRPr>
          </a:p>
        </p:txBody>
      </p:sp>
      <p:sp>
        <p:nvSpPr>
          <p:cNvPr id="18" name="Rectangle 28">
            <a:extLst>
              <a:ext uri="{FF2B5EF4-FFF2-40B4-BE49-F238E27FC236}">
                <a16:creationId xmlns:a16="http://schemas.microsoft.com/office/drawing/2014/main" id="{7A48DE8D-4EBC-C415-CBFC-A5BF153B5E21}"/>
              </a:ext>
            </a:extLst>
          </p:cNvPr>
          <p:cNvSpPr/>
          <p:nvPr/>
        </p:nvSpPr>
        <p:spPr>
          <a:xfrm>
            <a:off x="191066" y="4166169"/>
            <a:ext cx="3098034" cy="7795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1" tIns="60960" rIns="121921" bIns="6096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altLang="ko-KR" sz="3200" b="1" i="0" u="none" strike="noStrike" kern="1200" cap="none" spc="0" normalizeH="0" baseline="0" noProof="0" dirty="0">
                <a:ln>
                  <a:noFill/>
                </a:ln>
                <a:solidFill>
                  <a:prstClr val="white"/>
                </a:solidFill>
                <a:effectLst/>
                <a:uLnTx/>
                <a:uFillTx/>
                <a:latin typeface="Sakkal Majalla" panose="02000000000000000000" pitchFamily="2" charset="-78"/>
                <a:ea typeface="맑은 고딕" panose="020B0503020000020004" pitchFamily="34" charset="-127"/>
                <a:cs typeface="Sakkal Majalla" panose="02000000000000000000" pitchFamily="2" charset="-78"/>
              </a:rPr>
              <a:t>الاستثمار في المعرفة والابتكار</a:t>
            </a:r>
            <a:endParaRPr kumimoji="0" lang="ko-KR" altLang="en-US" sz="3200" b="1" i="0" u="none" strike="noStrike" kern="1200" cap="none" spc="0" normalizeH="0" baseline="0" noProof="0" dirty="0">
              <a:ln>
                <a:noFill/>
              </a:ln>
              <a:solidFill>
                <a:prstClr val="white"/>
              </a:solidFill>
              <a:effectLst/>
              <a:uLnTx/>
              <a:uFillTx/>
              <a:latin typeface="Sakkal Majalla" panose="02000000000000000000" pitchFamily="2" charset="-78"/>
              <a:ea typeface="맑은 고딕" panose="020B0503020000020004" pitchFamily="34" charset="-127"/>
              <a:cs typeface="Sakkal Majalla" panose="02000000000000000000" pitchFamily="2" charset="-78"/>
            </a:endParaRPr>
          </a:p>
        </p:txBody>
      </p:sp>
      <p:sp>
        <p:nvSpPr>
          <p:cNvPr id="19" name="Rectangle 28">
            <a:extLst>
              <a:ext uri="{FF2B5EF4-FFF2-40B4-BE49-F238E27FC236}">
                <a16:creationId xmlns:a16="http://schemas.microsoft.com/office/drawing/2014/main" id="{9184F1AE-5C0E-8DCA-CC72-8110AB8EBB86}"/>
              </a:ext>
            </a:extLst>
          </p:cNvPr>
          <p:cNvSpPr/>
          <p:nvPr/>
        </p:nvSpPr>
        <p:spPr>
          <a:xfrm>
            <a:off x="6002244" y="5201711"/>
            <a:ext cx="3098034" cy="7795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1" tIns="60960" rIns="121921" bIns="6096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altLang="ko-KR" sz="3200" b="1" i="0" u="none" strike="noStrike" kern="1200" cap="none" spc="0" normalizeH="0" baseline="0" noProof="0" dirty="0">
                <a:ln>
                  <a:noFill/>
                </a:ln>
                <a:solidFill>
                  <a:prstClr val="white"/>
                </a:solidFill>
                <a:effectLst/>
                <a:uLnTx/>
                <a:uFillTx/>
                <a:latin typeface="Sakkal Majalla" panose="02000000000000000000" pitchFamily="2" charset="-78"/>
                <a:ea typeface="맑은 고딕" panose="020B0503020000020004" pitchFamily="34" charset="-127"/>
                <a:cs typeface="Sakkal Majalla" panose="02000000000000000000" pitchFamily="2" charset="-78"/>
              </a:rPr>
              <a:t>يركز على</a:t>
            </a:r>
            <a:endParaRPr kumimoji="0" lang="ko-KR" altLang="en-US" sz="3200" b="1" i="0" u="none" strike="noStrike" kern="1200" cap="none" spc="0" normalizeH="0" baseline="0" noProof="0" dirty="0">
              <a:ln>
                <a:noFill/>
              </a:ln>
              <a:solidFill>
                <a:prstClr val="white"/>
              </a:solidFill>
              <a:effectLst/>
              <a:uLnTx/>
              <a:uFillTx/>
              <a:latin typeface="Sakkal Majalla" panose="02000000000000000000" pitchFamily="2" charset="-78"/>
              <a:ea typeface="맑은 고딕" panose="020B0503020000020004" pitchFamily="34" charset="-127"/>
              <a:cs typeface="Sakkal Majalla" panose="02000000000000000000" pitchFamily="2" charset="-78"/>
            </a:endParaRPr>
          </a:p>
        </p:txBody>
      </p:sp>
      <p:sp>
        <p:nvSpPr>
          <p:cNvPr id="20" name="Rectangle 28">
            <a:extLst>
              <a:ext uri="{FF2B5EF4-FFF2-40B4-BE49-F238E27FC236}">
                <a16:creationId xmlns:a16="http://schemas.microsoft.com/office/drawing/2014/main" id="{46BB4236-0F58-E576-B447-E02A7EC770B7}"/>
              </a:ext>
            </a:extLst>
          </p:cNvPr>
          <p:cNvSpPr/>
          <p:nvPr/>
        </p:nvSpPr>
        <p:spPr>
          <a:xfrm>
            <a:off x="1355834" y="5383619"/>
            <a:ext cx="4242326" cy="7795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1" tIns="60960" rIns="121921" bIns="6096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altLang="ko-KR" sz="3600" b="1" i="0" u="none" strike="noStrike" kern="1200" cap="none" spc="0" normalizeH="0" baseline="0" noProof="0" dirty="0">
                <a:ln>
                  <a:noFill/>
                </a:ln>
                <a:solidFill>
                  <a:srgbClr val="FF0000"/>
                </a:solidFill>
                <a:effectLst/>
                <a:uLnTx/>
                <a:uFillTx/>
                <a:latin typeface="Sakkal Majalla" panose="02000000000000000000" pitchFamily="2" charset="-78"/>
                <a:ea typeface="맑은 고딕" panose="020B0503020000020004" pitchFamily="34" charset="-127"/>
                <a:cs typeface="Sakkal Majalla" panose="02000000000000000000" pitchFamily="2" charset="-78"/>
              </a:rPr>
              <a:t>تطوير المهارات والتكنولوجيا والبحث والتطوير</a:t>
            </a:r>
            <a:endParaRPr kumimoji="0" lang="ko-KR" altLang="en-US" sz="3600" b="1" i="0" u="none" strike="noStrike" kern="1200" cap="none" spc="0" normalizeH="0" baseline="0" noProof="0" dirty="0">
              <a:ln>
                <a:noFill/>
              </a:ln>
              <a:solidFill>
                <a:srgbClr val="FF0000"/>
              </a:solidFill>
              <a:effectLst/>
              <a:uLnTx/>
              <a:uFillTx/>
              <a:latin typeface="Sakkal Majalla" panose="02000000000000000000" pitchFamily="2" charset="-78"/>
              <a:ea typeface="맑은 고딕" panose="020B0503020000020004" pitchFamily="34" charset="-127"/>
              <a:cs typeface="Sakkal Majalla" panose="02000000000000000000" pitchFamily="2" charset="-78"/>
            </a:endParaRPr>
          </a:p>
        </p:txBody>
      </p:sp>
    </p:spTree>
    <p:extLst>
      <p:ext uri="{BB962C8B-B14F-4D97-AF65-F5344CB8AC3E}">
        <p14:creationId xmlns:p14="http://schemas.microsoft.com/office/powerpoint/2010/main" val="26183274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arn(inVertical)">
                                      <p:cBhvr>
                                        <p:cTn id="7" dur="125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grpId="0"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barn(inVertical)">
                                      <p:cBhvr>
                                        <p:cTn id="12" dur="1250"/>
                                        <p:tgtEl>
                                          <p:spTgt spid="9"/>
                                        </p:tgtEl>
                                      </p:cBhvr>
                                    </p:animEffect>
                                  </p:childTnLst>
                                </p:cTn>
                              </p:par>
                            </p:childTnLst>
                          </p:cTn>
                        </p:par>
                      </p:childTnLst>
                    </p:cTn>
                  </p:par>
                  <p:par>
                    <p:cTn id="13" fill="hold">
                      <p:stCondLst>
                        <p:cond delay="indefinite"/>
                      </p:stCondLst>
                      <p:childTnLst>
                        <p:par>
                          <p:cTn id="14" fill="hold">
                            <p:stCondLst>
                              <p:cond delay="0"/>
                            </p:stCondLst>
                            <p:childTnLst>
                              <p:par>
                                <p:cTn id="15" presetID="16" presetClass="entr" presetSubtype="21" fill="hold" grpId="0" nodeType="click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barn(inVertical)">
                                      <p:cBhvr>
                                        <p:cTn id="17" dur="1250"/>
                                        <p:tgtEl>
                                          <p:spTgt spid="11"/>
                                        </p:tgtEl>
                                      </p:cBhvr>
                                    </p:animEffect>
                                  </p:childTnLst>
                                </p:cTn>
                              </p:par>
                            </p:childTnLst>
                          </p:cTn>
                        </p:par>
                      </p:childTnLst>
                    </p:cTn>
                  </p:par>
                  <p:par>
                    <p:cTn id="18" fill="hold">
                      <p:stCondLst>
                        <p:cond delay="indefinite"/>
                      </p:stCondLst>
                      <p:childTnLst>
                        <p:par>
                          <p:cTn id="19" fill="hold">
                            <p:stCondLst>
                              <p:cond delay="0"/>
                            </p:stCondLst>
                            <p:childTnLst>
                              <p:par>
                                <p:cTn id="20" presetID="16" presetClass="entr" presetSubtype="21" fill="hold" grpId="0" nodeType="click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barn(inVertical)">
                                      <p:cBhvr>
                                        <p:cTn id="22" dur="1250"/>
                                        <p:tgtEl>
                                          <p:spTgt spid="13"/>
                                        </p:tgtEl>
                                      </p:cBhvr>
                                    </p:animEffect>
                                  </p:childTnLst>
                                </p:cTn>
                              </p:par>
                            </p:childTnLst>
                          </p:cTn>
                        </p:par>
                      </p:childTnLst>
                    </p:cTn>
                  </p:par>
                  <p:par>
                    <p:cTn id="23" fill="hold">
                      <p:stCondLst>
                        <p:cond delay="indefinite"/>
                      </p:stCondLst>
                      <p:childTnLst>
                        <p:par>
                          <p:cTn id="24" fill="hold">
                            <p:stCondLst>
                              <p:cond delay="0"/>
                            </p:stCondLst>
                            <p:childTnLst>
                              <p:par>
                                <p:cTn id="25" presetID="16" presetClass="entr" presetSubtype="21" fill="hold" grpId="0" nodeType="clickEffect">
                                  <p:stCondLst>
                                    <p:cond delay="0"/>
                                  </p:stCondLst>
                                  <p:childTnLst>
                                    <p:set>
                                      <p:cBhvr>
                                        <p:cTn id="26" dur="1" fill="hold">
                                          <p:stCondLst>
                                            <p:cond delay="0"/>
                                          </p:stCondLst>
                                        </p:cTn>
                                        <p:tgtEl>
                                          <p:spTgt spid="15"/>
                                        </p:tgtEl>
                                        <p:attrNameLst>
                                          <p:attrName>style.visibility</p:attrName>
                                        </p:attrNameLst>
                                      </p:cBhvr>
                                      <p:to>
                                        <p:strVal val="visible"/>
                                      </p:to>
                                    </p:set>
                                    <p:animEffect transition="in" filter="barn(inVertical)">
                                      <p:cBhvr>
                                        <p:cTn id="27" dur="1250"/>
                                        <p:tgtEl>
                                          <p:spTgt spid="15"/>
                                        </p:tgtEl>
                                      </p:cBhvr>
                                    </p:animEffect>
                                  </p:childTnLst>
                                </p:cTn>
                              </p:par>
                            </p:childTnLst>
                          </p:cTn>
                        </p:par>
                      </p:childTnLst>
                    </p:cTn>
                  </p:par>
                  <p:par>
                    <p:cTn id="28" fill="hold">
                      <p:stCondLst>
                        <p:cond delay="indefinite"/>
                      </p:stCondLst>
                      <p:childTnLst>
                        <p:par>
                          <p:cTn id="29" fill="hold">
                            <p:stCondLst>
                              <p:cond delay="0"/>
                            </p:stCondLst>
                            <p:childTnLst>
                              <p:par>
                                <p:cTn id="30" presetID="16" presetClass="entr" presetSubtype="21" fill="hold" grpId="0" nodeType="clickEffect">
                                  <p:stCondLst>
                                    <p:cond delay="0"/>
                                  </p:stCondLst>
                                  <p:childTnLst>
                                    <p:set>
                                      <p:cBhvr>
                                        <p:cTn id="31" dur="1" fill="hold">
                                          <p:stCondLst>
                                            <p:cond delay="0"/>
                                          </p:stCondLst>
                                        </p:cTn>
                                        <p:tgtEl>
                                          <p:spTgt spid="17"/>
                                        </p:tgtEl>
                                        <p:attrNameLst>
                                          <p:attrName>style.visibility</p:attrName>
                                        </p:attrNameLst>
                                      </p:cBhvr>
                                      <p:to>
                                        <p:strVal val="visible"/>
                                      </p:to>
                                    </p:set>
                                    <p:animEffect transition="in" filter="barn(inVertical)">
                                      <p:cBhvr>
                                        <p:cTn id="32" dur="1250"/>
                                        <p:tgtEl>
                                          <p:spTgt spid="17"/>
                                        </p:tgtEl>
                                      </p:cBhvr>
                                    </p:animEffect>
                                  </p:childTnLst>
                                </p:cTn>
                              </p:par>
                            </p:childTnLst>
                          </p:cTn>
                        </p:par>
                      </p:childTnLst>
                    </p:cTn>
                  </p:par>
                  <p:par>
                    <p:cTn id="33" fill="hold">
                      <p:stCondLst>
                        <p:cond delay="indefinite"/>
                      </p:stCondLst>
                      <p:childTnLst>
                        <p:par>
                          <p:cTn id="34" fill="hold">
                            <p:stCondLst>
                              <p:cond delay="0"/>
                            </p:stCondLst>
                            <p:childTnLst>
                              <p:par>
                                <p:cTn id="35" presetID="16" presetClass="entr" presetSubtype="21" fill="hold" grpId="0" nodeType="clickEffect">
                                  <p:stCondLst>
                                    <p:cond delay="0"/>
                                  </p:stCondLst>
                                  <p:childTnLst>
                                    <p:set>
                                      <p:cBhvr>
                                        <p:cTn id="36" dur="1" fill="hold">
                                          <p:stCondLst>
                                            <p:cond delay="0"/>
                                          </p:stCondLst>
                                        </p:cTn>
                                        <p:tgtEl>
                                          <p:spTgt spid="18"/>
                                        </p:tgtEl>
                                        <p:attrNameLst>
                                          <p:attrName>style.visibility</p:attrName>
                                        </p:attrNameLst>
                                      </p:cBhvr>
                                      <p:to>
                                        <p:strVal val="visible"/>
                                      </p:to>
                                    </p:set>
                                    <p:animEffect transition="in" filter="barn(inVertical)">
                                      <p:cBhvr>
                                        <p:cTn id="37" dur="1250"/>
                                        <p:tgtEl>
                                          <p:spTgt spid="18"/>
                                        </p:tgtEl>
                                      </p:cBhvr>
                                    </p:animEffect>
                                  </p:childTnLst>
                                </p:cTn>
                              </p:par>
                            </p:childTnLst>
                          </p:cTn>
                        </p:par>
                      </p:childTnLst>
                    </p:cTn>
                  </p:par>
                  <p:par>
                    <p:cTn id="38" fill="hold">
                      <p:stCondLst>
                        <p:cond delay="indefinite"/>
                      </p:stCondLst>
                      <p:childTnLst>
                        <p:par>
                          <p:cTn id="39" fill="hold">
                            <p:stCondLst>
                              <p:cond delay="0"/>
                            </p:stCondLst>
                            <p:childTnLst>
                              <p:par>
                                <p:cTn id="40" presetID="16" presetClass="entr" presetSubtype="21" fill="hold" grpId="0" nodeType="clickEffect">
                                  <p:stCondLst>
                                    <p:cond delay="0"/>
                                  </p:stCondLst>
                                  <p:childTnLst>
                                    <p:set>
                                      <p:cBhvr>
                                        <p:cTn id="41" dur="1" fill="hold">
                                          <p:stCondLst>
                                            <p:cond delay="0"/>
                                          </p:stCondLst>
                                        </p:cTn>
                                        <p:tgtEl>
                                          <p:spTgt spid="19"/>
                                        </p:tgtEl>
                                        <p:attrNameLst>
                                          <p:attrName>style.visibility</p:attrName>
                                        </p:attrNameLst>
                                      </p:cBhvr>
                                      <p:to>
                                        <p:strVal val="visible"/>
                                      </p:to>
                                    </p:set>
                                    <p:animEffect transition="in" filter="barn(inVertical)">
                                      <p:cBhvr>
                                        <p:cTn id="42" dur="1250"/>
                                        <p:tgtEl>
                                          <p:spTgt spid="19"/>
                                        </p:tgtEl>
                                      </p:cBhvr>
                                    </p:animEffect>
                                  </p:childTnLst>
                                </p:cTn>
                              </p:par>
                            </p:childTnLst>
                          </p:cTn>
                        </p:par>
                      </p:childTnLst>
                    </p:cTn>
                  </p:par>
                  <p:par>
                    <p:cTn id="43" fill="hold">
                      <p:stCondLst>
                        <p:cond delay="indefinite"/>
                      </p:stCondLst>
                      <p:childTnLst>
                        <p:par>
                          <p:cTn id="44" fill="hold">
                            <p:stCondLst>
                              <p:cond delay="0"/>
                            </p:stCondLst>
                            <p:childTnLst>
                              <p:par>
                                <p:cTn id="45" presetID="16" presetClass="entr" presetSubtype="21" fill="hold" grpId="0" nodeType="clickEffect">
                                  <p:stCondLst>
                                    <p:cond delay="0"/>
                                  </p:stCondLst>
                                  <p:childTnLst>
                                    <p:set>
                                      <p:cBhvr>
                                        <p:cTn id="46" dur="1" fill="hold">
                                          <p:stCondLst>
                                            <p:cond delay="0"/>
                                          </p:stCondLst>
                                        </p:cTn>
                                        <p:tgtEl>
                                          <p:spTgt spid="20"/>
                                        </p:tgtEl>
                                        <p:attrNameLst>
                                          <p:attrName>style.visibility</p:attrName>
                                        </p:attrNameLst>
                                      </p:cBhvr>
                                      <p:to>
                                        <p:strVal val="visible"/>
                                      </p:to>
                                    </p:set>
                                    <p:animEffect transition="in" filter="barn(inVertical)">
                                      <p:cBhvr>
                                        <p:cTn id="47" dur="125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9" grpId="0" animBg="1"/>
      <p:bldP spid="11" grpId="0" animBg="1"/>
      <p:bldP spid="13" grpId="0" animBg="1"/>
      <p:bldP spid="15" grpId="0" animBg="1"/>
      <p:bldP spid="17" grpId="0" animBg="1"/>
      <p:bldP spid="18" grpId="0" animBg="1"/>
      <p:bldP spid="19" grpId="0" animBg="1"/>
      <p:bldP spid="20"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p:cNvSpPr/>
          <p:nvPr/>
        </p:nvSpPr>
        <p:spPr>
          <a:xfrm>
            <a:off x="1461790" y="2668542"/>
            <a:ext cx="9268420" cy="950524"/>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1" tIns="60960" rIns="121921" bIns="6096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altLang="ko-KR" sz="3200" b="1" i="0" u="none" strike="noStrike" kern="1200" cap="none" spc="0" normalizeH="0" baseline="0" noProof="0" dirty="0">
                <a:ln>
                  <a:noFill/>
                </a:ln>
                <a:solidFill>
                  <a:prstClr val="white"/>
                </a:solidFill>
                <a:effectLst/>
                <a:uLnTx/>
                <a:uFillTx/>
                <a:latin typeface="Sakkal Majalla" panose="02000000000000000000" pitchFamily="2" charset="-78"/>
                <a:ea typeface="맑은 고딕" panose="020B0503020000020004" pitchFamily="34" charset="-127"/>
                <a:cs typeface="Sakkal Majalla" panose="02000000000000000000" pitchFamily="2" charset="-78"/>
              </a:rPr>
              <a:t>إجراءات التقويم الذاتي للمدرسة</a:t>
            </a:r>
            <a:endParaRPr kumimoji="0" lang="ko-KR" altLang="en-US" sz="3200" b="1" i="0" u="none" strike="noStrike" kern="1200" cap="none" spc="0" normalizeH="0" baseline="0" noProof="0" dirty="0">
              <a:ln>
                <a:noFill/>
              </a:ln>
              <a:solidFill>
                <a:prstClr val="white"/>
              </a:solidFill>
              <a:effectLst/>
              <a:uLnTx/>
              <a:uFillTx/>
              <a:latin typeface="Sakkal Majalla" panose="02000000000000000000" pitchFamily="2" charset="-78"/>
              <a:ea typeface="맑은 고딕" panose="020B0503020000020004" pitchFamily="34" charset="-127"/>
              <a:cs typeface="Sakkal Majalla" panose="02000000000000000000" pitchFamily="2" charset="-78"/>
            </a:endParaRPr>
          </a:p>
        </p:txBody>
      </p:sp>
    </p:spTree>
    <p:extLst>
      <p:ext uri="{BB962C8B-B14F-4D97-AF65-F5344CB8AC3E}">
        <p14:creationId xmlns:p14="http://schemas.microsoft.com/office/powerpoint/2010/main" val="23918451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barn(inVertical)">
                                      <p:cBhvr>
                                        <p:cTn id="7" dur="125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5" name="صورة 4">
            <a:extLst>
              <a:ext uri="{FF2B5EF4-FFF2-40B4-BE49-F238E27FC236}">
                <a16:creationId xmlns:a16="http://schemas.microsoft.com/office/drawing/2014/main" id="{A6B9F71A-74C0-A80E-17FF-516E7E641923}"/>
              </a:ext>
            </a:extLst>
          </p:cNvPr>
          <p:cNvPicPr>
            <a:picLocks noChangeAspect="1"/>
          </p:cNvPicPr>
          <p:nvPr/>
        </p:nvPicPr>
        <p:blipFill>
          <a:blip r:embed="rId2"/>
          <a:stretch>
            <a:fillRect/>
          </a:stretch>
        </p:blipFill>
        <p:spPr>
          <a:xfrm>
            <a:off x="365761" y="396240"/>
            <a:ext cx="11440160" cy="6065520"/>
          </a:xfrm>
          <a:prstGeom prst="rect">
            <a:avLst/>
          </a:prstGeom>
        </p:spPr>
      </p:pic>
    </p:spTree>
    <p:extLst>
      <p:ext uri="{BB962C8B-B14F-4D97-AF65-F5344CB8AC3E}">
        <p14:creationId xmlns:p14="http://schemas.microsoft.com/office/powerpoint/2010/main" val="403730757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 name="صورة 2">
            <a:extLst>
              <a:ext uri="{FF2B5EF4-FFF2-40B4-BE49-F238E27FC236}">
                <a16:creationId xmlns:a16="http://schemas.microsoft.com/office/drawing/2014/main" id="{1C7AAB96-8652-8C65-20F8-0B52FD104C0C}"/>
              </a:ext>
            </a:extLst>
          </p:cNvPr>
          <p:cNvPicPr>
            <a:picLocks noChangeAspect="1"/>
          </p:cNvPicPr>
          <p:nvPr/>
        </p:nvPicPr>
        <p:blipFill>
          <a:blip r:embed="rId2"/>
          <a:stretch>
            <a:fillRect/>
          </a:stretch>
        </p:blipFill>
        <p:spPr>
          <a:xfrm>
            <a:off x="643467" y="101600"/>
            <a:ext cx="10905066" cy="6108191"/>
          </a:xfrm>
          <a:prstGeom prst="rect">
            <a:avLst/>
          </a:prstGeom>
        </p:spPr>
      </p:pic>
    </p:spTree>
    <p:extLst>
      <p:ext uri="{BB962C8B-B14F-4D97-AF65-F5344CB8AC3E}">
        <p14:creationId xmlns:p14="http://schemas.microsoft.com/office/powerpoint/2010/main" val="132979947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 name="صورة 2">
            <a:extLst>
              <a:ext uri="{FF2B5EF4-FFF2-40B4-BE49-F238E27FC236}">
                <a16:creationId xmlns:a16="http://schemas.microsoft.com/office/drawing/2014/main" id="{A67910EE-B9C0-01C2-206C-BA252A9D7B0B}"/>
              </a:ext>
            </a:extLst>
          </p:cNvPr>
          <p:cNvPicPr>
            <a:picLocks noChangeAspect="1"/>
          </p:cNvPicPr>
          <p:nvPr/>
        </p:nvPicPr>
        <p:blipFill>
          <a:blip r:embed="rId2"/>
          <a:stretch>
            <a:fillRect/>
          </a:stretch>
        </p:blipFill>
        <p:spPr>
          <a:xfrm>
            <a:off x="558800" y="467360"/>
            <a:ext cx="10982960" cy="6004560"/>
          </a:xfrm>
          <a:prstGeom prst="rect">
            <a:avLst/>
          </a:prstGeom>
        </p:spPr>
      </p:pic>
    </p:spTree>
    <p:extLst>
      <p:ext uri="{BB962C8B-B14F-4D97-AF65-F5344CB8AC3E}">
        <p14:creationId xmlns:p14="http://schemas.microsoft.com/office/powerpoint/2010/main" val="135721912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5" name="صورة 4">
            <a:extLst>
              <a:ext uri="{FF2B5EF4-FFF2-40B4-BE49-F238E27FC236}">
                <a16:creationId xmlns:a16="http://schemas.microsoft.com/office/drawing/2014/main" id="{10205403-5236-1510-7273-D006459FFF24}"/>
              </a:ext>
            </a:extLst>
          </p:cNvPr>
          <p:cNvPicPr>
            <a:picLocks noChangeAspect="1"/>
          </p:cNvPicPr>
          <p:nvPr/>
        </p:nvPicPr>
        <p:blipFill>
          <a:blip r:embed="rId2"/>
          <a:stretch>
            <a:fillRect/>
          </a:stretch>
        </p:blipFill>
        <p:spPr>
          <a:xfrm>
            <a:off x="294640" y="375920"/>
            <a:ext cx="11328399" cy="5838613"/>
          </a:xfrm>
          <a:prstGeom prst="rect">
            <a:avLst/>
          </a:prstGeom>
        </p:spPr>
      </p:pic>
    </p:spTree>
    <p:extLst>
      <p:ext uri="{BB962C8B-B14F-4D97-AF65-F5344CB8AC3E}">
        <p14:creationId xmlns:p14="http://schemas.microsoft.com/office/powerpoint/2010/main" val="308991267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5" name="صورة 4">
            <a:extLst>
              <a:ext uri="{FF2B5EF4-FFF2-40B4-BE49-F238E27FC236}">
                <a16:creationId xmlns:a16="http://schemas.microsoft.com/office/drawing/2014/main" id="{3F538523-86DF-3E5A-5EB6-9B22F5CE16F3}"/>
              </a:ext>
            </a:extLst>
          </p:cNvPr>
          <p:cNvPicPr>
            <a:picLocks noChangeAspect="1"/>
          </p:cNvPicPr>
          <p:nvPr/>
        </p:nvPicPr>
        <p:blipFill>
          <a:blip r:embed="rId2"/>
          <a:stretch>
            <a:fillRect/>
          </a:stretch>
        </p:blipFill>
        <p:spPr>
          <a:xfrm>
            <a:off x="643467" y="1956816"/>
            <a:ext cx="10905066" cy="2944366"/>
          </a:xfrm>
          <a:prstGeom prst="rect">
            <a:avLst/>
          </a:prstGeom>
        </p:spPr>
      </p:pic>
    </p:spTree>
    <p:extLst>
      <p:ext uri="{BB962C8B-B14F-4D97-AF65-F5344CB8AC3E}">
        <p14:creationId xmlns:p14="http://schemas.microsoft.com/office/powerpoint/2010/main" val="38291600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صورة 1">
            <a:extLst>
              <a:ext uri="{FF2B5EF4-FFF2-40B4-BE49-F238E27FC236}">
                <a16:creationId xmlns:a16="http://schemas.microsoft.com/office/drawing/2014/main" id="{101BEF71-E943-27CB-00EC-7C44531E1ECE}"/>
              </a:ext>
            </a:extLst>
          </p:cNvPr>
          <p:cNvPicPr>
            <a:picLocks noChangeAspect="1"/>
          </p:cNvPicPr>
          <p:nvPr/>
        </p:nvPicPr>
        <p:blipFill rotWithShape="1">
          <a:blip r:embed="rId2">
            <a:extLst>
              <a:ext uri="{BEBA8EAE-BF5A-486C-A8C5-ECC9F3942E4B}">
                <a14:imgProps xmlns:a14="http://schemas.microsoft.com/office/drawing/2010/main">
                  <a14:imgLayer r:embed="rId3">
                    <a14:imgEffect>
                      <a14:sharpenSoften amount="25000"/>
                    </a14:imgEffect>
                  </a14:imgLayer>
                </a14:imgProps>
              </a:ext>
            </a:extLst>
          </a:blip>
          <a:srcRect l="3091" r="2517"/>
          <a:stretch/>
        </p:blipFill>
        <p:spPr>
          <a:xfrm>
            <a:off x="523661" y="642517"/>
            <a:ext cx="9547187" cy="5955176"/>
          </a:xfrm>
          <a:prstGeom prst="rect">
            <a:avLst/>
          </a:prstGeom>
          <a:ln w="12700">
            <a:solidFill>
              <a:srgbClr val="002060"/>
            </a:solidFill>
          </a:ln>
        </p:spPr>
      </p:pic>
      <p:sp>
        <p:nvSpPr>
          <p:cNvPr id="3" name="Rectangle 28">
            <a:extLst>
              <a:ext uri="{FF2B5EF4-FFF2-40B4-BE49-F238E27FC236}">
                <a16:creationId xmlns:a16="http://schemas.microsoft.com/office/drawing/2014/main" id="{906B836A-48E9-E675-24C3-F153A48CB4C3}"/>
              </a:ext>
            </a:extLst>
          </p:cNvPr>
          <p:cNvSpPr/>
          <p:nvPr/>
        </p:nvSpPr>
        <p:spPr>
          <a:xfrm>
            <a:off x="10232986" y="1208183"/>
            <a:ext cx="1459434" cy="71289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1" tIns="45720" rIns="91441" bIns="4572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altLang="ko-KR" sz="1800" b="1" i="0" u="none" strike="noStrike" kern="1200" cap="none" spc="0" normalizeH="0" baseline="0" noProof="0" dirty="0">
                <a:ln>
                  <a:noFill/>
                </a:ln>
                <a:solidFill>
                  <a:prstClr val="white"/>
                </a:solidFill>
                <a:effectLst/>
                <a:uLnTx/>
                <a:uFillTx/>
                <a:latin typeface="Sakkal Majalla" panose="02000000000000000000" pitchFamily="2" charset="-78"/>
                <a:ea typeface="맑은 고딕" panose="020B0503020000020004" pitchFamily="34" charset="-127"/>
                <a:cs typeface="Sakkal Majalla" panose="02000000000000000000" pitchFamily="2" charset="-78"/>
              </a:rPr>
              <a:t>مرحلة الإعداد والتهيئة للتطبيق</a:t>
            </a:r>
            <a:endParaRPr kumimoji="0" lang="ko-KR" altLang="en-US" sz="1800" b="1" i="0" u="none" strike="noStrike" kern="1200" cap="none" spc="0" normalizeH="0" baseline="0" noProof="0" dirty="0">
              <a:ln>
                <a:noFill/>
              </a:ln>
              <a:solidFill>
                <a:prstClr val="white"/>
              </a:solidFill>
              <a:effectLst/>
              <a:uLnTx/>
              <a:uFillTx/>
              <a:latin typeface="Sakkal Majalla" panose="02000000000000000000" pitchFamily="2" charset="-78"/>
              <a:ea typeface="맑은 고딕" panose="020B0503020000020004" pitchFamily="34" charset="-127"/>
              <a:cs typeface="Sakkal Majalla" panose="02000000000000000000" pitchFamily="2" charset="-78"/>
            </a:endParaRPr>
          </a:p>
        </p:txBody>
      </p:sp>
      <p:sp>
        <p:nvSpPr>
          <p:cNvPr id="4" name="Rectangle 28">
            <a:extLst>
              <a:ext uri="{FF2B5EF4-FFF2-40B4-BE49-F238E27FC236}">
                <a16:creationId xmlns:a16="http://schemas.microsoft.com/office/drawing/2014/main" id="{F3260891-4CC9-69C2-61B6-726CDDD98DC4}"/>
              </a:ext>
            </a:extLst>
          </p:cNvPr>
          <p:cNvSpPr/>
          <p:nvPr/>
        </p:nvSpPr>
        <p:spPr>
          <a:xfrm>
            <a:off x="10264806" y="2668100"/>
            <a:ext cx="1459434" cy="14504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1" tIns="45720" rIns="91441" bIns="4572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altLang="ko-KR" sz="1800" b="1" i="0" u="none" strike="noStrike" kern="1200" cap="none" spc="0" normalizeH="0" baseline="0" noProof="0" dirty="0">
                <a:ln>
                  <a:noFill/>
                </a:ln>
                <a:solidFill>
                  <a:prstClr val="white"/>
                </a:solidFill>
                <a:effectLst/>
                <a:uLnTx/>
                <a:uFillTx/>
                <a:latin typeface="Sakkal Majalla" panose="02000000000000000000" pitchFamily="2" charset="-78"/>
                <a:ea typeface="맑은 고딕" panose="020B0503020000020004" pitchFamily="34" charset="-127"/>
                <a:cs typeface="Sakkal Majalla" panose="02000000000000000000" pitchFamily="2" charset="-78"/>
              </a:rPr>
              <a:t>مرحلة التنفيذ وتشخيص واقع المدرسة وفق معايير ومؤشرات تقويم المدارس</a:t>
            </a:r>
            <a:endParaRPr kumimoji="0" lang="ko-KR" altLang="en-US" sz="1800" b="1" i="0" u="none" strike="noStrike" kern="1200" cap="none" spc="0" normalizeH="0" baseline="0" noProof="0" dirty="0">
              <a:ln>
                <a:noFill/>
              </a:ln>
              <a:solidFill>
                <a:prstClr val="white"/>
              </a:solidFill>
              <a:effectLst/>
              <a:uLnTx/>
              <a:uFillTx/>
              <a:latin typeface="Sakkal Majalla" panose="02000000000000000000" pitchFamily="2" charset="-78"/>
              <a:ea typeface="맑은 고딕" panose="020B0503020000020004" pitchFamily="34" charset="-127"/>
              <a:cs typeface="Sakkal Majalla" panose="02000000000000000000" pitchFamily="2" charset="-78"/>
            </a:endParaRPr>
          </a:p>
        </p:txBody>
      </p:sp>
      <p:sp>
        <p:nvSpPr>
          <p:cNvPr id="5" name="Rectangle 28">
            <a:extLst>
              <a:ext uri="{FF2B5EF4-FFF2-40B4-BE49-F238E27FC236}">
                <a16:creationId xmlns:a16="http://schemas.microsoft.com/office/drawing/2014/main" id="{027A181D-6415-9B2A-952C-4228FE87F145}"/>
              </a:ext>
            </a:extLst>
          </p:cNvPr>
          <p:cNvSpPr/>
          <p:nvPr/>
        </p:nvSpPr>
        <p:spPr>
          <a:xfrm>
            <a:off x="10264806" y="4641176"/>
            <a:ext cx="1459434" cy="10801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1" tIns="45720" rIns="91441" bIns="45720" numCol="1" spcCol="0" rtlCol="0" fromWordArt="0" anchor="ctr" anchorCtr="0" forceAA="0" compatLnSpc="1">
            <a:prstTxWarp prst="textNoShape">
              <a:avLst/>
            </a:prstTxWarp>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altLang="ko-KR" sz="1800" b="1" i="0" u="none" strike="noStrike" kern="1200" cap="none" spc="0" normalizeH="0" baseline="0" noProof="0" dirty="0">
                <a:ln>
                  <a:noFill/>
                </a:ln>
                <a:solidFill>
                  <a:prstClr val="white"/>
                </a:solidFill>
                <a:effectLst/>
                <a:uLnTx/>
                <a:uFillTx/>
                <a:latin typeface="Sakkal Majalla" panose="02000000000000000000" pitchFamily="2" charset="-78"/>
                <a:ea typeface="맑은 고딕" panose="020B0503020000020004" pitchFamily="34" charset="-127"/>
                <a:cs typeface="Sakkal Majalla" panose="02000000000000000000" pitchFamily="2" charset="-78"/>
              </a:rPr>
              <a:t>مرحلة الإغلاق وبناء خطة التطوير والتحسين واستدامتها</a:t>
            </a:r>
            <a:endParaRPr kumimoji="0" lang="ko-KR" altLang="en-US" sz="1800" b="1" i="0" u="none" strike="noStrike" kern="1200" cap="none" spc="0" normalizeH="0" baseline="0" noProof="0" dirty="0">
              <a:ln>
                <a:noFill/>
              </a:ln>
              <a:solidFill>
                <a:prstClr val="white"/>
              </a:solidFill>
              <a:effectLst/>
              <a:uLnTx/>
              <a:uFillTx/>
              <a:latin typeface="Sakkal Majalla" panose="02000000000000000000" pitchFamily="2" charset="-78"/>
              <a:ea typeface="맑은 고딕" panose="020B0503020000020004" pitchFamily="34" charset="-127"/>
              <a:cs typeface="Sakkal Majalla" panose="02000000000000000000" pitchFamily="2" charset="-78"/>
            </a:endParaRPr>
          </a:p>
        </p:txBody>
      </p:sp>
      <p:sp>
        <p:nvSpPr>
          <p:cNvPr id="6" name="مستطيل 5">
            <a:extLst>
              <a:ext uri="{FF2B5EF4-FFF2-40B4-BE49-F238E27FC236}">
                <a16:creationId xmlns:a16="http://schemas.microsoft.com/office/drawing/2014/main" id="{E7FFF901-BE05-2D8B-0CEB-55370F64C41B}"/>
              </a:ext>
            </a:extLst>
          </p:cNvPr>
          <p:cNvSpPr/>
          <p:nvPr/>
        </p:nvSpPr>
        <p:spPr>
          <a:xfrm>
            <a:off x="685799" y="761050"/>
            <a:ext cx="9180924" cy="1650260"/>
          </a:xfrm>
          <a:prstGeom prst="rect">
            <a:avLst/>
          </a:prstGeom>
          <a:noFill/>
          <a:ln w="28575">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SA" sz="18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endParaRPr>
          </a:p>
        </p:txBody>
      </p:sp>
      <p:sp>
        <p:nvSpPr>
          <p:cNvPr id="7" name="مستطيل 6">
            <a:extLst>
              <a:ext uri="{FF2B5EF4-FFF2-40B4-BE49-F238E27FC236}">
                <a16:creationId xmlns:a16="http://schemas.microsoft.com/office/drawing/2014/main" id="{660E21F9-8F3D-E40D-BA25-9BF85CE0CFB7}"/>
              </a:ext>
            </a:extLst>
          </p:cNvPr>
          <p:cNvSpPr/>
          <p:nvPr/>
        </p:nvSpPr>
        <p:spPr>
          <a:xfrm>
            <a:off x="685799" y="2497669"/>
            <a:ext cx="9180924" cy="1791302"/>
          </a:xfrm>
          <a:prstGeom prst="rect">
            <a:avLst/>
          </a:prstGeom>
          <a:noFill/>
          <a:ln w="28575">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SA" sz="18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endParaRPr>
          </a:p>
        </p:txBody>
      </p:sp>
      <p:sp>
        <p:nvSpPr>
          <p:cNvPr id="8" name="مستطيل 7">
            <a:extLst>
              <a:ext uri="{FF2B5EF4-FFF2-40B4-BE49-F238E27FC236}">
                <a16:creationId xmlns:a16="http://schemas.microsoft.com/office/drawing/2014/main" id="{799706DA-4969-ABA2-5BA3-15F2E961865B}"/>
              </a:ext>
            </a:extLst>
          </p:cNvPr>
          <p:cNvSpPr/>
          <p:nvPr/>
        </p:nvSpPr>
        <p:spPr>
          <a:xfrm>
            <a:off x="685800" y="4375330"/>
            <a:ext cx="9180923" cy="1611813"/>
          </a:xfrm>
          <a:prstGeom prst="rect">
            <a:avLst/>
          </a:prstGeom>
          <a:noFill/>
          <a:ln w="28575">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SA" sz="18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endParaRPr>
          </a:p>
        </p:txBody>
      </p:sp>
      <p:sp>
        <p:nvSpPr>
          <p:cNvPr id="9" name="مستطيل: زوايا مستديرة 8">
            <a:extLst>
              <a:ext uri="{FF2B5EF4-FFF2-40B4-BE49-F238E27FC236}">
                <a16:creationId xmlns:a16="http://schemas.microsoft.com/office/drawing/2014/main" id="{7E901AAD-8D9A-7461-266B-0E68E03359DA}"/>
              </a:ext>
            </a:extLst>
          </p:cNvPr>
          <p:cNvSpPr/>
          <p:nvPr/>
        </p:nvSpPr>
        <p:spPr>
          <a:xfrm>
            <a:off x="5932713" y="5453742"/>
            <a:ext cx="1673627" cy="739969"/>
          </a:xfrm>
          <a:prstGeom prst="roundRect">
            <a:avLst/>
          </a:prstGeom>
          <a:solidFill>
            <a:srgbClr val="00B050">
              <a:alpha val="30196"/>
            </a:srgbClr>
          </a:solidFill>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SA" sz="18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endParaRPr>
          </a:p>
        </p:txBody>
      </p:sp>
      <p:sp>
        <p:nvSpPr>
          <p:cNvPr id="10" name="مستطيل: زوايا مستديرة 9">
            <a:extLst>
              <a:ext uri="{FF2B5EF4-FFF2-40B4-BE49-F238E27FC236}">
                <a16:creationId xmlns:a16="http://schemas.microsoft.com/office/drawing/2014/main" id="{37BB246E-8076-FE74-1356-B1AE4934056E}"/>
              </a:ext>
            </a:extLst>
          </p:cNvPr>
          <p:cNvSpPr/>
          <p:nvPr/>
        </p:nvSpPr>
        <p:spPr>
          <a:xfrm>
            <a:off x="4248200" y="468214"/>
            <a:ext cx="1673627" cy="739969"/>
          </a:xfrm>
          <a:prstGeom prst="roundRect">
            <a:avLst/>
          </a:prstGeom>
          <a:solidFill>
            <a:srgbClr val="00B050">
              <a:alpha val="30196"/>
            </a:srgbClr>
          </a:solidFill>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SA" sz="18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endParaRPr>
          </a:p>
        </p:txBody>
      </p:sp>
      <p:sp>
        <p:nvSpPr>
          <p:cNvPr id="11" name="مستطيل: زوايا مستديرة 10">
            <a:extLst>
              <a:ext uri="{FF2B5EF4-FFF2-40B4-BE49-F238E27FC236}">
                <a16:creationId xmlns:a16="http://schemas.microsoft.com/office/drawing/2014/main" id="{688082AB-F394-47A1-D0AC-B6457FC6E36A}"/>
              </a:ext>
            </a:extLst>
          </p:cNvPr>
          <p:cNvSpPr/>
          <p:nvPr/>
        </p:nvSpPr>
        <p:spPr>
          <a:xfrm>
            <a:off x="3736256" y="5363612"/>
            <a:ext cx="1673627" cy="739969"/>
          </a:xfrm>
          <a:prstGeom prst="roundRect">
            <a:avLst/>
          </a:prstGeom>
          <a:solidFill>
            <a:srgbClr val="00B050">
              <a:alpha val="30196"/>
            </a:srgbClr>
          </a:solidFill>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SA" sz="18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206997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arn(inVertical)">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grpId="0"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barn(inVertical)">
                                      <p:cBhvr>
                                        <p:cTn id="12" dur="125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16" presetClass="entr" presetSubtype="21" fill="hold" grpId="0"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barn(inVertical)">
                                      <p:cBhvr>
                                        <p:cTn id="17" dur="750"/>
                                        <p:tgtEl>
                                          <p:spTgt spid="6"/>
                                        </p:tgtEl>
                                      </p:cBhvr>
                                    </p:animEffect>
                                  </p:childTnLst>
                                </p:cTn>
                              </p:par>
                            </p:childTnLst>
                          </p:cTn>
                        </p:par>
                      </p:childTnLst>
                    </p:cTn>
                  </p:par>
                  <p:par>
                    <p:cTn id="18" fill="hold">
                      <p:stCondLst>
                        <p:cond delay="indefinite"/>
                      </p:stCondLst>
                      <p:childTnLst>
                        <p:par>
                          <p:cTn id="19" fill="hold">
                            <p:stCondLst>
                              <p:cond delay="0"/>
                            </p:stCondLst>
                            <p:childTnLst>
                              <p:par>
                                <p:cTn id="20" presetID="16" presetClass="entr" presetSubtype="21" fill="hold" grpId="0" nodeType="clickEffect">
                                  <p:stCondLst>
                                    <p:cond delay="0"/>
                                  </p:stCondLst>
                                  <p:childTnLst>
                                    <p:set>
                                      <p:cBhvr>
                                        <p:cTn id="21" dur="1" fill="hold">
                                          <p:stCondLst>
                                            <p:cond delay="0"/>
                                          </p:stCondLst>
                                        </p:cTn>
                                        <p:tgtEl>
                                          <p:spTgt spid="4"/>
                                        </p:tgtEl>
                                        <p:attrNameLst>
                                          <p:attrName>style.visibility</p:attrName>
                                        </p:attrNameLst>
                                      </p:cBhvr>
                                      <p:to>
                                        <p:strVal val="visible"/>
                                      </p:to>
                                    </p:set>
                                    <p:animEffect transition="in" filter="barn(inVertical)">
                                      <p:cBhvr>
                                        <p:cTn id="22" dur="1250"/>
                                        <p:tgtEl>
                                          <p:spTgt spid="4"/>
                                        </p:tgtEl>
                                      </p:cBhvr>
                                    </p:animEffect>
                                  </p:childTnLst>
                                </p:cTn>
                              </p:par>
                            </p:childTnLst>
                          </p:cTn>
                        </p:par>
                      </p:childTnLst>
                    </p:cTn>
                  </p:par>
                  <p:par>
                    <p:cTn id="23" fill="hold">
                      <p:stCondLst>
                        <p:cond delay="indefinite"/>
                      </p:stCondLst>
                      <p:childTnLst>
                        <p:par>
                          <p:cTn id="24" fill="hold">
                            <p:stCondLst>
                              <p:cond delay="0"/>
                            </p:stCondLst>
                            <p:childTnLst>
                              <p:par>
                                <p:cTn id="25" presetID="16" presetClass="entr" presetSubtype="21" fill="hold" grpId="0" nodeType="clickEffect">
                                  <p:stCondLst>
                                    <p:cond delay="0"/>
                                  </p:stCondLst>
                                  <p:childTnLst>
                                    <p:set>
                                      <p:cBhvr>
                                        <p:cTn id="26" dur="1" fill="hold">
                                          <p:stCondLst>
                                            <p:cond delay="0"/>
                                          </p:stCondLst>
                                        </p:cTn>
                                        <p:tgtEl>
                                          <p:spTgt spid="7"/>
                                        </p:tgtEl>
                                        <p:attrNameLst>
                                          <p:attrName>style.visibility</p:attrName>
                                        </p:attrNameLst>
                                      </p:cBhvr>
                                      <p:to>
                                        <p:strVal val="visible"/>
                                      </p:to>
                                    </p:set>
                                    <p:animEffect transition="in" filter="barn(inVertical)">
                                      <p:cBhvr>
                                        <p:cTn id="27" dur="1000"/>
                                        <p:tgtEl>
                                          <p:spTgt spid="7"/>
                                        </p:tgtEl>
                                      </p:cBhvr>
                                    </p:animEffect>
                                  </p:childTnLst>
                                </p:cTn>
                              </p:par>
                            </p:childTnLst>
                          </p:cTn>
                        </p:par>
                      </p:childTnLst>
                    </p:cTn>
                  </p:par>
                  <p:par>
                    <p:cTn id="28" fill="hold">
                      <p:stCondLst>
                        <p:cond delay="indefinite"/>
                      </p:stCondLst>
                      <p:childTnLst>
                        <p:par>
                          <p:cTn id="29" fill="hold">
                            <p:stCondLst>
                              <p:cond delay="0"/>
                            </p:stCondLst>
                            <p:childTnLst>
                              <p:par>
                                <p:cTn id="30" presetID="16" presetClass="entr" presetSubtype="21" fill="hold" grpId="0" nodeType="clickEffect">
                                  <p:stCondLst>
                                    <p:cond delay="0"/>
                                  </p:stCondLst>
                                  <p:childTnLst>
                                    <p:set>
                                      <p:cBhvr>
                                        <p:cTn id="31" dur="1" fill="hold">
                                          <p:stCondLst>
                                            <p:cond delay="0"/>
                                          </p:stCondLst>
                                        </p:cTn>
                                        <p:tgtEl>
                                          <p:spTgt spid="5"/>
                                        </p:tgtEl>
                                        <p:attrNameLst>
                                          <p:attrName>style.visibility</p:attrName>
                                        </p:attrNameLst>
                                      </p:cBhvr>
                                      <p:to>
                                        <p:strVal val="visible"/>
                                      </p:to>
                                    </p:set>
                                    <p:animEffect transition="in" filter="barn(inVertical)">
                                      <p:cBhvr>
                                        <p:cTn id="32" dur="1250"/>
                                        <p:tgtEl>
                                          <p:spTgt spid="5"/>
                                        </p:tgtEl>
                                      </p:cBhvr>
                                    </p:animEffect>
                                  </p:childTnLst>
                                </p:cTn>
                              </p:par>
                            </p:childTnLst>
                          </p:cTn>
                        </p:par>
                      </p:childTnLst>
                    </p:cTn>
                  </p:par>
                  <p:par>
                    <p:cTn id="33" fill="hold">
                      <p:stCondLst>
                        <p:cond delay="indefinite"/>
                      </p:stCondLst>
                      <p:childTnLst>
                        <p:par>
                          <p:cTn id="34" fill="hold">
                            <p:stCondLst>
                              <p:cond delay="0"/>
                            </p:stCondLst>
                            <p:childTnLst>
                              <p:par>
                                <p:cTn id="35" presetID="16" presetClass="entr" presetSubtype="21" fill="hold" grpId="0" nodeType="clickEffect">
                                  <p:stCondLst>
                                    <p:cond delay="0"/>
                                  </p:stCondLst>
                                  <p:childTnLst>
                                    <p:set>
                                      <p:cBhvr>
                                        <p:cTn id="36" dur="1" fill="hold">
                                          <p:stCondLst>
                                            <p:cond delay="0"/>
                                          </p:stCondLst>
                                        </p:cTn>
                                        <p:tgtEl>
                                          <p:spTgt spid="8"/>
                                        </p:tgtEl>
                                        <p:attrNameLst>
                                          <p:attrName>style.visibility</p:attrName>
                                        </p:attrNameLst>
                                      </p:cBhvr>
                                      <p:to>
                                        <p:strVal val="visible"/>
                                      </p:to>
                                    </p:set>
                                    <p:animEffect transition="in" filter="barn(inVertical)">
                                      <p:cBhvr>
                                        <p:cTn id="37" dur="1000"/>
                                        <p:tgtEl>
                                          <p:spTgt spid="8"/>
                                        </p:tgtEl>
                                      </p:cBhvr>
                                    </p:animEffect>
                                  </p:childTnLst>
                                </p:cTn>
                              </p:par>
                            </p:childTnLst>
                          </p:cTn>
                        </p:par>
                      </p:childTnLst>
                    </p:cTn>
                  </p:par>
                  <p:par>
                    <p:cTn id="38" fill="hold">
                      <p:stCondLst>
                        <p:cond delay="indefinite"/>
                      </p:stCondLst>
                      <p:childTnLst>
                        <p:par>
                          <p:cTn id="39" fill="hold">
                            <p:stCondLst>
                              <p:cond delay="0"/>
                            </p:stCondLst>
                            <p:childTnLst>
                              <p:par>
                                <p:cTn id="40" presetID="16" presetClass="entr" presetSubtype="21" fill="hold" grpId="0" nodeType="clickEffect">
                                  <p:stCondLst>
                                    <p:cond delay="0"/>
                                  </p:stCondLst>
                                  <p:childTnLst>
                                    <p:set>
                                      <p:cBhvr>
                                        <p:cTn id="41" dur="1" fill="hold">
                                          <p:stCondLst>
                                            <p:cond delay="0"/>
                                          </p:stCondLst>
                                        </p:cTn>
                                        <p:tgtEl>
                                          <p:spTgt spid="9"/>
                                        </p:tgtEl>
                                        <p:attrNameLst>
                                          <p:attrName>style.visibility</p:attrName>
                                        </p:attrNameLst>
                                      </p:cBhvr>
                                      <p:to>
                                        <p:strVal val="visible"/>
                                      </p:to>
                                    </p:set>
                                    <p:animEffect transition="in" filter="barn(inVertical)">
                                      <p:cBhvr>
                                        <p:cTn id="42" dur="500"/>
                                        <p:tgtEl>
                                          <p:spTgt spid="9"/>
                                        </p:tgtEl>
                                      </p:cBhvr>
                                    </p:animEffect>
                                  </p:childTnLst>
                                </p:cTn>
                              </p:par>
                            </p:childTnLst>
                          </p:cTn>
                        </p:par>
                      </p:childTnLst>
                    </p:cTn>
                  </p:par>
                  <p:par>
                    <p:cTn id="43" fill="hold">
                      <p:stCondLst>
                        <p:cond delay="indefinite"/>
                      </p:stCondLst>
                      <p:childTnLst>
                        <p:par>
                          <p:cTn id="44" fill="hold">
                            <p:stCondLst>
                              <p:cond delay="0"/>
                            </p:stCondLst>
                            <p:childTnLst>
                              <p:par>
                                <p:cTn id="45" presetID="16" presetClass="entr" presetSubtype="21" fill="hold" grpId="0" nodeType="clickEffect">
                                  <p:stCondLst>
                                    <p:cond delay="0"/>
                                  </p:stCondLst>
                                  <p:childTnLst>
                                    <p:set>
                                      <p:cBhvr>
                                        <p:cTn id="46" dur="1" fill="hold">
                                          <p:stCondLst>
                                            <p:cond delay="0"/>
                                          </p:stCondLst>
                                        </p:cTn>
                                        <p:tgtEl>
                                          <p:spTgt spid="10"/>
                                        </p:tgtEl>
                                        <p:attrNameLst>
                                          <p:attrName>style.visibility</p:attrName>
                                        </p:attrNameLst>
                                      </p:cBhvr>
                                      <p:to>
                                        <p:strVal val="visible"/>
                                      </p:to>
                                    </p:set>
                                    <p:animEffect transition="in" filter="barn(inVertical)">
                                      <p:cBhvr>
                                        <p:cTn id="47" dur="500"/>
                                        <p:tgtEl>
                                          <p:spTgt spid="10"/>
                                        </p:tgtEl>
                                      </p:cBhvr>
                                    </p:animEffect>
                                  </p:childTnLst>
                                </p:cTn>
                              </p:par>
                            </p:childTnLst>
                          </p:cTn>
                        </p:par>
                      </p:childTnLst>
                    </p:cTn>
                  </p:par>
                  <p:par>
                    <p:cTn id="48" fill="hold">
                      <p:stCondLst>
                        <p:cond delay="indefinite"/>
                      </p:stCondLst>
                      <p:childTnLst>
                        <p:par>
                          <p:cTn id="49" fill="hold">
                            <p:stCondLst>
                              <p:cond delay="0"/>
                            </p:stCondLst>
                            <p:childTnLst>
                              <p:par>
                                <p:cTn id="50" presetID="16" presetClass="entr" presetSubtype="21" fill="hold" grpId="0" nodeType="clickEffect">
                                  <p:stCondLst>
                                    <p:cond delay="0"/>
                                  </p:stCondLst>
                                  <p:childTnLst>
                                    <p:set>
                                      <p:cBhvr>
                                        <p:cTn id="51" dur="1" fill="hold">
                                          <p:stCondLst>
                                            <p:cond delay="0"/>
                                          </p:stCondLst>
                                        </p:cTn>
                                        <p:tgtEl>
                                          <p:spTgt spid="11"/>
                                        </p:tgtEl>
                                        <p:attrNameLst>
                                          <p:attrName>style.visibility</p:attrName>
                                        </p:attrNameLst>
                                      </p:cBhvr>
                                      <p:to>
                                        <p:strVal val="visible"/>
                                      </p:to>
                                    </p:set>
                                    <p:animEffect transition="in" filter="barn(inVertical)">
                                      <p:cBhvr>
                                        <p:cTn id="52"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6" grpId="0" animBg="1"/>
      <p:bldP spid="7" grpId="0" animBg="1"/>
      <p:bldP spid="8" grpId="0" animBg="1"/>
      <p:bldP spid="9" grpId="0" animBg="1"/>
      <p:bldP spid="10" grpId="0" animBg="1"/>
      <p:bldP spid="11"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 name="صورة 2">
            <a:extLst>
              <a:ext uri="{FF2B5EF4-FFF2-40B4-BE49-F238E27FC236}">
                <a16:creationId xmlns:a16="http://schemas.microsoft.com/office/drawing/2014/main" id="{4888041C-0842-FBF6-9853-3256402F1FA6}"/>
              </a:ext>
            </a:extLst>
          </p:cNvPr>
          <p:cNvPicPr>
            <a:picLocks noChangeAspect="1"/>
          </p:cNvPicPr>
          <p:nvPr/>
        </p:nvPicPr>
        <p:blipFill>
          <a:blip r:embed="rId2"/>
          <a:stretch>
            <a:fillRect/>
          </a:stretch>
        </p:blipFill>
        <p:spPr>
          <a:xfrm>
            <a:off x="335280" y="101600"/>
            <a:ext cx="11562079" cy="6461760"/>
          </a:xfrm>
          <a:prstGeom prst="rect">
            <a:avLst/>
          </a:prstGeom>
        </p:spPr>
      </p:pic>
    </p:spTree>
    <p:extLst>
      <p:ext uri="{BB962C8B-B14F-4D97-AF65-F5344CB8AC3E}">
        <p14:creationId xmlns:p14="http://schemas.microsoft.com/office/powerpoint/2010/main" val="36870128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صورة 5" descr="training.jpg">
            <a:extLst>
              <a:ext uri="{FF2B5EF4-FFF2-40B4-BE49-F238E27FC236}">
                <a16:creationId xmlns:a16="http://schemas.microsoft.com/office/drawing/2014/main" id="{12FBB068-9960-8A2C-12FB-F2EEA2B6D787}"/>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663603" y="1322354"/>
            <a:ext cx="2894981" cy="23404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مربع نص 9">
            <a:extLst>
              <a:ext uri="{FF2B5EF4-FFF2-40B4-BE49-F238E27FC236}">
                <a16:creationId xmlns:a16="http://schemas.microsoft.com/office/drawing/2014/main" id="{57881E5C-EED2-962F-2CAF-25AAC247C43B}"/>
              </a:ext>
            </a:extLst>
          </p:cNvPr>
          <p:cNvSpPr txBox="1">
            <a:spLocks noChangeArrowheads="1"/>
          </p:cNvSpPr>
          <p:nvPr/>
        </p:nvSpPr>
        <p:spPr bwMode="auto">
          <a:xfrm>
            <a:off x="7660713" y="836712"/>
            <a:ext cx="3532551" cy="2308324"/>
          </a:xfrm>
          <a:prstGeom prst="rect">
            <a:avLst/>
          </a:prstGeom>
          <a:solidFill>
            <a:schemeClr val="accent1">
              <a:lumMod val="20000"/>
              <a:lumOff val="80000"/>
            </a:schemeClr>
          </a:solidFill>
          <a:ln w="9525" cap="flat" cmpd="sng" algn="ctr">
            <a:solidFill>
              <a:srgbClr val="D0ABAB">
                <a:shade val="95000"/>
                <a:satMod val="105000"/>
              </a:srgbClr>
            </a:solidFill>
            <a:prstDash val="solid"/>
          </a:ln>
          <a:effectLst>
            <a:outerShdw blurRad="40000" dist="20000" dir="5400000" rotWithShape="0">
              <a:srgbClr val="000000">
                <a:alpha val="38000"/>
              </a:srgbClr>
            </a:outerShdw>
          </a:effec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1219170" eaLnBrk="1" fontAlgn="base" hangingPunct="1">
              <a:spcBef>
                <a:spcPct val="0"/>
              </a:spcBef>
              <a:spcAft>
                <a:spcPct val="0"/>
              </a:spcAft>
              <a:defRPr/>
            </a:pPr>
            <a:r>
              <a:rPr lang="ar-SA" altLang="ar-SA" sz="2400" b="1" kern="0" dirty="0">
                <a:solidFill>
                  <a:srgbClr val="C00000"/>
                </a:solidFill>
                <a:latin typeface="Sakkal Majalla" panose="02000000000000000000" pitchFamily="2" charset="-78"/>
                <a:cs typeface="Sakkal Majalla" panose="02000000000000000000" pitchFamily="2" charset="-78"/>
                <a:sym typeface="Arial"/>
              </a:rPr>
              <a:t>العناصر الداخلية:</a:t>
            </a:r>
          </a:p>
          <a:p>
            <a:pPr marL="380990" indent="-380990" defTabSz="1219170" eaLnBrk="1" fontAlgn="base" hangingPunct="1">
              <a:spcBef>
                <a:spcPct val="0"/>
              </a:spcBef>
              <a:spcAft>
                <a:spcPct val="0"/>
              </a:spcAft>
              <a:buClr>
                <a:srgbClr val="6600CC"/>
              </a:buClr>
              <a:buFont typeface="Wingdings" panose="05000000000000000000" pitchFamily="2" charset="2"/>
              <a:buChar char="Ø"/>
              <a:defRPr/>
            </a:pPr>
            <a:r>
              <a:rPr lang="ar-SA" altLang="ar-SA" sz="2400" b="1" kern="0" dirty="0">
                <a:solidFill>
                  <a:srgbClr val="422C16"/>
                </a:solidFill>
                <a:latin typeface="Sakkal Majalla" panose="02000000000000000000" pitchFamily="2" charset="-78"/>
                <a:ea typeface="Calibri" pitchFamily="34" charset="0"/>
                <a:cs typeface="Sakkal Majalla" panose="02000000000000000000" pitchFamily="2" charset="-78"/>
                <a:sym typeface="Arial"/>
              </a:rPr>
              <a:t>المدير ( القائد التربوي ).</a:t>
            </a:r>
          </a:p>
          <a:p>
            <a:pPr marL="380990" indent="-380990" defTabSz="1219170" eaLnBrk="1" fontAlgn="base" hangingPunct="1">
              <a:spcBef>
                <a:spcPct val="0"/>
              </a:spcBef>
              <a:spcAft>
                <a:spcPct val="0"/>
              </a:spcAft>
              <a:buClr>
                <a:srgbClr val="6600CC"/>
              </a:buClr>
              <a:buFont typeface="Wingdings" panose="05000000000000000000" pitchFamily="2" charset="2"/>
              <a:buChar char="Ø"/>
              <a:defRPr/>
            </a:pPr>
            <a:r>
              <a:rPr lang="ar-SA" altLang="ar-SA" sz="2400" b="1" kern="0" dirty="0">
                <a:solidFill>
                  <a:srgbClr val="422C16"/>
                </a:solidFill>
                <a:latin typeface="Sakkal Majalla" panose="02000000000000000000" pitchFamily="2" charset="-78"/>
                <a:ea typeface="Calibri" pitchFamily="34" charset="0"/>
                <a:cs typeface="Sakkal Majalla" panose="02000000000000000000" pitchFamily="2" charset="-78"/>
                <a:sym typeface="Arial"/>
              </a:rPr>
              <a:t> المعلمين</a:t>
            </a:r>
          </a:p>
          <a:p>
            <a:pPr marL="380990" indent="-380990" defTabSz="1219170" eaLnBrk="1" fontAlgn="base" hangingPunct="1">
              <a:spcBef>
                <a:spcPct val="0"/>
              </a:spcBef>
              <a:spcAft>
                <a:spcPct val="0"/>
              </a:spcAft>
              <a:buClr>
                <a:srgbClr val="6600CC"/>
              </a:buClr>
              <a:buFont typeface="Wingdings" panose="05000000000000000000" pitchFamily="2" charset="2"/>
              <a:buChar char="Ø"/>
              <a:defRPr/>
            </a:pPr>
            <a:r>
              <a:rPr lang="ar-SA" altLang="ar-SA" sz="2400" b="1" kern="0" dirty="0">
                <a:solidFill>
                  <a:srgbClr val="422C16"/>
                </a:solidFill>
                <a:latin typeface="Sakkal Majalla" panose="02000000000000000000" pitchFamily="2" charset="-78"/>
                <a:ea typeface="Calibri" pitchFamily="34" charset="0"/>
                <a:cs typeface="Sakkal Majalla" panose="02000000000000000000" pitchFamily="2" charset="-78"/>
                <a:sym typeface="Arial"/>
              </a:rPr>
              <a:t>الطلاب.</a:t>
            </a:r>
          </a:p>
          <a:p>
            <a:pPr marL="380990" indent="-380990" defTabSz="1219170" eaLnBrk="1" fontAlgn="base" hangingPunct="1">
              <a:spcBef>
                <a:spcPct val="0"/>
              </a:spcBef>
              <a:spcAft>
                <a:spcPct val="0"/>
              </a:spcAft>
              <a:buClr>
                <a:srgbClr val="6600CC"/>
              </a:buClr>
              <a:buFont typeface="Wingdings" panose="05000000000000000000" pitchFamily="2" charset="2"/>
              <a:buChar char="Ø"/>
              <a:defRPr/>
            </a:pPr>
            <a:r>
              <a:rPr lang="ar-SA" altLang="ar-SA" sz="2400" b="1" kern="0" dirty="0">
                <a:solidFill>
                  <a:srgbClr val="422C16"/>
                </a:solidFill>
                <a:latin typeface="Sakkal Majalla" panose="02000000000000000000" pitchFamily="2" charset="-78"/>
                <a:ea typeface="Calibri" pitchFamily="34" charset="0"/>
                <a:cs typeface="Sakkal Majalla" panose="02000000000000000000" pitchFamily="2" charset="-78"/>
                <a:sym typeface="Arial"/>
              </a:rPr>
              <a:t>المنهج الدراسي.</a:t>
            </a:r>
          </a:p>
          <a:p>
            <a:pPr marL="380990" indent="-380990" defTabSz="1219170" eaLnBrk="1" fontAlgn="base" hangingPunct="1">
              <a:spcBef>
                <a:spcPct val="0"/>
              </a:spcBef>
              <a:spcAft>
                <a:spcPct val="0"/>
              </a:spcAft>
              <a:buClr>
                <a:srgbClr val="6600CC"/>
              </a:buClr>
              <a:buFont typeface="Wingdings" panose="05000000000000000000" pitchFamily="2" charset="2"/>
              <a:buChar char="Ø"/>
              <a:defRPr/>
            </a:pPr>
            <a:r>
              <a:rPr lang="ar-SA" altLang="ar-SA" sz="2400" b="1" kern="0" dirty="0">
                <a:solidFill>
                  <a:srgbClr val="422C16"/>
                </a:solidFill>
                <a:latin typeface="Sakkal Majalla" panose="02000000000000000000" pitchFamily="2" charset="-78"/>
                <a:ea typeface="Calibri" pitchFamily="34" charset="0"/>
                <a:cs typeface="Sakkal Majalla" panose="02000000000000000000" pitchFamily="2" charset="-78"/>
                <a:sym typeface="Arial"/>
              </a:rPr>
              <a:t>بيئة التعلم.</a:t>
            </a:r>
          </a:p>
        </p:txBody>
      </p:sp>
      <p:sp>
        <p:nvSpPr>
          <p:cNvPr id="6" name="مربع نص 9">
            <a:extLst>
              <a:ext uri="{FF2B5EF4-FFF2-40B4-BE49-F238E27FC236}">
                <a16:creationId xmlns:a16="http://schemas.microsoft.com/office/drawing/2014/main" id="{12566D6F-D502-947A-C7C0-FA256C2E03B7}"/>
              </a:ext>
            </a:extLst>
          </p:cNvPr>
          <p:cNvSpPr txBox="1">
            <a:spLocks noChangeArrowheads="1"/>
          </p:cNvSpPr>
          <p:nvPr/>
        </p:nvSpPr>
        <p:spPr bwMode="auto">
          <a:xfrm>
            <a:off x="815414" y="836712"/>
            <a:ext cx="3860799" cy="2308324"/>
          </a:xfrm>
          <a:prstGeom prst="rect">
            <a:avLst/>
          </a:prstGeom>
          <a:solidFill>
            <a:schemeClr val="bg2">
              <a:lumMod val="90000"/>
            </a:schemeClr>
          </a:solidFill>
          <a:ln w="9525" cap="flat" cmpd="sng" algn="ctr">
            <a:solidFill>
              <a:srgbClr val="D0ABAB">
                <a:shade val="95000"/>
                <a:satMod val="105000"/>
              </a:srgbClr>
            </a:solidFill>
            <a:prstDash val="solid"/>
          </a:ln>
          <a:effectLst>
            <a:outerShdw blurRad="40000" dist="20000" dir="5400000" rotWithShape="0">
              <a:srgbClr val="000000">
                <a:alpha val="38000"/>
              </a:srgbClr>
            </a:outerShdw>
          </a:effec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1219170" eaLnBrk="1" fontAlgn="base" hangingPunct="1">
              <a:spcBef>
                <a:spcPct val="0"/>
              </a:spcBef>
              <a:spcAft>
                <a:spcPct val="0"/>
              </a:spcAft>
              <a:defRPr/>
            </a:pPr>
            <a:r>
              <a:rPr lang="ar-SA" altLang="ar-SA" sz="2400" b="1" kern="0" dirty="0">
                <a:solidFill>
                  <a:srgbClr val="C00000"/>
                </a:solidFill>
                <a:latin typeface="Sakkal Majalla" panose="02000000000000000000" pitchFamily="2" charset="-78"/>
                <a:cs typeface="Sakkal Majalla" panose="02000000000000000000" pitchFamily="2" charset="-78"/>
                <a:sym typeface="Arial"/>
              </a:rPr>
              <a:t>العناصر الخارجية:</a:t>
            </a:r>
          </a:p>
          <a:p>
            <a:pPr marL="380990" indent="-380990" defTabSz="1219170" eaLnBrk="1" fontAlgn="base" hangingPunct="1">
              <a:spcBef>
                <a:spcPct val="0"/>
              </a:spcBef>
              <a:spcAft>
                <a:spcPct val="0"/>
              </a:spcAft>
              <a:buClr>
                <a:srgbClr val="6600CC"/>
              </a:buClr>
              <a:buFont typeface="Wingdings" panose="05000000000000000000" pitchFamily="2" charset="2"/>
              <a:buChar char="Ø"/>
              <a:defRPr/>
            </a:pPr>
            <a:r>
              <a:rPr lang="ar-SA" altLang="ar-SA" sz="2400" b="1" kern="0" dirty="0">
                <a:solidFill>
                  <a:srgbClr val="422C16"/>
                </a:solidFill>
                <a:latin typeface="Sakkal Majalla" panose="02000000000000000000" pitchFamily="2" charset="-78"/>
                <a:ea typeface="Calibri" pitchFamily="34" charset="0"/>
                <a:cs typeface="Sakkal Majalla" panose="02000000000000000000" pitchFamily="2" charset="-78"/>
                <a:sym typeface="Arial"/>
              </a:rPr>
              <a:t>الوزارة</a:t>
            </a:r>
          </a:p>
          <a:p>
            <a:pPr marL="380990" indent="-380990" defTabSz="1219170" eaLnBrk="1" fontAlgn="base" hangingPunct="1">
              <a:spcBef>
                <a:spcPct val="0"/>
              </a:spcBef>
              <a:spcAft>
                <a:spcPct val="0"/>
              </a:spcAft>
              <a:buClr>
                <a:srgbClr val="6600CC"/>
              </a:buClr>
              <a:buFont typeface="Wingdings" panose="05000000000000000000" pitchFamily="2" charset="2"/>
              <a:buChar char="Ø"/>
              <a:defRPr/>
            </a:pPr>
            <a:r>
              <a:rPr lang="ar-SA" altLang="ar-SA" sz="2400" b="1" kern="0" dirty="0">
                <a:solidFill>
                  <a:srgbClr val="422C16"/>
                </a:solidFill>
                <a:latin typeface="Sakkal Majalla" panose="02000000000000000000" pitchFamily="2" charset="-78"/>
                <a:ea typeface="Calibri" pitchFamily="34" charset="0"/>
                <a:cs typeface="Sakkal Majalla" panose="02000000000000000000" pitchFamily="2" charset="-78"/>
                <a:sym typeface="Arial"/>
              </a:rPr>
              <a:t>الإدارة التعليمية ومكاتب التعليم</a:t>
            </a:r>
          </a:p>
          <a:p>
            <a:pPr marL="380990" indent="-380990" defTabSz="1219170" eaLnBrk="1" fontAlgn="base" hangingPunct="1">
              <a:spcBef>
                <a:spcPct val="0"/>
              </a:spcBef>
              <a:spcAft>
                <a:spcPct val="0"/>
              </a:spcAft>
              <a:buClr>
                <a:srgbClr val="6600CC"/>
              </a:buClr>
              <a:buFont typeface="Wingdings" panose="05000000000000000000" pitchFamily="2" charset="2"/>
              <a:buChar char="Ø"/>
              <a:defRPr/>
            </a:pPr>
            <a:r>
              <a:rPr lang="ar-SA" altLang="ar-SA" sz="2400" b="1" kern="0" dirty="0">
                <a:solidFill>
                  <a:srgbClr val="422C16"/>
                </a:solidFill>
                <a:latin typeface="Sakkal Majalla" panose="02000000000000000000" pitchFamily="2" charset="-78"/>
                <a:ea typeface="Calibri" pitchFamily="34" charset="0"/>
                <a:cs typeface="Sakkal Majalla" panose="02000000000000000000" pitchFamily="2" charset="-78"/>
                <a:sym typeface="Arial"/>
              </a:rPr>
              <a:t>الأسرة</a:t>
            </a:r>
          </a:p>
          <a:p>
            <a:pPr marL="380990" indent="-380990" defTabSz="1219170" eaLnBrk="1" fontAlgn="base" hangingPunct="1">
              <a:spcBef>
                <a:spcPct val="0"/>
              </a:spcBef>
              <a:spcAft>
                <a:spcPct val="0"/>
              </a:spcAft>
              <a:buClr>
                <a:srgbClr val="6600CC"/>
              </a:buClr>
              <a:buFont typeface="Wingdings" panose="05000000000000000000" pitchFamily="2" charset="2"/>
              <a:buChar char="Ø"/>
              <a:defRPr/>
            </a:pPr>
            <a:r>
              <a:rPr lang="ar-SA" altLang="ar-SA" sz="2400" b="1" kern="0" dirty="0">
                <a:solidFill>
                  <a:srgbClr val="422C16"/>
                </a:solidFill>
                <a:latin typeface="Sakkal Majalla" panose="02000000000000000000" pitchFamily="2" charset="-78"/>
                <a:ea typeface="Calibri" pitchFamily="34" charset="0"/>
                <a:cs typeface="Sakkal Majalla" panose="02000000000000000000" pitchFamily="2" charset="-78"/>
                <a:sym typeface="Arial"/>
              </a:rPr>
              <a:t>المجتمع ( أفراد ومؤسسات)</a:t>
            </a:r>
          </a:p>
          <a:p>
            <a:pPr defTabSz="1219170" eaLnBrk="1" fontAlgn="base" hangingPunct="1">
              <a:spcBef>
                <a:spcPct val="0"/>
              </a:spcBef>
              <a:spcAft>
                <a:spcPct val="0"/>
              </a:spcAft>
              <a:defRPr/>
            </a:pPr>
            <a:endParaRPr lang="ar-SA" altLang="ar-SA" sz="2400" kern="0" dirty="0">
              <a:solidFill>
                <a:srgbClr val="000000"/>
              </a:solidFill>
              <a:latin typeface="Sakkal Majalla" panose="02000000000000000000" pitchFamily="2" charset="-78"/>
              <a:cs typeface="Sakkal Majalla" panose="02000000000000000000" pitchFamily="2" charset="-78"/>
              <a:sym typeface="Arial"/>
            </a:endParaRPr>
          </a:p>
        </p:txBody>
      </p:sp>
      <p:sp>
        <p:nvSpPr>
          <p:cNvPr id="7" name="مستطيل 6">
            <a:extLst>
              <a:ext uri="{FF2B5EF4-FFF2-40B4-BE49-F238E27FC236}">
                <a16:creationId xmlns:a16="http://schemas.microsoft.com/office/drawing/2014/main" id="{4CFA1D65-8EAD-C6B1-2086-DB7E53680769}"/>
              </a:ext>
            </a:extLst>
          </p:cNvPr>
          <p:cNvSpPr/>
          <p:nvPr/>
        </p:nvSpPr>
        <p:spPr>
          <a:xfrm>
            <a:off x="815414" y="3682189"/>
            <a:ext cx="10377849" cy="2554354"/>
          </a:xfrm>
          <a:prstGeom prst="rect">
            <a:avLst/>
          </a:prstGeom>
        </p:spPr>
        <p:txBody>
          <a:bodyPr wrap="square">
            <a:spAutoFit/>
          </a:bodyPr>
          <a:lstStyle/>
          <a:p>
            <a:pPr algn="justLow" defTabSz="1219170" fontAlgn="base">
              <a:spcBef>
                <a:spcPct val="0"/>
              </a:spcBef>
              <a:spcAft>
                <a:spcPct val="0"/>
              </a:spcAft>
            </a:pPr>
            <a:r>
              <a:rPr lang="ar-SA" altLang="ar-SA" sz="2667" b="1" dirty="0">
                <a:solidFill>
                  <a:srgbClr val="7030A0"/>
                </a:solidFill>
                <a:latin typeface="Sakkal Majalla" panose="02000000000000000000" pitchFamily="2" charset="-78"/>
                <a:ea typeface="Calibri" pitchFamily="34" charset="0"/>
                <a:cs typeface="Sakkal Majalla" panose="02000000000000000000" pitchFamily="2" charset="-78"/>
                <a:sym typeface="Arial"/>
              </a:rPr>
              <a:t>الحوكمة: </a:t>
            </a:r>
            <a:r>
              <a:rPr lang="ar-SA" altLang="ar-SA" sz="2400" dirty="0">
                <a:latin typeface="Sakkal Majalla" panose="02000000000000000000" pitchFamily="2" charset="-78"/>
                <a:ea typeface="Calibri" pitchFamily="34" charset="0"/>
                <a:cs typeface="Sakkal Majalla" panose="02000000000000000000" pitchFamily="2" charset="-78"/>
                <a:sym typeface="Arial"/>
              </a:rPr>
              <a:t>هي الإدارة الرشيدة التي تعمل على تحديد واضح للمهام والأدوار  والمسؤوليات للعناصر الداخلية عن مهام وأدوار ومسؤوليات العناصر الخارجية، وأن حصل التداخل سيُحدث خلل يعيق تقدم النظام المدرسي.</a:t>
            </a:r>
          </a:p>
          <a:p>
            <a:pPr algn="justLow" defTabSz="1198003" fontAlgn="base">
              <a:buClr>
                <a:srgbClr val="7030A0"/>
              </a:buClr>
              <a:buSzPct val="100000"/>
              <a:buFont typeface="Source Sans Pro"/>
              <a:buChar char="◉"/>
              <a:tabLst>
                <a:tab pos="243411" algn="l"/>
                <a:tab pos="476239" algn="l"/>
                <a:tab pos="719649" algn="l"/>
                <a:tab pos="952476" algn="l"/>
              </a:tabLst>
              <a:defRPr/>
            </a:pPr>
            <a:r>
              <a:rPr lang="ar-SA" sz="2133" kern="0" dirty="0">
                <a:solidFill>
                  <a:srgbClr val="663300"/>
                </a:solidFill>
                <a:latin typeface="Sakkal Majalla" panose="02000000000000000000" pitchFamily="2" charset="-78"/>
                <a:cs typeface="Sakkal Majalla" panose="02000000000000000000" pitchFamily="2" charset="-78"/>
                <a:sym typeface="Arial"/>
              </a:rPr>
              <a:t> </a:t>
            </a:r>
            <a:r>
              <a:rPr lang="ar-SA" sz="2133" kern="0" dirty="0">
                <a:solidFill>
                  <a:srgbClr val="380070"/>
                </a:solidFill>
                <a:latin typeface="Sakkal Majalla" panose="02000000000000000000" pitchFamily="2" charset="-78"/>
                <a:cs typeface="Sakkal Majalla" panose="02000000000000000000" pitchFamily="2" charset="-78"/>
                <a:sym typeface="Arial"/>
              </a:rPr>
              <a:t>في النظم التعليمية المتقدمة المهام والأدوار والمسؤوليات واضحة ولا يوجد تضارب وتداخل.</a:t>
            </a:r>
          </a:p>
          <a:p>
            <a:pPr algn="justLow" defTabSz="1198003" fontAlgn="base">
              <a:buClr>
                <a:srgbClr val="7030A0"/>
              </a:buClr>
              <a:buSzPct val="100000"/>
              <a:buFont typeface="Source Sans Pro"/>
              <a:buChar char="◉"/>
              <a:tabLst>
                <a:tab pos="243411" algn="l"/>
                <a:tab pos="476239" algn="l"/>
                <a:tab pos="719649" algn="l"/>
                <a:tab pos="952476" algn="l"/>
              </a:tabLst>
              <a:defRPr/>
            </a:pPr>
            <a:r>
              <a:rPr lang="ar-SA" sz="2133" kern="0" dirty="0">
                <a:solidFill>
                  <a:srgbClr val="380070"/>
                </a:solidFill>
                <a:latin typeface="Sakkal Majalla" panose="02000000000000000000" pitchFamily="2" charset="-78"/>
                <a:cs typeface="Sakkal Majalla" panose="02000000000000000000" pitchFamily="2" charset="-78"/>
                <a:sym typeface="Arial"/>
              </a:rPr>
              <a:t> التعقيدات منخفضة داخل النظام التعليمي.</a:t>
            </a:r>
          </a:p>
          <a:p>
            <a:pPr algn="justLow" defTabSz="1198003" fontAlgn="base">
              <a:buClr>
                <a:srgbClr val="7030A0"/>
              </a:buClr>
              <a:buSzPct val="100000"/>
              <a:buFont typeface="Source Sans Pro"/>
              <a:buChar char="◉"/>
              <a:tabLst>
                <a:tab pos="243411" algn="l"/>
                <a:tab pos="476239" algn="l"/>
                <a:tab pos="719649" algn="l"/>
                <a:tab pos="952476" algn="l"/>
              </a:tabLst>
              <a:defRPr/>
            </a:pPr>
            <a:r>
              <a:rPr lang="ar-SA" sz="2133" kern="0" dirty="0">
                <a:solidFill>
                  <a:srgbClr val="380070"/>
                </a:solidFill>
                <a:latin typeface="Sakkal Majalla" panose="02000000000000000000" pitchFamily="2" charset="-78"/>
                <a:cs typeface="Sakkal Majalla" panose="02000000000000000000" pitchFamily="2" charset="-78"/>
                <a:sym typeface="Arial"/>
              </a:rPr>
              <a:t> التركيز على المعايير والمحتوى وتعلم الطالب ( نظام التعليم البسيط ).</a:t>
            </a:r>
          </a:p>
          <a:p>
            <a:pPr algn="justLow" defTabSz="1198003" fontAlgn="base">
              <a:buClr>
                <a:srgbClr val="7030A0"/>
              </a:buClr>
              <a:buSzPct val="100000"/>
              <a:buFont typeface="Source Sans Pro"/>
              <a:buChar char="◉"/>
              <a:tabLst>
                <a:tab pos="243411" algn="l"/>
                <a:tab pos="476239" algn="l"/>
                <a:tab pos="719649" algn="l"/>
                <a:tab pos="952476" algn="l"/>
              </a:tabLst>
              <a:defRPr/>
            </a:pPr>
            <a:r>
              <a:rPr lang="ar-SA" sz="2133" kern="0" dirty="0">
                <a:solidFill>
                  <a:srgbClr val="380070"/>
                </a:solidFill>
                <a:latin typeface="Sakkal Majalla" panose="02000000000000000000" pitchFamily="2" charset="-78"/>
                <a:cs typeface="Sakkal Majalla" panose="02000000000000000000" pitchFamily="2" charset="-78"/>
                <a:sym typeface="Arial"/>
              </a:rPr>
              <a:t> لا يوجد تشتيت للمدرسة فأهدافها واضحة </a:t>
            </a:r>
            <a:r>
              <a:rPr lang="ar-SA" sz="2400" kern="0" dirty="0">
                <a:solidFill>
                  <a:srgbClr val="380070"/>
                </a:solidFill>
                <a:latin typeface="Sakkal Majalla" panose="02000000000000000000" pitchFamily="2" charset="-78"/>
                <a:cs typeface="Sakkal Majalla" panose="02000000000000000000" pitchFamily="2" charset="-78"/>
                <a:sym typeface="Arial"/>
              </a:rPr>
              <a:t>ومعايير الأداء المدرسي محددة</a:t>
            </a:r>
            <a:r>
              <a:rPr lang="ar-SA" sz="2133" kern="0" dirty="0">
                <a:solidFill>
                  <a:srgbClr val="380070"/>
                </a:solidFill>
                <a:latin typeface="Sakkal Majalla" panose="02000000000000000000" pitchFamily="2" charset="-78"/>
                <a:cs typeface="Sakkal Majalla" panose="02000000000000000000" pitchFamily="2" charset="-78"/>
                <a:sym typeface="Arial"/>
              </a:rPr>
              <a:t>.</a:t>
            </a:r>
          </a:p>
          <a:p>
            <a:pPr algn="justLow" defTabSz="1198003" fontAlgn="base">
              <a:buClr>
                <a:srgbClr val="7030A0"/>
              </a:buClr>
              <a:buSzPct val="100000"/>
              <a:buFont typeface="Source Sans Pro"/>
              <a:buChar char="◉"/>
              <a:tabLst>
                <a:tab pos="243411" algn="l"/>
                <a:tab pos="476239" algn="l"/>
                <a:tab pos="719649" algn="l"/>
                <a:tab pos="952476" algn="l"/>
              </a:tabLst>
              <a:defRPr/>
            </a:pPr>
            <a:r>
              <a:rPr lang="ar-SA" sz="2133" kern="0" dirty="0">
                <a:solidFill>
                  <a:srgbClr val="380070"/>
                </a:solidFill>
                <a:latin typeface="Sakkal Majalla" panose="02000000000000000000" pitchFamily="2" charset="-78"/>
                <a:cs typeface="Sakkal Majalla" panose="02000000000000000000" pitchFamily="2" charset="-78"/>
                <a:sym typeface="Arial"/>
              </a:rPr>
              <a:t> لا يمكن إدخال مهام بسهولة على المدرسة من خارجها ( حماية قلب المدرسة ( التدريس والتعلم) ).</a:t>
            </a:r>
          </a:p>
        </p:txBody>
      </p:sp>
      <p:sp>
        <p:nvSpPr>
          <p:cNvPr id="8" name="مستطيل 7">
            <a:extLst>
              <a:ext uri="{FF2B5EF4-FFF2-40B4-BE49-F238E27FC236}">
                <a16:creationId xmlns:a16="http://schemas.microsoft.com/office/drawing/2014/main" id="{0F372F89-D072-89FC-7AD9-A79B057502C7}"/>
              </a:ext>
            </a:extLst>
          </p:cNvPr>
          <p:cNvSpPr/>
          <p:nvPr/>
        </p:nvSpPr>
        <p:spPr>
          <a:xfrm>
            <a:off x="3847957" y="132024"/>
            <a:ext cx="4984057" cy="461665"/>
          </a:xfrm>
          <a:prstGeom prst="rect">
            <a:avLst/>
          </a:prstGeom>
        </p:spPr>
        <p:txBody>
          <a:bodyPr wrap="none">
            <a:spAutoFit/>
          </a:bodyPr>
          <a:lstStyle/>
          <a:p>
            <a:pPr defTabSz="1219170" fontAlgn="base">
              <a:spcBef>
                <a:spcPct val="0"/>
              </a:spcBef>
              <a:spcAft>
                <a:spcPct val="0"/>
              </a:spcAft>
            </a:pPr>
            <a:r>
              <a:rPr lang="ar-SA" sz="2400" b="1" dirty="0">
                <a:solidFill>
                  <a:srgbClr val="000000"/>
                </a:solidFill>
                <a:latin typeface="Sakkal Majalla" panose="02000000000000000000" pitchFamily="2" charset="-78"/>
                <a:cs typeface="Sakkal Majalla" panose="02000000000000000000" pitchFamily="2" charset="-78"/>
                <a:sym typeface="Arial"/>
              </a:rPr>
              <a:t>المدرسة تعمل عندما تكون في حالة عالية من الاستقرار </a:t>
            </a:r>
          </a:p>
        </p:txBody>
      </p:sp>
    </p:spTree>
    <p:extLst>
      <p:ext uri="{BB962C8B-B14F-4D97-AF65-F5344CB8AC3E}">
        <p14:creationId xmlns:p14="http://schemas.microsoft.com/office/powerpoint/2010/main" val="28575262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7"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anim calcmode="lin" valueType="num">
                                      <p:cBhvr>
                                        <p:cTn id="8" dur="1000" fill="hold"/>
                                        <p:tgtEl>
                                          <p:spTgt spid="8"/>
                                        </p:tgtEl>
                                        <p:attrNameLst>
                                          <p:attrName>ppt_x</p:attrName>
                                        </p:attrNameLst>
                                      </p:cBhvr>
                                      <p:tavLst>
                                        <p:tav tm="0">
                                          <p:val>
                                            <p:strVal val="#ppt_x"/>
                                          </p:val>
                                        </p:tav>
                                        <p:tav tm="100000">
                                          <p:val>
                                            <p:strVal val="#ppt_x"/>
                                          </p:val>
                                        </p:tav>
                                      </p:tavLst>
                                    </p:anim>
                                    <p:anim calcmode="lin" valueType="num">
                                      <p:cBhvr>
                                        <p:cTn id="9" dur="10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2" presetClass="entr" presetSubtype="2" fill="hold" grpId="0" nodeType="clickEffect">
                                  <p:stCondLst>
                                    <p:cond delay="0"/>
                                  </p:stCondLst>
                                  <p:childTnLst>
                                    <p:set>
                                      <p:cBhvr>
                                        <p:cTn id="13" dur="1" fill="hold">
                                          <p:stCondLst>
                                            <p:cond delay="0"/>
                                          </p:stCondLst>
                                        </p:cTn>
                                        <p:tgtEl>
                                          <p:spTgt spid="5"/>
                                        </p:tgtEl>
                                        <p:attrNameLst>
                                          <p:attrName>style.visibility</p:attrName>
                                        </p:attrNameLst>
                                      </p:cBhvr>
                                      <p:to>
                                        <p:strVal val="visible"/>
                                      </p:to>
                                    </p:set>
                                    <p:anim calcmode="lin" valueType="num">
                                      <p:cBhvr additive="base">
                                        <p:cTn id="14" dur="2500" fill="hold"/>
                                        <p:tgtEl>
                                          <p:spTgt spid="5"/>
                                        </p:tgtEl>
                                        <p:attrNameLst>
                                          <p:attrName>ppt_x</p:attrName>
                                        </p:attrNameLst>
                                      </p:cBhvr>
                                      <p:tavLst>
                                        <p:tav tm="0">
                                          <p:val>
                                            <p:strVal val="1+#ppt_w/2"/>
                                          </p:val>
                                        </p:tav>
                                        <p:tav tm="100000">
                                          <p:val>
                                            <p:strVal val="#ppt_x"/>
                                          </p:val>
                                        </p:tav>
                                      </p:tavLst>
                                    </p:anim>
                                    <p:anim calcmode="lin" valueType="num">
                                      <p:cBhvr additive="base">
                                        <p:cTn id="15" dur="2500" fill="hold"/>
                                        <p:tgtEl>
                                          <p:spTgt spid="5"/>
                                        </p:tgtEl>
                                        <p:attrNameLst>
                                          <p:attrName>ppt_y</p:attrName>
                                        </p:attrNameLst>
                                      </p:cBhvr>
                                      <p:tavLst>
                                        <p:tav tm="0">
                                          <p:val>
                                            <p:strVal val="#ppt_y"/>
                                          </p:val>
                                        </p:tav>
                                        <p:tav tm="100000">
                                          <p:val>
                                            <p:strVal val="#ppt_y"/>
                                          </p:val>
                                        </p:tav>
                                      </p:tavLst>
                                    </p:anim>
                                  </p:childTnLst>
                                </p:cTn>
                              </p:par>
                            </p:childTnLst>
                          </p:cTn>
                        </p:par>
                      </p:childTnLst>
                    </p:cTn>
                  </p:par>
                  <p:par>
                    <p:cTn id="16" fill="hold">
                      <p:stCondLst>
                        <p:cond delay="indefinite"/>
                      </p:stCondLst>
                      <p:childTnLst>
                        <p:par>
                          <p:cTn id="17" fill="hold">
                            <p:stCondLst>
                              <p:cond delay="0"/>
                            </p:stCondLst>
                            <p:childTnLst>
                              <p:par>
                                <p:cTn id="18" presetID="2" presetClass="entr" presetSubtype="8" fill="hold" grpId="0" nodeType="clickEffect">
                                  <p:stCondLst>
                                    <p:cond delay="0"/>
                                  </p:stCondLst>
                                  <p:childTnLst>
                                    <p:set>
                                      <p:cBhvr>
                                        <p:cTn id="19" dur="1" fill="hold">
                                          <p:stCondLst>
                                            <p:cond delay="0"/>
                                          </p:stCondLst>
                                        </p:cTn>
                                        <p:tgtEl>
                                          <p:spTgt spid="6"/>
                                        </p:tgtEl>
                                        <p:attrNameLst>
                                          <p:attrName>style.visibility</p:attrName>
                                        </p:attrNameLst>
                                      </p:cBhvr>
                                      <p:to>
                                        <p:strVal val="visible"/>
                                      </p:to>
                                    </p:set>
                                    <p:anim calcmode="lin" valueType="num">
                                      <p:cBhvr additive="base">
                                        <p:cTn id="20" dur="2250" fill="hold"/>
                                        <p:tgtEl>
                                          <p:spTgt spid="6"/>
                                        </p:tgtEl>
                                        <p:attrNameLst>
                                          <p:attrName>ppt_x</p:attrName>
                                        </p:attrNameLst>
                                      </p:cBhvr>
                                      <p:tavLst>
                                        <p:tav tm="0">
                                          <p:val>
                                            <p:strVal val="0-#ppt_w/2"/>
                                          </p:val>
                                        </p:tav>
                                        <p:tav tm="100000">
                                          <p:val>
                                            <p:strVal val="#ppt_x"/>
                                          </p:val>
                                        </p:tav>
                                      </p:tavLst>
                                    </p:anim>
                                    <p:anim calcmode="lin" valueType="num">
                                      <p:cBhvr additive="base">
                                        <p:cTn id="21" dur="2250" fill="hold"/>
                                        <p:tgtEl>
                                          <p:spTgt spid="6"/>
                                        </p:tgtEl>
                                        <p:attrNameLst>
                                          <p:attrName>ppt_y</p:attrName>
                                        </p:attrNameLst>
                                      </p:cBhvr>
                                      <p:tavLst>
                                        <p:tav tm="0">
                                          <p:val>
                                            <p:strVal val="#ppt_y"/>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31" presetClass="entr" presetSubtype="0" fill="hold" nodeType="clickEffect">
                                  <p:stCondLst>
                                    <p:cond delay="0"/>
                                  </p:stCondLst>
                                  <p:childTnLst>
                                    <p:set>
                                      <p:cBhvr>
                                        <p:cTn id="25" dur="1" fill="hold">
                                          <p:stCondLst>
                                            <p:cond delay="0"/>
                                          </p:stCondLst>
                                        </p:cTn>
                                        <p:tgtEl>
                                          <p:spTgt spid="4"/>
                                        </p:tgtEl>
                                        <p:attrNameLst>
                                          <p:attrName>style.visibility</p:attrName>
                                        </p:attrNameLst>
                                      </p:cBhvr>
                                      <p:to>
                                        <p:strVal val="visible"/>
                                      </p:to>
                                    </p:set>
                                    <p:anim calcmode="lin" valueType="num">
                                      <p:cBhvr>
                                        <p:cTn id="26" dur="1000" fill="hold"/>
                                        <p:tgtEl>
                                          <p:spTgt spid="4"/>
                                        </p:tgtEl>
                                        <p:attrNameLst>
                                          <p:attrName>ppt_w</p:attrName>
                                        </p:attrNameLst>
                                      </p:cBhvr>
                                      <p:tavLst>
                                        <p:tav tm="0">
                                          <p:val>
                                            <p:fltVal val="0"/>
                                          </p:val>
                                        </p:tav>
                                        <p:tav tm="100000">
                                          <p:val>
                                            <p:strVal val="#ppt_w"/>
                                          </p:val>
                                        </p:tav>
                                      </p:tavLst>
                                    </p:anim>
                                    <p:anim calcmode="lin" valueType="num">
                                      <p:cBhvr>
                                        <p:cTn id="27" dur="1000" fill="hold"/>
                                        <p:tgtEl>
                                          <p:spTgt spid="4"/>
                                        </p:tgtEl>
                                        <p:attrNameLst>
                                          <p:attrName>ppt_h</p:attrName>
                                        </p:attrNameLst>
                                      </p:cBhvr>
                                      <p:tavLst>
                                        <p:tav tm="0">
                                          <p:val>
                                            <p:fltVal val="0"/>
                                          </p:val>
                                        </p:tav>
                                        <p:tav tm="100000">
                                          <p:val>
                                            <p:strVal val="#ppt_h"/>
                                          </p:val>
                                        </p:tav>
                                      </p:tavLst>
                                    </p:anim>
                                    <p:anim calcmode="lin" valueType="num">
                                      <p:cBhvr>
                                        <p:cTn id="28" dur="1000" fill="hold"/>
                                        <p:tgtEl>
                                          <p:spTgt spid="4"/>
                                        </p:tgtEl>
                                        <p:attrNameLst>
                                          <p:attrName>style.rotation</p:attrName>
                                        </p:attrNameLst>
                                      </p:cBhvr>
                                      <p:tavLst>
                                        <p:tav tm="0">
                                          <p:val>
                                            <p:fltVal val="90"/>
                                          </p:val>
                                        </p:tav>
                                        <p:tav tm="100000">
                                          <p:val>
                                            <p:fltVal val="0"/>
                                          </p:val>
                                        </p:tav>
                                      </p:tavLst>
                                    </p:anim>
                                    <p:animEffect transition="in" filter="fade">
                                      <p:cBhvr>
                                        <p:cTn id="29" dur="1000"/>
                                        <p:tgtEl>
                                          <p:spTgt spid="4"/>
                                        </p:tgtEl>
                                      </p:cBhvr>
                                    </p:animEffect>
                                  </p:childTnLst>
                                </p:cTn>
                              </p:par>
                            </p:childTnLst>
                          </p:cTn>
                        </p:par>
                      </p:childTnLst>
                    </p:cTn>
                  </p:par>
                  <p:par>
                    <p:cTn id="30" fill="hold">
                      <p:stCondLst>
                        <p:cond delay="indefinite"/>
                      </p:stCondLst>
                      <p:childTnLst>
                        <p:par>
                          <p:cTn id="31" fill="hold">
                            <p:stCondLst>
                              <p:cond delay="0"/>
                            </p:stCondLst>
                            <p:childTnLst>
                              <p:par>
                                <p:cTn id="32" presetID="47" presetClass="entr" presetSubtype="0" fill="hold" nodeType="clickEffect">
                                  <p:stCondLst>
                                    <p:cond delay="0"/>
                                  </p:stCondLst>
                                  <p:childTnLst>
                                    <p:set>
                                      <p:cBhvr>
                                        <p:cTn id="33" dur="1" fill="hold">
                                          <p:stCondLst>
                                            <p:cond delay="0"/>
                                          </p:stCondLst>
                                        </p:cTn>
                                        <p:tgtEl>
                                          <p:spTgt spid="7">
                                            <p:txEl>
                                              <p:pRg st="0" end="0"/>
                                            </p:txEl>
                                          </p:spTgt>
                                        </p:tgtEl>
                                        <p:attrNameLst>
                                          <p:attrName>style.visibility</p:attrName>
                                        </p:attrNameLst>
                                      </p:cBhvr>
                                      <p:to>
                                        <p:strVal val="visible"/>
                                      </p:to>
                                    </p:set>
                                    <p:animEffect transition="in" filter="fade">
                                      <p:cBhvr>
                                        <p:cTn id="34" dur="1000"/>
                                        <p:tgtEl>
                                          <p:spTgt spid="7">
                                            <p:txEl>
                                              <p:pRg st="0" end="0"/>
                                            </p:txEl>
                                          </p:spTgt>
                                        </p:tgtEl>
                                      </p:cBhvr>
                                    </p:animEffect>
                                    <p:anim calcmode="lin" valueType="num">
                                      <p:cBhvr>
                                        <p:cTn id="35" dur="1000" fill="hold"/>
                                        <p:tgtEl>
                                          <p:spTgt spid="7">
                                            <p:txEl>
                                              <p:pRg st="0" end="0"/>
                                            </p:txEl>
                                          </p:spTgt>
                                        </p:tgtEl>
                                        <p:attrNameLst>
                                          <p:attrName>ppt_x</p:attrName>
                                        </p:attrNameLst>
                                      </p:cBhvr>
                                      <p:tavLst>
                                        <p:tav tm="0">
                                          <p:val>
                                            <p:strVal val="#ppt_x"/>
                                          </p:val>
                                        </p:tav>
                                        <p:tav tm="100000">
                                          <p:val>
                                            <p:strVal val="#ppt_x"/>
                                          </p:val>
                                        </p:tav>
                                      </p:tavLst>
                                    </p:anim>
                                    <p:anim calcmode="lin" valueType="num">
                                      <p:cBhvr>
                                        <p:cTn id="36" dur="1000" fill="hold"/>
                                        <p:tgtEl>
                                          <p:spTgt spid="7">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47" presetClass="entr" presetSubtype="0" fill="hold" nodeType="clickEffect">
                                  <p:stCondLst>
                                    <p:cond delay="0"/>
                                  </p:stCondLst>
                                  <p:childTnLst>
                                    <p:set>
                                      <p:cBhvr>
                                        <p:cTn id="40" dur="1" fill="hold">
                                          <p:stCondLst>
                                            <p:cond delay="0"/>
                                          </p:stCondLst>
                                        </p:cTn>
                                        <p:tgtEl>
                                          <p:spTgt spid="7">
                                            <p:txEl>
                                              <p:pRg st="1" end="1"/>
                                            </p:txEl>
                                          </p:spTgt>
                                        </p:tgtEl>
                                        <p:attrNameLst>
                                          <p:attrName>style.visibility</p:attrName>
                                        </p:attrNameLst>
                                      </p:cBhvr>
                                      <p:to>
                                        <p:strVal val="visible"/>
                                      </p:to>
                                    </p:set>
                                    <p:animEffect transition="in" filter="fade">
                                      <p:cBhvr>
                                        <p:cTn id="41" dur="1000"/>
                                        <p:tgtEl>
                                          <p:spTgt spid="7">
                                            <p:txEl>
                                              <p:pRg st="1" end="1"/>
                                            </p:txEl>
                                          </p:spTgt>
                                        </p:tgtEl>
                                      </p:cBhvr>
                                    </p:animEffect>
                                    <p:anim calcmode="lin" valueType="num">
                                      <p:cBhvr>
                                        <p:cTn id="42" dur="1000" fill="hold"/>
                                        <p:tgtEl>
                                          <p:spTgt spid="7">
                                            <p:txEl>
                                              <p:pRg st="1" end="1"/>
                                            </p:txEl>
                                          </p:spTgt>
                                        </p:tgtEl>
                                        <p:attrNameLst>
                                          <p:attrName>ppt_x</p:attrName>
                                        </p:attrNameLst>
                                      </p:cBhvr>
                                      <p:tavLst>
                                        <p:tav tm="0">
                                          <p:val>
                                            <p:strVal val="#ppt_x"/>
                                          </p:val>
                                        </p:tav>
                                        <p:tav tm="100000">
                                          <p:val>
                                            <p:strVal val="#ppt_x"/>
                                          </p:val>
                                        </p:tav>
                                      </p:tavLst>
                                    </p:anim>
                                    <p:anim calcmode="lin" valueType="num">
                                      <p:cBhvr>
                                        <p:cTn id="43" dur="1000" fill="hold"/>
                                        <p:tgtEl>
                                          <p:spTgt spid="7">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44" fill="hold">
                      <p:stCondLst>
                        <p:cond delay="indefinite"/>
                      </p:stCondLst>
                      <p:childTnLst>
                        <p:par>
                          <p:cTn id="45" fill="hold">
                            <p:stCondLst>
                              <p:cond delay="0"/>
                            </p:stCondLst>
                            <p:childTnLst>
                              <p:par>
                                <p:cTn id="46" presetID="47" presetClass="entr" presetSubtype="0" fill="hold" nodeType="clickEffect">
                                  <p:stCondLst>
                                    <p:cond delay="0"/>
                                  </p:stCondLst>
                                  <p:childTnLst>
                                    <p:set>
                                      <p:cBhvr>
                                        <p:cTn id="47" dur="1" fill="hold">
                                          <p:stCondLst>
                                            <p:cond delay="0"/>
                                          </p:stCondLst>
                                        </p:cTn>
                                        <p:tgtEl>
                                          <p:spTgt spid="7">
                                            <p:txEl>
                                              <p:pRg st="2" end="2"/>
                                            </p:txEl>
                                          </p:spTgt>
                                        </p:tgtEl>
                                        <p:attrNameLst>
                                          <p:attrName>style.visibility</p:attrName>
                                        </p:attrNameLst>
                                      </p:cBhvr>
                                      <p:to>
                                        <p:strVal val="visible"/>
                                      </p:to>
                                    </p:set>
                                    <p:animEffect transition="in" filter="fade">
                                      <p:cBhvr>
                                        <p:cTn id="48" dur="1000"/>
                                        <p:tgtEl>
                                          <p:spTgt spid="7">
                                            <p:txEl>
                                              <p:pRg st="2" end="2"/>
                                            </p:txEl>
                                          </p:spTgt>
                                        </p:tgtEl>
                                      </p:cBhvr>
                                    </p:animEffect>
                                    <p:anim calcmode="lin" valueType="num">
                                      <p:cBhvr>
                                        <p:cTn id="49" dur="1000" fill="hold"/>
                                        <p:tgtEl>
                                          <p:spTgt spid="7">
                                            <p:txEl>
                                              <p:pRg st="2" end="2"/>
                                            </p:txEl>
                                          </p:spTgt>
                                        </p:tgtEl>
                                        <p:attrNameLst>
                                          <p:attrName>ppt_x</p:attrName>
                                        </p:attrNameLst>
                                      </p:cBhvr>
                                      <p:tavLst>
                                        <p:tav tm="0">
                                          <p:val>
                                            <p:strVal val="#ppt_x"/>
                                          </p:val>
                                        </p:tav>
                                        <p:tav tm="100000">
                                          <p:val>
                                            <p:strVal val="#ppt_x"/>
                                          </p:val>
                                        </p:tav>
                                      </p:tavLst>
                                    </p:anim>
                                    <p:anim calcmode="lin" valueType="num">
                                      <p:cBhvr>
                                        <p:cTn id="50" dur="1000" fill="hold"/>
                                        <p:tgtEl>
                                          <p:spTgt spid="7">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47" presetClass="entr" presetSubtype="0" fill="hold" nodeType="clickEffect">
                                  <p:stCondLst>
                                    <p:cond delay="0"/>
                                  </p:stCondLst>
                                  <p:childTnLst>
                                    <p:set>
                                      <p:cBhvr>
                                        <p:cTn id="54" dur="1" fill="hold">
                                          <p:stCondLst>
                                            <p:cond delay="0"/>
                                          </p:stCondLst>
                                        </p:cTn>
                                        <p:tgtEl>
                                          <p:spTgt spid="7">
                                            <p:txEl>
                                              <p:pRg st="3" end="3"/>
                                            </p:txEl>
                                          </p:spTgt>
                                        </p:tgtEl>
                                        <p:attrNameLst>
                                          <p:attrName>style.visibility</p:attrName>
                                        </p:attrNameLst>
                                      </p:cBhvr>
                                      <p:to>
                                        <p:strVal val="visible"/>
                                      </p:to>
                                    </p:set>
                                    <p:animEffect transition="in" filter="fade">
                                      <p:cBhvr>
                                        <p:cTn id="55" dur="1000"/>
                                        <p:tgtEl>
                                          <p:spTgt spid="7">
                                            <p:txEl>
                                              <p:pRg st="3" end="3"/>
                                            </p:txEl>
                                          </p:spTgt>
                                        </p:tgtEl>
                                      </p:cBhvr>
                                    </p:animEffect>
                                    <p:anim calcmode="lin" valueType="num">
                                      <p:cBhvr>
                                        <p:cTn id="56" dur="1000" fill="hold"/>
                                        <p:tgtEl>
                                          <p:spTgt spid="7">
                                            <p:txEl>
                                              <p:pRg st="3" end="3"/>
                                            </p:txEl>
                                          </p:spTgt>
                                        </p:tgtEl>
                                        <p:attrNameLst>
                                          <p:attrName>ppt_x</p:attrName>
                                        </p:attrNameLst>
                                      </p:cBhvr>
                                      <p:tavLst>
                                        <p:tav tm="0">
                                          <p:val>
                                            <p:strVal val="#ppt_x"/>
                                          </p:val>
                                        </p:tav>
                                        <p:tav tm="100000">
                                          <p:val>
                                            <p:strVal val="#ppt_x"/>
                                          </p:val>
                                        </p:tav>
                                      </p:tavLst>
                                    </p:anim>
                                    <p:anim calcmode="lin" valueType="num">
                                      <p:cBhvr>
                                        <p:cTn id="57" dur="1000" fill="hold"/>
                                        <p:tgtEl>
                                          <p:spTgt spid="7">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58" fill="hold">
                      <p:stCondLst>
                        <p:cond delay="indefinite"/>
                      </p:stCondLst>
                      <p:childTnLst>
                        <p:par>
                          <p:cTn id="59" fill="hold">
                            <p:stCondLst>
                              <p:cond delay="0"/>
                            </p:stCondLst>
                            <p:childTnLst>
                              <p:par>
                                <p:cTn id="60" presetID="47" presetClass="entr" presetSubtype="0" fill="hold" nodeType="clickEffect">
                                  <p:stCondLst>
                                    <p:cond delay="0"/>
                                  </p:stCondLst>
                                  <p:childTnLst>
                                    <p:set>
                                      <p:cBhvr>
                                        <p:cTn id="61" dur="1" fill="hold">
                                          <p:stCondLst>
                                            <p:cond delay="0"/>
                                          </p:stCondLst>
                                        </p:cTn>
                                        <p:tgtEl>
                                          <p:spTgt spid="7">
                                            <p:txEl>
                                              <p:pRg st="4" end="4"/>
                                            </p:txEl>
                                          </p:spTgt>
                                        </p:tgtEl>
                                        <p:attrNameLst>
                                          <p:attrName>style.visibility</p:attrName>
                                        </p:attrNameLst>
                                      </p:cBhvr>
                                      <p:to>
                                        <p:strVal val="visible"/>
                                      </p:to>
                                    </p:set>
                                    <p:animEffect transition="in" filter="fade">
                                      <p:cBhvr>
                                        <p:cTn id="62" dur="1000"/>
                                        <p:tgtEl>
                                          <p:spTgt spid="7">
                                            <p:txEl>
                                              <p:pRg st="4" end="4"/>
                                            </p:txEl>
                                          </p:spTgt>
                                        </p:tgtEl>
                                      </p:cBhvr>
                                    </p:animEffect>
                                    <p:anim calcmode="lin" valueType="num">
                                      <p:cBhvr>
                                        <p:cTn id="63" dur="1000" fill="hold"/>
                                        <p:tgtEl>
                                          <p:spTgt spid="7">
                                            <p:txEl>
                                              <p:pRg st="4" end="4"/>
                                            </p:txEl>
                                          </p:spTgt>
                                        </p:tgtEl>
                                        <p:attrNameLst>
                                          <p:attrName>ppt_x</p:attrName>
                                        </p:attrNameLst>
                                      </p:cBhvr>
                                      <p:tavLst>
                                        <p:tav tm="0">
                                          <p:val>
                                            <p:strVal val="#ppt_x"/>
                                          </p:val>
                                        </p:tav>
                                        <p:tav tm="100000">
                                          <p:val>
                                            <p:strVal val="#ppt_x"/>
                                          </p:val>
                                        </p:tav>
                                      </p:tavLst>
                                    </p:anim>
                                    <p:anim calcmode="lin" valueType="num">
                                      <p:cBhvr>
                                        <p:cTn id="64" dur="1000" fill="hold"/>
                                        <p:tgtEl>
                                          <p:spTgt spid="7">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65" fill="hold">
                      <p:stCondLst>
                        <p:cond delay="indefinite"/>
                      </p:stCondLst>
                      <p:childTnLst>
                        <p:par>
                          <p:cTn id="66" fill="hold">
                            <p:stCondLst>
                              <p:cond delay="0"/>
                            </p:stCondLst>
                            <p:childTnLst>
                              <p:par>
                                <p:cTn id="67" presetID="47" presetClass="entr" presetSubtype="0" fill="hold" nodeType="clickEffect">
                                  <p:stCondLst>
                                    <p:cond delay="0"/>
                                  </p:stCondLst>
                                  <p:childTnLst>
                                    <p:set>
                                      <p:cBhvr>
                                        <p:cTn id="68" dur="1" fill="hold">
                                          <p:stCondLst>
                                            <p:cond delay="0"/>
                                          </p:stCondLst>
                                        </p:cTn>
                                        <p:tgtEl>
                                          <p:spTgt spid="7">
                                            <p:txEl>
                                              <p:pRg st="5" end="5"/>
                                            </p:txEl>
                                          </p:spTgt>
                                        </p:tgtEl>
                                        <p:attrNameLst>
                                          <p:attrName>style.visibility</p:attrName>
                                        </p:attrNameLst>
                                      </p:cBhvr>
                                      <p:to>
                                        <p:strVal val="visible"/>
                                      </p:to>
                                    </p:set>
                                    <p:animEffect transition="in" filter="fade">
                                      <p:cBhvr>
                                        <p:cTn id="69" dur="1000"/>
                                        <p:tgtEl>
                                          <p:spTgt spid="7">
                                            <p:txEl>
                                              <p:pRg st="5" end="5"/>
                                            </p:txEl>
                                          </p:spTgt>
                                        </p:tgtEl>
                                      </p:cBhvr>
                                    </p:animEffect>
                                    <p:anim calcmode="lin" valueType="num">
                                      <p:cBhvr>
                                        <p:cTn id="70" dur="1000" fill="hold"/>
                                        <p:tgtEl>
                                          <p:spTgt spid="7">
                                            <p:txEl>
                                              <p:pRg st="5" end="5"/>
                                            </p:txEl>
                                          </p:spTgt>
                                        </p:tgtEl>
                                        <p:attrNameLst>
                                          <p:attrName>ppt_x</p:attrName>
                                        </p:attrNameLst>
                                      </p:cBhvr>
                                      <p:tavLst>
                                        <p:tav tm="0">
                                          <p:val>
                                            <p:strVal val="#ppt_x"/>
                                          </p:val>
                                        </p:tav>
                                        <p:tav tm="100000">
                                          <p:val>
                                            <p:strVal val="#ppt_x"/>
                                          </p:val>
                                        </p:tav>
                                      </p:tavLst>
                                    </p:anim>
                                    <p:anim calcmode="lin" valueType="num">
                                      <p:cBhvr>
                                        <p:cTn id="71" dur="1000" fill="hold"/>
                                        <p:tgtEl>
                                          <p:spTgt spid="7">
                                            <p:txEl>
                                              <p:pRg st="5" end="5"/>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8"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صورة 1">
            <a:extLst>
              <a:ext uri="{FF2B5EF4-FFF2-40B4-BE49-F238E27FC236}">
                <a16:creationId xmlns:a16="http://schemas.microsoft.com/office/drawing/2014/main" id="{67A831CC-8500-9D3B-1FCD-CE4E25311870}"/>
              </a:ext>
            </a:extLst>
          </p:cNvPr>
          <p:cNvPicPr>
            <a:picLocks noChangeAspect="1"/>
          </p:cNvPicPr>
          <p:nvPr/>
        </p:nvPicPr>
        <p:blipFill>
          <a:blip r:embed="rId2"/>
          <a:stretch>
            <a:fillRect/>
          </a:stretch>
        </p:blipFill>
        <p:spPr>
          <a:xfrm>
            <a:off x="8148320" y="93980"/>
            <a:ext cx="3940640" cy="1206501"/>
          </a:xfrm>
          <a:prstGeom prst="rect">
            <a:avLst/>
          </a:prstGeom>
        </p:spPr>
      </p:pic>
      <p:pic>
        <p:nvPicPr>
          <p:cNvPr id="4" name="صورة 3">
            <a:extLst>
              <a:ext uri="{FF2B5EF4-FFF2-40B4-BE49-F238E27FC236}">
                <a16:creationId xmlns:a16="http://schemas.microsoft.com/office/drawing/2014/main" id="{5E95C4A2-C190-D752-325F-F4CCBDC1A72E}"/>
              </a:ext>
            </a:extLst>
          </p:cNvPr>
          <p:cNvPicPr>
            <a:picLocks noChangeAspect="1"/>
          </p:cNvPicPr>
          <p:nvPr/>
        </p:nvPicPr>
        <p:blipFill>
          <a:blip r:embed="rId3"/>
          <a:stretch>
            <a:fillRect/>
          </a:stretch>
        </p:blipFill>
        <p:spPr>
          <a:xfrm>
            <a:off x="103040" y="1300481"/>
            <a:ext cx="11985919" cy="5463540"/>
          </a:xfrm>
          <a:prstGeom prst="rect">
            <a:avLst/>
          </a:prstGeom>
        </p:spPr>
      </p:pic>
    </p:spTree>
    <p:extLst>
      <p:ext uri="{BB962C8B-B14F-4D97-AF65-F5344CB8AC3E}">
        <p14:creationId xmlns:p14="http://schemas.microsoft.com/office/powerpoint/2010/main" val="28315711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صورة 2">
            <a:extLst>
              <a:ext uri="{FF2B5EF4-FFF2-40B4-BE49-F238E27FC236}">
                <a16:creationId xmlns:a16="http://schemas.microsoft.com/office/drawing/2014/main" id="{06EEAF72-A136-4104-943F-B0C934DC9C59}"/>
              </a:ext>
            </a:extLst>
          </p:cNvPr>
          <p:cNvPicPr>
            <a:picLocks noChangeAspect="1"/>
          </p:cNvPicPr>
          <p:nvPr/>
        </p:nvPicPr>
        <p:blipFill>
          <a:blip r:embed="rId2"/>
          <a:stretch>
            <a:fillRect/>
          </a:stretch>
        </p:blipFill>
        <p:spPr>
          <a:xfrm>
            <a:off x="9499600" y="111760"/>
            <a:ext cx="2560320" cy="1036320"/>
          </a:xfrm>
          <a:prstGeom prst="rect">
            <a:avLst/>
          </a:prstGeom>
        </p:spPr>
      </p:pic>
      <p:pic>
        <p:nvPicPr>
          <p:cNvPr id="5" name="صورة 4">
            <a:extLst>
              <a:ext uri="{FF2B5EF4-FFF2-40B4-BE49-F238E27FC236}">
                <a16:creationId xmlns:a16="http://schemas.microsoft.com/office/drawing/2014/main" id="{03F16C1C-6FAC-7F0C-DE54-E48DF76E65CA}"/>
              </a:ext>
            </a:extLst>
          </p:cNvPr>
          <p:cNvPicPr>
            <a:picLocks noChangeAspect="1"/>
          </p:cNvPicPr>
          <p:nvPr/>
        </p:nvPicPr>
        <p:blipFill>
          <a:blip r:embed="rId3"/>
          <a:stretch>
            <a:fillRect/>
          </a:stretch>
        </p:blipFill>
        <p:spPr>
          <a:xfrm>
            <a:off x="132080" y="1148080"/>
            <a:ext cx="11927839" cy="5598160"/>
          </a:xfrm>
          <a:prstGeom prst="rect">
            <a:avLst/>
          </a:prstGeom>
        </p:spPr>
      </p:pic>
    </p:spTree>
    <p:extLst>
      <p:ext uri="{BB962C8B-B14F-4D97-AF65-F5344CB8AC3E}">
        <p14:creationId xmlns:p14="http://schemas.microsoft.com/office/powerpoint/2010/main" val="326751883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41A7DBB-31B8-BF17-C055-4B923C140BE0}"/>
              </a:ext>
            </a:extLst>
          </p:cNvPr>
          <p:cNvSpPr txBox="1">
            <a:spLocks/>
          </p:cNvSpPr>
          <p:nvPr/>
        </p:nvSpPr>
        <p:spPr>
          <a:xfrm>
            <a:off x="2874483" y="190525"/>
            <a:ext cx="5256584" cy="990926"/>
          </a:xfrm>
          <a:prstGeom prst="rect">
            <a:avLst/>
          </a:prstGeom>
        </p:spPr>
        <p:txBody>
          <a:bodyPr anchor="ctr"/>
          <a:lstStyle>
            <a:lvl1pPr marL="0" indent="0" algn="ctr" defTabSz="914400" rtl="0" eaLnBrk="1" latinLnBrk="1" hangingPunct="1">
              <a:spcBef>
                <a:spcPct val="20000"/>
              </a:spcBef>
              <a:buFont typeface="Arial" pitchFamily="34" charset="0"/>
              <a:buNone/>
              <a:defRPr sz="3600" b="0" kern="1200" baseline="0">
                <a:solidFill>
                  <a:schemeClr val="tx1">
                    <a:lumMod val="75000"/>
                    <a:lumOff val="25000"/>
                  </a:schemeClr>
                </a:solidFill>
                <a:latin typeface="+mj-lt"/>
                <a:ea typeface="+mn-ea"/>
                <a:cs typeface="Arial" pitchFamily="34" charset="0"/>
              </a:defRPr>
            </a:lvl1pPr>
            <a:lvl2pPr marL="742950" indent="-285750" algn="l" defTabSz="914400" rtl="0" eaLnBrk="1" latinLnBrk="1"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1"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1" hangingPunct="1">
              <a:lnSpc>
                <a:spcPct val="100000"/>
              </a:lnSpc>
              <a:spcBef>
                <a:spcPct val="20000"/>
              </a:spcBef>
              <a:spcAft>
                <a:spcPts val="0"/>
              </a:spcAft>
              <a:buClrTx/>
              <a:buSzTx/>
              <a:buFont typeface="Arial" pitchFamily="34" charset="0"/>
              <a:buNone/>
              <a:tabLst/>
              <a:defRPr/>
            </a:pPr>
            <a:r>
              <a:rPr kumimoji="0" lang="ar-SA" altLang="ko-KR" sz="2800" b="1" i="0" u="none" strike="noStrike" kern="1200" cap="none" spc="0" normalizeH="0" baseline="0" noProof="0" dirty="0">
                <a:ln>
                  <a:noFill/>
                </a:ln>
                <a:solidFill>
                  <a:srgbClr val="002060"/>
                </a:solidFill>
                <a:effectLst/>
                <a:uLnTx/>
                <a:uFillTx/>
                <a:latin typeface="Sakkal Majalla" panose="02000000000000000000" pitchFamily="2" charset="-78"/>
                <a:ea typeface="맑은 고딕" panose="020B0503020000020004" pitchFamily="34" charset="-127"/>
                <a:cs typeface="Sakkal Majalla" panose="02000000000000000000" pitchFamily="2" charset="-78"/>
              </a:rPr>
              <a:t>مهام فريق التقويم الذاتي</a:t>
            </a:r>
          </a:p>
          <a:p>
            <a:pPr marL="0" marR="0" lvl="0" indent="0" algn="ctr" defTabSz="914400" rtl="0" eaLnBrk="1" fontAlgn="auto" latinLnBrk="1" hangingPunct="1">
              <a:lnSpc>
                <a:spcPct val="100000"/>
              </a:lnSpc>
              <a:spcBef>
                <a:spcPct val="20000"/>
              </a:spcBef>
              <a:spcAft>
                <a:spcPts val="0"/>
              </a:spcAft>
              <a:buClrTx/>
              <a:buSzTx/>
              <a:buFont typeface="Arial" pitchFamily="34" charset="0"/>
              <a:buNone/>
              <a:tabLst/>
              <a:defRPr/>
            </a:pPr>
            <a:r>
              <a:rPr kumimoji="0" lang="ar-SA" altLang="ko-KR" sz="2000" b="1" i="0" u="none" strike="noStrike" kern="1200" cap="none" spc="0" normalizeH="0" baseline="0" noProof="0" dirty="0">
                <a:ln>
                  <a:noFill/>
                </a:ln>
                <a:solidFill>
                  <a:srgbClr val="C00000"/>
                </a:solidFill>
                <a:effectLst/>
                <a:uLnTx/>
                <a:uFillTx/>
                <a:latin typeface="Sakkal Majalla" panose="02000000000000000000" pitchFamily="2" charset="-78"/>
                <a:ea typeface="맑은 고딕" panose="020B0503020000020004" pitchFamily="34" charset="-127"/>
                <a:cs typeface="Sakkal Majalla" panose="02000000000000000000" pitchFamily="2" charset="-78"/>
              </a:rPr>
              <a:t>للوقوف على مدى تحقيق المدرسة لمعايير الأداء المدرسي بطريقة علمية</a:t>
            </a:r>
            <a:endParaRPr kumimoji="0" lang="ko-KR" altLang="en-US" sz="2000" b="1" i="0" u="none" strike="noStrike" kern="1200" cap="none" spc="0" normalizeH="0" baseline="0" noProof="0" dirty="0">
              <a:ln>
                <a:noFill/>
              </a:ln>
              <a:solidFill>
                <a:srgbClr val="C00000"/>
              </a:solidFill>
              <a:effectLst/>
              <a:uLnTx/>
              <a:uFillTx/>
              <a:latin typeface="Sakkal Majalla" panose="02000000000000000000" pitchFamily="2" charset="-78"/>
              <a:ea typeface="맑은 고딕" panose="020B0503020000020004" pitchFamily="34" charset="-127"/>
              <a:cs typeface="Sakkal Majalla" panose="02000000000000000000" pitchFamily="2" charset="-78"/>
            </a:endParaRPr>
          </a:p>
        </p:txBody>
      </p:sp>
      <p:grpSp>
        <p:nvGrpSpPr>
          <p:cNvPr id="3" name="مجموعة 2">
            <a:extLst>
              <a:ext uri="{FF2B5EF4-FFF2-40B4-BE49-F238E27FC236}">
                <a16:creationId xmlns:a16="http://schemas.microsoft.com/office/drawing/2014/main" id="{A277AEED-5A53-088C-553D-A7CFE4B96754}"/>
              </a:ext>
            </a:extLst>
          </p:cNvPr>
          <p:cNvGrpSpPr/>
          <p:nvPr/>
        </p:nvGrpSpPr>
        <p:grpSpPr>
          <a:xfrm>
            <a:off x="1971130" y="4150185"/>
            <a:ext cx="2160640" cy="1428392"/>
            <a:chOff x="235560" y="1746321"/>
            <a:chExt cx="1428392" cy="1428392"/>
          </a:xfrm>
        </p:grpSpPr>
        <p:sp>
          <p:nvSpPr>
            <p:cNvPr id="4" name="مستطيل: زوايا مستديرة 3">
              <a:extLst>
                <a:ext uri="{FF2B5EF4-FFF2-40B4-BE49-F238E27FC236}">
                  <a16:creationId xmlns:a16="http://schemas.microsoft.com/office/drawing/2014/main" id="{6DFEF2E7-11D7-5943-3503-6266B1EDB076}"/>
                </a:ext>
              </a:extLst>
            </p:cNvPr>
            <p:cNvSpPr/>
            <p:nvPr/>
          </p:nvSpPr>
          <p:spPr>
            <a:xfrm>
              <a:off x="235560" y="1746321"/>
              <a:ext cx="1428392" cy="1428392"/>
            </a:xfrm>
            <a:prstGeom prst="roundRect">
              <a:avLst>
                <a:gd name="adj" fmla="val 10000"/>
              </a:avLst>
            </a:prstGeom>
            <a:noFill/>
            <a:ln w="25400" cap="flat" cmpd="sng" algn="ctr">
              <a:noFill/>
              <a:prstDash val="soli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ar-SA" sz="2000" b="0" i="0" u="none" strike="noStrike" kern="0" cap="none" spc="0" normalizeH="0" baseline="0" noProof="0">
                <a:ln>
                  <a:noFill/>
                </a:ln>
                <a:solidFill>
                  <a:prstClr val="white"/>
                </a:solidFill>
                <a:effectLst/>
                <a:uLnTx/>
                <a:uFillTx/>
                <a:latin typeface="Arial"/>
                <a:ea typeface="+mn-ea"/>
                <a:cs typeface="Arial" panose="020B0604020202020204" pitchFamily="34" charset="0"/>
              </a:endParaRPr>
            </a:p>
          </p:txBody>
        </p:sp>
        <p:sp>
          <p:nvSpPr>
            <p:cNvPr id="5" name="مستطيل: زوايا مستديرة 4">
              <a:extLst>
                <a:ext uri="{FF2B5EF4-FFF2-40B4-BE49-F238E27FC236}">
                  <a16:creationId xmlns:a16="http://schemas.microsoft.com/office/drawing/2014/main" id="{706965C6-F72A-C224-9BE1-707EE3AEDA60}"/>
                </a:ext>
              </a:extLst>
            </p:cNvPr>
            <p:cNvSpPr txBox="1"/>
            <p:nvPr/>
          </p:nvSpPr>
          <p:spPr>
            <a:xfrm>
              <a:off x="277396" y="1788157"/>
              <a:ext cx="1344720" cy="1344720"/>
            </a:xfrm>
            <a:prstGeom prst="rect">
              <a:avLst/>
            </a:prstGeom>
            <a:solidFill>
              <a:srgbClr val="98DFBB">
                <a:lumMod val="75000"/>
              </a:srgbClr>
            </a:solidFill>
            <a:ln>
              <a:noFill/>
            </a:ln>
            <a:effectLst/>
          </p:spPr>
          <p:txBody>
            <a:bodyPr spcFirstLastPara="0" vert="horz" wrap="square" lIns="102870" tIns="102870" rIns="102870" bIns="102870" numCol="1" spcCol="1270" anchor="ctr" anchorCtr="0">
              <a:noAutofit/>
            </a:bodyPr>
            <a:lstStyle/>
            <a:p>
              <a:pPr marL="0" marR="0" lvl="0" indent="0" algn="ctr" defTabSz="1200150" rtl="1" eaLnBrk="1" fontAlgn="auto" latinLnBrk="0" hangingPunct="1">
                <a:lnSpc>
                  <a:spcPct val="90000"/>
                </a:lnSpc>
                <a:spcBef>
                  <a:spcPct val="0"/>
                </a:spcBef>
                <a:spcAft>
                  <a:spcPct val="35000"/>
                </a:spcAft>
                <a:buClrTx/>
                <a:buSzTx/>
                <a:buFontTx/>
                <a:buNone/>
                <a:tabLst/>
                <a:defRPr/>
              </a:pPr>
              <a:r>
                <a:rPr kumimoji="0" lang="ar-SA" sz="2400" b="1" i="0" u="none" strike="noStrike" kern="0" cap="none" spc="0" normalizeH="0" baseline="0" noProof="0" dirty="0">
                  <a:ln>
                    <a:noFill/>
                  </a:ln>
                  <a:solidFill>
                    <a:prstClr val="black"/>
                  </a:solidFill>
                  <a:effectLst/>
                  <a:uLnTx/>
                  <a:uFillTx/>
                  <a:latin typeface="Sakkal Majalla" panose="02000000000000000000" pitchFamily="2" charset="-78"/>
                  <a:ea typeface="Microsoft Sans Serif" panose="020B0604020202020204" pitchFamily="34" charset="0"/>
                  <a:cs typeface="Sakkal Majalla" panose="02000000000000000000" pitchFamily="2" charset="-78"/>
                </a:rPr>
                <a:t>وضع خطة التقويم الذاتي،</a:t>
              </a:r>
            </a:p>
            <a:p>
              <a:pPr marL="0" marR="0" lvl="0" indent="0" algn="ctr" defTabSz="1200150" rtl="1" eaLnBrk="1" fontAlgn="auto" latinLnBrk="0" hangingPunct="1">
                <a:lnSpc>
                  <a:spcPct val="90000"/>
                </a:lnSpc>
                <a:spcBef>
                  <a:spcPct val="0"/>
                </a:spcBef>
                <a:spcAft>
                  <a:spcPct val="35000"/>
                </a:spcAft>
                <a:buClrTx/>
                <a:buSzTx/>
                <a:buFontTx/>
                <a:buNone/>
                <a:tabLst/>
                <a:defRPr/>
              </a:pPr>
              <a:r>
                <a:rPr kumimoji="0" lang="ar-SA" sz="2400" b="1" i="0" u="none" strike="noStrike" kern="0" cap="none" spc="0" normalizeH="0" baseline="0" noProof="0" dirty="0">
                  <a:ln>
                    <a:noFill/>
                  </a:ln>
                  <a:solidFill>
                    <a:prstClr val="black"/>
                  </a:solidFill>
                  <a:effectLst/>
                  <a:uLnTx/>
                  <a:uFillTx/>
                  <a:latin typeface="Sakkal Majalla" panose="02000000000000000000" pitchFamily="2" charset="-78"/>
                  <a:ea typeface="Microsoft Sans Serif" panose="020B0604020202020204" pitchFamily="34" charset="0"/>
                  <a:cs typeface="Sakkal Majalla" panose="02000000000000000000" pitchFamily="2" charset="-78"/>
                </a:rPr>
                <a:t>ومتابعة تنفيذها</a:t>
              </a:r>
            </a:p>
          </p:txBody>
        </p:sp>
      </p:grpSp>
      <p:sp>
        <p:nvSpPr>
          <p:cNvPr id="6" name="مستطيل 5">
            <a:extLst>
              <a:ext uri="{FF2B5EF4-FFF2-40B4-BE49-F238E27FC236}">
                <a16:creationId xmlns:a16="http://schemas.microsoft.com/office/drawing/2014/main" id="{F9624F67-B7EB-E9F1-D10C-04841EEBCB5A}"/>
              </a:ext>
            </a:extLst>
          </p:cNvPr>
          <p:cNvSpPr/>
          <p:nvPr/>
        </p:nvSpPr>
        <p:spPr>
          <a:xfrm>
            <a:off x="2070563" y="3591857"/>
            <a:ext cx="1607840" cy="600164"/>
          </a:xfrm>
          <a:prstGeom prst="rect">
            <a:avLst/>
          </a:prstGeom>
        </p:spPr>
        <p:txBody>
          <a:bodyPr wrap="square">
            <a:spAutoFit/>
          </a:bodyPr>
          <a:lstStyle/>
          <a:p>
            <a:pPr marL="0" marR="0" lvl="0" indent="0" algn="ctr" defTabSz="914400" rtl="1" eaLnBrk="1" fontAlgn="base" latinLnBrk="0" hangingPunct="1">
              <a:lnSpc>
                <a:spcPct val="150000"/>
              </a:lnSpc>
              <a:spcBef>
                <a:spcPct val="0"/>
              </a:spcBef>
              <a:spcAft>
                <a:spcPct val="0"/>
              </a:spcAft>
              <a:buClrTx/>
              <a:buSzTx/>
              <a:buFontTx/>
              <a:buNone/>
              <a:tabLst/>
              <a:defRPr/>
            </a:pPr>
            <a:r>
              <a:rPr kumimoji="0" lang="ar-SA" sz="2400" b="1" i="0" u="none" strike="noStrike" kern="0" cap="none" spc="0" normalizeH="0" baseline="0" noProof="0" dirty="0">
                <a:ln>
                  <a:noFill/>
                </a:ln>
                <a:solidFill>
                  <a:srgbClr val="0070C0"/>
                </a:solidFill>
                <a:effectLst/>
                <a:uLnTx/>
                <a:uFillTx/>
                <a:latin typeface="Sakkal Majalla" panose="02000000000000000000" pitchFamily="2" charset="-78"/>
                <a:ea typeface="+mn-ea"/>
                <a:cs typeface="Sakkal Majalla" panose="02000000000000000000" pitchFamily="2" charset="-78"/>
              </a:rPr>
              <a:t>ممكن أسبوع</a:t>
            </a:r>
            <a:endParaRPr kumimoji="0" lang="en-US" sz="2400" b="1" i="0" u="none" strike="noStrike" kern="0" cap="none" spc="0" normalizeH="0" baseline="0" noProof="0" dirty="0">
              <a:ln>
                <a:noFill/>
              </a:ln>
              <a:solidFill>
                <a:srgbClr val="0070C0"/>
              </a:solidFill>
              <a:effectLst/>
              <a:uLnTx/>
              <a:uFillTx/>
              <a:latin typeface="Sakkal Majalla" panose="02000000000000000000" pitchFamily="2" charset="-78"/>
              <a:ea typeface="+mn-ea"/>
              <a:cs typeface="Sakkal Majalla" panose="02000000000000000000" pitchFamily="2" charset="-78"/>
            </a:endParaRPr>
          </a:p>
        </p:txBody>
      </p:sp>
      <p:cxnSp>
        <p:nvCxnSpPr>
          <p:cNvPr id="7" name="رابط كسهم مستقيم 6">
            <a:extLst>
              <a:ext uri="{FF2B5EF4-FFF2-40B4-BE49-F238E27FC236}">
                <a16:creationId xmlns:a16="http://schemas.microsoft.com/office/drawing/2014/main" id="{B65ED099-6611-97DC-E62C-7F73D57B4658}"/>
              </a:ext>
            </a:extLst>
          </p:cNvPr>
          <p:cNvCxnSpPr>
            <a:cxnSpLocks/>
            <a:stCxn id="5" idx="3"/>
          </p:cNvCxnSpPr>
          <p:nvPr/>
        </p:nvCxnSpPr>
        <p:spPr>
          <a:xfrm>
            <a:off x="4068488" y="4864381"/>
            <a:ext cx="1070994" cy="0"/>
          </a:xfrm>
          <a:prstGeom prst="straightConnector1">
            <a:avLst/>
          </a:prstGeom>
          <a:noFill/>
          <a:ln w="38100" cap="flat" cmpd="sng" algn="ctr">
            <a:solidFill>
              <a:srgbClr val="002060"/>
            </a:solidFill>
            <a:prstDash val="solid"/>
            <a:tailEnd type="triangle"/>
          </a:ln>
          <a:effectLst>
            <a:outerShdw blurRad="40000" dist="23000" dir="5400000" rotWithShape="0">
              <a:srgbClr val="000000">
                <a:alpha val="35000"/>
              </a:srgbClr>
            </a:outerShdw>
          </a:effectLst>
        </p:spPr>
      </p:cxnSp>
      <p:grpSp>
        <p:nvGrpSpPr>
          <p:cNvPr id="8" name="مجموعة 7">
            <a:extLst>
              <a:ext uri="{FF2B5EF4-FFF2-40B4-BE49-F238E27FC236}">
                <a16:creationId xmlns:a16="http://schemas.microsoft.com/office/drawing/2014/main" id="{D4CA72AA-07C9-B7EF-EF91-72CCC556FC65}"/>
              </a:ext>
            </a:extLst>
          </p:cNvPr>
          <p:cNvGrpSpPr/>
          <p:nvPr/>
        </p:nvGrpSpPr>
        <p:grpSpPr>
          <a:xfrm>
            <a:off x="5067473" y="4150185"/>
            <a:ext cx="2160641" cy="1428392"/>
            <a:chOff x="235560" y="1746321"/>
            <a:chExt cx="1428392" cy="1428392"/>
          </a:xfrm>
        </p:grpSpPr>
        <p:sp>
          <p:nvSpPr>
            <p:cNvPr id="9" name="مستطيل: زوايا مستديرة 8">
              <a:extLst>
                <a:ext uri="{FF2B5EF4-FFF2-40B4-BE49-F238E27FC236}">
                  <a16:creationId xmlns:a16="http://schemas.microsoft.com/office/drawing/2014/main" id="{042C35A2-CC4E-B89C-DB80-00A25A7C4264}"/>
                </a:ext>
              </a:extLst>
            </p:cNvPr>
            <p:cNvSpPr/>
            <p:nvPr/>
          </p:nvSpPr>
          <p:spPr>
            <a:xfrm>
              <a:off x="235560" y="1746321"/>
              <a:ext cx="1428392" cy="1428392"/>
            </a:xfrm>
            <a:prstGeom prst="roundRect">
              <a:avLst>
                <a:gd name="adj" fmla="val 10000"/>
              </a:avLst>
            </a:prstGeom>
            <a:noFill/>
            <a:ln w="25400" cap="flat" cmpd="sng" algn="ctr">
              <a:noFill/>
              <a:prstDash val="soli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ar-SA" sz="2000" b="0" i="0" u="none" strike="noStrike" kern="0" cap="none" spc="0" normalizeH="0" baseline="0" noProof="0">
                <a:ln>
                  <a:noFill/>
                </a:ln>
                <a:solidFill>
                  <a:prstClr val="white"/>
                </a:solidFill>
                <a:effectLst/>
                <a:uLnTx/>
                <a:uFillTx/>
                <a:latin typeface="Arial"/>
                <a:ea typeface="+mn-ea"/>
                <a:cs typeface="Arial" panose="020B0604020202020204" pitchFamily="34" charset="0"/>
              </a:endParaRPr>
            </a:p>
          </p:txBody>
        </p:sp>
        <p:sp>
          <p:nvSpPr>
            <p:cNvPr id="10" name="مستطيل: زوايا مستديرة 4">
              <a:extLst>
                <a:ext uri="{FF2B5EF4-FFF2-40B4-BE49-F238E27FC236}">
                  <a16:creationId xmlns:a16="http://schemas.microsoft.com/office/drawing/2014/main" id="{6D65B654-9374-5148-854C-C2B769789761}"/>
                </a:ext>
              </a:extLst>
            </p:cNvPr>
            <p:cNvSpPr txBox="1"/>
            <p:nvPr/>
          </p:nvSpPr>
          <p:spPr>
            <a:xfrm>
              <a:off x="277396" y="1788157"/>
              <a:ext cx="1344720" cy="1344720"/>
            </a:xfrm>
            <a:prstGeom prst="rect">
              <a:avLst/>
            </a:prstGeom>
            <a:solidFill>
              <a:srgbClr val="98DFBB">
                <a:lumMod val="75000"/>
              </a:srgbClr>
            </a:solidFill>
            <a:ln>
              <a:noFill/>
            </a:ln>
            <a:effectLst/>
          </p:spPr>
          <p:txBody>
            <a:bodyPr spcFirstLastPara="0" vert="horz" wrap="square" lIns="102870" tIns="102870" rIns="102870" bIns="102870" numCol="1" spcCol="1270" anchor="ctr" anchorCtr="0">
              <a:noAutofit/>
            </a:bodyPr>
            <a:lstStyle/>
            <a:p>
              <a:pPr marL="0" marR="0" lvl="0" indent="0" algn="ctr" defTabSz="1200150" rtl="1" eaLnBrk="1" fontAlgn="auto" latinLnBrk="0" hangingPunct="1">
                <a:lnSpc>
                  <a:spcPct val="90000"/>
                </a:lnSpc>
                <a:spcBef>
                  <a:spcPct val="0"/>
                </a:spcBef>
                <a:spcAft>
                  <a:spcPct val="35000"/>
                </a:spcAft>
                <a:buClrTx/>
                <a:buSzTx/>
                <a:buFontTx/>
                <a:buNone/>
                <a:tabLst/>
                <a:defRPr/>
              </a:pPr>
              <a:r>
                <a:rPr kumimoji="0" lang="ar-SA" sz="2400" b="1" i="0" u="none" strike="noStrike" kern="0" cap="none" spc="0" normalizeH="0" baseline="0" noProof="0" dirty="0">
                  <a:ln>
                    <a:noFill/>
                  </a:ln>
                  <a:solidFill>
                    <a:prstClr val="black"/>
                  </a:solidFill>
                  <a:effectLst/>
                  <a:uLnTx/>
                  <a:uFillTx/>
                  <a:latin typeface="Sakkal Majalla" panose="02000000000000000000" pitchFamily="2" charset="-78"/>
                  <a:ea typeface="Microsoft Sans Serif" panose="020B0604020202020204" pitchFamily="34" charset="0"/>
                  <a:cs typeface="Sakkal Majalla" panose="02000000000000000000" pitchFamily="2" charset="-78"/>
                </a:rPr>
                <a:t>تطبيق عمليات وأدوات التقويم الذاتي، وجمع البيانات والأدلة </a:t>
              </a:r>
            </a:p>
          </p:txBody>
        </p:sp>
      </p:grpSp>
      <p:cxnSp>
        <p:nvCxnSpPr>
          <p:cNvPr id="11" name="رابط كسهم مستقيم 10">
            <a:extLst>
              <a:ext uri="{FF2B5EF4-FFF2-40B4-BE49-F238E27FC236}">
                <a16:creationId xmlns:a16="http://schemas.microsoft.com/office/drawing/2014/main" id="{C8DFBF56-0AD4-62A5-6441-E13F3A7BDE73}"/>
              </a:ext>
            </a:extLst>
          </p:cNvPr>
          <p:cNvCxnSpPr>
            <a:cxnSpLocks/>
            <a:stCxn id="10" idx="3"/>
          </p:cNvCxnSpPr>
          <p:nvPr/>
        </p:nvCxnSpPr>
        <p:spPr>
          <a:xfrm>
            <a:off x="7164831" y="4864381"/>
            <a:ext cx="1070995" cy="0"/>
          </a:xfrm>
          <a:prstGeom prst="straightConnector1">
            <a:avLst/>
          </a:prstGeom>
          <a:noFill/>
          <a:ln w="38100" cap="flat" cmpd="sng" algn="ctr">
            <a:solidFill>
              <a:srgbClr val="002060"/>
            </a:solidFill>
            <a:prstDash val="solid"/>
            <a:tailEnd type="triangle"/>
          </a:ln>
          <a:effectLst>
            <a:outerShdw blurRad="40000" dist="23000" dir="5400000" rotWithShape="0">
              <a:srgbClr val="000000">
                <a:alpha val="35000"/>
              </a:srgbClr>
            </a:outerShdw>
          </a:effectLst>
        </p:spPr>
      </p:cxnSp>
      <p:grpSp>
        <p:nvGrpSpPr>
          <p:cNvPr id="12" name="مجموعة 11">
            <a:extLst>
              <a:ext uri="{FF2B5EF4-FFF2-40B4-BE49-F238E27FC236}">
                <a16:creationId xmlns:a16="http://schemas.microsoft.com/office/drawing/2014/main" id="{8A97C47E-8D0E-6295-42F3-C97BA7AABC1F}"/>
              </a:ext>
            </a:extLst>
          </p:cNvPr>
          <p:cNvGrpSpPr/>
          <p:nvPr/>
        </p:nvGrpSpPr>
        <p:grpSpPr>
          <a:xfrm>
            <a:off x="8184126" y="4150185"/>
            <a:ext cx="2516532" cy="1428392"/>
            <a:chOff x="235560" y="1746321"/>
            <a:chExt cx="1428392" cy="1428392"/>
          </a:xfrm>
        </p:grpSpPr>
        <p:sp>
          <p:nvSpPr>
            <p:cNvPr id="13" name="مستطيل: زوايا مستديرة 12">
              <a:extLst>
                <a:ext uri="{FF2B5EF4-FFF2-40B4-BE49-F238E27FC236}">
                  <a16:creationId xmlns:a16="http://schemas.microsoft.com/office/drawing/2014/main" id="{BB0D3365-07D4-06E0-3582-9C5A84EA5AD5}"/>
                </a:ext>
              </a:extLst>
            </p:cNvPr>
            <p:cNvSpPr/>
            <p:nvPr/>
          </p:nvSpPr>
          <p:spPr>
            <a:xfrm>
              <a:off x="235560" y="1746321"/>
              <a:ext cx="1428392" cy="1428392"/>
            </a:xfrm>
            <a:prstGeom prst="roundRect">
              <a:avLst>
                <a:gd name="adj" fmla="val 10000"/>
              </a:avLst>
            </a:prstGeom>
            <a:noFill/>
            <a:ln w="25400" cap="flat" cmpd="sng" algn="ctr">
              <a:noFill/>
              <a:prstDash val="soli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ar-SA" sz="2000" b="0" i="0" u="none" strike="noStrike" kern="0" cap="none" spc="0" normalizeH="0" baseline="0" noProof="0">
                <a:ln>
                  <a:noFill/>
                </a:ln>
                <a:solidFill>
                  <a:prstClr val="white"/>
                </a:solidFill>
                <a:effectLst/>
                <a:uLnTx/>
                <a:uFillTx/>
                <a:latin typeface="Arial"/>
                <a:ea typeface="+mn-ea"/>
                <a:cs typeface="Arial" panose="020B0604020202020204" pitchFamily="34" charset="0"/>
              </a:endParaRPr>
            </a:p>
          </p:txBody>
        </p:sp>
        <p:sp>
          <p:nvSpPr>
            <p:cNvPr id="14" name="مستطيل: زوايا مستديرة 4">
              <a:extLst>
                <a:ext uri="{FF2B5EF4-FFF2-40B4-BE49-F238E27FC236}">
                  <a16:creationId xmlns:a16="http://schemas.microsoft.com/office/drawing/2014/main" id="{18E37DD9-C816-7E65-00BE-6780467095D4}"/>
                </a:ext>
              </a:extLst>
            </p:cNvPr>
            <p:cNvSpPr txBox="1"/>
            <p:nvPr/>
          </p:nvSpPr>
          <p:spPr>
            <a:xfrm>
              <a:off x="277396" y="1788157"/>
              <a:ext cx="1344720" cy="1344720"/>
            </a:xfrm>
            <a:prstGeom prst="rect">
              <a:avLst/>
            </a:prstGeom>
            <a:solidFill>
              <a:srgbClr val="98DFBB">
                <a:lumMod val="75000"/>
              </a:srgbClr>
            </a:solidFill>
            <a:ln>
              <a:noFill/>
            </a:ln>
            <a:effectLst/>
          </p:spPr>
          <p:txBody>
            <a:bodyPr spcFirstLastPara="0" vert="horz" wrap="square" lIns="102870" tIns="102870" rIns="102870" bIns="102870" numCol="1" spcCol="1270" anchor="ctr" anchorCtr="0">
              <a:noAutofit/>
            </a:bodyPr>
            <a:lstStyle/>
            <a:p>
              <a:pPr marL="0" marR="0" lvl="0" indent="0" algn="ctr" defTabSz="1200150" rtl="1" eaLnBrk="1" fontAlgn="auto" latinLnBrk="0" hangingPunct="1">
                <a:lnSpc>
                  <a:spcPct val="90000"/>
                </a:lnSpc>
                <a:spcBef>
                  <a:spcPct val="0"/>
                </a:spcBef>
                <a:spcAft>
                  <a:spcPct val="35000"/>
                </a:spcAft>
                <a:buClrTx/>
                <a:buSzTx/>
                <a:buFontTx/>
                <a:buNone/>
                <a:tabLst/>
                <a:defRPr/>
              </a:pPr>
              <a:r>
                <a:rPr kumimoji="0" lang="ar-SA" sz="2400" b="1"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إعداد خطة التحسين في ضوء نتائج التقويم الذاتي، ومتابعة تنفيذها. </a:t>
              </a:r>
              <a:endParaRPr kumimoji="0" lang="ar-SA" sz="2400" b="1" i="0" u="none" strike="noStrike" kern="0" cap="none" spc="0" normalizeH="0" baseline="0" noProof="0" dirty="0">
                <a:ln>
                  <a:noFill/>
                </a:ln>
                <a:solidFill>
                  <a:prstClr val="black"/>
                </a:solidFill>
                <a:effectLst/>
                <a:uLnTx/>
                <a:uFillTx/>
                <a:latin typeface="Sakkal Majalla" panose="02000000000000000000" pitchFamily="2" charset="-78"/>
                <a:ea typeface="Microsoft Sans Serif" panose="020B0604020202020204" pitchFamily="34" charset="0"/>
                <a:cs typeface="Sakkal Majalla" panose="02000000000000000000" pitchFamily="2" charset="-78"/>
              </a:endParaRPr>
            </a:p>
          </p:txBody>
        </p:sp>
      </p:grpSp>
      <p:sp>
        <p:nvSpPr>
          <p:cNvPr id="15" name="مستطيل 14">
            <a:extLst>
              <a:ext uri="{FF2B5EF4-FFF2-40B4-BE49-F238E27FC236}">
                <a16:creationId xmlns:a16="http://schemas.microsoft.com/office/drawing/2014/main" id="{2EF0CD15-7861-2B18-6715-2977FA30B99C}"/>
              </a:ext>
            </a:extLst>
          </p:cNvPr>
          <p:cNvSpPr/>
          <p:nvPr/>
        </p:nvSpPr>
        <p:spPr>
          <a:xfrm>
            <a:off x="5133231" y="3570939"/>
            <a:ext cx="1708161" cy="600164"/>
          </a:xfrm>
          <a:prstGeom prst="rect">
            <a:avLst/>
          </a:prstGeom>
        </p:spPr>
        <p:txBody>
          <a:bodyPr wrap="square">
            <a:spAutoFit/>
          </a:bodyPr>
          <a:lstStyle/>
          <a:p>
            <a:pPr marL="0" marR="0" lvl="0" indent="0" algn="ctr" defTabSz="914400" rtl="1" eaLnBrk="1" fontAlgn="base" latinLnBrk="0" hangingPunct="1">
              <a:lnSpc>
                <a:spcPct val="150000"/>
              </a:lnSpc>
              <a:spcBef>
                <a:spcPct val="0"/>
              </a:spcBef>
              <a:spcAft>
                <a:spcPct val="0"/>
              </a:spcAft>
              <a:buClrTx/>
              <a:buSzTx/>
              <a:buFontTx/>
              <a:buNone/>
              <a:tabLst/>
              <a:defRPr/>
            </a:pPr>
            <a:r>
              <a:rPr kumimoji="0" lang="ar-SA" sz="2400" b="1" i="0" u="none" strike="noStrike" kern="0" cap="none" spc="0" normalizeH="0" baseline="0" noProof="0" dirty="0">
                <a:ln>
                  <a:noFill/>
                </a:ln>
                <a:solidFill>
                  <a:srgbClr val="0070C0"/>
                </a:solidFill>
                <a:effectLst/>
                <a:uLnTx/>
                <a:uFillTx/>
                <a:latin typeface="Sakkal Majalla" panose="02000000000000000000" pitchFamily="2" charset="-78"/>
                <a:ea typeface="+mn-ea"/>
                <a:cs typeface="Sakkal Majalla" panose="02000000000000000000" pitchFamily="2" charset="-78"/>
              </a:rPr>
              <a:t>ممكن أسبوعين</a:t>
            </a:r>
            <a:endParaRPr kumimoji="0" lang="en-US" sz="2400" b="1" i="0" u="none" strike="noStrike" kern="0" cap="none" spc="0" normalizeH="0" baseline="0" noProof="0" dirty="0">
              <a:ln>
                <a:noFill/>
              </a:ln>
              <a:solidFill>
                <a:srgbClr val="0070C0"/>
              </a:solidFill>
              <a:effectLst/>
              <a:uLnTx/>
              <a:uFillTx/>
              <a:latin typeface="Sakkal Majalla" panose="02000000000000000000" pitchFamily="2" charset="-78"/>
              <a:ea typeface="+mn-ea"/>
              <a:cs typeface="Sakkal Majalla" panose="02000000000000000000" pitchFamily="2" charset="-78"/>
            </a:endParaRPr>
          </a:p>
        </p:txBody>
      </p:sp>
      <p:sp>
        <p:nvSpPr>
          <p:cNvPr id="16" name="مستطيل: زوايا مستديرة 4">
            <a:extLst>
              <a:ext uri="{FF2B5EF4-FFF2-40B4-BE49-F238E27FC236}">
                <a16:creationId xmlns:a16="http://schemas.microsoft.com/office/drawing/2014/main" id="{582CB654-FCA6-6323-7217-27A3801FFB53}"/>
              </a:ext>
            </a:extLst>
          </p:cNvPr>
          <p:cNvSpPr txBox="1"/>
          <p:nvPr/>
        </p:nvSpPr>
        <p:spPr>
          <a:xfrm>
            <a:off x="8308279" y="1762153"/>
            <a:ext cx="1607840" cy="1344720"/>
          </a:xfrm>
          <a:prstGeom prst="rect">
            <a:avLst/>
          </a:prstGeom>
          <a:solidFill>
            <a:srgbClr val="98DFBB">
              <a:lumMod val="75000"/>
            </a:srgbClr>
          </a:solidFill>
          <a:ln>
            <a:noFill/>
          </a:ln>
          <a:effectLst/>
        </p:spPr>
        <p:txBody>
          <a:bodyPr spcFirstLastPara="0" vert="horz" wrap="square" lIns="102870" tIns="102870" rIns="102870" bIns="102870" numCol="1" spcCol="1270" anchor="ctr" anchorCtr="0">
            <a:noAutofit/>
          </a:bodyPr>
          <a:lstStyle/>
          <a:p>
            <a:pPr marL="0" marR="0" lvl="0" indent="0" algn="ctr" defTabSz="1200150" rtl="1" eaLnBrk="1" fontAlgn="auto" latinLnBrk="0" hangingPunct="1">
              <a:lnSpc>
                <a:spcPct val="90000"/>
              </a:lnSpc>
              <a:spcBef>
                <a:spcPct val="0"/>
              </a:spcBef>
              <a:spcAft>
                <a:spcPct val="35000"/>
              </a:spcAft>
              <a:buClrTx/>
              <a:buSzTx/>
              <a:buFontTx/>
              <a:buNone/>
              <a:tabLst/>
              <a:defRPr/>
            </a:pPr>
            <a:r>
              <a:rPr kumimoji="0" lang="ar-SA" sz="2400" b="1" i="0" u="none" strike="noStrike" kern="0" cap="none" spc="0" normalizeH="0" baseline="0" noProof="0" dirty="0">
                <a:ln>
                  <a:noFill/>
                </a:ln>
                <a:solidFill>
                  <a:prstClr val="black"/>
                </a:solidFill>
                <a:effectLst/>
                <a:uLnTx/>
                <a:uFillTx/>
                <a:latin typeface="Sakkal Majalla" panose="02000000000000000000" pitchFamily="2" charset="-78"/>
                <a:ea typeface="Microsoft Sans Serif" panose="020B0604020202020204" pitchFamily="34" charset="0"/>
                <a:cs typeface="Sakkal Majalla" panose="02000000000000000000" pitchFamily="2" charset="-78"/>
              </a:rPr>
              <a:t>التقويم الخارجي</a:t>
            </a:r>
          </a:p>
        </p:txBody>
      </p:sp>
      <p:cxnSp>
        <p:nvCxnSpPr>
          <p:cNvPr id="17" name="رابط كسهم مستقيم 16">
            <a:extLst>
              <a:ext uri="{FF2B5EF4-FFF2-40B4-BE49-F238E27FC236}">
                <a16:creationId xmlns:a16="http://schemas.microsoft.com/office/drawing/2014/main" id="{E452DBC2-3393-C194-C7BE-BC05C36CBE4A}"/>
              </a:ext>
            </a:extLst>
          </p:cNvPr>
          <p:cNvCxnSpPr>
            <a:cxnSpLocks/>
            <a:endCxn id="16" idx="2"/>
          </p:cNvCxnSpPr>
          <p:nvPr/>
        </p:nvCxnSpPr>
        <p:spPr>
          <a:xfrm flipV="1">
            <a:off x="9112199" y="3106873"/>
            <a:ext cx="0" cy="1043312"/>
          </a:xfrm>
          <a:prstGeom prst="straightConnector1">
            <a:avLst/>
          </a:prstGeom>
          <a:noFill/>
          <a:ln w="38100" cap="flat" cmpd="sng" algn="ctr">
            <a:solidFill>
              <a:srgbClr val="002060"/>
            </a:solidFill>
            <a:prstDash val="solid"/>
            <a:tailEnd type="triangle"/>
          </a:ln>
          <a:effectLst>
            <a:outerShdw blurRad="40000" dist="23000" dir="5400000" rotWithShape="0">
              <a:srgbClr val="000000">
                <a:alpha val="35000"/>
              </a:srgbClr>
            </a:outerShdw>
          </a:effectLst>
        </p:spPr>
      </p:cxnSp>
      <p:sp>
        <p:nvSpPr>
          <p:cNvPr id="18" name="مستطيل 17">
            <a:extLst>
              <a:ext uri="{FF2B5EF4-FFF2-40B4-BE49-F238E27FC236}">
                <a16:creationId xmlns:a16="http://schemas.microsoft.com/office/drawing/2014/main" id="{66B86B69-064F-2F9C-EDC8-EC8457B8542E}"/>
              </a:ext>
            </a:extLst>
          </p:cNvPr>
          <p:cNvSpPr/>
          <p:nvPr/>
        </p:nvSpPr>
        <p:spPr>
          <a:xfrm rot="5400000">
            <a:off x="8382113" y="2816286"/>
            <a:ext cx="1259917" cy="1708160"/>
          </a:xfrm>
          <a:prstGeom prst="rect">
            <a:avLst/>
          </a:prstGeom>
        </p:spPr>
        <p:txBody>
          <a:bodyPr wrap="square">
            <a:spAutoFit/>
          </a:bodyPr>
          <a:lstStyle/>
          <a:p>
            <a:pPr marL="0" marR="0" lvl="0" indent="0" algn="ctr" defTabSz="914400" rtl="1" eaLnBrk="1" fontAlgn="base" latinLnBrk="0" hangingPunct="1">
              <a:lnSpc>
                <a:spcPct val="150000"/>
              </a:lnSpc>
              <a:spcBef>
                <a:spcPct val="0"/>
              </a:spcBef>
              <a:spcAft>
                <a:spcPct val="0"/>
              </a:spcAft>
              <a:buClrTx/>
              <a:buSzTx/>
              <a:buFontTx/>
              <a:buNone/>
              <a:tabLst/>
              <a:defRPr/>
            </a:pPr>
            <a:r>
              <a:rPr kumimoji="0" lang="ar-SA" sz="2400" b="1" i="0" u="none" strike="noStrike" kern="0" cap="none" spc="0" normalizeH="0" baseline="0" noProof="0" dirty="0">
                <a:ln>
                  <a:noFill/>
                </a:ln>
                <a:solidFill>
                  <a:srgbClr val="0070C0"/>
                </a:solidFill>
                <a:effectLst/>
                <a:uLnTx/>
                <a:uFillTx/>
                <a:latin typeface="Sakkal Majalla" panose="02000000000000000000" pitchFamily="2" charset="-78"/>
                <a:ea typeface="+mn-ea"/>
                <a:cs typeface="Sakkal Majalla" panose="02000000000000000000" pitchFamily="2" charset="-78"/>
              </a:rPr>
              <a:t>عملية تحسين مستمرة</a:t>
            </a:r>
            <a:endParaRPr kumimoji="0" lang="en-US" sz="2400" b="1" i="0" u="none" strike="noStrike" kern="0" cap="none" spc="0" normalizeH="0" baseline="0" noProof="0" dirty="0">
              <a:ln>
                <a:noFill/>
              </a:ln>
              <a:solidFill>
                <a:srgbClr val="0070C0"/>
              </a:solidFill>
              <a:effectLst/>
              <a:uLnTx/>
              <a:uFillTx/>
              <a:latin typeface="Sakkal Majalla" panose="02000000000000000000" pitchFamily="2" charset="-78"/>
              <a:ea typeface="+mn-ea"/>
              <a:cs typeface="Sakkal Majalla" panose="02000000000000000000" pitchFamily="2" charset="-78"/>
            </a:endParaRPr>
          </a:p>
        </p:txBody>
      </p:sp>
      <p:cxnSp>
        <p:nvCxnSpPr>
          <p:cNvPr id="21" name="رابط كسهم مستقيم 20">
            <a:extLst>
              <a:ext uri="{FF2B5EF4-FFF2-40B4-BE49-F238E27FC236}">
                <a16:creationId xmlns:a16="http://schemas.microsoft.com/office/drawing/2014/main" id="{A721159D-7339-4867-874E-8D481A7B8CE7}"/>
              </a:ext>
            </a:extLst>
          </p:cNvPr>
          <p:cNvCxnSpPr>
            <a:cxnSpLocks/>
            <a:stCxn id="16" idx="1"/>
          </p:cNvCxnSpPr>
          <p:nvPr/>
        </p:nvCxnSpPr>
        <p:spPr>
          <a:xfrm flipH="1">
            <a:off x="7366545" y="2434513"/>
            <a:ext cx="941734" cy="0"/>
          </a:xfrm>
          <a:prstGeom prst="straightConnector1">
            <a:avLst/>
          </a:prstGeom>
          <a:noFill/>
          <a:ln w="38100" cap="flat" cmpd="sng" algn="ctr">
            <a:solidFill>
              <a:srgbClr val="002060"/>
            </a:solidFill>
            <a:prstDash val="solid"/>
            <a:tailEnd type="triangle"/>
          </a:ln>
          <a:effectLst>
            <a:outerShdw blurRad="40000" dist="23000" dir="5400000" rotWithShape="0">
              <a:srgbClr val="000000">
                <a:alpha val="35000"/>
              </a:srgbClr>
            </a:outerShdw>
          </a:effectLst>
        </p:spPr>
      </p:cxnSp>
      <p:sp>
        <p:nvSpPr>
          <p:cNvPr id="25" name="مستطيل 24">
            <a:extLst>
              <a:ext uri="{FF2B5EF4-FFF2-40B4-BE49-F238E27FC236}">
                <a16:creationId xmlns:a16="http://schemas.microsoft.com/office/drawing/2014/main" id="{996AA11B-6E3C-ADAE-7955-17DA93B72359}"/>
              </a:ext>
            </a:extLst>
          </p:cNvPr>
          <p:cNvSpPr/>
          <p:nvPr/>
        </p:nvSpPr>
        <p:spPr>
          <a:xfrm>
            <a:off x="3312486" y="1833775"/>
            <a:ext cx="2227063" cy="600164"/>
          </a:xfrm>
          <a:prstGeom prst="rect">
            <a:avLst/>
          </a:prstGeom>
        </p:spPr>
        <p:txBody>
          <a:bodyPr wrap="square">
            <a:spAutoFit/>
          </a:bodyPr>
          <a:lstStyle/>
          <a:p>
            <a:pPr marL="0" marR="0" lvl="0" indent="0" algn="ctr" defTabSz="914400" rtl="1" eaLnBrk="1" fontAlgn="base" latinLnBrk="0" hangingPunct="1">
              <a:lnSpc>
                <a:spcPct val="150000"/>
              </a:lnSpc>
              <a:spcBef>
                <a:spcPct val="0"/>
              </a:spcBef>
              <a:spcAft>
                <a:spcPct val="0"/>
              </a:spcAft>
              <a:buClrTx/>
              <a:buSzTx/>
              <a:buFontTx/>
              <a:buNone/>
              <a:tabLst/>
              <a:defRPr/>
            </a:pPr>
            <a:r>
              <a:rPr kumimoji="0" lang="ar-SA" sz="2400" b="1" i="0" u="none" strike="noStrike" kern="0" cap="none" spc="0" normalizeH="0" baseline="0" noProof="0" dirty="0">
                <a:ln>
                  <a:noFill/>
                </a:ln>
                <a:solidFill>
                  <a:srgbClr val="0070C0"/>
                </a:solidFill>
                <a:effectLst/>
                <a:uLnTx/>
                <a:uFillTx/>
                <a:latin typeface="Sakkal Majalla" panose="02000000000000000000" pitchFamily="2" charset="-78"/>
                <a:ea typeface="+mn-ea"/>
                <a:cs typeface="Sakkal Majalla" panose="02000000000000000000" pitchFamily="2" charset="-78"/>
              </a:rPr>
              <a:t>خطة تطوير وتحسين</a:t>
            </a:r>
            <a:endParaRPr kumimoji="0" lang="en-US" sz="2400" b="1" i="0" u="none" strike="noStrike" kern="0" cap="none" spc="0" normalizeH="0" baseline="0" noProof="0" dirty="0">
              <a:ln>
                <a:noFill/>
              </a:ln>
              <a:solidFill>
                <a:srgbClr val="0070C0"/>
              </a:solidFill>
              <a:effectLst/>
              <a:uLnTx/>
              <a:uFillTx/>
              <a:latin typeface="Sakkal Majalla" panose="02000000000000000000" pitchFamily="2" charset="-78"/>
              <a:ea typeface="+mn-ea"/>
              <a:cs typeface="Sakkal Majalla" panose="02000000000000000000" pitchFamily="2" charset="-78"/>
            </a:endParaRPr>
          </a:p>
        </p:txBody>
      </p:sp>
      <p:cxnSp>
        <p:nvCxnSpPr>
          <p:cNvPr id="29" name="رابط كسهم مستقيم 28">
            <a:extLst>
              <a:ext uri="{FF2B5EF4-FFF2-40B4-BE49-F238E27FC236}">
                <a16:creationId xmlns:a16="http://schemas.microsoft.com/office/drawing/2014/main" id="{4A05725C-E7F7-F720-59BC-B0AC59F8719C}"/>
              </a:ext>
            </a:extLst>
          </p:cNvPr>
          <p:cNvCxnSpPr/>
          <p:nvPr/>
        </p:nvCxnSpPr>
        <p:spPr>
          <a:xfrm>
            <a:off x="3051450" y="2417064"/>
            <a:ext cx="0" cy="994487"/>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3" name="مستطيل: زوايا مستديرة 4">
            <a:extLst>
              <a:ext uri="{FF2B5EF4-FFF2-40B4-BE49-F238E27FC236}">
                <a16:creationId xmlns:a16="http://schemas.microsoft.com/office/drawing/2014/main" id="{FE88EA7B-DACF-8730-541C-2C0FE239B643}"/>
              </a:ext>
            </a:extLst>
          </p:cNvPr>
          <p:cNvSpPr txBox="1"/>
          <p:nvPr/>
        </p:nvSpPr>
        <p:spPr>
          <a:xfrm>
            <a:off x="5789352" y="1744704"/>
            <a:ext cx="1607840" cy="1344720"/>
          </a:xfrm>
          <a:prstGeom prst="rect">
            <a:avLst/>
          </a:prstGeom>
          <a:solidFill>
            <a:srgbClr val="98DFBB">
              <a:lumMod val="75000"/>
            </a:srgbClr>
          </a:solidFill>
          <a:ln>
            <a:noFill/>
          </a:ln>
          <a:effectLst/>
        </p:spPr>
        <p:txBody>
          <a:bodyPr spcFirstLastPara="0" vert="horz" wrap="square" lIns="102870" tIns="102870" rIns="102870" bIns="102870" numCol="1" spcCol="1270" anchor="ctr" anchorCtr="0">
            <a:noAutofit/>
          </a:bodyPr>
          <a:lstStyle/>
          <a:p>
            <a:pPr marL="0" marR="0" lvl="0" indent="0" algn="ctr" defTabSz="1200150" rtl="1" eaLnBrk="1" fontAlgn="auto" latinLnBrk="0" hangingPunct="1">
              <a:lnSpc>
                <a:spcPct val="90000"/>
              </a:lnSpc>
              <a:spcBef>
                <a:spcPct val="0"/>
              </a:spcBef>
              <a:spcAft>
                <a:spcPct val="35000"/>
              </a:spcAft>
              <a:buClrTx/>
              <a:buSzTx/>
              <a:buFontTx/>
              <a:buNone/>
              <a:tabLst/>
              <a:defRPr/>
            </a:pPr>
            <a:r>
              <a:rPr kumimoji="0" lang="ar-SA" sz="2400" b="1" i="0" u="none" strike="noStrike" kern="0" cap="none" spc="0" normalizeH="0" baseline="0" noProof="0" dirty="0">
                <a:ln>
                  <a:noFill/>
                </a:ln>
                <a:solidFill>
                  <a:prstClr val="black"/>
                </a:solidFill>
                <a:effectLst/>
                <a:uLnTx/>
                <a:uFillTx/>
                <a:latin typeface="Sakkal Majalla" panose="02000000000000000000" pitchFamily="2" charset="-78"/>
                <a:ea typeface="Microsoft Sans Serif" panose="020B0604020202020204" pitchFamily="34" charset="0"/>
                <a:cs typeface="Sakkal Majalla" panose="02000000000000000000" pitchFamily="2" charset="-78"/>
              </a:rPr>
              <a:t>تصنيف</a:t>
            </a:r>
          </a:p>
          <a:p>
            <a:pPr marL="0" marR="0" lvl="0" indent="0" algn="ctr" defTabSz="1200150" rtl="1" eaLnBrk="1" fontAlgn="auto" latinLnBrk="0" hangingPunct="1">
              <a:lnSpc>
                <a:spcPct val="90000"/>
              </a:lnSpc>
              <a:spcBef>
                <a:spcPct val="0"/>
              </a:spcBef>
              <a:spcAft>
                <a:spcPct val="35000"/>
              </a:spcAft>
              <a:buClrTx/>
              <a:buSzTx/>
              <a:buFontTx/>
              <a:buNone/>
              <a:tabLst/>
              <a:defRPr/>
            </a:pPr>
            <a:r>
              <a:rPr kumimoji="0" lang="ar-SA" sz="2400" b="1" i="0" u="none" strike="noStrike" kern="0" cap="none" spc="0" normalizeH="0" baseline="0" noProof="0" dirty="0">
                <a:ln>
                  <a:noFill/>
                </a:ln>
                <a:solidFill>
                  <a:prstClr val="black"/>
                </a:solidFill>
                <a:effectLst/>
                <a:uLnTx/>
                <a:uFillTx/>
                <a:latin typeface="Sakkal Majalla" panose="02000000000000000000" pitchFamily="2" charset="-78"/>
                <a:ea typeface="Microsoft Sans Serif" panose="020B0604020202020204" pitchFamily="34" charset="0"/>
                <a:cs typeface="Sakkal Majalla" panose="02000000000000000000" pitchFamily="2" charset="-78"/>
              </a:rPr>
              <a:t>نتائج مفصلة عن الأداء</a:t>
            </a:r>
          </a:p>
        </p:txBody>
      </p:sp>
      <p:cxnSp>
        <p:nvCxnSpPr>
          <p:cNvPr id="34" name="رابط كسهم مستقيم 33">
            <a:extLst>
              <a:ext uri="{FF2B5EF4-FFF2-40B4-BE49-F238E27FC236}">
                <a16:creationId xmlns:a16="http://schemas.microsoft.com/office/drawing/2014/main" id="{49C818C7-E3F1-DD5A-8B88-14C421F083FD}"/>
              </a:ext>
            </a:extLst>
          </p:cNvPr>
          <p:cNvCxnSpPr>
            <a:cxnSpLocks/>
          </p:cNvCxnSpPr>
          <p:nvPr/>
        </p:nvCxnSpPr>
        <p:spPr>
          <a:xfrm flipH="1">
            <a:off x="3051450" y="2417064"/>
            <a:ext cx="2737902" cy="17449"/>
          </a:xfrm>
          <a:prstGeom prst="straightConnector1">
            <a:avLst/>
          </a:prstGeom>
          <a:noFill/>
          <a:ln w="38100" cap="flat" cmpd="sng" algn="ctr">
            <a:solidFill>
              <a:srgbClr val="002060"/>
            </a:solidFill>
            <a:prstDash val="solid"/>
            <a:tailEnd type="triangle"/>
          </a:ln>
          <a:effectLst>
            <a:outerShdw blurRad="40000" dist="23000" dir="5400000" rotWithShape="0">
              <a:srgbClr val="000000">
                <a:alpha val="35000"/>
              </a:srgbClr>
            </a:outerShdw>
          </a:effectLst>
        </p:spPr>
      </p:cxnSp>
    </p:spTree>
    <p:extLst>
      <p:ext uri="{BB962C8B-B14F-4D97-AF65-F5344CB8AC3E}">
        <p14:creationId xmlns:p14="http://schemas.microsoft.com/office/powerpoint/2010/main" val="3850500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7"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1250"/>
                                        <p:tgtEl>
                                          <p:spTgt spid="2">
                                            <p:txEl>
                                              <p:pRg st="0" end="0"/>
                                            </p:txEl>
                                          </p:spTgt>
                                        </p:tgtEl>
                                      </p:cBhvr>
                                    </p:animEffect>
                                    <p:anim calcmode="lin" valueType="num">
                                      <p:cBhvr>
                                        <p:cTn id="8" dur="1250" fill="hold"/>
                                        <p:tgtEl>
                                          <p:spTgt spid="2">
                                            <p:txEl>
                                              <p:pRg st="0" end="0"/>
                                            </p:txEl>
                                          </p:spTgt>
                                        </p:tgtEl>
                                        <p:attrNameLst>
                                          <p:attrName>ppt_x</p:attrName>
                                        </p:attrNameLst>
                                      </p:cBhvr>
                                      <p:tavLst>
                                        <p:tav tm="0">
                                          <p:val>
                                            <p:strVal val="#ppt_x"/>
                                          </p:val>
                                        </p:tav>
                                        <p:tav tm="100000">
                                          <p:val>
                                            <p:strVal val="#ppt_x"/>
                                          </p:val>
                                        </p:tav>
                                      </p:tavLst>
                                    </p:anim>
                                    <p:anim calcmode="lin" valueType="num">
                                      <p:cBhvr>
                                        <p:cTn id="9" dur="1250" fill="hold"/>
                                        <p:tgtEl>
                                          <p:spTgt spid="2">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7" presetClass="entr" presetSubtype="0" fill="hold" grpId="0" nodeType="clickEffect">
                                  <p:stCondLst>
                                    <p:cond delay="0"/>
                                  </p:stCondLst>
                                  <p:childTnLst>
                                    <p:set>
                                      <p:cBhvr>
                                        <p:cTn id="13" dur="1" fill="hold">
                                          <p:stCondLst>
                                            <p:cond delay="0"/>
                                          </p:stCondLst>
                                        </p:cTn>
                                        <p:tgtEl>
                                          <p:spTgt spid="2">
                                            <p:txEl>
                                              <p:pRg st="1" end="1"/>
                                            </p:txEl>
                                          </p:spTgt>
                                        </p:tgtEl>
                                        <p:attrNameLst>
                                          <p:attrName>style.visibility</p:attrName>
                                        </p:attrNameLst>
                                      </p:cBhvr>
                                      <p:to>
                                        <p:strVal val="visible"/>
                                      </p:to>
                                    </p:set>
                                    <p:animEffect transition="in" filter="fade">
                                      <p:cBhvr>
                                        <p:cTn id="14" dur="1250"/>
                                        <p:tgtEl>
                                          <p:spTgt spid="2">
                                            <p:txEl>
                                              <p:pRg st="1" end="1"/>
                                            </p:txEl>
                                          </p:spTgt>
                                        </p:tgtEl>
                                      </p:cBhvr>
                                    </p:animEffect>
                                    <p:anim calcmode="lin" valueType="num">
                                      <p:cBhvr>
                                        <p:cTn id="15" dur="1250" fill="hold"/>
                                        <p:tgtEl>
                                          <p:spTgt spid="2">
                                            <p:txEl>
                                              <p:pRg st="1" end="1"/>
                                            </p:txEl>
                                          </p:spTgt>
                                        </p:tgtEl>
                                        <p:attrNameLst>
                                          <p:attrName>ppt_x</p:attrName>
                                        </p:attrNameLst>
                                      </p:cBhvr>
                                      <p:tavLst>
                                        <p:tav tm="0">
                                          <p:val>
                                            <p:strVal val="#ppt_x"/>
                                          </p:val>
                                        </p:tav>
                                        <p:tav tm="100000">
                                          <p:val>
                                            <p:strVal val="#ppt_x"/>
                                          </p:val>
                                        </p:tav>
                                      </p:tavLst>
                                    </p:anim>
                                    <p:anim calcmode="lin" valueType="num">
                                      <p:cBhvr>
                                        <p:cTn id="16" dur="1250" fill="hold"/>
                                        <p:tgtEl>
                                          <p:spTgt spid="2">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16" presetClass="entr" presetSubtype="21" fill="hold" nodeType="clickEffect">
                                  <p:stCondLst>
                                    <p:cond delay="0"/>
                                  </p:stCondLst>
                                  <p:childTnLst>
                                    <p:set>
                                      <p:cBhvr>
                                        <p:cTn id="20" dur="1" fill="hold">
                                          <p:stCondLst>
                                            <p:cond delay="0"/>
                                          </p:stCondLst>
                                        </p:cTn>
                                        <p:tgtEl>
                                          <p:spTgt spid="3"/>
                                        </p:tgtEl>
                                        <p:attrNameLst>
                                          <p:attrName>style.visibility</p:attrName>
                                        </p:attrNameLst>
                                      </p:cBhvr>
                                      <p:to>
                                        <p:strVal val="visible"/>
                                      </p:to>
                                    </p:set>
                                    <p:animEffect transition="in" filter="barn(inVertical)">
                                      <p:cBhvr>
                                        <p:cTn id="21" dur="1250"/>
                                        <p:tgtEl>
                                          <p:spTgt spid="3"/>
                                        </p:tgtEl>
                                      </p:cBhvr>
                                    </p:animEffect>
                                  </p:childTnLst>
                                </p:cTn>
                              </p:par>
                            </p:childTnLst>
                          </p:cTn>
                        </p:par>
                      </p:childTnLst>
                    </p:cTn>
                  </p:par>
                  <p:par>
                    <p:cTn id="22" fill="hold">
                      <p:stCondLst>
                        <p:cond delay="indefinite"/>
                      </p:stCondLst>
                      <p:childTnLst>
                        <p:par>
                          <p:cTn id="23" fill="hold">
                            <p:stCondLst>
                              <p:cond delay="0"/>
                            </p:stCondLst>
                            <p:childTnLst>
                              <p:par>
                                <p:cTn id="24" presetID="16" presetClass="entr" presetSubtype="21" fill="hold" nodeType="clickEffect">
                                  <p:stCondLst>
                                    <p:cond delay="0"/>
                                  </p:stCondLst>
                                  <p:childTnLst>
                                    <p:set>
                                      <p:cBhvr>
                                        <p:cTn id="25" dur="1" fill="hold">
                                          <p:stCondLst>
                                            <p:cond delay="0"/>
                                          </p:stCondLst>
                                        </p:cTn>
                                        <p:tgtEl>
                                          <p:spTgt spid="7"/>
                                        </p:tgtEl>
                                        <p:attrNameLst>
                                          <p:attrName>style.visibility</p:attrName>
                                        </p:attrNameLst>
                                      </p:cBhvr>
                                      <p:to>
                                        <p:strVal val="visible"/>
                                      </p:to>
                                    </p:set>
                                    <p:animEffect transition="in" filter="barn(inVertical)">
                                      <p:cBhvr>
                                        <p:cTn id="26" dur="1250"/>
                                        <p:tgtEl>
                                          <p:spTgt spid="7"/>
                                        </p:tgtEl>
                                      </p:cBhvr>
                                    </p:animEffect>
                                  </p:childTnLst>
                                </p:cTn>
                              </p:par>
                            </p:childTnLst>
                          </p:cTn>
                        </p:par>
                      </p:childTnLst>
                    </p:cTn>
                  </p:par>
                  <p:par>
                    <p:cTn id="27" fill="hold">
                      <p:stCondLst>
                        <p:cond delay="indefinite"/>
                      </p:stCondLst>
                      <p:childTnLst>
                        <p:par>
                          <p:cTn id="28" fill="hold">
                            <p:stCondLst>
                              <p:cond delay="0"/>
                            </p:stCondLst>
                            <p:childTnLst>
                              <p:par>
                                <p:cTn id="29" presetID="6" presetClass="entr" presetSubtype="16" fill="hold" grpId="0" nodeType="clickEffect">
                                  <p:stCondLst>
                                    <p:cond delay="0"/>
                                  </p:stCondLst>
                                  <p:childTnLst>
                                    <p:set>
                                      <p:cBhvr>
                                        <p:cTn id="30" dur="1" fill="hold">
                                          <p:stCondLst>
                                            <p:cond delay="0"/>
                                          </p:stCondLst>
                                        </p:cTn>
                                        <p:tgtEl>
                                          <p:spTgt spid="6"/>
                                        </p:tgtEl>
                                        <p:attrNameLst>
                                          <p:attrName>style.visibility</p:attrName>
                                        </p:attrNameLst>
                                      </p:cBhvr>
                                      <p:to>
                                        <p:strVal val="visible"/>
                                      </p:to>
                                    </p:set>
                                    <p:animEffect transition="in" filter="circle(in)">
                                      <p:cBhvr>
                                        <p:cTn id="31" dur="1250"/>
                                        <p:tgtEl>
                                          <p:spTgt spid="6"/>
                                        </p:tgtEl>
                                      </p:cBhvr>
                                    </p:animEffect>
                                  </p:childTnLst>
                                </p:cTn>
                              </p:par>
                            </p:childTnLst>
                          </p:cTn>
                        </p:par>
                      </p:childTnLst>
                    </p:cTn>
                  </p:par>
                  <p:par>
                    <p:cTn id="32" fill="hold">
                      <p:stCondLst>
                        <p:cond delay="indefinite"/>
                      </p:stCondLst>
                      <p:childTnLst>
                        <p:par>
                          <p:cTn id="33" fill="hold">
                            <p:stCondLst>
                              <p:cond delay="0"/>
                            </p:stCondLst>
                            <p:childTnLst>
                              <p:par>
                                <p:cTn id="34" presetID="16" presetClass="entr" presetSubtype="21" fill="hold" nodeType="clickEffect">
                                  <p:stCondLst>
                                    <p:cond delay="0"/>
                                  </p:stCondLst>
                                  <p:childTnLst>
                                    <p:set>
                                      <p:cBhvr>
                                        <p:cTn id="35" dur="1" fill="hold">
                                          <p:stCondLst>
                                            <p:cond delay="0"/>
                                          </p:stCondLst>
                                        </p:cTn>
                                        <p:tgtEl>
                                          <p:spTgt spid="8"/>
                                        </p:tgtEl>
                                        <p:attrNameLst>
                                          <p:attrName>style.visibility</p:attrName>
                                        </p:attrNameLst>
                                      </p:cBhvr>
                                      <p:to>
                                        <p:strVal val="visible"/>
                                      </p:to>
                                    </p:set>
                                    <p:animEffect transition="in" filter="barn(inVertical)">
                                      <p:cBhvr>
                                        <p:cTn id="36" dur="1250"/>
                                        <p:tgtEl>
                                          <p:spTgt spid="8"/>
                                        </p:tgtEl>
                                      </p:cBhvr>
                                    </p:animEffect>
                                  </p:childTnLst>
                                </p:cTn>
                              </p:par>
                            </p:childTnLst>
                          </p:cTn>
                        </p:par>
                      </p:childTnLst>
                    </p:cTn>
                  </p:par>
                  <p:par>
                    <p:cTn id="37" fill="hold">
                      <p:stCondLst>
                        <p:cond delay="indefinite"/>
                      </p:stCondLst>
                      <p:childTnLst>
                        <p:par>
                          <p:cTn id="38" fill="hold">
                            <p:stCondLst>
                              <p:cond delay="0"/>
                            </p:stCondLst>
                            <p:childTnLst>
                              <p:par>
                                <p:cTn id="39" presetID="16" presetClass="entr" presetSubtype="21" fill="hold" nodeType="clickEffect">
                                  <p:stCondLst>
                                    <p:cond delay="0"/>
                                  </p:stCondLst>
                                  <p:childTnLst>
                                    <p:set>
                                      <p:cBhvr>
                                        <p:cTn id="40" dur="1" fill="hold">
                                          <p:stCondLst>
                                            <p:cond delay="0"/>
                                          </p:stCondLst>
                                        </p:cTn>
                                        <p:tgtEl>
                                          <p:spTgt spid="11"/>
                                        </p:tgtEl>
                                        <p:attrNameLst>
                                          <p:attrName>style.visibility</p:attrName>
                                        </p:attrNameLst>
                                      </p:cBhvr>
                                      <p:to>
                                        <p:strVal val="visible"/>
                                      </p:to>
                                    </p:set>
                                    <p:animEffect transition="in" filter="barn(inVertical)">
                                      <p:cBhvr>
                                        <p:cTn id="41" dur="1250"/>
                                        <p:tgtEl>
                                          <p:spTgt spid="11"/>
                                        </p:tgtEl>
                                      </p:cBhvr>
                                    </p:animEffect>
                                  </p:childTnLst>
                                </p:cTn>
                              </p:par>
                            </p:childTnLst>
                          </p:cTn>
                        </p:par>
                      </p:childTnLst>
                    </p:cTn>
                  </p:par>
                  <p:par>
                    <p:cTn id="42" fill="hold">
                      <p:stCondLst>
                        <p:cond delay="indefinite"/>
                      </p:stCondLst>
                      <p:childTnLst>
                        <p:par>
                          <p:cTn id="43" fill="hold">
                            <p:stCondLst>
                              <p:cond delay="0"/>
                            </p:stCondLst>
                            <p:childTnLst>
                              <p:par>
                                <p:cTn id="44" presetID="6" presetClass="entr" presetSubtype="16" fill="hold" grpId="0" nodeType="clickEffect">
                                  <p:stCondLst>
                                    <p:cond delay="0"/>
                                  </p:stCondLst>
                                  <p:childTnLst>
                                    <p:set>
                                      <p:cBhvr>
                                        <p:cTn id="45" dur="1" fill="hold">
                                          <p:stCondLst>
                                            <p:cond delay="0"/>
                                          </p:stCondLst>
                                        </p:cTn>
                                        <p:tgtEl>
                                          <p:spTgt spid="15"/>
                                        </p:tgtEl>
                                        <p:attrNameLst>
                                          <p:attrName>style.visibility</p:attrName>
                                        </p:attrNameLst>
                                      </p:cBhvr>
                                      <p:to>
                                        <p:strVal val="visible"/>
                                      </p:to>
                                    </p:set>
                                    <p:animEffect transition="in" filter="circle(in)">
                                      <p:cBhvr>
                                        <p:cTn id="46" dur="1250"/>
                                        <p:tgtEl>
                                          <p:spTgt spid="15"/>
                                        </p:tgtEl>
                                      </p:cBhvr>
                                    </p:animEffect>
                                  </p:childTnLst>
                                </p:cTn>
                              </p:par>
                            </p:childTnLst>
                          </p:cTn>
                        </p:par>
                      </p:childTnLst>
                    </p:cTn>
                  </p:par>
                  <p:par>
                    <p:cTn id="47" fill="hold">
                      <p:stCondLst>
                        <p:cond delay="indefinite"/>
                      </p:stCondLst>
                      <p:childTnLst>
                        <p:par>
                          <p:cTn id="48" fill="hold">
                            <p:stCondLst>
                              <p:cond delay="0"/>
                            </p:stCondLst>
                            <p:childTnLst>
                              <p:par>
                                <p:cTn id="49" presetID="16" presetClass="entr" presetSubtype="21" fill="hold" nodeType="clickEffect">
                                  <p:stCondLst>
                                    <p:cond delay="0"/>
                                  </p:stCondLst>
                                  <p:childTnLst>
                                    <p:set>
                                      <p:cBhvr>
                                        <p:cTn id="50" dur="1" fill="hold">
                                          <p:stCondLst>
                                            <p:cond delay="0"/>
                                          </p:stCondLst>
                                        </p:cTn>
                                        <p:tgtEl>
                                          <p:spTgt spid="12"/>
                                        </p:tgtEl>
                                        <p:attrNameLst>
                                          <p:attrName>style.visibility</p:attrName>
                                        </p:attrNameLst>
                                      </p:cBhvr>
                                      <p:to>
                                        <p:strVal val="visible"/>
                                      </p:to>
                                    </p:set>
                                    <p:animEffect transition="in" filter="barn(inVertical)">
                                      <p:cBhvr>
                                        <p:cTn id="51" dur="1250"/>
                                        <p:tgtEl>
                                          <p:spTgt spid="12"/>
                                        </p:tgtEl>
                                      </p:cBhvr>
                                    </p:animEffect>
                                  </p:childTnLst>
                                </p:cTn>
                              </p:par>
                            </p:childTnLst>
                          </p:cTn>
                        </p:par>
                      </p:childTnLst>
                    </p:cTn>
                  </p:par>
                  <p:par>
                    <p:cTn id="52" fill="hold">
                      <p:stCondLst>
                        <p:cond delay="indefinite"/>
                      </p:stCondLst>
                      <p:childTnLst>
                        <p:par>
                          <p:cTn id="53" fill="hold">
                            <p:stCondLst>
                              <p:cond delay="0"/>
                            </p:stCondLst>
                            <p:childTnLst>
                              <p:par>
                                <p:cTn id="54" presetID="16" presetClass="entr" presetSubtype="21" fill="hold" nodeType="clickEffect">
                                  <p:stCondLst>
                                    <p:cond delay="0"/>
                                  </p:stCondLst>
                                  <p:childTnLst>
                                    <p:set>
                                      <p:cBhvr>
                                        <p:cTn id="55" dur="1" fill="hold">
                                          <p:stCondLst>
                                            <p:cond delay="0"/>
                                          </p:stCondLst>
                                        </p:cTn>
                                        <p:tgtEl>
                                          <p:spTgt spid="17"/>
                                        </p:tgtEl>
                                        <p:attrNameLst>
                                          <p:attrName>style.visibility</p:attrName>
                                        </p:attrNameLst>
                                      </p:cBhvr>
                                      <p:to>
                                        <p:strVal val="visible"/>
                                      </p:to>
                                    </p:set>
                                    <p:animEffect transition="in" filter="barn(inVertical)">
                                      <p:cBhvr>
                                        <p:cTn id="56" dur="1250"/>
                                        <p:tgtEl>
                                          <p:spTgt spid="17"/>
                                        </p:tgtEl>
                                      </p:cBhvr>
                                    </p:animEffect>
                                  </p:childTnLst>
                                </p:cTn>
                              </p:par>
                            </p:childTnLst>
                          </p:cTn>
                        </p:par>
                      </p:childTnLst>
                    </p:cTn>
                  </p:par>
                  <p:par>
                    <p:cTn id="57" fill="hold">
                      <p:stCondLst>
                        <p:cond delay="indefinite"/>
                      </p:stCondLst>
                      <p:childTnLst>
                        <p:par>
                          <p:cTn id="58" fill="hold">
                            <p:stCondLst>
                              <p:cond delay="0"/>
                            </p:stCondLst>
                            <p:childTnLst>
                              <p:par>
                                <p:cTn id="59" presetID="6" presetClass="entr" presetSubtype="16" fill="hold" grpId="0" nodeType="clickEffect">
                                  <p:stCondLst>
                                    <p:cond delay="0"/>
                                  </p:stCondLst>
                                  <p:childTnLst>
                                    <p:set>
                                      <p:cBhvr>
                                        <p:cTn id="60" dur="1" fill="hold">
                                          <p:stCondLst>
                                            <p:cond delay="0"/>
                                          </p:stCondLst>
                                        </p:cTn>
                                        <p:tgtEl>
                                          <p:spTgt spid="18"/>
                                        </p:tgtEl>
                                        <p:attrNameLst>
                                          <p:attrName>style.visibility</p:attrName>
                                        </p:attrNameLst>
                                      </p:cBhvr>
                                      <p:to>
                                        <p:strVal val="visible"/>
                                      </p:to>
                                    </p:set>
                                    <p:animEffect transition="in" filter="circle(in)">
                                      <p:cBhvr>
                                        <p:cTn id="61" dur="1250"/>
                                        <p:tgtEl>
                                          <p:spTgt spid="18"/>
                                        </p:tgtEl>
                                      </p:cBhvr>
                                    </p:animEffect>
                                  </p:childTnLst>
                                </p:cTn>
                              </p:par>
                            </p:childTnLst>
                          </p:cTn>
                        </p:par>
                      </p:childTnLst>
                    </p:cTn>
                  </p:par>
                  <p:par>
                    <p:cTn id="62" fill="hold">
                      <p:stCondLst>
                        <p:cond delay="indefinite"/>
                      </p:stCondLst>
                      <p:childTnLst>
                        <p:par>
                          <p:cTn id="63" fill="hold">
                            <p:stCondLst>
                              <p:cond delay="0"/>
                            </p:stCondLst>
                            <p:childTnLst>
                              <p:par>
                                <p:cTn id="64" presetID="22" presetClass="entr" presetSubtype="4" fill="hold" grpId="0" nodeType="clickEffect">
                                  <p:stCondLst>
                                    <p:cond delay="0"/>
                                  </p:stCondLst>
                                  <p:childTnLst>
                                    <p:set>
                                      <p:cBhvr>
                                        <p:cTn id="65" dur="1" fill="hold">
                                          <p:stCondLst>
                                            <p:cond delay="0"/>
                                          </p:stCondLst>
                                        </p:cTn>
                                        <p:tgtEl>
                                          <p:spTgt spid="16"/>
                                        </p:tgtEl>
                                        <p:attrNameLst>
                                          <p:attrName>style.visibility</p:attrName>
                                        </p:attrNameLst>
                                      </p:cBhvr>
                                      <p:to>
                                        <p:strVal val="visible"/>
                                      </p:to>
                                    </p:set>
                                    <p:animEffect transition="in" filter="wipe(down)">
                                      <p:cBhvr>
                                        <p:cTn id="66" dur="1250"/>
                                        <p:tgtEl>
                                          <p:spTgt spid="16"/>
                                        </p:tgtEl>
                                      </p:cBhvr>
                                    </p:animEffect>
                                  </p:childTnLst>
                                </p:cTn>
                              </p:par>
                            </p:childTnLst>
                          </p:cTn>
                        </p:par>
                      </p:childTnLst>
                    </p:cTn>
                  </p:par>
                  <p:par>
                    <p:cTn id="67" fill="hold">
                      <p:stCondLst>
                        <p:cond delay="indefinite"/>
                      </p:stCondLst>
                      <p:childTnLst>
                        <p:par>
                          <p:cTn id="68" fill="hold">
                            <p:stCondLst>
                              <p:cond delay="0"/>
                            </p:stCondLst>
                            <p:childTnLst>
                              <p:par>
                                <p:cTn id="69" presetID="16" presetClass="entr" presetSubtype="21" fill="hold" nodeType="clickEffect">
                                  <p:stCondLst>
                                    <p:cond delay="0"/>
                                  </p:stCondLst>
                                  <p:childTnLst>
                                    <p:set>
                                      <p:cBhvr>
                                        <p:cTn id="70" dur="1" fill="hold">
                                          <p:stCondLst>
                                            <p:cond delay="0"/>
                                          </p:stCondLst>
                                        </p:cTn>
                                        <p:tgtEl>
                                          <p:spTgt spid="21"/>
                                        </p:tgtEl>
                                        <p:attrNameLst>
                                          <p:attrName>style.visibility</p:attrName>
                                        </p:attrNameLst>
                                      </p:cBhvr>
                                      <p:to>
                                        <p:strVal val="visible"/>
                                      </p:to>
                                    </p:set>
                                    <p:animEffect transition="in" filter="barn(inVertical)">
                                      <p:cBhvr>
                                        <p:cTn id="71" dur="1250"/>
                                        <p:tgtEl>
                                          <p:spTgt spid="21"/>
                                        </p:tgtEl>
                                      </p:cBhvr>
                                    </p:animEffect>
                                  </p:childTnLst>
                                </p:cTn>
                              </p:par>
                            </p:childTnLst>
                          </p:cTn>
                        </p:par>
                      </p:childTnLst>
                    </p:cTn>
                  </p:par>
                  <p:par>
                    <p:cTn id="72" fill="hold">
                      <p:stCondLst>
                        <p:cond delay="indefinite"/>
                      </p:stCondLst>
                      <p:childTnLst>
                        <p:par>
                          <p:cTn id="73" fill="hold">
                            <p:stCondLst>
                              <p:cond delay="0"/>
                            </p:stCondLst>
                            <p:childTnLst>
                              <p:par>
                                <p:cTn id="74" presetID="22" presetClass="entr" presetSubtype="4" fill="hold" grpId="0" nodeType="clickEffect">
                                  <p:stCondLst>
                                    <p:cond delay="0"/>
                                  </p:stCondLst>
                                  <p:childTnLst>
                                    <p:set>
                                      <p:cBhvr>
                                        <p:cTn id="75" dur="1" fill="hold">
                                          <p:stCondLst>
                                            <p:cond delay="0"/>
                                          </p:stCondLst>
                                        </p:cTn>
                                        <p:tgtEl>
                                          <p:spTgt spid="33"/>
                                        </p:tgtEl>
                                        <p:attrNameLst>
                                          <p:attrName>style.visibility</p:attrName>
                                        </p:attrNameLst>
                                      </p:cBhvr>
                                      <p:to>
                                        <p:strVal val="visible"/>
                                      </p:to>
                                    </p:set>
                                    <p:animEffect transition="in" filter="wipe(down)">
                                      <p:cBhvr>
                                        <p:cTn id="76" dur="1250"/>
                                        <p:tgtEl>
                                          <p:spTgt spid="33"/>
                                        </p:tgtEl>
                                      </p:cBhvr>
                                    </p:animEffect>
                                  </p:childTnLst>
                                </p:cTn>
                              </p:par>
                            </p:childTnLst>
                          </p:cTn>
                        </p:par>
                      </p:childTnLst>
                    </p:cTn>
                  </p:par>
                  <p:par>
                    <p:cTn id="77" fill="hold">
                      <p:stCondLst>
                        <p:cond delay="indefinite"/>
                      </p:stCondLst>
                      <p:childTnLst>
                        <p:par>
                          <p:cTn id="78" fill="hold">
                            <p:stCondLst>
                              <p:cond delay="0"/>
                            </p:stCondLst>
                            <p:childTnLst>
                              <p:par>
                                <p:cTn id="79" presetID="16" presetClass="entr" presetSubtype="21" fill="hold" nodeType="clickEffect">
                                  <p:stCondLst>
                                    <p:cond delay="0"/>
                                  </p:stCondLst>
                                  <p:childTnLst>
                                    <p:set>
                                      <p:cBhvr>
                                        <p:cTn id="80" dur="1" fill="hold">
                                          <p:stCondLst>
                                            <p:cond delay="0"/>
                                          </p:stCondLst>
                                        </p:cTn>
                                        <p:tgtEl>
                                          <p:spTgt spid="34"/>
                                        </p:tgtEl>
                                        <p:attrNameLst>
                                          <p:attrName>style.visibility</p:attrName>
                                        </p:attrNameLst>
                                      </p:cBhvr>
                                      <p:to>
                                        <p:strVal val="visible"/>
                                      </p:to>
                                    </p:set>
                                    <p:animEffect transition="in" filter="barn(inVertical)">
                                      <p:cBhvr>
                                        <p:cTn id="81" dur="1250"/>
                                        <p:tgtEl>
                                          <p:spTgt spid="34"/>
                                        </p:tgtEl>
                                      </p:cBhvr>
                                    </p:animEffect>
                                  </p:childTnLst>
                                </p:cTn>
                              </p:par>
                            </p:childTnLst>
                          </p:cTn>
                        </p:par>
                      </p:childTnLst>
                    </p:cTn>
                  </p:par>
                  <p:par>
                    <p:cTn id="82" fill="hold">
                      <p:stCondLst>
                        <p:cond delay="indefinite"/>
                      </p:stCondLst>
                      <p:childTnLst>
                        <p:par>
                          <p:cTn id="83" fill="hold">
                            <p:stCondLst>
                              <p:cond delay="0"/>
                            </p:stCondLst>
                            <p:childTnLst>
                              <p:par>
                                <p:cTn id="84" presetID="6" presetClass="entr" presetSubtype="16" fill="hold" grpId="0" nodeType="click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circle(in)">
                                      <p:cBhvr>
                                        <p:cTn id="86" dur="1250"/>
                                        <p:tgtEl>
                                          <p:spTgt spid="25"/>
                                        </p:tgtEl>
                                      </p:cBhvr>
                                    </p:animEffect>
                                  </p:childTnLst>
                                </p:cTn>
                              </p:par>
                            </p:childTnLst>
                          </p:cTn>
                        </p:par>
                      </p:childTnLst>
                    </p:cTn>
                  </p:par>
                  <p:par>
                    <p:cTn id="87" fill="hold">
                      <p:stCondLst>
                        <p:cond delay="indefinite"/>
                      </p:stCondLst>
                      <p:childTnLst>
                        <p:par>
                          <p:cTn id="88" fill="hold">
                            <p:stCondLst>
                              <p:cond delay="0"/>
                            </p:stCondLst>
                            <p:childTnLst>
                              <p:par>
                                <p:cTn id="89" presetID="16" presetClass="entr" presetSubtype="21" fill="hold" nodeType="clickEffect">
                                  <p:stCondLst>
                                    <p:cond delay="0"/>
                                  </p:stCondLst>
                                  <p:childTnLst>
                                    <p:set>
                                      <p:cBhvr>
                                        <p:cTn id="90" dur="1" fill="hold">
                                          <p:stCondLst>
                                            <p:cond delay="0"/>
                                          </p:stCondLst>
                                        </p:cTn>
                                        <p:tgtEl>
                                          <p:spTgt spid="29"/>
                                        </p:tgtEl>
                                        <p:attrNameLst>
                                          <p:attrName>style.visibility</p:attrName>
                                        </p:attrNameLst>
                                      </p:cBhvr>
                                      <p:to>
                                        <p:strVal val="visible"/>
                                      </p:to>
                                    </p:set>
                                    <p:animEffect transition="in" filter="barn(inVertical)">
                                      <p:cBhvr>
                                        <p:cTn id="91" dur="125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P spid="6" grpId="0"/>
      <p:bldP spid="15" grpId="0"/>
      <p:bldP spid="16" grpId="0" animBg="1"/>
      <p:bldP spid="18" grpId="0"/>
      <p:bldP spid="25" grpId="0"/>
      <p:bldP spid="33" grpId="0" animBg="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صورة 2">
            <a:extLst>
              <a:ext uri="{FF2B5EF4-FFF2-40B4-BE49-F238E27FC236}">
                <a16:creationId xmlns:a16="http://schemas.microsoft.com/office/drawing/2014/main" id="{64630C01-D06A-3496-6250-83A4D7032F1D}"/>
              </a:ext>
            </a:extLst>
          </p:cNvPr>
          <p:cNvPicPr>
            <a:picLocks noChangeAspect="1"/>
          </p:cNvPicPr>
          <p:nvPr/>
        </p:nvPicPr>
        <p:blipFill>
          <a:blip r:embed="rId2"/>
          <a:stretch>
            <a:fillRect/>
          </a:stretch>
        </p:blipFill>
        <p:spPr>
          <a:xfrm>
            <a:off x="182880" y="81280"/>
            <a:ext cx="11887200" cy="6705600"/>
          </a:xfrm>
          <a:prstGeom prst="rect">
            <a:avLst/>
          </a:prstGeom>
        </p:spPr>
      </p:pic>
    </p:spTree>
    <p:extLst>
      <p:ext uri="{BB962C8B-B14F-4D97-AF65-F5344CB8AC3E}">
        <p14:creationId xmlns:p14="http://schemas.microsoft.com/office/powerpoint/2010/main" val="300485188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صورة 2">
            <a:extLst>
              <a:ext uri="{FF2B5EF4-FFF2-40B4-BE49-F238E27FC236}">
                <a16:creationId xmlns:a16="http://schemas.microsoft.com/office/drawing/2014/main" id="{797067FE-44AB-F676-4BB1-1929B7E8B4B3}"/>
              </a:ext>
            </a:extLst>
          </p:cNvPr>
          <p:cNvPicPr>
            <a:picLocks noChangeAspect="1"/>
          </p:cNvPicPr>
          <p:nvPr/>
        </p:nvPicPr>
        <p:blipFill>
          <a:blip r:embed="rId2"/>
          <a:stretch>
            <a:fillRect/>
          </a:stretch>
        </p:blipFill>
        <p:spPr>
          <a:xfrm>
            <a:off x="142240" y="81280"/>
            <a:ext cx="11917680" cy="6675120"/>
          </a:xfrm>
          <a:prstGeom prst="rect">
            <a:avLst/>
          </a:prstGeom>
        </p:spPr>
      </p:pic>
    </p:spTree>
    <p:extLst>
      <p:ext uri="{BB962C8B-B14F-4D97-AF65-F5344CB8AC3E}">
        <p14:creationId xmlns:p14="http://schemas.microsoft.com/office/powerpoint/2010/main" val="36194242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صورة 2">
            <a:extLst>
              <a:ext uri="{FF2B5EF4-FFF2-40B4-BE49-F238E27FC236}">
                <a16:creationId xmlns:a16="http://schemas.microsoft.com/office/drawing/2014/main" id="{FD6AAE22-6D21-6994-59E8-2CBDE0554204}"/>
              </a:ext>
            </a:extLst>
          </p:cNvPr>
          <p:cNvPicPr>
            <a:picLocks noChangeAspect="1"/>
          </p:cNvPicPr>
          <p:nvPr/>
        </p:nvPicPr>
        <p:blipFill>
          <a:blip r:embed="rId2"/>
          <a:stretch>
            <a:fillRect/>
          </a:stretch>
        </p:blipFill>
        <p:spPr>
          <a:xfrm>
            <a:off x="172720" y="71120"/>
            <a:ext cx="11897360" cy="6675120"/>
          </a:xfrm>
          <a:prstGeom prst="rect">
            <a:avLst/>
          </a:prstGeom>
        </p:spPr>
      </p:pic>
    </p:spTree>
    <p:extLst>
      <p:ext uri="{BB962C8B-B14F-4D97-AF65-F5344CB8AC3E}">
        <p14:creationId xmlns:p14="http://schemas.microsoft.com/office/powerpoint/2010/main" val="299320172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صورة 2">
            <a:extLst>
              <a:ext uri="{FF2B5EF4-FFF2-40B4-BE49-F238E27FC236}">
                <a16:creationId xmlns:a16="http://schemas.microsoft.com/office/drawing/2014/main" id="{910E555B-0142-4D46-53AC-9A1B71099DA5}"/>
              </a:ext>
            </a:extLst>
          </p:cNvPr>
          <p:cNvPicPr>
            <a:picLocks noChangeAspect="1"/>
          </p:cNvPicPr>
          <p:nvPr/>
        </p:nvPicPr>
        <p:blipFill>
          <a:blip r:embed="rId2"/>
          <a:stretch>
            <a:fillRect/>
          </a:stretch>
        </p:blipFill>
        <p:spPr>
          <a:xfrm>
            <a:off x="101600" y="71120"/>
            <a:ext cx="11978640" cy="6685280"/>
          </a:xfrm>
          <a:prstGeom prst="rect">
            <a:avLst/>
          </a:prstGeom>
        </p:spPr>
      </p:pic>
    </p:spTree>
    <p:extLst>
      <p:ext uri="{BB962C8B-B14F-4D97-AF65-F5344CB8AC3E}">
        <p14:creationId xmlns:p14="http://schemas.microsoft.com/office/powerpoint/2010/main" val="151736378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صورة 2">
            <a:extLst>
              <a:ext uri="{FF2B5EF4-FFF2-40B4-BE49-F238E27FC236}">
                <a16:creationId xmlns:a16="http://schemas.microsoft.com/office/drawing/2014/main" id="{7C5A6302-8796-E8A7-282D-947077909761}"/>
              </a:ext>
            </a:extLst>
          </p:cNvPr>
          <p:cNvPicPr>
            <a:picLocks noChangeAspect="1"/>
          </p:cNvPicPr>
          <p:nvPr/>
        </p:nvPicPr>
        <p:blipFill>
          <a:blip r:embed="rId2"/>
          <a:stretch>
            <a:fillRect/>
          </a:stretch>
        </p:blipFill>
        <p:spPr>
          <a:xfrm>
            <a:off x="172720" y="60960"/>
            <a:ext cx="11927840" cy="6685280"/>
          </a:xfrm>
          <a:prstGeom prst="rect">
            <a:avLst/>
          </a:prstGeom>
        </p:spPr>
      </p:pic>
    </p:spTree>
    <p:extLst>
      <p:ext uri="{BB962C8B-B14F-4D97-AF65-F5344CB8AC3E}">
        <p14:creationId xmlns:p14="http://schemas.microsoft.com/office/powerpoint/2010/main" val="351382630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صورة 2">
            <a:extLst>
              <a:ext uri="{FF2B5EF4-FFF2-40B4-BE49-F238E27FC236}">
                <a16:creationId xmlns:a16="http://schemas.microsoft.com/office/drawing/2014/main" id="{686BE24B-DCDB-A333-4CC1-E2B0CC7920DA}"/>
              </a:ext>
            </a:extLst>
          </p:cNvPr>
          <p:cNvPicPr>
            <a:picLocks noChangeAspect="1"/>
          </p:cNvPicPr>
          <p:nvPr/>
        </p:nvPicPr>
        <p:blipFill>
          <a:blip r:embed="rId2"/>
          <a:stretch>
            <a:fillRect/>
          </a:stretch>
        </p:blipFill>
        <p:spPr>
          <a:xfrm>
            <a:off x="152400" y="101600"/>
            <a:ext cx="11937999" cy="6654800"/>
          </a:xfrm>
          <a:prstGeom prst="rect">
            <a:avLst/>
          </a:prstGeom>
        </p:spPr>
      </p:pic>
    </p:spTree>
    <p:extLst>
      <p:ext uri="{BB962C8B-B14F-4D97-AF65-F5344CB8AC3E}">
        <p14:creationId xmlns:p14="http://schemas.microsoft.com/office/powerpoint/2010/main" val="387402549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صورة 2">
            <a:extLst>
              <a:ext uri="{FF2B5EF4-FFF2-40B4-BE49-F238E27FC236}">
                <a16:creationId xmlns:a16="http://schemas.microsoft.com/office/drawing/2014/main" id="{7E8B53A7-3E49-E04D-4BA1-74DE466156B3}"/>
              </a:ext>
            </a:extLst>
          </p:cNvPr>
          <p:cNvPicPr>
            <a:picLocks noChangeAspect="1"/>
          </p:cNvPicPr>
          <p:nvPr/>
        </p:nvPicPr>
        <p:blipFill>
          <a:blip r:embed="rId2"/>
          <a:stretch>
            <a:fillRect/>
          </a:stretch>
        </p:blipFill>
        <p:spPr>
          <a:xfrm>
            <a:off x="142240" y="91440"/>
            <a:ext cx="11938000" cy="6664960"/>
          </a:xfrm>
          <a:prstGeom prst="rect">
            <a:avLst/>
          </a:prstGeom>
        </p:spPr>
      </p:pic>
    </p:spTree>
    <p:extLst>
      <p:ext uri="{BB962C8B-B14F-4D97-AF65-F5344CB8AC3E}">
        <p14:creationId xmlns:p14="http://schemas.microsoft.com/office/powerpoint/2010/main" val="52150475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
            <a:extLst>
              <a:ext uri="{FF2B5EF4-FFF2-40B4-BE49-F238E27FC236}">
                <a16:creationId xmlns:a16="http://schemas.microsoft.com/office/drawing/2014/main" id="{32E17B08-5E34-81A9-AA9E-17A1D609881C}"/>
              </a:ext>
            </a:extLst>
          </p:cNvPr>
          <p:cNvSpPr>
            <a:spLocks noChangeArrowheads="1"/>
          </p:cNvSpPr>
          <p:nvPr/>
        </p:nvSpPr>
        <p:spPr bwMode="auto">
          <a:xfrm>
            <a:off x="12054600" y="-1513928"/>
            <a:ext cx="184730" cy="461665"/>
          </a:xfrm>
          <a:prstGeom prst="rect">
            <a:avLst/>
          </a:prstGeom>
          <a:noFill/>
          <a:ln>
            <a:noFill/>
          </a:ln>
          <a:effectLst/>
          <a:extLst>
            <a:ext uri="{909E8E84-426E-40DD-AFC4-6F175D3DCCD1}">
              <a14:hiddenFill xmlns:a14="http://schemas.microsoft.com/office/drawing/2010/main">
                <a:solidFill>
                  <a:srgbClr val="CCFFCC"/>
                </a:solidFill>
              </a14:hiddenFill>
            </a:ext>
            <a:ext uri="{91240B29-F687-4F45-9708-019B960494DF}">
              <a14:hiddenLine xmlns:a14="http://schemas.microsoft.com/office/drawing/2010/main" w="12700" cap="sq">
                <a:solidFill>
                  <a:srgbClr val="000000"/>
                </a:solidFill>
                <a:miter lim="800000"/>
                <a:headEnd/>
                <a:tailEnd/>
              </a14:hiddenLine>
            </a:ext>
            <a:ext uri="{AF507438-7753-43E0-B8FC-AC1667EBCBE1}">
              <a14:hiddenEffects xmlns:a14="http://schemas.microsoft.com/office/drawing/2010/main">
                <a:effectLst>
                  <a:outerShdw dist="107763" dir="18900000" algn="ctr" rotWithShape="0">
                    <a:schemeClr val="bg2"/>
                  </a:outerShdw>
                </a:effectLst>
              </a14:hiddenEffects>
            </a:ext>
          </a:extLst>
        </p:spPr>
        <p:txBody>
          <a:bodyPr wrap="none" anchor="ctr">
            <a:spAutoFit/>
          </a:bodyPr>
          <a:lstStyle/>
          <a:p>
            <a:endParaRPr lang="ar-SA" sz="2400"/>
          </a:p>
        </p:txBody>
      </p:sp>
      <p:sp>
        <p:nvSpPr>
          <p:cNvPr id="37" name="Freeform 4">
            <a:extLst>
              <a:ext uri="{FF2B5EF4-FFF2-40B4-BE49-F238E27FC236}">
                <a16:creationId xmlns:a16="http://schemas.microsoft.com/office/drawing/2014/main" id="{F64279E1-87A2-D765-DC95-FDBB85304E90}"/>
              </a:ext>
            </a:extLst>
          </p:cNvPr>
          <p:cNvSpPr>
            <a:spLocks/>
          </p:cNvSpPr>
          <p:nvPr/>
        </p:nvSpPr>
        <p:spPr bwMode="auto">
          <a:xfrm>
            <a:off x="2686813" y="1433647"/>
            <a:ext cx="9245600" cy="5080000"/>
          </a:xfrm>
          <a:custGeom>
            <a:avLst/>
            <a:gdLst>
              <a:gd name="T0" fmla="*/ 0 w 4320"/>
              <a:gd name="T1" fmla="*/ 0 h 2304"/>
              <a:gd name="T2" fmla="*/ 480 w 4320"/>
              <a:gd name="T3" fmla="*/ 816 h 2304"/>
              <a:gd name="T4" fmla="*/ 912 w 4320"/>
              <a:gd name="T5" fmla="*/ 720 h 2304"/>
              <a:gd name="T6" fmla="*/ 3216 w 4320"/>
              <a:gd name="T7" fmla="*/ 2304 h 2304"/>
              <a:gd name="T8" fmla="*/ 4320 w 4320"/>
              <a:gd name="T9" fmla="*/ 1872 h 2304"/>
              <a:gd name="T10" fmla="*/ 1488 w 4320"/>
              <a:gd name="T11" fmla="*/ 528 h 2304"/>
              <a:gd name="T12" fmla="*/ 1872 w 4320"/>
              <a:gd name="T13" fmla="*/ 432 h 2304"/>
              <a:gd name="T14" fmla="*/ 0 w 4320"/>
              <a:gd name="T15" fmla="*/ 0 h 2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20" h="2304">
                <a:moveTo>
                  <a:pt x="0" y="0"/>
                </a:moveTo>
                <a:lnTo>
                  <a:pt x="480" y="816"/>
                </a:lnTo>
                <a:lnTo>
                  <a:pt x="912" y="720"/>
                </a:lnTo>
                <a:lnTo>
                  <a:pt x="3216" y="2304"/>
                </a:lnTo>
                <a:lnTo>
                  <a:pt x="4320" y="1872"/>
                </a:lnTo>
                <a:lnTo>
                  <a:pt x="1488" y="528"/>
                </a:lnTo>
                <a:lnTo>
                  <a:pt x="1872" y="432"/>
                </a:lnTo>
                <a:lnTo>
                  <a:pt x="0" y="0"/>
                </a:lnTo>
                <a:close/>
              </a:path>
            </a:pathLst>
          </a:custGeom>
          <a:gradFill rotWithShape="0">
            <a:gsLst>
              <a:gs pos="0">
                <a:srgbClr val="0000CC"/>
              </a:gs>
              <a:gs pos="100000">
                <a:srgbClr val="0000CC"/>
              </a:gs>
            </a:gsLst>
            <a:lin ang="5400000" scaled="1"/>
          </a:gradFill>
          <a:ln>
            <a:noFill/>
          </a:ln>
          <a:effectLst/>
          <a:scene3d>
            <a:camera prst="legacyPerspectiveBottomLeft"/>
            <a:lightRig rig="legacyFlat3" dir="b"/>
          </a:scene3d>
          <a:sp3d extrusionH="227000" prstMaterial="legacyMatte">
            <a:bevelT w="13500" h="13500" prst="angle"/>
            <a:bevelB w="13500" h="13500" prst="angle"/>
            <a:extrusionClr>
              <a:srgbClr val="0000CC"/>
            </a:extrusionClr>
            <a:contourClr>
              <a:srgbClr val="0000CC"/>
            </a:contourClr>
          </a:sp3d>
          <a:extLst>
            <a:ext uri="{91240B29-F687-4F45-9708-019B960494DF}">
              <a14:hiddenLine xmlns:a14="http://schemas.microsoft.com/office/drawing/2010/main" w="9525">
                <a:noFill/>
                <a:round/>
                <a:headEnd/>
                <a:tailEnd/>
              </a14:hiddenLine>
            </a:ext>
            <a:ext uri="{AF507438-7753-43E0-B8FC-AC1667EBCBE1}">
              <a14:hiddenEffects xmlns:a14="http://schemas.microsoft.com/office/drawing/2010/main">
                <a:effectLst>
                  <a:outerShdw dist="194273" dir="6078596" algn="ctr" rotWithShape="0">
                    <a:srgbClr val="008000"/>
                  </a:outerShdw>
                </a:effectLst>
              </a14:hiddenEffects>
            </a:ext>
          </a:extLst>
        </p:spPr>
        <p:txBody>
          <a:bodyPr wrap="none" anchor="ctr">
            <a:flatTx/>
          </a:bodyPr>
          <a:lstStyle/>
          <a:p>
            <a:endParaRPr lang="ar-SA" sz="2400"/>
          </a:p>
        </p:txBody>
      </p:sp>
      <p:grpSp>
        <p:nvGrpSpPr>
          <p:cNvPr id="38" name="Group 5">
            <a:extLst>
              <a:ext uri="{FF2B5EF4-FFF2-40B4-BE49-F238E27FC236}">
                <a16:creationId xmlns:a16="http://schemas.microsoft.com/office/drawing/2014/main" id="{52C09BF5-A81E-BDD1-5C74-30E8259190A5}"/>
              </a:ext>
            </a:extLst>
          </p:cNvPr>
          <p:cNvGrpSpPr>
            <a:grpSpLocks/>
          </p:cNvGrpSpPr>
          <p:nvPr/>
        </p:nvGrpSpPr>
        <p:grpSpPr bwMode="auto">
          <a:xfrm>
            <a:off x="8482247" y="4919796"/>
            <a:ext cx="2741083" cy="1236133"/>
            <a:chOff x="3312" y="3168"/>
            <a:chExt cx="1256" cy="678"/>
          </a:xfrm>
        </p:grpSpPr>
        <p:sp>
          <p:nvSpPr>
            <p:cNvPr id="39" name="Freeform 6">
              <a:extLst>
                <a:ext uri="{FF2B5EF4-FFF2-40B4-BE49-F238E27FC236}">
                  <a16:creationId xmlns:a16="http://schemas.microsoft.com/office/drawing/2014/main" id="{FC625C5D-FDF9-341C-E13E-3BB33428CF5A}"/>
                </a:ext>
              </a:extLst>
            </p:cNvPr>
            <p:cNvSpPr>
              <a:spLocks/>
            </p:cNvSpPr>
            <p:nvPr/>
          </p:nvSpPr>
          <p:spPr bwMode="auto">
            <a:xfrm>
              <a:off x="3312" y="3408"/>
              <a:ext cx="624" cy="438"/>
            </a:xfrm>
            <a:custGeom>
              <a:avLst/>
              <a:gdLst>
                <a:gd name="T0" fmla="*/ 30 w 624"/>
                <a:gd name="T1" fmla="*/ 48 h 438"/>
                <a:gd name="T2" fmla="*/ 132 w 624"/>
                <a:gd name="T3" fmla="*/ 189 h 438"/>
                <a:gd name="T4" fmla="*/ 216 w 624"/>
                <a:gd name="T5" fmla="*/ 168 h 438"/>
                <a:gd name="T6" fmla="*/ 456 w 624"/>
                <a:gd name="T7" fmla="*/ 438 h 438"/>
                <a:gd name="T8" fmla="*/ 624 w 624"/>
                <a:gd name="T9" fmla="*/ 384 h 438"/>
                <a:gd name="T10" fmla="*/ 270 w 624"/>
                <a:gd name="T11" fmla="*/ 153 h 438"/>
                <a:gd name="T12" fmla="*/ 336 w 624"/>
                <a:gd name="T13" fmla="*/ 138 h 438"/>
                <a:gd name="T14" fmla="*/ 0 w 624"/>
                <a:gd name="T15" fmla="*/ 0 h 438"/>
                <a:gd name="T16" fmla="*/ 30 w 624"/>
                <a:gd name="T17" fmla="*/ 48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4" h="438">
                  <a:moveTo>
                    <a:pt x="30" y="48"/>
                  </a:moveTo>
                  <a:lnTo>
                    <a:pt x="132" y="189"/>
                  </a:lnTo>
                  <a:lnTo>
                    <a:pt x="216" y="168"/>
                  </a:lnTo>
                  <a:lnTo>
                    <a:pt x="456" y="438"/>
                  </a:lnTo>
                  <a:lnTo>
                    <a:pt x="624" y="384"/>
                  </a:lnTo>
                  <a:lnTo>
                    <a:pt x="270" y="153"/>
                  </a:lnTo>
                  <a:lnTo>
                    <a:pt x="336" y="138"/>
                  </a:lnTo>
                  <a:lnTo>
                    <a:pt x="0" y="0"/>
                  </a:lnTo>
                  <a:lnTo>
                    <a:pt x="30" y="48"/>
                  </a:lnTo>
                  <a:close/>
                </a:path>
              </a:pathLst>
            </a:custGeom>
            <a:solidFill>
              <a:srgbClr val="FFFF00"/>
            </a:solidFill>
            <a:ln>
              <a:noFill/>
            </a:ln>
            <a:effectLst>
              <a:outerShdw dist="52363" dir="6242175" algn="ctr" rotWithShape="0">
                <a:schemeClr val="bg2"/>
              </a:outerShdw>
            </a:effectLst>
            <a:extLst>
              <a:ext uri="{91240B29-F687-4F45-9708-019B960494DF}">
                <a14:hiddenLine xmlns:a14="http://schemas.microsoft.com/office/drawing/2010/main" w="12700" cmpd="sng">
                  <a:solidFill>
                    <a:schemeClr val="bg2"/>
                  </a:solidFill>
                  <a:round/>
                  <a:headEnd/>
                  <a:tailEnd/>
                </a14:hiddenLine>
              </a:ext>
            </a:extLst>
          </p:spPr>
          <p:txBody>
            <a:bodyPr wrap="none" anchor="ctr"/>
            <a:lstStyle/>
            <a:p>
              <a:endParaRPr lang="ar-SA" sz="2400"/>
            </a:p>
          </p:txBody>
        </p:sp>
        <p:sp>
          <p:nvSpPr>
            <p:cNvPr id="40" name="Freeform 7">
              <a:extLst>
                <a:ext uri="{FF2B5EF4-FFF2-40B4-BE49-F238E27FC236}">
                  <a16:creationId xmlns:a16="http://schemas.microsoft.com/office/drawing/2014/main" id="{019143FB-DA42-E0D3-B99A-8D2179A75A55}"/>
                </a:ext>
              </a:extLst>
            </p:cNvPr>
            <p:cNvSpPr>
              <a:spLocks/>
            </p:cNvSpPr>
            <p:nvPr/>
          </p:nvSpPr>
          <p:spPr bwMode="auto">
            <a:xfrm>
              <a:off x="3648" y="3264"/>
              <a:ext cx="624" cy="448"/>
            </a:xfrm>
            <a:custGeom>
              <a:avLst/>
              <a:gdLst>
                <a:gd name="T0" fmla="*/ 30 w 624"/>
                <a:gd name="T1" fmla="*/ 48 h 448"/>
                <a:gd name="T2" fmla="*/ 153 w 624"/>
                <a:gd name="T3" fmla="*/ 204 h 448"/>
                <a:gd name="T4" fmla="*/ 222 w 624"/>
                <a:gd name="T5" fmla="*/ 192 h 448"/>
                <a:gd name="T6" fmla="*/ 448 w 624"/>
                <a:gd name="T7" fmla="*/ 448 h 448"/>
                <a:gd name="T8" fmla="*/ 624 w 624"/>
                <a:gd name="T9" fmla="*/ 384 h 448"/>
                <a:gd name="T10" fmla="*/ 282 w 624"/>
                <a:gd name="T11" fmla="*/ 174 h 448"/>
                <a:gd name="T12" fmla="*/ 342 w 624"/>
                <a:gd name="T13" fmla="*/ 159 h 448"/>
                <a:gd name="T14" fmla="*/ 9 w 624"/>
                <a:gd name="T15" fmla="*/ 9 h 448"/>
                <a:gd name="T16" fmla="*/ 0 w 624"/>
                <a:gd name="T17" fmla="*/ 0 h 448"/>
                <a:gd name="T18" fmla="*/ 30 w 624"/>
                <a:gd name="T19" fmla="*/ 48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4" h="448">
                  <a:moveTo>
                    <a:pt x="30" y="48"/>
                  </a:moveTo>
                  <a:lnTo>
                    <a:pt x="153" y="204"/>
                  </a:lnTo>
                  <a:lnTo>
                    <a:pt x="222" y="192"/>
                  </a:lnTo>
                  <a:lnTo>
                    <a:pt x="448" y="448"/>
                  </a:lnTo>
                  <a:lnTo>
                    <a:pt x="624" y="384"/>
                  </a:lnTo>
                  <a:lnTo>
                    <a:pt x="282" y="174"/>
                  </a:lnTo>
                  <a:lnTo>
                    <a:pt x="342" y="159"/>
                  </a:lnTo>
                  <a:lnTo>
                    <a:pt x="9" y="9"/>
                  </a:lnTo>
                  <a:lnTo>
                    <a:pt x="0" y="0"/>
                  </a:lnTo>
                  <a:lnTo>
                    <a:pt x="30" y="48"/>
                  </a:lnTo>
                  <a:close/>
                </a:path>
              </a:pathLst>
            </a:custGeom>
            <a:solidFill>
              <a:srgbClr val="FFFF00"/>
            </a:solidFill>
            <a:ln>
              <a:noFill/>
            </a:ln>
            <a:effectLst>
              <a:outerShdw dist="52363" dir="6242175" algn="ctr" rotWithShape="0">
                <a:schemeClr val="bg2"/>
              </a:outerShdw>
            </a:effectLst>
            <a:extLst>
              <a:ext uri="{91240B29-F687-4F45-9708-019B960494DF}">
                <a14:hiddenLine xmlns:a14="http://schemas.microsoft.com/office/drawing/2010/main" w="12700" cmpd="sng">
                  <a:solidFill>
                    <a:schemeClr val="bg2"/>
                  </a:solidFill>
                  <a:round/>
                  <a:headEnd/>
                  <a:tailEnd/>
                </a14:hiddenLine>
              </a:ext>
            </a:extLst>
          </p:spPr>
          <p:txBody>
            <a:bodyPr wrap="none" anchor="ctr"/>
            <a:lstStyle/>
            <a:p>
              <a:endParaRPr lang="ar-SA" sz="2400"/>
            </a:p>
          </p:txBody>
        </p:sp>
        <p:sp>
          <p:nvSpPr>
            <p:cNvPr id="41" name="Freeform 8">
              <a:extLst>
                <a:ext uri="{FF2B5EF4-FFF2-40B4-BE49-F238E27FC236}">
                  <a16:creationId xmlns:a16="http://schemas.microsoft.com/office/drawing/2014/main" id="{4B064D30-7C8C-EAFE-9851-BD6D7C8018DE}"/>
                </a:ext>
              </a:extLst>
            </p:cNvPr>
            <p:cNvSpPr>
              <a:spLocks/>
            </p:cNvSpPr>
            <p:nvPr/>
          </p:nvSpPr>
          <p:spPr bwMode="auto">
            <a:xfrm>
              <a:off x="3984" y="3168"/>
              <a:ext cx="584" cy="424"/>
            </a:xfrm>
            <a:custGeom>
              <a:avLst/>
              <a:gdLst>
                <a:gd name="T0" fmla="*/ 30 w 584"/>
                <a:gd name="T1" fmla="*/ 48 h 424"/>
                <a:gd name="T2" fmla="*/ 135 w 584"/>
                <a:gd name="T3" fmla="*/ 177 h 424"/>
                <a:gd name="T4" fmla="*/ 195 w 584"/>
                <a:gd name="T5" fmla="*/ 171 h 424"/>
                <a:gd name="T6" fmla="*/ 432 w 584"/>
                <a:gd name="T7" fmla="*/ 424 h 424"/>
                <a:gd name="T8" fmla="*/ 584 w 584"/>
                <a:gd name="T9" fmla="*/ 360 h 424"/>
                <a:gd name="T10" fmla="*/ 258 w 584"/>
                <a:gd name="T11" fmla="*/ 156 h 424"/>
                <a:gd name="T12" fmla="*/ 315 w 584"/>
                <a:gd name="T13" fmla="*/ 144 h 424"/>
                <a:gd name="T14" fmla="*/ 0 w 584"/>
                <a:gd name="T15" fmla="*/ 0 h 424"/>
                <a:gd name="T16" fmla="*/ 30 w 584"/>
                <a:gd name="T17" fmla="*/ 48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4" h="424">
                  <a:moveTo>
                    <a:pt x="30" y="48"/>
                  </a:moveTo>
                  <a:lnTo>
                    <a:pt x="135" y="177"/>
                  </a:lnTo>
                  <a:lnTo>
                    <a:pt x="195" y="171"/>
                  </a:lnTo>
                  <a:lnTo>
                    <a:pt x="432" y="424"/>
                  </a:lnTo>
                  <a:lnTo>
                    <a:pt x="584" y="360"/>
                  </a:lnTo>
                  <a:lnTo>
                    <a:pt x="258" y="156"/>
                  </a:lnTo>
                  <a:lnTo>
                    <a:pt x="315" y="144"/>
                  </a:lnTo>
                  <a:lnTo>
                    <a:pt x="0" y="0"/>
                  </a:lnTo>
                  <a:lnTo>
                    <a:pt x="30" y="48"/>
                  </a:lnTo>
                  <a:close/>
                </a:path>
              </a:pathLst>
            </a:custGeom>
            <a:solidFill>
              <a:srgbClr val="FFFF00"/>
            </a:solidFill>
            <a:ln>
              <a:noFill/>
            </a:ln>
            <a:effectLst>
              <a:outerShdw dist="52363" dir="6242175" algn="ctr" rotWithShape="0">
                <a:schemeClr val="bg2"/>
              </a:outerShdw>
            </a:effectLst>
            <a:extLst>
              <a:ext uri="{91240B29-F687-4F45-9708-019B960494DF}">
                <a14:hiddenLine xmlns:a14="http://schemas.microsoft.com/office/drawing/2010/main" w="12700" cmpd="sng">
                  <a:solidFill>
                    <a:schemeClr val="bg2"/>
                  </a:solidFill>
                  <a:round/>
                  <a:headEnd/>
                  <a:tailEnd/>
                </a14:hiddenLine>
              </a:ext>
            </a:extLst>
          </p:spPr>
          <p:txBody>
            <a:bodyPr wrap="none" anchor="ctr"/>
            <a:lstStyle/>
            <a:p>
              <a:endParaRPr lang="ar-SA" sz="2400"/>
            </a:p>
          </p:txBody>
        </p:sp>
      </p:grpSp>
      <p:grpSp>
        <p:nvGrpSpPr>
          <p:cNvPr id="42" name="Group 9">
            <a:extLst>
              <a:ext uri="{FF2B5EF4-FFF2-40B4-BE49-F238E27FC236}">
                <a16:creationId xmlns:a16="http://schemas.microsoft.com/office/drawing/2014/main" id="{D225702F-6799-3052-EDD6-03DB0B408918}"/>
              </a:ext>
            </a:extLst>
          </p:cNvPr>
          <p:cNvGrpSpPr>
            <a:grpSpLocks/>
          </p:cNvGrpSpPr>
          <p:nvPr/>
        </p:nvGrpSpPr>
        <p:grpSpPr bwMode="auto">
          <a:xfrm>
            <a:off x="6621696" y="3702713"/>
            <a:ext cx="2254251" cy="1016000"/>
            <a:chOff x="3312" y="3168"/>
            <a:chExt cx="1256" cy="678"/>
          </a:xfrm>
        </p:grpSpPr>
        <p:sp>
          <p:nvSpPr>
            <p:cNvPr id="43" name="Freeform 10">
              <a:extLst>
                <a:ext uri="{FF2B5EF4-FFF2-40B4-BE49-F238E27FC236}">
                  <a16:creationId xmlns:a16="http://schemas.microsoft.com/office/drawing/2014/main" id="{C7BA9831-99F3-169B-3A3C-969797B602F4}"/>
                </a:ext>
              </a:extLst>
            </p:cNvPr>
            <p:cNvSpPr>
              <a:spLocks/>
            </p:cNvSpPr>
            <p:nvPr/>
          </p:nvSpPr>
          <p:spPr bwMode="auto">
            <a:xfrm>
              <a:off x="3312" y="3408"/>
              <a:ext cx="624" cy="438"/>
            </a:xfrm>
            <a:custGeom>
              <a:avLst/>
              <a:gdLst>
                <a:gd name="T0" fmla="*/ 30 w 624"/>
                <a:gd name="T1" fmla="*/ 48 h 438"/>
                <a:gd name="T2" fmla="*/ 132 w 624"/>
                <a:gd name="T3" fmla="*/ 189 h 438"/>
                <a:gd name="T4" fmla="*/ 216 w 624"/>
                <a:gd name="T5" fmla="*/ 168 h 438"/>
                <a:gd name="T6" fmla="*/ 456 w 624"/>
                <a:gd name="T7" fmla="*/ 438 h 438"/>
                <a:gd name="T8" fmla="*/ 624 w 624"/>
                <a:gd name="T9" fmla="*/ 384 h 438"/>
                <a:gd name="T10" fmla="*/ 270 w 624"/>
                <a:gd name="T11" fmla="*/ 153 h 438"/>
                <a:gd name="T12" fmla="*/ 336 w 624"/>
                <a:gd name="T13" fmla="*/ 138 h 438"/>
                <a:gd name="T14" fmla="*/ 0 w 624"/>
                <a:gd name="T15" fmla="*/ 0 h 438"/>
                <a:gd name="T16" fmla="*/ 30 w 624"/>
                <a:gd name="T17" fmla="*/ 48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4" h="438">
                  <a:moveTo>
                    <a:pt x="30" y="48"/>
                  </a:moveTo>
                  <a:lnTo>
                    <a:pt x="132" y="189"/>
                  </a:lnTo>
                  <a:lnTo>
                    <a:pt x="216" y="168"/>
                  </a:lnTo>
                  <a:lnTo>
                    <a:pt x="456" y="438"/>
                  </a:lnTo>
                  <a:lnTo>
                    <a:pt x="624" y="384"/>
                  </a:lnTo>
                  <a:lnTo>
                    <a:pt x="270" y="153"/>
                  </a:lnTo>
                  <a:lnTo>
                    <a:pt x="336" y="138"/>
                  </a:lnTo>
                  <a:lnTo>
                    <a:pt x="0" y="0"/>
                  </a:lnTo>
                  <a:lnTo>
                    <a:pt x="30" y="48"/>
                  </a:lnTo>
                  <a:close/>
                </a:path>
              </a:pathLst>
            </a:custGeom>
            <a:solidFill>
              <a:srgbClr val="FFFF00"/>
            </a:solidFill>
            <a:ln>
              <a:noFill/>
            </a:ln>
            <a:effectLst>
              <a:outerShdw dist="52363" dir="6242175" algn="ctr" rotWithShape="0">
                <a:schemeClr val="bg2"/>
              </a:outerShdw>
            </a:effectLst>
            <a:extLst>
              <a:ext uri="{91240B29-F687-4F45-9708-019B960494DF}">
                <a14:hiddenLine xmlns:a14="http://schemas.microsoft.com/office/drawing/2010/main" w="12700" cmpd="sng">
                  <a:solidFill>
                    <a:schemeClr val="bg2"/>
                  </a:solidFill>
                  <a:round/>
                  <a:headEnd/>
                  <a:tailEnd/>
                </a14:hiddenLine>
              </a:ext>
            </a:extLst>
          </p:spPr>
          <p:txBody>
            <a:bodyPr wrap="none" anchor="ctr"/>
            <a:lstStyle/>
            <a:p>
              <a:endParaRPr lang="ar-SA" sz="2400"/>
            </a:p>
          </p:txBody>
        </p:sp>
        <p:sp>
          <p:nvSpPr>
            <p:cNvPr id="44" name="Freeform 11">
              <a:extLst>
                <a:ext uri="{FF2B5EF4-FFF2-40B4-BE49-F238E27FC236}">
                  <a16:creationId xmlns:a16="http://schemas.microsoft.com/office/drawing/2014/main" id="{0075A637-2AD2-6B95-5DC8-EF7ABF7AF427}"/>
                </a:ext>
              </a:extLst>
            </p:cNvPr>
            <p:cNvSpPr>
              <a:spLocks/>
            </p:cNvSpPr>
            <p:nvPr/>
          </p:nvSpPr>
          <p:spPr bwMode="auto">
            <a:xfrm>
              <a:off x="3648" y="3264"/>
              <a:ext cx="624" cy="448"/>
            </a:xfrm>
            <a:custGeom>
              <a:avLst/>
              <a:gdLst>
                <a:gd name="T0" fmla="*/ 30 w 624"/>
                <a:gd name="T1" fmla="*/ 48 h 448"/>
                <a:gd name="T2" fmla="*/ 153 w 624"/>
                <a:gd name="T3" fmla="*/ 204 h 448"/>
                <a:gd name="T4" fmla="*/ 222 w 624"/>
                <a:gd name="T5" fmla="*/ 192 h 448"/>
                <a:gd name="T6" fmla="*/ 448 w 624"/>
                <a:gd name="T7" fmla="*/ 448 h 448"/>
                <a:gd name="T8" fmla="*/ 624 w 624"/>
                <a:gd name="T9" fmla="*/ 384 h 448"/>
                <a:gd name="T10" fmla="*/ 282 w 624"/>
                <a:gd name="T11" fmla="*/ 174 h 448"/>
                <a:gd name="T12" fmla="*/ 342 w 624"/>
                <a:gd name="T13" fmla="*/ 159 h 448"/>
                <a:gd name="T14" fmla="*/ 9 w 624"/>
                <a:gd name="T15" fmla="*/ 9 h 448"/>
                <a:gd name="T16" fmla="*/ 0 w 624"/>
                <a:gd name="T17" fmla="*/ 0 h 448"/>
                <a:gd name="T18" fmla="*/ 30 w 624"/>
                <a:gd name="T19" fmla="*/ 48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4" h="448">
                  <a:moveTo>
                    <a:pt x="30" y="48"/>
                  </a:moveTo>
                  <a:lnTo>
                    <a:pt x="153" y="204"/>
                  </a:lnTo>
                  <a:lnTo>
                    <a:pt x="222" y="192"/>
                  </a:lnTo>
                  <a:lnTo>
                    <a:pt x="448" y="448"/>
                  </a:lnTo>
                  <a:lnTo>
                    <a:pt x="624" y="384"/>
                  </a:lnTo>
                  <a:lnTo>
                    <a:pt x="282" y="174"/>
                  </a:lnTo>
                  <a:lnTo>
                    <a:pt x="342" y="159"/>
                  </a:lnTo>
                  <a:lnTo>
                    <a:pt x="9" y="9"/>
                  </a:lnTo>
                  <a:lnTo>
                    <a:pt x="0" y="0"/>
                  </a:lnTo>
                  <a:lnTo>
                    <a:pt x="30" y="48"/>
                  </a:lnTo>
                  <a:close/>
                </a:path>
              </a:pathLst>
            </a:custGeom>
            <a:solidFill>
              <a:srgbClr val="FFFF00"/>
            </a:solidFill>
            <a:ln>
              <a:noFill/>
            </a:ln>
            <a:effectLst>
              <a:outerShdw dist="52363" dir="6242175" algn="ctr" rotWithShape="0">
                <a:schemeClr val="bg2"/>
              </a:outerShdw>
            </a:effectLst>
            <a:extLst>
              <a:ext uri="{91240B29-F687-4F45-9708-019B960494DF}">
                <a14:hiddenLine xmlns:a14="http://schemas.microsoft.com/office/drawing/2010/main" w="12700" cmpd="sng">
                  <a:solidFill>
                    <a:schemeClr val="bg2"/>
                  </a:solidFill>
                  <a:round/>
                  <a:headEnd/>
                  <a:tailEnd/>
                </a14:hiddenLine>
              </a:ext>
            </a:extLst>
          </p:spPr>
          <p:txBody>
            <a:bodyPr wrap="none" anchor="ctr"/>
            <a:lstStyle/>
            <a:p>
              <a:endParaRPr lang="ar-SA" sz="2400"/>
            </a:p>
          </p:txBody>
        </p:sp>
        <p:sp>
          <p:nvSpPr>
            <p:cNvPr id="45" name="Freeform 12">
              <a:extLst>
                <a:ext uri="{FF2B5EF4-FFF2-40B4-BE49-F238E27FC236}">
                  <a16:creationId xmlns:a16="http://schemas.microsoft.com/office/drawing/2014/main" id="{3245A97F-E65B-3430-D9B0-93DCB36CFFB4}"/>
                </a:ext>
              </a:extLst>
            </p:cNvPr>
            <p:cNvSpPr>
              <a:spLocks/>
            </p:cNvSpPr>
            <p:nvPr/>
          </p:nvSpPr>
          <p:spPr bwMode="auto">
            <a:xfrm>
              <a:off x="3984" y="3168"/>
              <a:ext cx="584" cy="424"/>
            </a:xfrm>
            <a:custGeom>
              <a:avLst/>
              <a:gdLst>
                <a:gd name="T0" fmla="*/ 30 w 584"/>
                <a:gd name="T1" fmla="*/ 48 h 424"/>
                <a:gd name="T2" fmla="*/ 135 w 584"/>
                <a:gd name="T3" fmla="*/ 177 h 424"/>
                <a:gd name="T4" fmla="*/ 195 w 584"/>
                <a:gd name="T5" fmla="*/ 171 h 424"/>
                <a:gd name="T6" fmla="*/ 432 w 584"/>
                <a:gd name="T7" fmla="*/ 424 h 424"/>
                <a:gd name="T8" fmla="*/ 584 w 584"/>
                <a:gd name="T9" fmla="*/ 360 h 424"/>
                <a:gd name="T10" fmla="*/ 258 w 584"/>
                <a:gd name="T11" fmla="*/ 156 h 424"/>
                <a:gd name="T12" fmla="*/ 315 w 584"/>
                <a:gd name="T13" fmla="*/ 144 h 424"/>
                <a:gd name="T14" fmla="*/ 0 w 584"/>
                <a:gd name="T15" fmla="*/ 0 h 424"/>
                <a:gd name="T16" fmla="*/ 30 w 584"/>
                <a:gd name="T17" fmla="*/ 48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4" h="424">
                  <a:moveTo>
                    <a:pt x="30" y="48"/>
                  </a:moveTo>
                  <a:lnTo>
                    <a:pt x="135" y="177"/>
                  </a:lnTo>
                  <a:lnTo>
                    <a:pt x="195" y="171"/>
                  </a:lnTo>
                  <a:lnTo>
                    <a:pt x="432" y="424"/>
                  </a:lnTo>
                  <a:lnTo>
                    <a:pt x="584" y="360"/>
                  </a:lnTo>
                  <a:lnTo>
                    <a:pt x="258" y="156"/>
                  </a:lnTo>
                  <a:lnTo>
                    <a:pt x="315" y="144"/>
                  </a:lnTo>
                  <a:lnTo>
                    <a:pt x="0" y="0"/>
                  </a:lnTo>
                  <a:lnTo>
                    <a:pt x="30" y="48"/>
                  </a:lnTo>
                  <a:close/>
                </a:path>
              </a:pathLst>
            </a:custGeom>
            <a:solidFill>
              <a:srgbClr val="FFFF00"/>
            </a:solidFill>
            <a:ln>
              <a:noFill/>
            </a:ln>
            <a:effectLst>
              <a:outerShdw dist="52363" dir="6242175" algn="ctr" rotWithShape="0">
                <a:schemeClr val="bg2"/>
              </a:outerShdw>
            </a:effectLst>
            <a:extLst>
              <a:ext uri="{91240B29-F687-4F45-9708-019B960494DF}">
                <a14:hiddenLine xmlns:a14="http://schemas.microsoft.com/office/drawing/2010/main" w="12700" cmpd="sng">
                  <a:solidFill>
                    <a:schemeClr val="bg2"/>
                  </a:solidFill>
                  <a:round/>
                  <a:headEnd/>
                  <a:tailEnd/>
                </a14:hiddenLine>
              </a:ext>
            </a:extLst>
          </p:spPr>
          <p:txBody>
            <a:bodyPr wrap="none" anchor="ctr"/>
            <a:lstStyle/>
            <a:p>
              <a:endParaRPr lang="ar-SA" sz="2400"/>
            </a:p>
          </p:txBody>
        </p:sp>
      </p:grpSp>
      <p:grpSp>
        <p:nvGrpSpPr>
          <p:cNvPr id="46" name="Group 13">
            <a:extLst>
              <a:ext uri="{FF2B5EF4-FFF2-40B4-BE49-F238E27FC236}">
                <a16:creationId xmlns:a16="http://schemas.microsoft.com/office/drawing/2014/main" id="{90E7E5E7-1645-7183-D813-65988F8510F0}"/>
              </a:ext>
            </a:extLst>
          </p:cNvPr>
          <p:cNvGrpSpPr>
            <a:grpSpLocks/>
          </p:cNvGrpSpPr>
          <p:nvPr/>
        </p:nvGrpSpPr>
        <p:grpSpPr bwMode="auto">
          <a:xfrm>
            <a:off x="4858514" y="2790430"/>
            <a:ext cx="1960033" cy="709084"/>
            <a:chOff x="3312" y="3168"/>
            <a:chExt cx="1256" cy="678"/>
          </a:xfrm>
        </p:grpSpPr>
        <p:sp>
          <p:nvSpPr>
            <p:cNvPr id="47" name="Freeform 14">
              <a:extLst>
                <a:ext uri="{FF2B5EF4-FFF2-40B4-BE49-F238E27FC236}">
                  <a16:creationId xmlns:a16="http://schemas.microsoft.com/office/drawing/2014/main" id="{D0FF04C1-01AE-A019-22EA-E396B884BF30}"/>
                </a:ext>
              </a:extLst>
            </p:cNvPr>
            <p:cNvSpPr>
              <a:spLocks/>
            </p:cNvSpPr>
            <p:nvPr/>
          </p:nvSpPr>
          <p:spPr bwMode="auto">
            <a:xfrm>
              <a:off x="3312" y="3408"/>
              <a:ext cx="624" cy="438"/>
            </a:xfrm>
            <a:custGeom>
              <a:avLst/>
              <a:gdLst>
                <a:gd name="T0" fmla="*/ 30 w 624"/>
                <a:gd name="T1" fmla="*/ 48 h 438"/>
                <a:gd name="T2" fmla="*/ 132 w 624"/>
                <a:gd name="T3" fmla="*/ 189 h 438"/>
                <a:gd name="T4" fmla="*/ 216 w 624"/>
                <a:gd name="T5" fmla="*/ 168 h 438"/>
                <a:gd name="T6" fmla="*/ 456 w 624"/>
                <a:gd name="T7" fmla="*/ 438 h 438"/>
                <a:gd name="T8" fmla="*/ 624 w 624"/>
                <a:gd name="T9" fmla="*/ 384 h 438"/>
                <a:gd name="T10" fmla="*/ 270 w 624"/>
                <a:gd name="T11" fmla="*/ 153 h 438"/>
                <a:gd name="T12" fmla="*/ 336 w 624"/>
                <a:gd name="T13" fmla="*/ 138 h 438"/>
                <a:gd name="T14" fmla="*/ 0 w 624"/>
                <a:gd name="T15" fmla="*/ 0 h 438"/>
                <a:gd name="T16" fmla="*/ 30 w 624"/>
                <a:gd name="T17" fmla="*/ 48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4" h="438">
                  <a:moveTo>
                    <a:pt x="30" y="48"/>
                  </a:moveTo>
                  <a:lnTo>
                    <a:pt x="132" y="189"/>
                  </a:lnTo>
                  <a:lnTo>
                    <a:pt x="216" y="168"/>
                  </a:lnTo>
                  <a:lnTo>
                    <a:pt x="456" y="438"/>
                  </a:lnTo>
                  <a:lnTo>
                    <a:pt x="624" y="384"/>
                  </a:lnTo>
                  <a:lnTo>
                    <a:pt x="270" y="153"/>
                  </a:lnTo>
                  <a:lnTo>
                    <a:pt x="336" y="138"/>
                  </a:lnTo>
                  <a:lnTo>
                    <a:pt x="0" y="0"/>
                  </a:lnTo>
                  <a:lnTo>
                    <a:pt x="30" y="48"/>
                  </a:lnTo>
                  <a:close/>
                </a:path>
              </a:pathLst>
            </a:custGeom>
            <a:solidFill>
              <a:srgbClr val="FFFF00"/>
            </a:solidFill>
            <a:ln>
              <a:noFill/>
            </a:ln>
            <a:effectLst>
              <a:outerShdw dist="52363" dir="6242175" algn="ctr" rotWithShape="0">
                <a:schemeClr val="bg2"/>
              </a:outerShdw>
            </a:effectLst>
            <a:extLst>
              <a:ext uri="{91240B29-F687-4F45-9708-019B960494DF}">
                <a14:hiddenLine xmlns:a14="http://schemas.microsoft.com/office/drawing/2010/main" w="12700" cmpd="sng">
                  <a:solidFill>
                    <a:schemeClr val="bg2"/>
                  </a:solidFill>
                  <a:round/>
                  <a:headEnd/>
                  <a:tailEnd/>
                </a14:hiddenLine>
              </a:ext>
            </a:extLst>
          </p:spPr>
          <p:txBody>
            <a:bodyPr wrap="none" anchor="ctr"/>
            <a:lstStyle/>
            <a:p>
              <a:endParaRPr lang="ar-SA" sz="2400"/>
            </a:p>
          </p:txBody>
        </p:sp>
        <p:sp>
          <p:nvSpPr>
            <p:cNvPr id="48" name="Freeform 15">
              <a:extLst>
                <a:ext uri="{FF2B5EF4-FFF2-40B4-BE49-F238E27FC236}">
                  <a16:creationId xmlns:a16="http://schemas.microsoft.com/office/drawing/2014/main" id="{B5CFA924-CC33-4D71-5D27-FBDA98D7B57A}"/>
                </a:ext>
              </a:extLst>
            </p:cNvPr>
            <p:cNvSpPr>
              <a:spLocks/>
            </p:cNvSpPr>
            <p:nvPr/>
          </p:nvSpPr>
          <p:spPr bwMode="auto">
            <a:xfrm>
              <a:off x="3648" y="3264"/>
              <a:ext cx="624" cy="448"/>
            </a:xfrm>
            <a:custGeom>
              <a:avLst/>
              <a:gdLst>
                <a:gd name="T0" fmla="*/ 30 w 624"/>
                <a:gd name="T1" fmla="*/ 48 h 448"/>
                <a:gd name="T2" fmla="*/ 153 w 624"/>
                <a:gd name="T3" fmla="*/ 204 h 448"/>
                <a:gd name="T4" fmla="*/ 222 w 624"/>
                <a:gd name="T5" fmla="*/ 192 h 448"/>
                <a:gd name="T6" fmla="*/ 448 w 624"/>
                <a:gd name="T7" fmla="*/ 448 h 448"/>
                <a:gd name="T8" fmla="*/ 624 w 624"/>
                <a:gd name="T9" fmla="*/ 384 h 448"/>
                <a:gd name="T10" fmla="*/ 282 w 624"/>
                <a:gd name="T11" fmla="*/ 174 h 448"/>
                <a:gd name="T12" fmla="*/ 342 w 624"/>
                <a:gd name="T13" fmla="*/ 159 h 448"/>
                <a:gd name="T14" fmla="*/ 9 w 624"/>
                <a:gd name="T15" fmla="*/ 9 h 448"/>
                <a:gd name="T16" fmla="*/ 0 w 624"/>
                <a:gd name="T17" fmla="*/ 0 h 448"/>
                <a:gd name="T18" fmla="*/ 30 w 624"/>
                <a:gd name="T19" fmla="*/ 48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4" h="448">
                  <a:moveTo>
                    <a:pt x="30" y="48"/>
                  </a:moveTo>
                  <a:lnTo>
                    <a:pt x="153" y="204"/>
                  </a:lnTo>
                  <a:lnTo>
                    <a:pt x="222" y="192"/>
                  </a:lnTo>
                  <a:lnTo>
                    <a:pt x="448" y="448"/>
                  </a:lnTo>
                  <a:lnTo>
                    <a:pt x="624" y="384"/>
                  </a:lnTo>
                  <a:lnTo>
                    <a:pt x="282" y="174"/>
                  </a:lnTo>
                  <a:lnTo>
                    <a:pt x="342" y="159"/>
                  </a:lnTo>
                  <a:lnTo>
                    <a:pt x="9" y="9"/>
                  </a:lnTo>
                  <a:lnTo>
                    <a:pt x="0" y="0"/>
                  </a:lnTo>
                  <a:lnTo>
                    <a:pt x="30" y="48"/>
                  </a:lnTo>
                  <a:close/>
                </a:path>
              </a:pathLst>
            </a:custGeom>
            <a:solidFill>
              <a:srgbClr val="FFFF00"/>
            </a:solidFill>
            <a:ln>
              <a:noFill/>
            </a:ln>
            <a:effectLst>
              <a:outerShdw dist="52363" dir="6242175" algn="ctr" rotWithShape="0">
                <a:schemeClr val="bg2"/>
              </a:outerShdw>
            </a:effectLst>
            <a:extLst>
              <a:ext uri="{91240B29-F687-4F45-9708-019B960494DF}">
                <a14:hiddenLine xmlns:a14="http://schemas.microsoft.com/office/drawing/2010/main" w="12700" cmpd="sng">
                  <a:solidFill>
                    <a:schemeClr val="bg2"/>
                  </a:solidFill>
                  <a:round/>
                  <a:headEnd/>
                  <a:tailEnd/>
                </a14:hiddenLine>
              </a:ext>
            </a:extLst>
          </p:spPr>
          <p:txBody>
            <a:bodyPr wrap="none" anchor="ctr"/>
            <a:lstStyle/>
            <a:p>
              <a:endParaRPr lang="ar-SA" sz="2400"/>
            </a:p>
          </p:txBody>
        </p:sp>
        <p:sp>
          <p:nvSpPr>
            <p:cNvPr id="49" name="Freeform 16">
              <a:extLst>
                <a:ext uri="{FF2B5EF4-FFF2-40B4-BE49-F238E27FC236}">
                  <a16:creationId xmlns:a16="http://schemas.microsoft.com/office/drawing/2014/main" id="{7606A8C8-E44E-594E-2989-155C7DB99148}"/>
                </a:ext>
              </a:extLst>
            </p:cNvPr>
            <p:cNvSpPr>
              <a:spLocks/>
            </p:cNvSpPr>
            <p:nvPr/>
          </p:nvSpPr>
          <p:spPr bwMode="auto">
            <a:xfrm>
              <a:off x="3984" y="3168"/>
              <a:ext cx="584" cy="424"/>
            </a:xfrm>
            <a:custGeom>
              <a:avLst/>
              <a:gdLst>
                <a:gd name="T0" fmla="*/ 30 w 584"/>
                <a:gd name="T1" fmla="*/ 48 h 424"/>
                <a:gd name="T2" fmla="*/ 135 w 584"/>
                <a:gd name="T3" fmla="*/ 177 h 424"/>
                <a:gd name="T4" fmla="*/ 195 w 584"/>
                <a:gd name="T5" fmla="*/ 171 h 424"/>
                <a:gd name="T6" fmla="*/ 432 w 584"/>
                <a:gd name="T7" fmla="*/ 424 h 424"/>
                <a:gd name="T8" fmla="*/ 584 w 584"/>
                <a:gd name="T9" fmla="*/ 360 h 424"/>
                <a:gd name="T10" fmla="*/ 258 w 584"/>
                <a:gd name="T11" fmla="*/ 156 h 424"/>
                <a:gd name="T12" fmla="*/ 315 w 584"/>
                <a:gd name="T13" fmla="*/ 144 h 424"/>
                <a:gd name="T14" fmla="*/ 0 w 584"/>
                <a:gd name="T15" fmla="*/ 0 h 424"/>
                <a:gd name="T16" fmla="*/ 30 w 584"/>
                <a:gd name="T17" fmla="*/ 48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4" h="424">
                  <a:moveTo>
                    <a:pt x="30" y="48"/>
                  </a:moveTo>
                  <a:lnTo>
                    <a:pt x="135" y="177"/>
                  </a:lnTo>
                  <a:lnTo>
                    <a:pt x="195" y="171"/>
                  </a:lnTo>
                  <a:lnTo>
                    <a:pt x="432" y="424"/>
                  </a:lnTo>
                  <a:lnTo>
                    <a:pt x="584" y="360"/>
                  </a:lnTo>
                  <a:lnTo>
                    <a:pt x="258" y="156"/>
                  </a:lnTo>
                  <a:lnTo>
                    <a:pt x="315" y="144"/>
                  </a:lnTo>
                  <a:lnTo>
                    <a:pt x="0" y="0"/>
                  </a:lnTo>
                  <a:lnTo>
                    <a:pt x="30" y="48"/>
                  </a:lnTo>
                  <a:close/>
                </a:path>
              </a:pathLst>
            </a:custGeom>
            <a:solidFill>
              <a:srgbClr val="FFFF00"/>
            </a:solidFill>
            <a:ln>
              <a:noFill/>
            </a:ln>
            <a:effectLst>
              <a:outerShdw dist="52363" dir="6242175" algn="ctr" rotWithShape="0">
                <a:schemeClr val="bg2"/>
              </a:outerShdw>
            </a:effectLst>
            <a:extLst>
              <a:ext uri="{91240B29-F687-4F45-9708-019B960494DF}">
                <a14:hiddenLine xmlns:a14="http://schemas.microsoft.com/office/drawing/2010/main" w="12700" cmpd="sng">
                  <a:solidFill>
                    <a:schemeClr val="bg2"/>
                  </a:solidFill>
                  <a:round/>
                  <a:headEnd/>
                  <a:tailEnd/>
                </a14:hiddenLine>
              </a:ext>
            </a:extLst>
          </p:spPr>
          <p:txBody>
            <a:bodyPr wrap="none" anchor="ctr"/>
            <a:lstStyle/>
            <a:p>
              <a:endParaRPr lang="ar-SA" sz="2400"/>
            </a:p>
          </p:txBody>
        </p:sp>
      </p:grpSp>
      <p:grpSp>
        <p:nvGrpSpPr>
          <p:cNvPr id="50" name="Group 17">
            <a:extLst>
              <a:ext uri="{FF2B5EF4-FFF2-40B4-BE49-F238E27FC236}">
                <a16:creationId xmlns:a16="http://schemas.microsoft.com/office/drawing/2014/main" id="{D9B2B3FA-B751-769B-1291-1E6E3D9A9A25}"/>
              </a:ext>
            </a:extLst>
          </p:cNvPr>
          <p:cNvGrpSpPr>
            <a:grpSpLocks/>
          </p:cNvGrpSpPr>
          <p:nvPr/>
        </p:nvGrpSpPr>
        <p:grpSpPr bwMode="auto">
          <a:xfrm>
            <a:off x="7891696" y="4515514"/>
            <a:ext cx="1771651" cy="804333"/>
            <a:chOff x="4318" y="2112"/>
            <a:chExt cx="914" cy="428"/>
          </a:xfrm>
        </p:grpSpPr>
        <p:sp>
          <p:nvSpPr>
            <p:cNvPr id="51" name="Freeform 18">
              <a:extLst>
                <a:ext uri="{FF2B5EF4-FFF2-40B4-BE49-F238E27FC236}">
                  <a16:creationId xmlns:a16="http://schemas.microsoft.com/office/drawing/2014/main" id="{55FC9F6A-8A7A-DFE0-4533-DA841AF53C2F}"/>
                </a:ext>
              </a:extLst>
            </p:cNvPr>
            <p:cNvSpPr>
              <a:spLocks/>
            </p:cNvSpPr>
            <p:nvPr/>
          </p:nvSpPr>
          <p:spPr bwMode="auto">
            <a:xfrm>
              <a:off x="4318" y="2188"/>
              <a:ext cx="620" cy="352"/>
            </a:xfrm>
            <a:custGeom>
              <a:avLst/>
              <a:gdLst>
                <a:gd name="T0" fmla="*/ 30 w 624"/>
                <a:gd name="T1" fmla="*/ 48 h 448"/>
                <a:gd name="T2" fmla="*/ 153 w 624"/>
                <a:gd name="T3" fmla="*/ 204 h 448"/>
                <a:gd name="T4" fmla="*/ 222 w 624"/>
                <a:gd name="T5" fmla="*/ 192 h 448"/>
                <a:gd name="T6" fmla="*/ 448 w 624"/>
                <a:gd name="T7" fmla="*/ 448 h 448"/>
                <a:gd name="T8" fmla="*/ 624 w 624"/>
                <a:gd name="T9" fmla="*/ 384 h 448"/>
                <a:gd name="T10" fmla="*/ 282 w 624"/>
                <a:gd name="T11" fmla="*/ 174 h 448"/>
                <a:gd name="T12" fmla="*/ 342 w 624"/>
                <a:gd name="T13" fmla="*/ 159 h 448"/>
                <a:gd name="T14" fmla="*/ 9 w 624"/>
                <a:gd name="T15" fmla="*/ 9 h 448"/>
                <a:gd name="T16" fmla="*/ 0 w 624"/>
                <a:gd name="T17" fmla="*/ 0 h 448"/>
                <a:gd name="T18" fmla="*/ 30 w 624"/>
                <a:gd name="T19" fmla="*/ 48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4" h="448">
                  <a:moveTo>
                    <a:pt x="30" y="48"/>
                  </a:moveTo>
                  <a:lnTo>
                    <a:pt x="153" y="204"/>
                  </a:lnTo>
                  <a:lnTo>
                    <a:pt x="222" y="192"/>
                  </a:lnTo>
                  <a:lnTo>
                    <a:pt x="448" y="448"/>
                  </a:lnTo>
                  <a:lnTo>
                    <a:pt x="624" y="384"/>
                  </a:lnTo>
                  <a:lnTo>
                    <a:pt x="282" y="174"/>
                  </a:lnTo>
                  <a:lnTo>
                    <a:pt x="342" y="159"/>
                  </a:lnTo>
                  <a:lnTo>
                    <a:pt x="9" y="9"/>
                  </a:lnTo>
                  <a:lnTo>
                    <a:pt x="0" y="0"/>
                  </a:lnTo>
                  <a:lnTo>
                    <a:pt x="30" y="48"/>
                  </a:lnTo>
                  <a:close/>
                </a:path>
              </a:pathLst>
            </a:custGeom>
            <a:solidFill>
              <a:srgbClr val="FFFF00"/>
            </a:solidFill>
            <a:ln>
              <a:noFill/>
            </a:ln>
            <a:effectLst>
              <a:outerShdw dist="52363" dir="6242175" algn="ctr" rotWithShape="0">
                <a:schemeClr val="bg2"/>
              </a:outerShdw>
            </a:effectLst>
            <a:extLst>
              <a:ext uri="{91240B29-F687-4F45-9708-019B960494DF}">
                <a14:hiddenLine xmlns:a14="http://schemas.microsoft.com/office/drawing/2010/main" w="12700" cmpd="sng">
                  <a:solidFill>
                    <a:schemeClr val="bg2"/>
                  </a:solidFill>
                  <a:round/>
                  <a:headEnd/>
                  <a:tailEnd/>
                </a14:hiddenLine>
              </a:ext>
            </a:extLst>
          </p:spPr>
          <p:txBody>
            <a:bodyPr wrap="none" anchor="ctr"/>
            <a:lstStyle/>
            <a:p>
              <a:endParaRPr lang="ar-SA" sz="2400"/>
            </a:p>
          </p:txBody>
        </p:sp>
        <p:sp>
          <p:nvSpPr>
            <p:cNvPr id="52" name="Freeform 19">
              <a:extLst>
                <a:ext uri="{FF2B5EF4-FFF2-40B4-BE49-F238E27FC236}">
                  <a16:creationId xmlns:a16="http://schemas.microsoft.com/office/drawing/2014/main" id="{FF791BA1-CE23-23EE-9054-2C5271132BDE}"/>
                </a:ext>
              </a:extLst>
            </p:cNvPr>
            <p:cNvSpPr>
              <a:spLocks/>
            </p:cNvSpPr>
            <p:nvPr/>
          </p:nvSpPr>
          <p:spPr bwMode="auto">
            <a:xfrm>
              <a:off x="4652" y="2112"/>
              <a:ext cx="580" cy="334"/>
            </a:xfrm>
            <a:custGeom>
              <a:avLst/>
              <a:gdLst>
                <a:gd name="T0" fmla="*/ 30 w 584"/>
                <a:gd name="T1" fmla="*/ 48 h 424"/>
                <a:gd name="T2" fmla="*/ 135 w 584"/>
                <a:gd name="T3" fmla="*/ 177 h 424"/>
                <a:gd name="T4" fmla="*/ 195 w 584"/>
                <a:gd name="T5" fmla="*/ 171 h 424"/>
                <a:gd name="T6" fmla="*/ 432 w 584"/>
                <a:gd name="T7" fmla="*/ 424 h 424"/>
                <a:gd name="T8" fmla="*/ 584 w 584"/>
                <a:gd name="T9" fmla="*/ 360 h 424"/>
                <a:gd name="T10" fmla="*/ 258 w 584"/>
                <a:gd name="T11" fmla="*/ 156 h 424"/>
                <a:gd name="T12" fmla="*/ 315 w 584"/>
                <a:gd name="T13" fmla="*/ 144 h 424"/>
                <a:gd name="T14" fmla="*/ 0 w 584"/>
                <a:gd name="T15" fmla="*/ 0 h 424"/>
                <a:gd name="T16" fmla="*/ 30 w 584"/>
                <a:gd name="T17" fmla="*/ 48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4" h="424">
                  <a:moveTo>
                    <a:pt x="30" y="48"/>
                  </a:moveTo>
                  <a:lnTo>
                    <a:pt x="135" y="177"/>
                  </a:lnTo>
                  <a:lnTo>
                    <a:pt x="195" y="171"/>
                  </a:lnTo>
                  <a:lnTo>
                    <a:pt x="432" y="424"/>
                  </a:lnTo>
                  <a:lnTo>
                    <a:pt x="584" y="360"/>
                  </a:lnTo>
                  <a:lnTo>
                    <a:pt x="258" y="156"/>
                  </a:lnTo>
                  <a:lnTo>
                    <a:pt x="315" y="144"/>
                  </a:lnTo>
                  <a:lnTo>
                    <a:pt x="0" y="0"/>
                  </a:lnTo>
                  <a:lnTo>
                    <a:pt x="30" y="48"/>
                  </a:lnTo>
                  <a:close/>
                </a:path>
              </a:pathLst>
            </a:custGeom>
            <a:solidFill>
              <a:srgbClr val="FFFF00"/>
            </a:solidFill>
            <a:ln>
              <a:noFill/>
            </a:ln>
            <a:effectLst>
              <a:outerShdw dist="52363" dir="6242175" algn="ctr" rotWithShape="0">
                <a:schemeClr val="bg2"/>
              </a:outerShdw>
            </a:effectLst>
            <a:extLst>
              <a:ext uri="{91240B29-F687-4F45-9708-019B960494DF}">
                <a14:hiddenLine xmlns:a14="http://schemas.microsoft.com/office/drawing/2010/main" w="12700" cmpd="sng">
                  <a:solidFill>
                    <a:schemeClr val="bg2"/>
                  </a:solidFill>
                  <a:round/>
                  <a:headEnd/>
                  <a:tailEnd/>
                </a14:hiddenLine>
              </a:ext>
            </a:extLst>
          </p:spPr>
          <p:txBody>
            <a:bodyPr wrap="none" anchor="ctr"/>
            <a:lstStyle/>
            <a:p>
              <a:endParaRPr lang="ar-SA" sz="2400"/>
            </a:p>
          </p:txBody>
        </p:sp>
      </p:grpSp>
      <p:grpSp>
        <p:nvGrpSpPr>
          <p:cNvPr id="53" name="Group 20">
            <a:extLst>
              <a:ext uri="{FF2B5EF4-FFF2-40B4-BE49-F238E27FC236}">
                <a16:creationId xmlns:a16="http://schemas.microsoft.com/office/drawing/2014/main" id="{688850E0-C0D0-D889-1FD9-9AF2AD8228FF}"/>
              </a:ext>
            </a:extLst>
          </p:cNvPr>
          <p:cNvGrpSpPr>
            <a:grpSpLocks/>
          </p:cNvGrpSpPr>
          <p:nvPr/>
        </p:nvGrpSpPr>
        <p:grpSpPr bwMode="auto">
          <a:xfrm>
            <a:off x="6033264" y="3296314"/>
            <a:ext cx="1665817" cy="605367"/>
            <a:chOff x="4318" y="2112"/>
            <a:chExt cx="914" cy="428"/>
          </a:xfrm>
        </p:grpSpPr>
        <p:sp>
          <p:nvSpPr>
            <p:cNvPr id="54" name="Freeform 21">
              <a:extLst>
                <a:ext uri="{FF2B5EF4-FFF2-40B4-BE49-F238E27FC236}">
                  <a16:creationId xmlns:a16="http://schemas.microsoft.com/office/drawing/2014/main" id="{6EEF72A4-7429-C51F-5A4C-BC11D11F79E8}"/>
                </a:ext>
              </a:extLst>
            </p:cNvPr>
            <p:cNvSpPr>
              <a:spLocks/>
            </p:cNvSpPr>
            <p:nvPr/>
          </p:nvSpPr>
          <p:spPr bwMode="auto">
            <a:xfrm>
              <a:off x="4318" y="2188"/>
              <a:ext cx="620" cy="352"/>
            </a:xfrm>
            <a:custGeom>
              <a:avLst/>
              <a:gdLst>
                <a:gd name="T0" fmla="*/ 30 w 624"/>
                <a:gd name="T1" fmla="*/ 48 h 448"/>
                <a:gd name="T2" fmla="*/ 153 w 624"/>
                <a:gd name="T3" fmla="*/ 204 h 448"/>
                <a:gd name="T4" fmla="*/ 222 w 624"/>
                <a:gd name="T5" fmla="*/ 192 h 448"/>
                <a:gd name="T6" fmla="*/ 448 w 624"/>
                <a:gd name="T7" fmla="*/ 448 h 448"/>
                <a:gd name="T8" fmla="*/ 624 w 624"/>
                <a:gd name="T9" fmla="*/ 384 h 448"/>
                <a:gd name="T10" fmla="*/ 282 w 624"/>
                <a:gd name="T11" fmla="*/ 174 h 448"/>
                <a:gd name="T12" fmla="*/ 342 w 624"/>
                <a:gd name="T13" fmla="*/ 159 h 448"/>
                <a:gd name="T14" fmla="*/ 9 w 624"/>
                <a:gd name="T15" fmla="*/ 9 h 448"/>
                <a:gd name="T16" fmla="*/ 0 w 624"/>
                <a:gd name="T17" fmla="*/ 0 h 448"/>
                <a:gd name="T18" fmla="*/ 30 w 624"/>
                <a:gd name="T19" fmla="*/ 48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4" h="448">
                  <a:moveTo>
                    <a:pt x="30" y="48"/>
                  </a:moveTo>
                  <a:lnTo>
                    <a:pt x="153" y="204"/>
                  </a:lnTo>
                  <a:lnTo>
                    <a:pt x="222" y="192"/>
                  </a:lnTo>
                  <a:lnTo>
                    <a:pt x="448" y="448"/>
                  </a:lnTo>
                  <a:lnTo>
                    <a:pt x="624" y="384"/>
                  </a:lnTo>
                  <a:lnTo>
                    <a:pt x="282" y="174"/>
                  </a:lnTo>
                  <a:lnTo>
                    <a:pt x="342" y="159"/>
                  </a:lnTo>
                  <a:lnTo>
                    <a:pt x="9" y="9"/>
                  </a:lnTo>
                  <a:lnTo>
                    <a:pt x="0" y="0"/>
                  </a:lnTo>
                  <a:lnTo>
                    <a:pt x="30" y="48"/>
                  </a:lnTo>
                  <a:close/>
                </a:path>
              </a:pathLst>
            </a:custGeom>
            <a:solidFill>
              <a:srgbClr val="FFFF00"/>
            </a:solidFill>
            <a:ln>
              <a:noFill/>
            </a:ln>
            <a:effectLst>
              <a:outerShdw dist="52363" dir="6242175" algn="ctr" rotWithShape="0">
                <a:schemeClr val="bg2"/>
              </a:outerShdw>
            </a:effectLst>
            <a:extLst>
              <a:ext uri="{91240B29-F687-4F45-9708-019B960494DF}">
                <a14:hiddenLine xmlns:a14="http://schemas.microsoft.com/office/drawing/2010/main" w="12700" cmpd="sng">
                  <a:solidFill>
                    <a:schemeClr val="bg2"/>
                  </a:solidFill>
                  <a:round/>
                  <a:headEnd/>
                  <a:tailEnd/>
                </a14:hiddenLine>
              </a:ext>
            </a:extLst>
          </p:spPr>
          <p:txBody>
            <a:bodyPr wrap="none" anchor="ctr"/>
            <a:lstStyle/>
            <a:p>
              <a:endParaRPr lang="ar-SA" sz="2400"/>
            </a:p>
          </p:txBody>
        </p:sp>
        <p:sp>
          <p:nvSpPr>
            <p:cNvPr id="55" name="Freeform 22">
              <a:extLst>
                <a:ext uri="{FF2B5EF4-FFF2-40B4-BE49-F238E27FC236}">
                  <a16:creationId xmlns:a16="http://schemas.microsoft.com/office/drawing/2014/main" id="{FE07FDE4-1121-4035-FEC2-0CDBFAEF3FBA}"/>
                </a:ext>
              </a:extLst>
            </p:cNvPr>
            <p:cNvSpPr>
              <a:spLocks/>
            </p:cNvSpPr>
            <p:nvPr/>
          </p:nvSpPr>
          <p:spPr bwMode="auto">
            <a:xfrm>
              <a:off x="4652" y="2112"/>
              <a:ext cx="580" cy="334"/>
            </a:xfrm>
            <a:custGeom>
              <a:avLst/>
              <a:gdLst>
                <a:gd name="T0" fmla="*/ 30 w 584"/>
                <a:gd name="T1" fmla="*/ 48 h 424"/>
                <a:gd name="T2" fmla="*/ 135 w 584"/>
                <a:gd name="T3" fmla="*/ 177 h 424"/>
                <a:gd name="T4" fmla="*/ 195 w 584"/>
                <a:gd name="T5" fmla="*/ 171 h 424"/>
                <a:gd name="T6" fmla="*/ 432 w 584"/>
                <a:gd name="T7" fmla="*/ 424 h 424"/>
                <a:gd name="T8" fmla="*/ 584 w 584"/>
                <a:gd name="T9" fmla="*/ 360 h 424"/>
                <a:gd name="T10" fmla="*/ 258 w 584"/>
                <a:gd name="T11" fmla="*/ 156 h 424"/>
                <a:gd name="T12" fmla="*/ 315 w 584"/>
                <a:gd name="T13" fmla="*/ 144 h 424"/>
                <a:gd name="T14" fmla="*/ 0 w 584"/>
                <a:gd name="T15" fmla="*/ 0 h 424"/>
                <a:gd name="T16" fmla="*/ 30 w 584"/>
                <a:gd name="T17" fmla="*/ 48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4" h="424">
                  <a:moveTo>
                    <a:pt x="30" y="48"/>
                  </a:moveTo>
                  <a:lnTo>
                    <a:pt x="135" y="177"/>
                  </a:lnTo>
                  <a:lnTo>
                    <a:pt x="195" y="171"/>
                  </a:lnTo>
                  <a:lnTo>
                    <a:pt x="432" y="424"/>
                  </a:lnTo>
                  <a:lnTo>
                    <a:pt x="584" y="360"/>
                  </a:lnTo>
                  <a:lnTo>
                    <a:pt x="258" y="156"/>
                  </a:lnTo>
                  <a:lnTo>
                    <a:pt x="315" y="144"/>
                  </a:lnTo>
                  <a:lnTo>
                    <a:pt x="0" y="0"/>
                  </a:lnTo>
                  <a:lnTo>
                    <a:pt x="30" y="48"/>
                  </a:lnTo>
                  <a:close/>
                </a:path>
              </a:pathLst>
            </a:custGeom>
            <a:solidFill>
              <a:srgbClr val="FFFF00"/>
            </a:solidFill>
            <a:ln>
              <a:noFill/>
            </a:ln>
            <a:effectLst>
              <a:outerShdw dist="52363" dir="6242175" algn="ctr" rotWithShape="0">
                <a:schemeClr val="bg2"/>
              </a:outerShdw>
            </a:effectLst>
            <a:extLst>
              <a:ext uri="{91240B29-F687-4F45-9708-019B960494DF}">
                <a14:hiddenLine xmlns:a14="http://schemas.microsoft.com/office/drawing/2010/main" w="12700" cmpd="sng">
                  <a:solidFill>
                    <a:schemeClr val="bg2"/>
                  </a:solidFill>
                  <a:round/>
                  <a:headEnd/>
                  <a:tailEnd/>
                </a14:hiddenLine>
              </a:ext>
            </a:extLst>
          </p:spPr>
          <p:txBody>
            <a:bodyPr wrap="none" anchor="ctr"/>
            <a:lstStyle/>
            <a:p>
              <a:endParaRPr lang="ar-SA" sz="2400"/>
            </a:p>
          </p:txBody>
        </p:sp>
      </p:grpSp>
      <p:grpSp>
        <p:nvGrpSpPr>
          <p:cNvPr id="56" name="Group 23">
            <a:extLst>
              <a:ext uri="{FF2B5EF4-FFF2-40B4-BE49-F238E27FC236}">
                <a16:creationId xmlns:a16="http://schemas.microsoft.com/office/drawing/2014/main" id="{3ADA81E0-E77F-0169-7935-92643D79864F}"/>
              </a:ext>
            </a:extLst>
          </p:cNvPr>
          <p:cNvGrpSpPr>
            <a:grpSpLocks/>
          </p:cNvGrpSpPr>
          <p:nvPr/>
        </p:nvGrpSpPr>
        <p:grpSpPr bwMode="auto">
          <a:xfrm>
            <a:off x="4566414" y="2178714"/>
            <a:ext cx="1466849" cy="499533"/>
            <a:chOff x="4318" y="2112"/>
            <a:chExt cx="914" cy="428"/>
          </a:xfrm>
        </p:grpSpPr>
        <p:sp>
          <p:nvSpPr>
            <p:cNvPr id="57" name="Freeform 24">
              <a:extLst>
                <a:ext uri="{FF2B5EF4-FFF2-40B4-BE49-F238E27FC236}">
                  <a16:creationId xmlns:a16="http://schemas.microsoft.com/office/drawing/2014/main" id="{13DD48EF-D40C-FEA2-60CB-D14F3B70A452}"/>
                </a:ext>
              </a:extLst>
            </p:cNvPr>
            <p:cNvSpPr>
              <a:spLocks/>
            </p:cNvSpPr>
            <p:nvPr/>
          </p:nvSpPr>
          <p:spPr bwMode="auto">
            <a:xfrm>
              <a:off x="4318" y="2188"/>
              <a:ext cx="620" cy="352"/>
            </a:xfrm>
            <a:custGeom>
              <a:avLst/>
              <a:gdLst>
                <a:gd name="T0" fmla="*/ 30 w 624"/>
                <a:gd name="T1" fmla="*/ 48 h 448"/>
                <a:gd name="T2" fmla="*/ 153 w 624"/>
                <a:gd name="T3" fmla="*/ 204 h 448"/>
                <a:gd name="T4" fmla="*/ 222 w 624"/>
                <a:gd name="T5" fmla="*/ 192 h 448"/>
                <a:gd name="T6" fmla="*/ 448 w 624"/>
                <a:gd name="T7" fmla="*/ 448 h 448"/>
                <a:gd name="T8" fmla="*/ 624 w 624"/>
                <a:gd name="T9" fmla="*/ 384 h 448"/>
                <a:gd name="T10" fmla="*/ 282 w 624"/>
                <a:gd name="T11" fmla="*/ 174 h 448"/>
                <a:gd name="T12" fmla="*/ 342 w 624"/>
                <a:gd name="T13" fmla="*/ 159 h 448"/>
                <a:gd name="T14" fmla="*/ 9 w 624"/>
                <a:gd name="T15" fmla="*/ 9 h 448"/>
                <a:gd name="T16" fmla="*/ 0 w 624"/>
                <a:gd name="T17" fmla="*/ 0 h 448"/>
                <a:gd name="T18" fmla="*/ 30 w 624"/>
                <a:gd name="T19" fmla="*/ 48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4" h="448">
                  <a:moveTo>
                    <a:pt x="30" y="48"/>
                  </a:moveTo>
                  <a:lnTo>
                    <a:pt x="153" y="204"/>
                  </a:lnTo>
                  <a:lnTo>
                    <a:pt x="222" y="192"/>
                  </a:lnTo>
                  <a:lnTo>
                    <a:pt x="448" y="448"/>
                  </a:lnTo>
                  <a:lnTo>
                    <a:pt x="624" y="384"/>
                  </a:lnTo>
                  <a:lnTo>
                    <a:pt x="282" y="174"/>
                  </a:lnTo>
                  <a:lnTo>
                    <a:pt x="342" y="159"/>
                  </a:lnTo>
                  <a:lnTo>
                    <a:pt x="9" y="9"/>
                  </a:lnTo>
                  <a:lnTo>
                    <a:pt x="0" y="0"/>
                  </a:lnTo>
                  <a:lnTo>
                    <a:pt x="30" y="48"/>
                  </a:lnTo>
                  <a:close/>
                </a:path>
              </a:pathLst>
            </a:custGeom>
            <a:solidFill>
              <a:srgbClr val="FFFF00"/>
            </a:solidFill>
            <a:ln>
              <a:noFill/>
            </a:ln>
            <a:effectLst>
              <a:outerShdw dist="52363" dir="6242175" algn="ctr" rotWithShape="0">
                <a:schemeClr val="bg2"/>
              </a:outerShdw>
            </a:effectLst>
            <a:extLst>
              <a:ext uri="{91240B29-F687-4F45-9708-019B960494DF}">
                <a14:hiddenLine xmlns:a14="http://schemas.microsoft.com/office/drawing/2010/main" w="12700" cmpd="sng">
                  <a:solidFill>
                    <a:schemeClr val="bg2"/>
                  </a:solidFill>
                  <a:round/>
                  <a:headEnd/>
                  <a:tailEnd/>
                </a14:hiddenLine>
              </a:ext>
            </a:extLst>
          </p:spPr>
          <p:txBody>
            <a:bodyPr wrap="none" anchor="ctr"/>
            <a:lstStyle/>
            <a:p>
              <a:endParaRPr lang="ar-SA" sz="2400"/>
            </a:p>
          </p:txBody>
        </p:sp>
        <p:sp>
          <p:nvSpPr>
            <p:cNvPr id="58" name="Freeform 25">
              <a:extLst>
                <a:ext uri="{FF2B5EF4-FFF2-40B4-BE49-F238E27FC236}">
                  <a16:creationId xmlns:a16="http://schemas.microsoft.com/office/drawing/2014/main" id="{26BD0FDF-BE93-FC91-B467-2331F0A4EDC9}"/>
                </a:ext>
              </a:extLst>
            </p:cNvPr>
            <p:cNvSpPr>
              <a:spLocks/>
            </p:cNvSpPr>
            <p:nvPr/>
          </p:nvSpPr>
          <p:spPr bwMode="auto">
            <a:xfrm>
              <a:off x="4652" y="2112"/>
              <a:ext cx="580" cy="334"/>
            </a:xfrm>
            <a:custGeom>
              <a:avLst/>
              <a:gdLst>
                <a:gd name="T0" fmla="*/ 30 w 584"/>
                <a:gd name="T1" fmla="*/ 48 h 424"/>
                <a:gd name="T2" fmla="*/ 135 w 584"/>
                <a:gd name="T3" fmla="*/ 177 h 424"/>
                <a:gd name="T4" fmla="*/ 195 w 584"/>
                <a:gd name="T5" fmla="*/ 171 h 424"/>
                <a:gd name="T6" fmla="*/ 432 w 584"/>
                <a:gd name="T7" fmla="*/ 424 h 424"/>
                <a:gd name="T8" fmla="*/ 584 w 584"/>
                <a:gd name="T9" fmla="*/ 360 h 424"/>
                <a:gd name="T10" fmla="*/ 258 w 584"/>
                <a:gd name="T11" fmla="*/ 156 h 424"/>
                <a:gd name="T12" fmla="*/ 315 w 584"/>
                <a:gd name="T13" fmla="*/ 144 h 424"/>
                <a:gd name="T14" fmla="*/ 0 w 584"/>
                <a:gd name="T15" fmla="*/ 0 h 424"/>
                <a:gd name="T16" fmla="*/ 30 w 584"/>
                <a:gd name="T17" fmla="*/ 48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4" h="424">
                  <a:moveTo>
                    <a:pt x="30" y="48"/>
                  </a:moveTo>
                  <a:lnTo>
                    <a:pt x="135" y="177"/>
                  </a:lnTo>
                  <a:lnTo>
                    <a:pt x="195" y="171"/>
                  </a:lnTo>
                  <a:lnTo>
                    <a:pt x="432" y="424"/>
                  </a:lnTo>
                  <a:lnTo>
                    <a:pt x="584" y="360"/>
                  </a:lnTo>
                  <a:lnTo>
                    <a:pt x="258" y="156"/>
                  </a:lnTo>
                  <a:lnTo>
                    <a:pt x="315" y="144"/>
                  </a:lnTo>
                  <a:lnTo>
                    <a:pt x="0" y="0"/>
                  </a:lnTo>
                  <a:lnTo>
                    <a:pt x="30" y="48"/>
                  </a:lnTo>
                  <a:close/>
                </a:path>
              </a:pathLst>
            </a:custGeom>
            <a:solidFill>
              <a:srgbClr val="FFFF00"/>
            </a:solidFill>
            <a:ln>
              <a:noFill/>
            </a:ln>
            <a:effectLst>
              <a:outerShdw dist="52363" dir="6242175" algn="ctr" rotWithShape="0">
                <a:schemeClr val="bg2"/>
              </a:outerShdw>
            </a:effectLst>
            <a:extLst>
              <a:ext uri="{91240B29-F687-4F45-9708-019B960494DF}">
                <a14:hiddenLine xmlns:a14="http://schemas.microsoft.com/office/drawing/2010/main" w="12700" cmpd="sng">
                  <a:solidFill>
                    <a:schemeClr val="bg2"/>
                  </a:solidFill>
                  <a:round/>
                  <a:headEnd/>
                  <a:tailEnd/>
                </a14:hiddenLine>
              </a:ext>
            </a:extLst>
          </p:spPr>
          <p:txBody>
            <a:bodyPr wrap="none" anchor="ctr"/>
            <a:lstStyle/>
            <a:p>
              <a:endParaRPr lang="ar-SA" sz="2400"/>
            </a:p>
          </p:txBody>
        </p:sp>
      </p:grpSp>
      <p:grpSp>
        <p:nvGrpSpPr>
          <p:cNvPr id="59" name="Group 26">
            <a:extLst>
              <a:ext uri="{FF2B5EF4-FFF2-40B4-BE49-F238E27FC236}">
                <a16:creationId xmlns:a16="http://schemas.microsoft.com/office/drawing/2014/main" id="{49FB98FE-1E8B-074F-B0B4-A02EDC941962}"/>
              </a:ext>
            </a:extLst>
          </p:cNvPr>
          <p:cNvGrpSpPr>
            <a:grpSpLocks/>
          </p:cNvGrpSpPr>
          <p:nvPr/>
        </p:nvGrpSpPr>
        <p:grpSpPr bwMode="auto">
          <a:xfrm>
            <a:off x="3389547" y="2379796"/>
            <a:ext cx="1566333" cy="603251"/>
            <a:chOff x="4318" y="2112"/>
            <a:chExt cx="914" cy="428"/>
          </a:xfrm>
        </p:grpSpPr>
        <p:sp>
          <p:nvSpPr>
            <p:cNvPr id="60" name="Freeform 27">
              <a:extLst>
                <a:ext uri="{FF2B5EF4-FFF2-40B4-BE49-F238E27FC236}">
                  <a16:creationId xmlns:a16="http://schemas.microsoft.com/office/drawing/2014/main" id="{82254EC7-0B15-54A2-341B-E4CE84B93861}"/>
                </a:ext>
              </a:extLst>
            </p:cNvPr>
            <p:cNvSpPr>
              <a:spLocks/>
            </p:cNvSpPr>
            <p:nvPr/>
          </p:nvSpPr>
          <p:spPr bwMode="auto">
            <a:xfrm>
              <a:off x="4318" y="2188"/>
              <a:ext cx="620" cy="352"/>
            </a:xfrm>
            <a:custGeom>
              <a:avLst/>
              <a:gdLst>
                <a:gd name="T0" fmla="*/ 30 w 624"/>
                <a:gd name="T1" fmla="*/ 48 h 448"/>
                <a:gd name="T2" fmla="*/ 153 w 624"/>
                <a:gd name="T3" fmla="*/ 204 h 448"/>
                <a:gd name="T4" fmla="*/ 222 w 624"/>
                <a:gd name="T5" fmla="*/ 192 h 448"/>
                <a:gd name="T6" fmla="*/ 448 w 624"/>
                <a:gd name="T7" fmla="*/ 448 h 448"/>
                <a:gd name="T8" fmla="*/ 624 w 624"/>
                <a:gd name="T9" fmla="*/ 384 h 448"/>
                <a:gd name="T10" fmla="*/ 282 w 624"/>
                <a:gd name="T11" fmla="*/ 174 h 448"/>
                <a:gd name="T12" fmla="*/ 342 w 624"/>
                <a:gd name="T13" fmla="*/ 159 h 448"/>
                <a:gd name="T14" fmla="*/ 9 w 624"/>
                <a:gd name="T15" fmla="*/ 9 h 448"/>
                <a:gd name="T16" fmla="*/ 0 w 624"/>
                <a:gd name="T17" fmla="*/ 0 h 448"/>
                <a:gd name="T18" fmla="*/ 30 w 624"/>
                <a:gd name="T19" fmla="*/ 48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4" h="448">
                  <a:moveTo>
                    <a:pt x="30" y="48"/>
                  </a:moveTo>
                  <a:lnTo>
                    <a:pt x="153" y="204"/>
                  </a:lnTo>
                  <a:lnTo>
                    <a:pt x="222" y="192"/>
                  </a:lnTo>
                  <a:lnTo>
                    <a:pt x="448" y="448"/>
                  </a:lnTo>
                  <a:lnTo>
                    <a:pt x="624" y="384"/>
                  </a:lnTo>
                  <a:lnTo>
                    <a:pt x="282" y="174"/>
                  </a:lnTo>
                  <a:lnTo>
                    <a:pt x="342" y="159"/>
                  </a:lnTo>
                  <a:lnTo>
                    <a:pt x="9" y="9"/>
                  </a:lnTo>
                  <a:lnTo>
                    <a:pt x="0" y="0"/>
                  </a:lnTo>
                  <a:lnTo>
                    <a:pt x="30" y="48"/>
                  </a:lnTo>
                  <a:close/>
                </a:path>
              </a:pathLst>
            </a:custGeom>
            <a:solidFill>
              <a:srgbClr val="FFFF00"/>
            </a:solidFill>
            <a:ln>
              <a:noFill/>
            </a:ln>
            <a:effectLst>
              <a:outerShdw dist="52363" dir="6242175" algn="ctr" rotWithShape="0">
                <a:schemeClr val="bg2"/>
              </a:outerShdw>
            </a:effectLst>
            <a:extLst>
              <a:ext uri="{91240B29-F687-4F45-9708-019B960494DF}">
                <a14:hiddenLine xmlns:a14="http://schemas.microsoft.com/office/drawing/2010/main" w="12700" cmpd="sng">
                  <a:solidFill>
                    <a:schemeClr val="bg2"/>
                  </a:solidFill>
                  <a:round/>
                  <a:headEnd/>
                  <a:tailEnd/>
                </a14:hiddenLine>
              </a:ext>
            </a:extLst>
          </p:spPr>
          <p:txBody>
            <a:bodyPr wrap="none" anchor="ctr"/>
            <a:lstStyle/>
            <a:p>
              <a:endParaRPr lang="ar-SA" sz="2400"/>
            </a:p>
          </p:txBody>
        </p:sp>
        <p:sp>
          <p:nvSpPr>
            <p:cNvPr id="61" name="Freeform 28">
              <a:extLst>
                <a:ext uri="{FF2B5EF4-FFF2-40B4-BE49-F238E27FC236}">
                  <a16:creationId xmlns:a16="http://schemas.microsoft.com/office/drawing/2014/main" id="{133354CD-8C6C-7A91-AE26-3462941448DD}"/>
                </a:ext>
              </a:extLst>
            </p:cNvPr>
            <p:cNvSpPr>
              <a:spLocks/>
            </p:cNvSpPr>
            <p:nvPr/>
          </p:nvSpPr>
          <p:spPr bwMode="auto">
            <a:xfrm>
              <a:off x="4652" y="2112"/>
              <a:ext cx="580" cy="334"/>
            </a:xfrm>
            <a:custGeom>
              <a:avLst/>
              <a:gdLst>
                <a:gd name="T0" fmla="*/ 30 w 584"/>
                <a:gd name="T1" fmla="*/ 48 h 424"/>
                <a:gd name="T2" fmla="*/ 135 w 584"/>
                <a:gd name="T3" fmla="*/ 177 h 424"/>
                <a:gd name="T4" fmla="*/ 195 w 584"/>
                <a:gd name="T5" fmla="*/ 171 h 424"/>
                <a:gd name="T6" fmla="*/ 432 w 584"/>
                <a:gd name="T7" fmla="*/ 424 h 424"/>
                <a:gd name="T8" fmla="*/ 584 w 584"/>
                <a:gd name="T9" fmla="*/ 360 h 424"/>
                <a:gd name="T10" fmla="*/ 258 w 584"/>
                <a:gd name="T11" fmla="*/ 156 h 424"/>
                <a:gd name="T12" fmla="*/ 315 w 584"/>
                <a:gd name="T13" fmla="*/ 144 h 424"/>
                <a:gd name="T14" fmla="*/ 0 w 584"/>
                <a:gd name="T15" fmla="*/ 0 h 424"/>
                <a:gd name="T16" fmla="*/ 30 w 584"/>
                <a:gd name="T17" fmla="*/ 48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4" h="424">
                  <a:moveTo>
                    <a:pt x="30" y="48"/>
                  </a:moveTo>
                  <a:lnTo>
                    <a:pt x="135" y="177"/>
                  </a:lnTo>
                  <a:lnTo>
                    <a:pt x="195" y="171"/>
                  </a:lnTo>
                  <a:lnTo>
                    <a:pt x="432" y="424"/>
                  </a:lnTo>
                  <a:lnTo>
                    <a:pt x="584" y="360"/>
                  </a:lnTo>
                  <a:lnTo>
                    <a:pt x="258" y="156"/>
                  </a:lnTo>
                  <a:lnTo>
                    <a:pt x="315" y="144"/>
                  </a:lnTo>
                  <a:lnTo>
                    <a:pt x="0" y="0"/>
                  </a:lnTo>
                  <a:lnTo>
                    <a:pt x="30" y="48"/>
                  </a:lnTo>
                  <a:close/>
                </a:path>
              </a:pathLst>
            </a:custGeom>
            <a:solidFill>
              <a:srgbClr val="FFFF00"/>
            </a:solidFill>
            <a:ln>
              <a:noFill/>
            </a:ln>
            <a:effectLst>
              <a:outerShdw dist="52363" dir="6242175" algn="ctr" rotWithShape="0">
                <a:schemeClr val="bg2"/>
              </a:outerShdw>
            </a:effectLst>
            <a:extLst>
              <a:ext uri="{91240B29-F687-4F45-9708-019B960494DF}">
                <a14:hiddenLine xmlns:a14="http://schemas.microsoft.com/office/drawing/2010/main" w="12700" cmpd="sng">
                  <a:solidFill>
                    <a:schemeClr val="bg2"/>
                  </a:solidFill>
                  <a:round/>
                  <a:headEnd/>
                  <a:tailEnd/>
                </a14:hiddenLine>
              </a:ext>
            </a:extLst>
          </p:spPr>
          <p:txBody>
            <a:bodyPr wrap="none" anchor="ctr"/>
            <a:lstStyle/>
            <a:p>
              <a:endParaRPr lang="ar-SA" sz="2400"/>
            </a:p>
          </p:txBody>
        </p:sp>
      </p:grpSp>
      <p:grpSp>
        <p:nvGrpSpPr>
          <p:cNvPr id="62" name="Group 29">
            <a:extLst>
              <a:ext uri="{FF2B5EF4-FFF2-40B4-BE49-F238E27FC236}">
                <a16:creationId xmlns:a16="http://schemas.microsoft.com/office/drawing/2014/main" id="{3594CDA5-9AE9-9653-64E8-C9D5D8DF3F9A}"/>
              </a:ext>
            </a:extLst>
          </p:cNvPr>
          <p:cNvGrpSpPr>
            <a:grpSpLocks/>
          </p:cNvGrpSpPr>
          <p:nvPr/>
        </p:nvGrpSpPr>
        <p:grpSpPr bwMode="auto">
          <a:xfrm>
            <a:off x="3294296" y="1873914"/>
            <a:ext cx="1464733" cy="499533"/>
            <a:chOff x="4318" y="2112"/>
            <a:chExt cx="914" cy="428"/>
          </a:xfrm>
        </p:grpSpPr>
        <p:sp>
          <p:nvSpPr>
            <p:cNvPr id="63" name="Freeform 30">
              <a:extLst>
                <a:ext uri="{FF2B5EF4-FFF2-40B4-BE49-F238E27FC236}">
                  <a16:creationId xmlns:a16="http://schemas.microsoft.com/office/drawing/2014/main" id="{F820D7B9-271F-8C7A-A7EA-108A8216031C}"/>
                </a:ext>
              </a:extLst>
            </p:cNvPr>
            <p:cNvSpPr>
              <a:spLocks/>
            </p:cNvSpPr>
            <p:nvPr/>
          </p:nvSpPr>
          <p:spPr bwMode="auto">
            <a:xfrm>
              <a:off x="4318" y="2188"/>
              <a:ext cx="620" cy="352"/>
            </a:xfrm>
            <a:custGeom>
              <a:avLst/>
              <a:gdLst>
                <a:gd name="T0" fmla="*/ 30 w 624"/>
                <a:gd name="T1" fmla="*/ 48 h 448"/>
                <a:gd name="T2" fmla="*/ 153 w 624"/>
                <a:gd name="T3" fmla="*/ 204 h 448"/>
                <a:gd name="T4" fmla="*/ 222 w 624"/>
                <a:gd name="T5" fmla="*/ 192 h 448"/>
                <a:gd name="T6" fmla="*/ 448 w 624"/>
                <a:gd name="T7" fmla="*/ 448 h 448"/>
                <a:gd name="T8" fmla="*/ 624 w 624"/>
                <a:gd name="T9" fmla="*/ 384 h 448"/>
                <a:gd name="T10" fmla="*/ 282 w 624"/>
                <a:gd name="T11" fmla="*/ 174 h 448"/>
                <a:gd name="T12" fmla="*/ 342 w 624"/>
                <a:gd name="T13" fmla="*/ 159 h 448"/>
                <a:gd name="T14" fmla="*/ 9 w 624"/>
                <a:gd name="T15" fmla="*/ 9 h 448"/>
                <a:gd name="T16" fmla="*/ 0 w 624"/>
                <a:gd name="T17" fmla="*/ 0 h 448"/>
                <a:gd name="T18" fmla="*/ 30 w 624"/>
                <a:gd name="T19" fmla="*/ 48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4" h="448">
                  <a:moveTo>
                    <a:pt x="30" y="48"/>
                  </a:moveTo>
                  <a:lnTo>
                    <a:pt x="153" y="204"/>
                  </a:lnTo>
                  <a:lnTo>
                    <a:pt x="222" y="192"/>
                  </a:lnTo>
                  <a:lnTo>
                    <a:pt x="448" y="448"/>
                  </a:lnTo>
                  <a:lnTo>
                    <a:pt x="624" y="384"/>
                  </a:lnTo>
                  <a:lnTo>
                    <a:pt x="282" y="174"/>
                  </a:lnTo>
                  <a:lnTo>
                    <a:pt x="342" y="159"/>
                  </a:lnTo>
                  <a:lnTo>
                    <a:pt x="9" y="9"/>
                  </a:lnTo>
                  <a:lnTo>
                    <a:pt x="0" y="0"/>
                  </a:lnTo>
                  <a:lnTo>
                    <a:pt x="30" y="48"/>
                  </a:lnTo>
                  <a:close/>
                </a:path>
              </a:pathLst>
            </a:custGeom>
            <a:solidFill>
              <a:srgbClr val="FFFF00"/>
            </a:solidFill>
            <a:ln>
              <a:noFill/>
            </a:ln>
            <a:effectLst>
              <a:outerShdw dist="52363" dir="6242175" algn="ctr" rotWithShape="0">
                <a:schemeClr val="bg2"/>
              </a:outerShdw>
            </a:effectLst>
            <a:extLst>
              <a:ext uri="{91240B29-F687-4F45-9708-019B960494DF}">
                <a14:hiddenLine xmlns:a14="http://schemas.microsoft.com/office/drawing/2010/main" w="12700" cmpd="sng">
                  <a:solidFill>
                    <a:schemeClr val="bg2"/>
                  </a:solidFill>
                  <a:round/>
                  <a:headEnd/>
                  <a:tailEnd/>
                </a14:hiddenLine>
              </a:ext>
            </a:extLst>
          </p:spPr>
          <p:txBody>
            <a:bodyPr wrap="none" anchor="ctr"/>
            <a:lstStyle/>
            <a:p>
              <a:endParaRPr lang="ar-SA" sz="2400"/>
            </a:p>
          </p:txBody>
        </p:sp>
        <p:sp>
          <p:nvSpPr>
            <p:cNvPr id="64" name="Freeform 31">
              <a:extLst>
                <a:ext uri="{FF2B5EF4-FFF2-40B4-BE49-F238E27FC236}">
                  <a16:creationId xmlns:a16="http://schemas.microsoft.com/office/drawing/2014/main" id="{CB52DFF1-1C14-13AE-97BC-2FFD5C1248D5}"/>
                </a:ext>
              </a:extLst>
            </p:cNvPr>
            <p:cNvSpPr>
              <a:spLocks/>
            </p:cNvSpPr>
            <p:nvPr/>
          </p:nvSpPr>
          <p:spPr bwMode="auto">
            <a:xfrm>
              <a:off x="4652" y="2112"/>
              <a:ext cx="580" cy="334"/>
            </a:xfrm>
            <a:custGeom>
              <a:avLst/>
              <a:gdLst>
                <a:gd name="T0" fmla="*/ 30 w 584"/>
                <a:gd name="T1" fmla="*/ 48 h 424"/>
                <a:gd name="T2" fmla="*/ 135 w 584"/>
                <a:gd name="T3" fmla="*/ 177 h 424"/>
                <a:gd name="T4" fmla="*/ 195 w 584"/>
                <a:gd name="T5" fmla="*/ 171 h 424"/>
                <a:gd name="T6" fmla="*/ 432 w 584"/>
                <a:gd name="T7" fmla="*/ 424 h 424"/>
                <a:gd name="T8" fmla="*/ 584 w 584"/>
                <a:gd name="T9" fmla="*/ 360 h 424"/>
                <a:gd name="T10" fmla="*/ 258 w 584"/>
                <a:gd name="T11" fmla="*/ 156 h 424"/>
                <a:gd name="T12" fmla="*/ 315 w 584"/>
                <a:gd name="T13" fmla="*/ 144 h 424"/>
                <a:gd name="T14" fmla="*/ 0 w 584"/>
                <a:gd name="T15" fmla="*/ 0 h 424"/>
                <a:gd name="T16" fmla="*/ 30 w 584"/>
                <a:gd name="T17" fmla="*/ 48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4" h="424">
                  <a:moveTo>
                    <a:pt x="30" y="48"/>
                  </a:moveTo>
                  <a:lnTo>
                    <a:pt x="135" y="177"/>
                  </a:lnTo>
                  <a:lnTo>
                    <a:pt x="195" y="171"/>
                  </a:lnTo>
                  <a:lnTo>
                    <a:pt x="432" y="424"/>
                  </a:lnTo>
                  <a:lnTo>
                    <a:pt x="584" y="360"/>
                  </a:lnTo>
                  <a:lnTo>
                    <a:pt x="258" y="156"/>
                  </a:lnTo>
                  <a:lnTo>
                    <a:pt x="315" y="144"/>
                  </a:lnTo>
                  <a:lnTo>
                    <a:pt x="0" y="0"/>
                  </a:lnTo>
                  <a:lnTo>
                    <a:pt x="30" y="48"/>
                  </a:lnTo>
                  <a:close/>
                </a:path>
              </a:pathLst>
            </a:custGeom>
            <a:solidFill>
              <a:srgbClr val="FFFF00"/>
            </a:solidFill>
            <a:ln>
              <a:noFill/>
            </a:ln>
            <a:effectLst>
              <a:outerShdw dist="52363" dir="6242175" algn="ctr" rotWithShape="0">
                <a:schemeClr val="bg2"/>
              </a:outerShdw>
            </a:effectLst>
            <a:extLst>
              <a:ext uri="{91240B29-F687-4F45-9708-019B960494DF}">
                <a14:hiddenLine xmlns:a14="http://schemas.microsoft.com/office/drawing/2010/main" w="12700" cmpd="sng">
                  <a:solidFill>
                    <a:schemeClr val="bg2"/>
                  </a:solidFill>
                  <a:round/>
                  <a:headEnd/>
                  <a:tailEnd/>
                </a14:hiddenLine>
              </a:ext>
            </a:extLst>
          </p:spPr>
          <p:txBody>
            <a:bodyPr wrap="none" anchor="ctr"/>
            <a:lstStyle/>
            <a:p>
              <a:endParaRPr lang="ar-SA" sz="2400"/>
            </a:p>
          </p:txBody>
        </p:sp>
      </p:grpSp>
      <p:sp>
        <p:nvSpPr>
          <p:cNvPr id="65" name="Freeform 32">
            <a:extLst>
              <a:ext uri="{FF2B5EF4-FFF2-40B4-BE49-F238E27FC236}">
                <a16:creationId xmlns:a16="http://schemas.microsoft.com/office/drawing/2014/main" id="{03F76897-BBF3-580F-C36A-CCD653A7C160}"/>
              </a:ext>
            </a:extLst>
          </p:cNvPr>
          <p:cNvSpPr>
            <a:spLocks/>
          </p:cNvSpPr>
          <p:nvPr/>
        </p:nvSpPr>
        <p:spPr bwMode="auto">
          <a:xfrm>
            <a:off x="2974681" y="1624147"/>
            <a:ext cx="806449" cy="351367"/>
          </a:xfrm>
          <a:custGeom>
            <a:avLst/>
            <a:gdLst>
              <a:gd name="T0" fmla="*/ 30 w 584"/>
              <a:gd name="T1" fmla="*/ 48 h 424"/>
              <a:gd name="T2" fmla="*/ 135 w 584"/>
              <a:gd name="T3" fmla="*/ 177 h 424"/>
              <a:gd name="T4" fmla="*/ 195 w 584"/>
              <a:gd name="T5" fmla="*/ 171 h 424"/>
              <a:gd name="T6" fmla="*/ 432 w 584"/>
              <a:gd name="T7" fmla="*/ 424 h 424"/>
              <a:gd name="T8" fmla="*/ 584 w 584"/>
              <a:gd name="T9" fmla="*/ 360 h 424"/>
              <a:gd name="T10" fmla="*/ 258 w 584"/>
              <a:gd name="T11" fmla="*/ 156 h 424"/>
              <a:gd name="T12" fmla="*/ 315 w 584"/>
              <a:gd name="T13" fmla="*/ 144 h 424"/>
              <a:gd name="T14" fmla="*/ 0 w 584"/>
              <a:gd name="T15" fmla="*/ 0 h 424"/>
              <a:gd name="T16" fmla="*/ 30 w 584"/>
              <a:gd name="T17" fmla="*/ 48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4" h="424">
                <a:moveTo>
                  <a:pt x="30" y="48"/>
                </a:moveTo>
                <a:lnTo>
                  <a:pt x="135" y="177"/>
                </a:lnTo>
                <a:lnTo>
                  <a:pt x="195" y="171"/>
                </a:lnTo>
                <a:lnTo>
                  <a:pt x="432" y="424"/>
                </a:lnTo>
                <a:lnTo>
                  <a:pt x="584" y="360"/>
                </a:lnTo>
                <a:lnTo>
                  <a:pt x="258" y="156"/>
                </a:lnTo>
                <a:lnTo>
                  <a:pt x="315" y="144"/>
                </a:lnTo>
                <a:lnTo>
                  <a:pt x="0" y="0"/>
                </a:lnTo>
                <a:lnTo>
                  <a:pt x="30" y="48"/>
                </a:lnTo>
                <a:close/>
              </a:path>
            </a:pathLst>
          </a:custGeom>
          <a:solidFill>
            <a:srgbClr val="FFFF00"/>
          </a:solidFill>
          <a:ln>
            <a:noFill/>
          </a:ln>
          <a:effectLst>
            <a:outerShdw dist="52363" dir="6242175" algn="ctr" rotWithShape="0">
              <a:schemeClr val="bg2"/>
            </a:outerShdw>
          </a:effectLst>
          <a:extLst>
            <a:ext uri="{91240B29-F687-4F45-9708-019B960494DF}">
              <a14:hiddenLine xmlns:a14="http://schemas.microsoft.com/office/drawing/2010/main" w="12700" cmpd="sng">
                <a:solidFill>
                  <a:schemeClr val="bg2"/>
                </a:solidFill>
                <a:round/>
                <a:headEnd/>
                <a:tailEnd/>
              </a14:hiddenLine>
            </a:ext>
          </a:extLst>
        </p:spPr>
        <p:txBody>
          <a:bodyPr wrap="none" anchor="ctr"/>
          <a:lstStyle/>
          <a:p>
            <a:endParaRPr lang="ar-SA" sz="2400"/>
          </a:p>
        </p:txBody>
      </p:sp>
      <p:sp>
        <p:nvSpPr>
          <p:cNvPr id="66" name="Oval 36">
            <a:extLst>
              <a:ext uri="{FF2B5EF4-FFF2-40B4-BE49-F238E27FC236}">
                <a16:creationId xmlns:a16="http://schemas.microsoft.com/office/drawing/2014/main" id="{0E3ED6E9-5A45-7507-DA69-4BAFB506C306}"/>
              </a:ext>
            </a:extLst>
          </p:cNvPr>
          <p:cNvSpPr>
            <a:spLocks noChangeArrowheads="1"/>
          </p:cNvSpPr>
          <p:nvPr/>
        </p:nvSpPr>
        <p:spPr bwMode="auto">
          <a:xfrm>
            <a:off x="350789" y="722447"/>
            <a:ext cx="2254223" cy="711200"/>
          </a:xfrm>
          <a:prstGeom prst="ellipse">
            <a:avLst/>
          </a:prstGeom>
          <a:gradFill rotWithShape="0">
            <a:gsLst>
              <a:gs pos="0">
                <a:srgbClr val="FFFF00"/>
              </a:gs>
              <a:gs pos="100000">
                <a:srgbClr val="FFFF00">
                  <a:gamma/>
                  <a:shade val="81961"/>
                  <a:invGamma/>
                </a:srgbClr>
              </a:gs>
            </a:gsLst>
            <a:path path="shape">
              <a:fillToRect l="50000" t="50000" r="50000" b="50000"/>
            </a:path>
          </a:gradFill>
          <a:ln>
            <a:noFill/>
          </a:ln>
          <a:effectLst>
            <a:prstShdw prst="shdw17" dist="17961" dir="2700000">
              <a:srgbClr val="FFFF00">
                <a:gamma/>
                <a:shade val="60000"/>
                <a:invGamma/>
              </a:srgbClr>
            </a:prstShdw>
          </a:effectLst>
          <a:extLst>
            <a:ext uri="{91240B29-F687-4F45-9708-019B960494DF}">
              <a14:hiddenLine xmlns:a14="http://schemas.microsoft.com/office/drawing/2010/main" w="9525">
                <a:solidFill>
                  <a:srgbClr val="008000"/>
                </a:solidFill>
                <a:round/>
                <a:headEnd/>
                <a:tailEnd/>
              </a14:hiddenLine>
            </a:ext>
          </a:extLst>
        </p:spPr>
        <p:txBody>
          <a:bodyPr wrap="none" anchor="ctr"/>
          <a:lstStyle/>
          <a:p>
            <a:r>
              <a:rPr lang="ar-SA" altLang="ko-KR" sz="2400" b="1" dirty="0">
                <a:solidFill>
                  <a:srgbClr val="002060"/>
                </a:solidFill>
                <a:latin typeface="Sakkal Majalla" panose="02000000000000000000" pitchFamily="2" charset="-78"/>
                <a:cs typeface="Sakkal Majalla" panose="02000000000000000000" pitchFamily="2" charset="-78"/>
              </a:rPr>
              <a:t>توجيه الجهود نحو</a:t>
            </a:r>
            <a:endParaRPr lang="ar-SA" sz="2400" dirty="0"/>
          </a:p>
        </p:txBody>
      </p:sp>
      <p:sp>
        <p:nvSpPr>
          <p:cNvPr id="67" name="Text Placeholder 1">
            <a:extLst>
              <a:ext uri="{FF2B5EF4-FFF2-40B4-BE49-F238E27FC236}">
                <a16:creationId xmlns:a16="http://schemas.microsoft.com/office/drawing/2014/main" id="{EAC3B6B9-2B9B-F807-2000-911C2C76EBA9}"/>
              </a:ext>
            </a:extLst>
          </p:cNvPr>
          <p:cNvSpPr txBox="1">
            <a:spLocks/>
          </p:cNvSpPr>
          <p:nvPr/>
        </p:nvSpPr>
        <p:spPr>
          <a:xfrm>
            <a:off x="268988" y="1832607"/>
            <a:ext cx="2427157" cy="1824995"/>
          </a:xfrm>
          <a:prstGeom prst="rect">
            <a:avLst/>
          </a:prstGeom>
        </p:spPr>
        <p:txBody>
          <a:bodyPr/>
          <a:lstStyle>
            <a:lvl1pPr marL="342900" indent="-342900" algn="l" defTabSz="914400" rtl="0" eaLnBrk="1" latinLnBrk="1"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1"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1"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ar-SA" altLang="ko-KR" sz="2400" b="1" dirty="0">
                <a:solidFill>
                  <a:srgbClr val="002060"/>
                </a:solidFill>
                <a:latin typeface="Sakkal Majalla" panose="02000000000000000000" pitchFamily="2" charset="-78"/>
                <a:cs typeface="Sakkal Majalla" panose="02000000000000000000" pitchFamily="2" charset="-78"/>
              </a:rPr>
              <a:t>تمكين المدرسة </a:t>
            </a:r>
          </a:p>
          <a:p>
            <a:pPr marL="0" indent="0" algn="ctr">
              <a:buNone/>
            </a:pPr>
            <a:r>
              <a:rPr lang="ar-SA" altLang="ko-KR" sz="2400" b="1" dirty="0">
                <a:solidFill>
                  <a:srgbClr val="002060"/>
                </a:solidFill>
                <a:latin typeface="Sakkal Majalla" panose="02000000000000000000" pitchFamily="2" charset="-78"/>
                <a:cs typeface="Sakkal Majalla" panose="02000000000000000000" pitchFamily="2" charset="-78"/>
              </a:rPr>
              <a:t>وتحسين التدريس الصفي ورفع مستوى تعلم الطلاب</a:t>
            </a:r>
            <a:endParaRPr lang="ko-KR" altLang="en-US" sz="2400" b="1" dirty="0">
              <a:solidFill>
                <a:srgbClr val="002060"/>
              </a:solidFill>
              <a:latin typeface="Sakkal Majalla" panose="02000000000000000000" pitchFamily="2" charset="-78"/>
              <a:cs typeface="Sakkal Majalla" panose="02000000000000000000" pitchFamily="2" charset="-78"/>
            </a:endParaRPr>
          </a:p>
        </p:txBody>
      </p:sp>
    </p:spTree>
    <p:extLst>
      <p:ext uri="{BB962C8B-B14F-4D97-AF65-F5344CB8AC3E}">
        <p14:creationId xmlns:p14="http://schemas.microsoft.com/office/powerpoint/2010/main" val="23422531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with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1000"/>
                                        <p:tgtEl>
                                          <p:spTgt spid="36"/>
                                        </p:tgtEl>
                                      </p:cBhvr>
                                    </p:animEffect>
                                    <p:anim calcmode="lin" valueType="num">
                                      <p:cBhvr>
                                        <p:cTn id="8" dur="1000" fill="hold"/>
                                        <p:tgtEl>
                                          <p:spTgt spid="36"/>
                                        </p:tgtEl>
                                        <p:attrNameLst>
                                          <p:attrName>ppt_x</p:attrName>
                                        </p:attrNameLst>
                                      </p:cBhvr>
                                      <p:tavLst>
                                        <p:tav tm="0">
                                          <p:val>
                                            <p:strVal val="#ppt_x"/>
                                          </p:val>
                                        </p:tav>
                                        <p:tav tm="100000">
                                          <p:val>
                                            <p:strVal val="#ppt_x"/>
                                          </p:val>
                                        </p:tav>
                                      </p:tavLst>
                                    </p:anim>
                                    <p:anim calcmode="lin" valueType="num">
                                      <p:cBhvr>
                                        <p:cTn id="9" dur="1000" fill="hold"/>
                                        <p:tgtEl>
                                          <p:spTgt spid="36"/>
                                        </p:tgtEl>
                                        <p:attrNameLst>
                                          <p:attrName>ppt_y</p:attrName>
                                        </p:attrNameLst>
                                      </p:cBhvr>
                                      <p:tavLst>
                                        <p:tav tm="0">
                                          <p:val>
                                            <p:strVal val="#ppt_y-.1"/>
                                          </p:val>
                                        </p:tav>
                                        <p:tav tm="100000">
                                          <p:val>
                                            <p:strVal val="#ppt_y"/>
                                          </p:val>
                                        </p:tav>
                                      </p:tavLst>
                                    </p:anim>
                                  </p:childTnLst>
                                </p:cTn>
                              </p:par>
                              <p:par>
                                <p:cTn id="10" presetID="47" presetClass="entr" presetSubtype="0" fill="hold" nodeType="withEffect">
                                  <p:stCondLst>
                                    <p:cond delay="0"/>
                                  </p:stCondLst>
                                  <p:childTnLst>
                                    <p:set>
                                      <p:cBhvr>
                                        <p:cTn id="11" dur="1" fill="hold">
                                          <p:stCondLst>
                                            <p:cond delay="0"/>
                                          </p:stCondLst>
                                        </p:cTn>
                                        <p:tgtEl>
                                          <p:spTgt spid="37"/>
                                        </p:tgtEl>
                                        <p:attrNameLst>
                                          <p:attrName>style.visibility</p:attrName>
                                        </p:attrNameLst>
                                      </p:cBhvr>
                                      <p:to>
                                        <p:strVal val="visible"/>
                                      </p:to>
                                    </p:set>
                                    <p:animEffect transition="in" filter="fade">
                                      <p:cBhvr>
                                        <p:cTn id="12" dur="1000"/>
                                        <p:tgtEl>
                                          <p:spTgt spid="37"/>
                                        </p:tgtEl>
                                      </p:cBhvr>
                                    </p:animEffect>
                                    <p:anim calcmode="lin" valueType="num">
                                      <p:cBhvr>
                                        <p:cTn id="13" dur="1000" fill="hold"/>
                                        <p:tgtEl>
                                          <p:spTgt spid="37"/>
                                        </p:tgtEl>
                                        <p:attrNameLst>
                                          <p:attrName>ppt_x</p:attrName>
                                        </p:attrNameLst>
                                      </p:cBhvr>
                                      <p:tavLst>
                                        <p:tav tm="0">
                                          <p:val>
                                            <p:strVal val="#ppt_x"/>
                                          </p:val>
                                        </p:tav>
                                        <p:tav tm="100000">
                                          <p:val>
                                            <p:strVal val="#ppt_x"/>
                                          </p:val>
                                        </p:tav>
                                      </p:tavLst>
                                    </p:anim>
                                    <p:anim calcmode="lin" valueType="num">
                                      <p:cBhvr>
                                        <p:cTn id="14" dur="1000" fill="hold"/>
                                        <p:tgtEl>
                                          <p:spTgt spid="37"/>
                                        </p:tgtEl>
                                        <p:attrNameLst>
                                          <p:attrName>ppt_y</p:attrName>
                                        </p:attrNameLst>
                                      </p:cBhvr>
                                      <p:tavLst>
                                        <p:tav tm="0">
                                          <p:val>
                                            <p:strVal val="#ppt_y-.1"/>
                                          </p:val>
                                        </p:tav>
                                        <p:tav tm="100000">
                                          <p:val>
                                            <p:strVal val="#ppt_y"/>
                                          </p:val>
                                        </p:tav>
                                      </p:tavLst>
                                    </p:anim>
                                  </p:childTnLst>
                                </p:cTn>
                              </p:par>
                              <p:par>
                                <p:cTn id="15" presetID="47" presetClass="entr" presetSubtype="0" fill="hold" nodeType="withEffect">
                                  <p:stCondLst>
                                    <p:cond delay="0"/>
                                  </p:stCondLst>
                                  <p:childTnLst>
                                    <p:set>
                                      <p:cBhvr>
                                        <p:cTn id="16" dur="1" fill="hold">
                                          <p:stCondLst>
                                            <p:cond delay="0"/>
                                          </p:stCondLst>
                                        </p:cTn>
                                        <p:tgtEl>
                                          <p:spTgt spid="38"/>
                                        </p:tgtEl>
                                        <p:attrNameLst>
                                          <p:attrName>style.visibility</p:attrName>
                                        </p:attrNameLst>
                                      </p:cBhvr>
                                      <p:to>
                                        <p:strVal val="visible"/>
                                      </p:to>
                                    </p:set>
                                    <p:animEffect transition="in" filter="fade">
                                      <p:cBhvr>
                                        <p:cTn id="17" dur="1000"/>
                                        <p:tgtEl>
                                          <p:spTgt spid="38"/>
                                        </p:tgtEl>
                                      </p:cBhvr>
                                    </p:animEffect>
                                    <p:anim calcmode="lin" valueType="num">
                                      <p:cBhvr>
                                        <p:cTn id="18" dur="1000" fill="hold"/>
                                        <p:tgtEl>
                                          <p:spTgt spid="38"/>
                                        </p:tgtEl>
                                        <p:attrNameLst>
                                          <p:attrName>ppt_x</p:attrName>
                                        </p:attrNameLst>
                                      </p:cBhvr>
                                      <p:tavLst>
                                        <p:tav tm="0">
                                          <p:val>
                                            <p:strVal val="#ppt_x"/>
                                          </p:val>
                                        </p:tav>
                                        <p:tav tm="100000">
                                          <p:val>
                                            <p:strVal val="#ppt_x"/>
                                          </p:val>
                                        </p:tav>
                                      </p:tavLst>
                                    </p:anim>
                                    <p:anim calcmode="lin" valueType="num">
                                      <p:cBhvr>
                                        <p:cTn id="19" dur="1000" fill="hold"/>
                                        <p:tgtEl>
                                          <p:spTgt spid="38"/>
                                        </p:tgtEl>
                                        <p:attrNameLst>
                                          <p:attrName>ppt_y</p:attrName>
                                        </p:attrNameLst>
                                      </p:cBhvr>
                                      <p:tavLst>
                                        <p:tav tm="0">
                                          <p:val>
                                            <p:strVal val="#ppt_y-.1"/>
                                          </p:val>
                                        </p:tav>
                                        <p:tav tm="100000">
                                          <p:val>
                                            <p:strVal val="#ppt_y"/>
                                          </p:val>
                                        </p:tav>
                                      </p:tavLst>
                                    </p:anim>
                                  </p:childTnLst>
                                </p:cTn>
                              </p:par>
                              <p:par>
                                <p:cTn id="20" presetID="47" presetClass="entr" presetSubtype="0" fill="hold" nodeType="withEffect">
                                  <p:stCondLst>
                                    <p:cond delay="0"/>
                                  </p:stCondLst>
                                  <p:childTnLst>
                                    <p:set>
                                      <p:cBhvr>
                                        <p:cTn id="21" dur="1" fill="hold">
                                          <p:stCondLst>
                                            <p:cond delay="0"/>
                                          </p:stCondLst>
                                        </p:cTn>
                                        <p:tgtEl>
                                          <p:spTgt spid="42"/>
                                        </p:tgtEl>
                                        <p:attrNameLst>
                                          <p:attrName>style.visibility</p:attrName>
                                        </p:attrNameLst>
                                      </p:cBhvr>
                                      <p:to>
                                        <p:strVal val="visible"/>
                                      </p:to>
                                    </p:set>
                                    <p:animEffect transition="in" filter="fade">
                                      <p:cBhvr>
                                        <p:cTn id="22" dur="1000"/>
                                        <p:tgtEl>
                                          <p:spTgt spid="42"/>
                                        </p:tgtEl>
                                      </p:cBhvr>
                                    </p:animEffect>
                                    <p:anim calcmode="lin" valueType="num">
                                      <p:cBhvr>
                                        <p:cTn id="23" dur="1000" fill="hold"/>
                                        <p:tgtEl>
                                          <p:spTgt spid="42"/>
                                        </p:tgtEl>
                                        <p:attrNameLst>
                                          <p:attrName>ppt_x</p:attrName>
                                        </p:attrNameLst>
                                      </p:cBhvr>
                                      <p:tavLst>
                                        <p:tav tm="0">
                                          <p:val>
                                            <p:strVal val="#ppt_x"/>
                                          </p:val>
                                        </p:tav>
                                        <p:tav tm="100000">
                                          <p:val>
                                            <p:strVal val="#ppt_x"/>
                                          </p:val>
                                        </p:tav>
                                      </p:tavLst>
                                    </p:anim>
                                    <p:anim calcmode="lin" valueType="num">
                                      <p:cBhvr>
                                        <p:cTn id="24" dur="1000" fill="hold"/>
                                        <p:tgtEl>
                                          <p:spTgt spid="42"/>
                                        </p:tgtEl>
                                        <p:attrNameLst>
                                          <p:attrName>ppt_y</p:attrName>
                                        </p:attrNameLst>
                                      </p:cBhvr>
                                      <p:tavLst>
                                        <p:tav tm="0">
                                          <p:val>
                                            <p:strVal val="#ppt_y-.1"/>
                                          </p:val>
                                        </p:tav>
                                        <p:tav tm="100000">
                                          <p:val>
                                            <p:strVal val="#ppt_y"/>
                                          </p:val>
                                        </p:tav>
                                      </p:tavLst>
                                    </p:anim>
                                  </p:childTnLst>
                                </p:cTn>
                              </p:par>
                              <p:par>
                                <p:cTn id="25" presetID="47" presetClass="entr" presetSubtype="0" fill="hold" nodeType="withEffect">
                                  <p:stCondLst>
                                    <p:cond delay="0"/>
                                  </p:stCondLst>
                                  <p:childTnLst>
                                    <p:set>
                                      <p:cBhvr>
                                        <p:cTn id="26" dur="1" fill="hold">
                                          <p:stCondLst>
                                            <p:cond delay="0"/>
                                          </p:stCondLst>
                                        </p:cTn>
                                        <p:tgtEl>
                                          <p:spTgt spid="46"/>
                                        </p:tgtEl>
                                        <p:attrNameLst>
                                          <p:attrName>style.visibility</p:attrName>
                                        </p:attrNameLst>
                                      </p:cBhvr>
                                      <p:to>
                                        <p:strVal val="visible"/>
                                      </p:to>
                                    </p:set>
                                    <p:animEffect transition="in" filter="fade">
                                      <p:cBhvr>
                                        <p:cTn id="27" dur="1000"/>
                                        <p:tgtEl>
                                          <p:spTgt spid="46"/>
                                        </p:tgtEl>
                                      </p:cBhvr>
                                    </p:animEffect>
                                    <p:anim calcmode="lin" valueType="num">
                                      <p:cBhvr>
                                        <p:cTn id="28" dur="1000" fill="hold"/>
                                        <p:tgtEl>
                                          <p:spTgt spid="46"/>
                                        </p:tgtEl>
                                        <p:attrNameLst>
                                          <p:attrName>ppt_x</p:attrName>
                                        </p:attrNameLst>
                                      </p:cBhvr>
                                      <p:tavLst>
                                        <p:tav tm="0">
                                          <p:val>
                                            <p:strVal val="#ppt_x"/>
                                          </p:val>
                                        </p:tav>
                                        <p:tav tm="100000">
                                          <p:val>
                                            <p:strVal val="#ppt_x"/>
                                          </p:val>
                                        </p:tav>
                                      </p:tavLst>
                                    </p:anim>
                                    <p:anim calcmode="lin" valueType="num">
                                      <p:cBhvr>
                                        <p:cTn id="29" dur="1000" fill="hold"/>
                                        <p:tgtEl>
                                          <p:spTgt spid="46"/>
                                        </p:tgtEl>
                                        <p:attrNameLst>
                                          <p:attrName>ppt_y</p:attrName>
                                        </p:attrNameLst>
                                      </p:cBhvr>
                                      <p:tavLst>
                                        <p:tav tm="0">
                                          <p:val>
                                            <p:strVal val="#ppt_y-.1"/>
                                          </p:val>
                                        </p:tav>
                                        <p:tav tm="100000">
                                          <p:val>
                                            <p:strVal val="#ppt_y"/>
                                          </p:val>
                                        </p:tav>
                                      </p:tavLst>
                                    </p:anim>
                                  </p:childTnLst>
                                </p:cTn>
                              </p:par>
                              <p:par>
                                <p:cTn id="30" presetID="47" presetClass="entr" presetSubtype="0" fill="hold" nodeType="withEffect">
                                  <p:stCondLst>
                                    <p:cond delay="0"/>
                                  </p:stCondLst>
                                  <p:childTnLst>
                                    <p:set>
                                      <p:cBhvr>
                                        <p:cTn id="31" dur="1" fill="hold">
                                          <p:stCondLst>
                                            <p:cond delay="0"/>
                                          </p:stCondLst>
                                        </p:cTn>
                                        <p:tgtEl>
                                          <p:spTgt spid="50"/>
                                        </p:tgtEl>
                                        <p:attrNameLst>
                                          <p:attrName>style.visibility</p:attrName>
                                        </p:attrNameLst>
                                      </p:cBhvr>
                                      <p:to>
                                        <p:strVal val="visible"/>
                                      </p:to>
                                    </p:set>
                                    <p:animEffect transition="in" filter="fade">
                                      <p:cBhvr>
                                        <p:cTn id="32" dur="1000"/>
                                        <p:tgtEl>
                                          <p:spTgt spid="50"/>
                                        </p:tgtEl>
                                      </p:cBhvr>
                                    </p:animEffect>
                                    <p:anim calcmode="lin" valueType="num">
                                      <p:cBhvr>
                                        <p:cTn id="33" dur="1000" fill="hold"/>
                                        <p:tgtEl>
                                          <p:spTgt spid="50"/>
                                        </p:tgtEl>
                                        <p:attrNameLst>
                                          <p:attrName>ppt_x</p:attrName>
                                        </p:attrNameLst>
                                      </p:cBhvr>
                                      <p:tavLst>
                                        <p:tav tm="0">
                                          <p:val>
                                            <p:strVal val="#ppt_x"/>
                                          </p:val>
                                        </p:tav>
                                        <p:tav tm="100000">
                                          <p:val>
                                            <p:strVal val="#ppt_x"/>
                                          </p:val>
                                        </p:tav>
                                      </p:tavLst>
                                    </p:anim>
                                    <p:anim calcmode="lin" valueType="num">
                                      <p:cBhvr>
                                        <p:cTn id="34" dur="1000" fill="hold"/>
                                        <p:tgtEl>
                                          <p:spTgt spid="50"/>
                                        </p:tgtEl>
                                        <p:attrNameLst>
                                          <p:attrName>ppt_y</p:attrName>
                                        </p:attrNameLst>
                                      </p:cBhvr>
                                      <p:tavLst>
                                        <p:tav tm="0">
                                          <p:val>
                                            <p:strVal val="#ppt_y-.1"/>
                                          </p:val>
                                        </p:tav>
                                        <p:tav tm="100000">
                                          <p:val>
                                            <p:strVal val="#ppt_y"/>
                                          </p:val>
                                        </p:tav>
                                      </p:tavLst>
                                    </p:anim>
                                  </p:childTnLst>
                                </p:cTn>
                              </p:par>
                              <p:par>
                                <p:cTn id="35" presetID="47" presetClass="entr" presetSubtype="0" fill="hold" nodeType="withEffect">
                                  <p:stCondLst>
                                    <p:cond delay="0"/>
                                  </p:stCondLst>
                                  <p:childTnLst>
                                    <p:set>
                                      <p:cBhvr>
                                        <p:cTn id="36" dur="1" fill="hold">
                                          <p:stCondLst>
                                            <p:cond delay="0"/>
                                          </p:stCondLst>
                                        </p:cTn>
                                        <p:tgtEl>
                                          <p:spTgt spid="53"/>
                                        </p:tgtEl>
                                        <p:attrNameLst>
                                          <p:attrName>style.visibility</p:attrName>
                                        </p:attrNameLst>
                                      </p:cBhvr>
                                      <p:to>
                                        <p:strVal val="visible"/>
                                      </p:to>
                                    </p:set>
                                    <p:animEffect transition="in" filter="fade">
                                      <p:cBhvr>
                                        <p:cTn id="37" dur="1000"/>
                                        <p:tgtEl>
                                          <p:spTgt spid="53"/>
                                        </p:tgtEl>
                                      </p:cBhvr>
                                    </p:animEffect>
                                    <p:anim calcmode="lin" valueType="num">
                                      <p:cBhvr>
                                        <p:cTn id="38" dur="1000" fill="hold"/>
                                        <p:tgtEl>
                                          <p:spTgt spid="53"/>
                                        </p:tgtEl>
                                        <p:attrNameLst>
                                          <p:attrName>ppt_x</p:attrName>
                                        </p:attrNameLst>
                                      </p:cBhvr>
                                      <p:tavLst>
                                        <p:tav tm="0">
                                          <p:val>
                                            <p:strVal val="#ppt_x"/>
                                          </p:val>
                                        </p:tav>
                                        <p:tav tm="100000">
                                          <p:val>
                                            <p:strVal val="#ppt_x"/>
                                          </p:val>
                                        </p:tav>
                                      </p:tavLst>
                                    </p:anim>
                                    <p:anim calcmode="lin" valueType="num">
                                      <p:cBhvr>
                                        <p:cTn id="39" dur="1000" fill="hold"/>
                                        <p:tgtEl>
                                          <p:spTgt spid="53"/>
                                        </p:tgtEl>
                                        <p:attrNameLst>
                                          <p:attrName>ppt_y</p:attrName>
                                        </p:attrNameLst>
                                      </p:cBhvr>
                                      <p:tavLst>
                                        <p:tav tm="0">
                                          <p:val>
                                            <p:strVal val="#ppt_y-.1"/>
                                          </p:val>
                                        </p:tav>
                                        <p:tav tm="100000">
                                          <p:val>
                                            <p:strVal val="#ppt_y"/>
                                          </p:val>
                                        </p:tav>
                                      </p:tavLst>
                                    </p:anim>
                                  </p:childTnLst>
                                </p:cTn>
                              </p:par>
                              <p:par>
                                <p:cTn id="40" presetID="47" presetClass="entr" presetSubtype="0" fill="hold" nodeType="withEffect">
                                  <p:stCondLst>
                                    <p:cond delay="0"/>
                                  </p:stCondLst>
                                  <p:childTnLst>
                                    <p:set>
                                      <p:cBhvr>
                                        <p:cTn id="41" dur="1" fill="hold">
                                          <p:stCondLst>
                                            <p:cond delay="0"/>
                                          </p:stCondLst>
                                        </p:cTn>
                                        <p:tgtEl>
                                          <p:spTgt spid="56"/>
                                        </p:tgtEl>
                                        <p:attrNameLst>
                                          <p:attrName>style.visibility</p:attrName>
                                        </p:attrNameLst>
                                      </p:cBhvr>
                                      <p:to>
                                        <p:strVal val="visible"/>
                                      </p:to>
                                    </p:set>
                                    <p:animEffect transition="in" filter="fade">
                                      <p:cBhvr>
                                        <p:cTn id="42" dur="1000"/>
                                        <p:tgtEl>
                                          <p:spTgt spid="56"/>
                                        </p:tgtEl>
                                      </p:cBhvr>
                                    </p:animEffect>
                                    <p:anim calcmode="lin" valueType="num">
                                      <p:cBhvr>
                                        <p:cTn id="43" dur="1000" fill="hold"/>
                                        <p:tgtEl>
                                          <p:spTgt spid="56"/>
                                        </p:tgtEl>
                                        <p:attrNameLst>
                                          <p:attrName>ppt_x</p:attrName>
                                        </p:attrNameLst>
                                      </p:cBhvr>
                                      <p:tavLst>
                                        <p:tav tm="0">
                                          <p:val>
                                            <p:strVal val="#ppt_x"/>
                                          </p:val>
                                        </p:tav>
                                        <p:tav tm="100000">
                                          <p:val>
                                            <p:strVal val="#ppt_x"/>
                                          </p:val>
                                        </p:tav>
                                      </p:tavLst>
                                    </p:anim>
                                    <p:anim calcmode="lin" valueType="num">
                                      <p:cBhvr>
                                        <p:cTn id="44" dur="1000" fill="hold"/>
                                        <p:tgtEl>
                                          <p:spTgt spid="56"/>
                                        </p:tgtEl>
                                        <p:attrNameLst>
                                          <p:attrName>ppt_y</p:attrName>
                                        </p:attrNameLst>
                                      </p:cBhvr>
                                      <p:tavLst>
                                        <p:tav tm="0">
                                          <p:val>
                                            <p:strVal val="#ppt_y-.1"/>
                                          </p:val>
                                        </p:tav>
                                        <p:tav tm="100000">
                                          <p:val>
                                            <p:strVal val="#ppt_y"/>
                                          </p:val>
                                        </p:tav>
                                      </p:tavLst>
                                    </p:anim>
                                  </p:childTnLst>
                                </p:cTn>
                              </p:par>
                              <p:par>
                                <p:cTn id="45" presetID="47" presetClass="entr" presetSubtype="0" fill="hold" nodeType="withEffect">
                                  <p:stCondLst>
                                    <p:cond delay="0"/>
                                  </p:stCondLst>
                                  <p:childTnLst>
                                    <p:set>
                                      <p:cBhvr>
                                        <p:cTn id="46" dur="1" fill="hold">
                                          <p:stCondLst>
                                            <p:cond delay="0"/>
                                          </p:stCondLst>
                                        </p:cTn>
                                        <p:tgtEl>
                                          <p:spTgt spid="59"/>
                                        </p:tgtEl>
                                        <p:attrNameLst>
                                          <p:attrName>style.visibility</p:attrName>
                                        </p:attrNameLst>
                                      </p:cBhvr>
                                      <p:to>
                                        <p:strVal val="visible"/>
                                      </p:to>
                                    </p:set>
                                    <p:animEffect transition="in" filter="fade">
                                      <p:cBhvr>
                                        <p:cTn id="47" dur="1000"/>
                                        <p:tgtEl>
                                          <p:spTgt spid="59"/>
                                        </p:tgtEl>
                                      </p:cBhvr>
                                    </p:animEffect>
                                    <p:anim calcmode="lin" valueType="num">
                                      <p:cBhvr>
                                        <p:cTn id="48" dur="1000" fill="hold"/>
                                        <p:tgtEl>
                                          <p:spTgt spid="59"/>
                                        </p:tgtEl>
                                        <p:attrNameLst>
                                          <p:attrName>ppt_x</p:attrName>
                                        </p:attrNameLst>
                                      </p:cBhvr>
                                      <p:tavLst>
                                        <p:tav tm="0">
                                          <p:val>
                                            <p:strVal val="#ppt_x"/>
                                          </p:val>
                                        </p:tav>
                                        <p:tav tm="100000">
                                          <p:val>
                                            <p:strVal val="#ppt_x"/>
                                          </p:val>
                                        </p:tav>
                                      </p:tavLst>
                                    </p:anim>
                                    <p:anim calcmode="lin" valueType="num">
                                      <p:cBhvr>
                                        <p:cTn id="49" dur="1000" fill="hold"/>
                                        <p:tgtEl>
                                          <p:spTgt spid="59"/>
                                        </p:tgtEl>
                                        <p:attrNameLst>
                                          <p:attrName>ppt_y</p:attrName>
                                        </p:attrNameLst>
                                      </p:cBhvr>
                                      <p:tavLst>
                                        <p:tav tm="0">
                                          <p:val>
                                            <p:strVal val="#ppt_y-.1"/>
                                          </p:val>
                                        </p:tav>
                                        <p:tav tm="100000">
                                          <p:val>
                                            <p:strVal val="#ppt_y"/>
                                          </p:val>
                                        </p:tav>
                                      </p:tavLst>
                                    </p:anim>
                                  </p:childTnLst>
                                </p:cTn>
                              </p:par>
                              <p:par>
                                <p:cTn id="50" presetID="47" presetClass="entr" presetSubtype="0" fill="hold" nodeType="withEffect">
                                  <p:stCondLst>
                                    <p:cond delay="0"/>
                                  </p:stCondLst>
                                  <p:childTnLst>
                                    <p:set>
                                      <p:cBhvr>
                                        <p:cTn id="51" dur="1" fill="hold">
                                          <p:stCondLst>
                                            <p:cond delay="0"/>
                                          </p:stCondLst>
                                        </p:cTn>
                                        <p:tgtEl>
                                          <p:spTgt spid="62"/>
                                        </p:tgtEl>
                                        <p:attrNameLst>
                                          <p:attrName>style.visibility</p:attrName>
                                        </p:attrNameLst>
                                      </p:cBhvr>
                                      <p:to>
                                        <p:strVal val="visible"/>
                                      </p:to>
                                    </p:set>
                                    <p:animEffect transition="in" filter="fade">
                                      <p:cBhvr>
                                        <p:cTn id="52" dur="1000"/>
                                        <p:tgtEl>
                                          <p:spTgt spid="62"/>
                                        </p:tgtEl>
                                      </p:cBhvr>
                                    </p:animEffect>
                                    <p:anim calcmode="lin" valueType="num">
                                      <p:cBhvr>
                                        <p:cTn id="53" dur="1000" fill="hold"/>
                                        <p:tgtEl>
                                          <p:spTgt spid="62"/>
                                        </p:tgtEl>
                                        <p:attrNameLst>
                                          <p:attrName>ppt_x</p:attrName>
                                        </p:attrNameLst>
                                      </p:cBhvr>
                                      <p:tavLst>
                                        <p:tav tm="0">
                                          <p:val>
                                            <p:strVal val="#ppt_x"/>
                                          </p:val>
                                        </p:tav>
                                        <p:tav tm="100000">
                                          <p:val>
                                            <p:strVal val="#ppt_x"/>
                                          </p:val>
                                        </p:tav>
                                      </p:tavLst>
                                    </p:anim>
                                    <p:anim calcmode="lin" valueType="num">
                                      <p:cBhvr>
                                        <p:cTn id="54" dur="1000" fill="hold"/>
                                        <p:tgtEl>
                                          <p:spTgt spid="62"/>
                                        </p:tgtEl>
                                        <p:attrNameLst>
                                          <p:attrName>ppt_y</p:attrName>
                                        </p:attrNameLst>
                                      </p:cBhvr>
                                      <p:tavLst>
                                        <p:tav tm="0">
                                          <p:val>
                                            <p:strVal val="#ppt_y-.1"/>
                                          </p:val>
                                        </p:tav>
                                        <p:tav tm="100000">
                                          <p:val>
                                            <p:strVal val="#ppt_y"/>
                                          </p:val>
                                        </p:tav>
                                      </p:tavLst>
                                    </p:anim>
                                  </p:childTnLst>
                                </p:cTn>
                              </p:par>
                              <p:par>
                                <p:cTn id="55" presetID="47" presetClass="entr" presetSubtype="0" fill="hold" nodeType="withEffect">
                                  <p:stCondLst>
                                    <p:cond delay="0"/>
                                  </p:stCondLst>
                                  <p:childTnLst>
                                    <p:set>
                                      <p:cBhvr>
                                        <p:cTn id="56" dur="1" fill="hold">
                                          <p:stCondLst>
                                            <p:cond delay="0"/>
                                          </p:stCondLst>
                                        </p:cTn>
                                        <p:tgtEl>
                                          <p:spTgt spid="65"/>
                                        </p:tgtEl>
                                        <p:attrNameLst>
                                          <p:attrName>style.visibility</p:attrName>
                                        </p:attrNameLst>
                                      </p:cBhvr>
                                      <p:to>
                                        <p:strVal val="visible"/>
                                      </p:to>
                                    </p:set>
                                    <p:animEffect transition="in" filter="fade">
                                      <p:cBhvr>
                                        <p:cTn id="57" dur="1000"/>
                                        <p:tgtEl>
                                          <p:spTgt spid="65"/>
                                        </p:tgtEl>
                                      </p:cBhvr>
                                    </p:animEffect>
                                    <p:anim calcmode="lin" valueType="num">
                                      <p:cBhvr>
                                        <p:cTn id="58" dur="1000" fill="hold"/>
                                        <p:tgtEl>
                                          <p:spTgt spid="65"/>
                                        </p:tgtEl>
                                        <p:attrNameLst>
                                          <p:attrName>ppt_x</p:attrName>
                                        </p:attrNameLst>
                                      </p:cBhvr>
                                      <p:tavLst>
                                        <p:tav tm="0">
                                          <p:val>
                                            <p:strVal val="#ppt_x"/>
                                          </p:val>
                                        </p:tav>
                                        <p:tav tm="100000">
                                          <p:val>
                                            <p:strVal val="#ppt_x"/>
                                          </p:val>
                                        </p:tav>
                                      </p:tavLst>
                                    </p:anim>
                                    <p:anim calcmode="lin" valueType="num">
                                      <p:cBhvr>
                                        <p:cTn id="59" dur="1000" fill="hold"/>
                                        <p:tgtEl>
                                          <p:spTgt spid="65"/>
                                        </p:tgtEl>
                                        <p:attrNameLst>
                                          <p:attrName>ppt_y</p:attrName>
                                        </p:attrNameLst>
                                      </p:cBhvr>
                                      <p:tavLst>
                                        <p:tav tm="0">
                                          <p:val>
                                            <p:strVal val="#ppt_y-.1"/>
                                          </p:val>
                                        </p:tav>
                                        <p:tav tm="100000">
                                          <p:val>
                                            <p:strVal val="#ppt_y"/>
                                          </p:val>
                                        </p:tav>
                                      </p:tavLst>
                                    </p:anim>
                                  </p:childTnLst>
                                </p:cTn>
                              </p:par>
                            </p:childTnLst>
                          </p:cTn>
                        </p:par>
                      </p:childTnLst>
                    </p:cTn>
                  </p:par>
                  <p:par>
                    <p:cTn id="60" fill="hold">
                      <p:stCondLst>
                        <p:cond delay="indefinite"/>
                      </p:stCondLst>
                      <p:childTnLst>
                        <p:par>
                          <p:cTn id="61" fill="hold">
                            <p:stCondLst>
                              <p:cond delay="0"/>
                            </p:stCondLst>
                            <p:childTnLst>
                              <p:par>
                                <p:cTn id="62" presetID="47" presetClass="entr" presetSubtype="0" fill="hold" nodeType="clickEffect">
                                  <p:stCondLst>
                                    <p:cond delay="0"/>
                                  </p:stCondLst>
                                  <p:childTnLst>
                                    <p:set>
                                      <p:cBhvr>
                                        <p:cTn id="63" dur="1" fill="hold">
                                          <p:stCondLst>
                                            <p:cond delay="0"/>
                                          </p:stCondLst>
                                        </p:cTn>
                                        <p:tgtEl>
                                          <p:spTgt spid="66"/>
                                        </p:tgtEl>
                                        <p:attrNameLst>
                                          <p:attrName>style.visibility</p:attrName>
                                        </p:attrNameLst>
                                      </p:cBhvr>
                                      <p:to>
                                        <p:strVal val="visible"/>
                                      </p:to>
                                    </p:set>
                                    <p:animEffect transition="in" filter="fade">
                                      <p:cBhvr>
                                        <p:cTn id="64" dur="1000"/>
                                        <p:tgtEl>
                                          <p:spTgt spid="66"/>
                                        </p:tgtEl>
                                      </p:cBhvr>
                                    </p:animEffect>
                                    <p:anim calcmode="lin" valueType="num">
                                      <p:cBhvr>
                                        <p:cTn id="65" dur="1000" fill="hold"/>
                                        <p:tgtEl>
                                          <p:spTgt spid="66"/>
                                        </p:tgtEl>
                                        <p:attrNameLst>
                                          <p:attrName>ppt_x</p:attrName>
                                        </p:attrNameLst>
                                      </p:cBhvr>
                                      <p:tavLst>
                                        <p:tav tm="0">
                                          <p:val>
                                            <p:strVal val="#ppt_x"/>
                                          </p:val>
                                        </p:tav>
                                        <p:tav tm="100000">
                                          <p:val>
                                            <p:strVal val="#ppt_x"/>
                                          </p:val>
                                        </p:tav>
                                      </p:tavLst>
                                    </p:anim>
                                    <p:anim calcmode="lin" valueType="num">
                                      <p:cBhvr>
                                        <p:cTn id="66" dur="1000" fill="hold"/>
                                        <p:tgtEl>
                                          <p:spTgt spid="66"/>
                                        </p:tgtEl>
                                        <p:attrNameLst>
                                          <p:attrName>ppt_y</p:attrName>
                                        </p:attrNameLst>
                                      </p:cBhvr>
                                      <p:tavLst>
                                        <p:tav tm="0">
                                          <p:val>
                                            <p:strVal val="#ppt_y-.1"/>
                                          </p:val>
                                        </p:tav>
                                        <p:tav tm="100000">
                                          <p:val>
                                            <p:strVal val="#ppt_y"/>
                                          </p:val>
                                        </p:tav>
                                      </p:tavLst>
                                    </p:anim>
                                  </p:childTnLst>
                                </p:cTn>
                              </p:par>
                            </p:childTnLst>
                          </p:cTn>
                        </p:par>
                      </p:childTnLst>
                    </p:cTn>
                  </p:par>
                  <p:par>
                    <p:cTn id="67" fill="hold">
                      <p:stCondLst>
                        <p:cond delay="indefinite"/>
                      </p:stCondLst>
                      <p:childTnLst>
                        <p:par>
                          <p:cTn id="68" fill="hold">
                            <p:stCondLst>
                              <p:cond delay="0"/>
                            </p:stCondLst>
                            <p:childTnLst>
                              <p:par>
                                <p:cTn id="69" presetID="47" presetClass="entr" presetSubtype="0" fill="hold" grpId="0" nodeType="clickEffect">
                                  <p:stCondLst>
                                    <p:cond delay="0"/>
                                  </p:stCondLst>
                                  <p:childTnLst>
                                    <p:set>
                                      <p:cBhvr>
                                        <p:cTn id="70" dur="1" fill="hold">
                                          <p:stCondLst>
                                            <p:cond delay="0"/>
                                          </p:stCondLst>
                                        </p:cTn>
                                        <p:tgtEl>
                                          <p:spTgt spid="67"/>
                                        </p:tgtEl>
                                        <p:attrNameLst>
                                          <p:attrName>style.visibility</p:attrName>
                                        </p:attrNameLst>
                                      </p:cBhvr>
                                      <p:to>
                                        <p:strVal val="visible"/>
                                      </p:to>
                                    </p:set>
                                    <p:animEffect transition="in" filter="fade">
                                      <p:cBhvr>
                                        <p:cTn id="71" dur="1000"/>
                                        <p:tgtEl>
                                          <p:spTgt spid="67"/>
                                        </p:tgtEl>
                                      </p:cBhvr>
                                    </p:animEffect>
                                    <p:anim calcmode="lin" valueType="num">
                                      <p:cBhvr>
                                        <p:cTn id="72" dur="1000" fill="hold"/>
                                        <p:tgtEl>
                                          <p:spTgt spid="67"/>
                                        </p:tgtEl>
                                        <p:attrNameLst>
                                          <p:attrName>ppt_x</p:attrName>
                                        </p:attrNameLst>
                                      </p:cBhvr>
                                      <p:tavLst>
                                        <p:tav tm="0">
                                          <p:val>
                                            <p:strVal val="#ppt_x"/>
                                          </p:val>
                                        </p:tav>
                                        <p:tav tm="100000">
                                          <p:val>
                                            <p:strVal val="#ppt_x"/>
                                          </p:val>
                                        </p:tav>
                                      </p:tavLst>
                                    </p:anim>
                                    <p:anim calcmode="lin" valueType="num">
                                      <p:cBhvr>
                                        <p:cTn id="73" dur="1000" fill="hold"/>
                                        <p:tgtEl>
                                          <p:spTgt spid="6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صورة 2">
            <a:extLst>
              <a:ext uri="{FF2B5EF4-FFF2-40B4-BE49-F238E27FC236}">
                <a16:creationId xmlns:a16="http://schemas.microsoft.com/office/drawing/2014/main" id="{8975D0CE-E832-A5FB-571A-66FBF8C159F1}"/>
              </a:ext>
            </a:extLst>
          </p:cNvPr>
          <p:cNvPicPr>
            <a:picLocks noChangeAspect="1"/>
          </p:cNvPicPr>
          <p:nvPr/>
        </p:nvPicPr>
        <p:blipFill>
          <a:blip r:embed="rId2"/>
          <a:stretch>
            <a:fillRect/>
          </a:stretch>
        </p:blipFill>
        <p:spPr>
          <a:xfrm>
            <a:off x="132080" y="111760"/>
            <a:ext cx="11938000" cy="6654800"/>
          </a:xfrm>
          <a:prstGeom prst="rect">
            <a:avLst/>
          </a:prstGeom>
        </p:spPr>
      </p:pic>
    </p:spTree>
    <p:extLst>
      <p:ext uri="{BB962C8B-B14F-4D97-AF65-F5344CB8AC3E}">
        <p14:creationId xmlns:p14="http://schemas.microsoft.com/office/powerpoint/2010/main" val="223906649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867096"/>
          <a:ext cx="9144000" cy="6010596"/>
          <a:chOff x="0" y="867096"/>
          <a:chExt cx="9144000" cy="6010596"/>
        </a:xfrm>
      </p:grpSpPr>
      <p:pic>
        <p:nvPicPr>
          <p:cNvPr id="2" name="Slide"/>
          <p:cNvPicPr>
            <a:picLocks noChangeAspect="1"/>
          </p:cNvPicPr>
          <p:nvPr/>
        </p:nvPicPr>
        <p:blipFill>
          <a:blip r:embed="rId2"/>
          <a:stretch>
            <a:fillRect/>
          </a:stretch>
        </p:blipFill>
        <p:spPr>
          <a:xfrm>
            <a:off x="0" y="0"/>
            <a:ext cx="12192000" cy="6858000"/>
          </a:xfrm>
          <a:prstGeom prst="rect">
            <a:avLst/>
          </a:prstGeom>
        </p:spPr>
      </p:pic>
    </p:spTree>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867096"/>
          <a:ext cx="9144000" cy="6010596"/>
          <a:chOff x="0" y="867096"/>
          <a:chExt cx="9144000" cy="6010596"/>
        </a:xfrm>
      </p:grpSpPr>
      <p:pic>
        <p:nvPicPr>
          <p:cNvPr id="2" name="Slide"/>
          <p:cNvPicPr>
            <a:picLocks noChangeAspect="1"/>
          </p:cNvPicPr>
          <p:nvPr/>
        </p:nvPicPr>
        <p:blipFill>
          <a:blip r:embed="rId2"/>
          <a:stretch>
            <a:fillRect/>
          </a:stretch>
        </p:blipFill>
        <p:spPr>
          <a:xfrm>
            <a:off x="0" y="0"/>
            <a:ext cx="12192000" cy="6858000"/>
          </a:xfrm>
          <a:prstGeom prst="rect">
            <a:avLst/>
          </a:prstGeom>
        </p:spPr>
      </p:pic>
    </p:spTree>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867096"/>
          <a:ext cx="9144000" cy="6010596"/>
          <a:chOff x="0" y="867096"/>
          <a:chExt cx="9144000" cy="6010596"/>
        </a:xfrm>
      </p:grpSpPr>
      <p:pic>
        <p:nvPicPr>
          <p:cNvPr id="2" name="Slide"/>
          <p:cNvPicPr>
            <a:picLocks noChangeAspect="1"/>
          </p:cNvPicPr>
          <p:nvPr/>
        </p:nvPicPr>
        <p:blipFill>
          <a:blip r:embed="rId2"/>
          <a:stretch>
            <a:fillRect/>
          </a:stretch>
        </p:blipFill>
        <p:spPr>
          <a:xfrm>
            <a:off x="0" y="0"/>
            <a:ext cx="12192000" cy="6858000"/>
          </a:xfrm>
          <a:prstGeom prst="rect">
            <a:avLst/>
          </a:prstGeom>
        </p:spPr>
      </p:pic>
    </p:spTree>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867096"/>
          <a:ext cx="9144000" cy="6010596"/>
          <a:chOff x="0" y="867096"/>
          <a:chExt cx="9144000" cy="6010596"/>
        </a:xfrm>
      </p:grpSpPr>
      <p:pic>
        <p:nvPicPr>
          <p:cNvPr id="2" name="Slide"/>
          <p:cNvPicPr>
            <a:picLocks noChangeAspect="1"/>
          </p:cNvPicPr>
          <p:nvPr/>
        </p:nvPicPr>
        <p:blipFill>
          <a:blip r:embed="rId2"/>
          <a:stretch>
            <a:fillRect/>
          </a:stretch>
        </p:blipFill>
        <p:spPr>
          <a:xfrm>
            <a:off x="0" y="0"/>
            <a:ext cx="12192000" cy="6858000"/>
          </a:xfrm>
          <a:prstGeom prst="rect">
            <a:avLst/>
          </a:prstGeom>
        </p:spPr>
      </p:pic>
    </p:spTree>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867096"/>
          <a:ext cx="9144000" cy="6010596"/>
          <a:chOff x="0" y="867096"/>
          <a:chExt cx="9144000" cy="6010596"/>
        </a:xfrm>
      </p:grpSpPr>
      <p:pic>
        <p:nvPicPr>
          <p:cNvPr id="2" name="Slide"/>
          <p:cNvPicPr>
            <a:picLocks noChangeAspect="1"/>
          </p:cNvPicPr>
          <p:nvPr/>
        </p:nvPicPr>
        <p:blipFill>
          <a:blip r:embed="rId2"/>
          <a:stretch>
            <a:fillRect/>
          </a:stretch>
        </p:blipFill>
        <p:spPr>
          <a:xfrm>
            <a:off x="0" y="0"/>
            <a:ext cx="12192000" cy="6858000"/>
          </a:xfrm>
          <a:prstGeom prst="rect">
            <a:avLst/>
          </a:prstGeom>
        </p:spPr>
      </p:pic>
    </p:spTree>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867096"/>
          <a:ext cx="9144000" cy="6010596"/>
          <a:chOff x="0" y="867096"/>
          <a:chExt cx="9144000" cy="6010596"/>
        </a:xfrm>
      </p:grpSpPr>
      <p:pic>
        <p:nvPicPr>
          <p:cNvPr id="2" name="Slide"/>
          <p:cNvPicPr>
            <a:picLocks noChangeAspect="1"/>
          </p:cNvPicPr>
          <p:nvPr/>
        </p:nvPicPr>
        <p:blipFill>
          <a:blip r:embed="rId2"/>
          <a:stretch>
            <a:fillRect/>
          </a:stretch>
        </p:blipFill>
        <p:spPr>
          <a:xfrm>
            <a:off x="0" y="0"/>
            <a:ext cx="12192000" cy="6858000"/>
          </a:xfrm>
          <a:prstGeom prst="rect">
            <a:avLst/>
          </a:prstGeom>
        </p:spPr>
      </p:pic>
    </p:spTree>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867096"/>
          <a:ext cx="9144000" cy="6010596"/>
          <a:chOff x="0" y="867096"/>
          <a:chExt cx="9144000" cy="6010596"/>
        </a:xfrm>
      </p:grpSpPr>
      <p:pic>
        <p:nvPicPr>
          <p:cNvPr id="2" name="Slide"/>
          <p:cNvPicPr>
            <a:picLocks noChangeAspect="1"/>
          </p:cNvPicPr>
          <p:nvPr/>
        </p:nvPicPr>
        <p:blipFill>
          <a:blip r:embed="rId2"/>
          <a:stretch>
            <a:fillRect/>
          </a:stretch>
        </p:blipFill>
        <p:spPr>
          <a:xfrm>
            <a:off x="0" y="0"/>
            <a:ext cx="12192000" cy="6858000"/>
          </a:xfrm>
          <a:prstGeom prst="rect">
            <a:avLst/>
          </a:prstGeom>
        </p:spPr>
      </p:pic>
    </p:spTree>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867096"/>
          <a:ext cx="9144000" cy="6010596"/>
          <a:chOff x="0" y="867096"/>
          <a:chExt cx="9144000" cy="6010596"/>
        </a:xfrm>
      </p:grpSpPr>
      <p:pic>
        <p:nvPicPr>
          <p:cNvPr id="2" name="Slide"/>
          <p:cNvPicPr>
            <a:picLocks noChangeAspect="1"/>
          </p:cNvPicPr>
          <p:nvPr/>
        </p:nvPicPr>
        <p:blipFill>
          <a:blip r:embed="rId2"/>
          <a:stretch>
            <a:fillRect/>
          </a:stretch>
        </p:blipFill>
        <p:spPr>
          <a:xfrm>
            <a:off x="0" y="0"/>
            <a:ext cx="12192000" cy="6858000"/>
          </a:xfrm>
          <a:prstGeom prst="rect">
            <a:avLst/>
          </a:prstGeom>
        </p:spPr>
      </p:pic>
    </p:spTree>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867096"/>
          <a:ext cx="9144000" cy="6010596"/>
          <a:chOff x="0" y="867096"/>
          <a:chExt cx="9144000" cy="6010596"/>
        </a:xfrm>
      </p:grpSpPr>
      <p:pic>
        <p:nvPicPr>
          <p:cNvPr id="2" name="Slide"/>
          <p:cNvPicPr>
            <a:picLocks noChangeAspect="1"/>
          </p:cNvPicPr>
          <p:nvPr/>
        </p:nvPicPr>
        <p:blipFill>
          <a:blip r:embed="rId2"/>
          <a:stretch>
            <a:fillRect/>
          </a:stretch>
        </p:blipFill>
        <p:spPr>
          <a:xfrm>
            <a:off x="0" y="0"/>
            <a:ext cx="12192000" cy="6858000"/>
          </a:xfrm>
          <a:prstGeom prst="rect">
            <a:avLst/>
          </a:prstGeom>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Google Shape;111;p17">
            <a:extLst>
              <a:ext uri="{FF2B5EF4-FFF2-40B4-BE49-F238E27FC236}">
                <a16:creationId xmlns:a16="http://schemas.microsoft.com/office/drawing/2014/main" id="{1CEECBEE-3468-2E3D-EDBD-2DF313B447CD}"/>
              </a:ext>
            </a:extLst>
          </p:cNvPr>
          <p:cNvSpPr txBox="1">
            <a:spLocks/>
          </p:cNvSpPr>
          <p:nvPr/>
        </p:nvSpPr>
        <p:spPr>
          <a:xfrm>
            <a:off x="3599726" y="1323030"/>
            <a:ext cx="8024489" cy="2490015"/>
          </a:xfrm>
          <a:prstGeom prst="rect">
            <a:avLst/>
          </a:prstGeom>
          <a:noFill/>
          <a:ln>
            <a:noFill/>
          </a:ln>
        </p:spPr>
        <p:txBody>
          <a:bodyPr spcFirstLastPara="1" wrap="square" lIns="121900" tIns="121900" rIns="121900" bIns="121900" anchor="t" anchorCtr="0">
            <a:noAutofit/>
          </a:bodyPr>
          <a:lstStyle>
            <a:defPPr marR="0" lvl="0" algn="l" rtl="0">
              <a:lnSpc>
                <a:spcPct val="100000"/>
              </a:lnSpc>
              <a:spcBef>
                <a:spcPts val="0"/>
              </a:spcBef>
              <a:spcAft>
                <a:spcPts val="0"/>
              </a:spcAft>
            </a:defPPr>
            <a:lvl1pPr marL="457200" marR="0" lvl="0" indent="-381000" algn="l" rtl="0">
              <a:lnSpc>
                <a:spcPct val="100000"/>
              </a:lnSpc>
              <a:spcBef>
                <a:spcPts val="600"/>
              </a:spcBef>
              <a:spcAft>
                <a:spcPts val="0"/>
              </a:spcAft>
              <a:buClr>
                <a:schemeClr val="accent4"/>
              </a:buClr>
              <a:buSzPts val="2400"/>
              <a:buFont typeface="Source Sans Pro"/>
              <a:buChar char="◎"/>
              <a:defRPr sz="2400" b="0" i="0" u="none" strike="noStrike" cap="none">
                <a:solidFill>
                  <a:schemeClr val="dk1"/>
                </a:solidFill>
                <a:latin typeface="Source Sans Pro"/>
                <a:ea typeface="Source Sans Pro"/>
                <a:cs typeface="Source Sans Pro"/>
                <a:sym typeface="Source Sans Pro"/>
              </a:defRPr>
            </a:lvl1pPr>
            <a:lvl2pPr marL="914400" marR="0" lvl="1" indent="-381000" algn="l" rtl="0">
              <a:lnSpc>
                <a:spcPct val="100000"/>
              </a:lnSpc>
              <a:spcBef>
                <a:spcPts val="0"/>
              </a:spcBef>
              <a:spcAft>
                <a:spcPts val="0"/>
              </a:spcAft>
              <a:buClr>
                <a:schemeClr val="accent4"/>
              </a:buClr>
              <a:buSzPts val="2400"/>
              <a:buFont typeface="Source Sans Pro"/>
              <a:buChar char="○"/>
              <a:defRPr sz="2400" b="0" i="0" u="none" strike="noStrike" cap="none">
                <a:solidFill>
                  <a:schemeClr val="dk1"/>
                </a:solidFill>
                <a:latin typeface="Source Sans Pro"/>
                <a:ea typeface="Source Sans Pro"/>
                <a:cs typeface="Source Sans Pro"/>
                <a:sym typeface="Source Sans Pro"/>
              </a:defRPr>
            </a:lvl2pPr>
            <a:lvl3pPr marL="1371600" marR="0" lvl="2" indent="-381000" algn="l" rtl="0">
              <a:lnSpc>
                <a:spcPct val="100000"/>
              </a:lnSpc>
              <a:spcBef>
                <a:spcPts val="0"/>
              </a:spcBef>
              <a:spcAft>
                <a:spcPts val="0"/>
              </a:spcAft>
              <a:buClr>
                <a:schemeClr val="accent4"/>
              </a:buClr>
              <a:buSzPts val="2400"/>
              <a:buFont typeface="Source Sans Pro"/>
              <a:buChar char="◉"/>
              <a:defRPr sz="2400" b="0" i="0" u="none" strike="noStrike" cap="none">
                <a:solidFill>
                  <a:schemeClr val="dk1"/>
                </a:solidFill>
                <a:latin typeface="Source Sans Pro"/>
                <a:ea typeface="Source Sans Pro"/>
                <a:cs typeface="Source Sans Pro"/>
                <a:sym typeface="Source Sans Pro"/>
              </a:defRPr>
            </a:lvl3pPr>
            <a:lvl4pPr marL="1828800" marR="0" lvl="3" indent="-381000" algn="l" rtl="0">
              <a:lnSpc>
                <a:spcPct val="100000"/>
              </a:lnSpc>
              <a:spcBef>
                <a:spcPts val="0"/>
              </a:spcBef>
              <a:spcAft>
                <a:spcPts val="0"/>
              </a:spcAft>
              <a:buClr>
                <a:schemeClr val="dk1"/>
              </a:buClr>
              <a:buSzPts val="2400"/>
              <a:buFont typeface="Source Sans Pro"/>
              <a:buChar char="●"/>
              <a:defRPr sz="2400" b="0" i="0" u="none" strike="noStrike" cap="none">
                <a:solidFill>
                  <a:schemeClr val="dk1"/>
                </a:solidFill>
                <a:latin typeface="Source Sans Pro"/>
                <a:ea typeface="Source Sans Pro"/>
                <a:cs typeface="Source Sans Pro"/>
                <a:sym typeface="Source Sans Pro"/>
              </a:defRPr>
            </a:lvl4pPr>
            <a:lvl5pPr marL="2286000" marR="0" lvl="4" indent="-381000" algn="l" rtl="0">
              <a:lnSpc>
                <a:spcPct val="100000"/>
              </a:lnSpc>
              <a:spcBef>
                <a:spcPts val="0"/>
              </a:spcBef>
              <a:spcAft>
                <a:spcPts val="0"/>
              </a:spcAft>
              <a:buClr>
                <a:schemeClr val="dk1"/>
              </a:buClr>
              <a:buSzPts val="2400"/>
              <a:buFont typeface="Source Sans Pro"/>
              <a:buChar char="○"/>
              <a:defRPr sz="2400" b="0" i="0" u="none" strike="noStrike" cap="none">
                <a:solidFill>
                  <a:schemeClr val="dk1"/>
                </a:solidFill>
                <a:latin typeface="Source Sans Pro"/>
                <a:ea typeface="Source Sans Pro"/>
                <a:cs typeface="Source Sans Pro"/>
                <a:sym typeface="Source Sans Pro"/>
              </a:defRPr>
            </a:lvl5pPr>
            <a:lvl6pPr marL="2743200" marR="0" lvl="5" indent="-381000" algn="l" rtl="0">
              <a:lnSpc>
                <a:spcPct val="100000"/>
              </a:lnSpc>
              <a:spcBef>
                <a:spcPts val="0"/>
              </a:spcBef>
              <a:spcAft>
                <a:spcPts val="0"/>
              </a:spcAft>
              <a:buClr>
                <a:schemeClr val="dk1"/>
              </a:buClr>
              <a:buSzPts val="2400"/>
              <a:buFont typeface="Source Sans Pro"/>
              <a:buChar char="■"/>
              <a:defRPr sz="2400" b="0" i="0" u="none" strike="noStrike" cap="none">
                <a:solidFill>
                  <a:schemeClr val="dk1"/>
                </a:solidFill>
                <a:latin typeface="Source Sans Pro"/>
                <a:ea typeface="Source Sans Pro"/>
                <a:cs typeface="Source Sans Pro"/>
                <a:sym typeface="Source Sans Pro"/>
              </a:defRPr>
            </a:lvl6pPr>
            <a:lvl7pPr marL="3200400" marR="0" lvl="6" indent="-381000" algn="l" rtl="0">
              <a:lnSpc>
                <a:spcPct val="100000"/>
              </a:lnSpc>
              <a:spcBef>
                <a:spcPts val="0"/>
              </a:spcBef>
              <a:spcAft>
                <a:spcPts val="0"/>
              </a:spcAft>
              <a:buClr>
                <a:schemeClr val="dk1"/>
              </a:buClr>
              <a:buSzPts val="2400"/>
              <a:buFont typeface="Source Sans Pro"/>
              <a:buChar char="●"/>
              <a:defRPr sz="2400" b="0" i="0" u="none" strike="noStrike" cap="none">
                <a:solidFill>
                  <a:schemeClr val="dk1"/>
                </a:solidFill>
                <a:latin typeface="Source Sans Pro"/>
                <a:ea typeface="Source Sans Pro"/>
                <a:cs typeface="Source Sans Pro"/>
                <a:sym typeface="Source Sans Pro"/>
              </a:defRPr>
            </a:lvl7pPr>
            <a:lvl8pPr marL="3657600" marR="0" lvl="7" indent="-381000" algn="l" rtl="0">
              <a:lnSpc>
                <a:spcPct val="100000"/>
              </a:lnSpc>
              <a:spcBef>
                <a:spcPts val="0"/>
              </a:spcBef>
              <a:spcAft>
                <a:spcPts val="0"/>
              </a:spcAft>
              <a:buClr>
                <a:schemeClr val="dk1"/>
              </a:buClr>
              <a:buSzPts val="2400"/>
              <a:buFont typeface="Source Sans Pro"/>
              <a:buChar char="○"/>
              <a:defRPr sz="2400" b="0" i="0" u="none" strike="noStrike" cap="none">
                <a:solidFill>
                  <a:schemeClr val="dk1"/>
                </a:solidFill>
                <a:latin typeface="Source Sans Pro"/>
                <a:ea typeface="Source Sans Pro"/>
                <a:cs typeface="Source Sans Pro"/>
                <a:sym typeface="Source Sans Pro"/>
              </a:defRPr>
            </a:lvl8pPr>
            <a:lvl9pPr marL="4114800" marR="0" lvl="8" indent="-381000" algn="l" rtl="0">
              <a:lnSpc>
                <a:spcPct val="100000"/>
              </a:lnSpc>
              <a:spcBef>
                <a:spcPts val="0"/>
              </a:spcBef>
              <a:spcAft>
                <a:spcPts val="0"/>
              </a:spcAft>
              <a:buClr>
                <a:schemeClr val="dk1"/>
              </a:buClr>
              <a:buSzPts val="2400"/>
              <a:buFont typeface="Source Sans Pro"/>
              <a:buChar char="■"/>
              <a:defRPr sz="2400" b="0" i="0" u="none" strike="noStrike" cap="none">
                <a:solidFill>
                  <a:schemeClr val="dk1"/>
                </a:solidFill>
                <a:latin typeface="Source Sans Pro"/>
                <a:ea typeface="Source Sans Pro"/>
                <a:cs typeface="Source Sans Pro"/>
                <a:sym typeface="Source Sans Pro"/>
              </a:defRPr>
            </a:lvl9pPr>
          </a:lstStyle>
          <a:p>
            <a:pPr marL="482577" indent="-380982" algn="justLow" defTabSz="1219139" rtl="1">
              <a:lnSpc>
                <a:spcPct val="120000"/>
              </a:lnSpc>
              <a:spcBef>
                <a:spcPts val="0"/>
              </a:spcBef>
              <a:buClr>
                <a:srgbClr val="7030A0"/>
              </a:buClr>
              <a:defRPr/>
            </a:pPr>
            <a:r>
              <a:rPr lang="ar-SA" sz="2800" dirty="0">
                <a:solidFill>
                  <a:srgbClr val="002060"/>
                </a:solidFill>
                <a:latin typeface="Sakkal Majalla" panose="02000000000000000000" pitchFamily="2" charset="-78"/>
                <a:ea typeface="Samim" panose="020B0603030804020204" pitchFamily="34" charset="0"/>
                <a:cs typeface="Sakkal Majalla" panose="02000000000000000000" pitchFamily="2" charset="-78"/>
              </a:rPr>
              <a:t> " من بين كل الأشياء التي يمكن إدخالها على المدرسة لتحسين التعليم كالوسائل التعليمية والتجهيزات والتكنولوجيا ، وتقليل حجم الفصول ، وتطويل اليوم الدراسي ....وغيرها ، لا يوجد شيء يؤتي ثماره أكثر من </a:t>
            </a:r>
            <a:r>
              <a:rPr lang="ar-SA" sz="2800" b="1" dirty="0">
                <a:solidFill>
                  <a:srgbClr val="002060"/>
                </a:solidFill>
                <a:latin typeface="Sakkal Majalla" panose="02000000000000000000" pitchFamily="2" charset="-78"/>
                <a:ea typeface="Samim" panose="020B0603030804020204" pitchFamily="34" charset="0"/>
                <a:cs typeface="Sakkal Majalla" panose="02000000000000000000" pitchFamily="2" charset="-78"/>
              </a:rPr>
              <a:t>:</a:t>
            </a:r>
            <a:endParaRPr lang="ar-SA" sz="2800" dirty="0">
              <a:solidFill>
                <a:srgbClr val="FF0000"/>
              </a:solidFill>
              <a:latin typeface="Sakkal Majalla" panose="02000000000000000000" pitchFamily="2" charset="-78"/>
              <a:ea typeface="Samim" panose="020B0603030804020204" pitchFamily="34" charset="0"/>
              <a:cs typeface="Sakkal Majalla" panose="02000000000000000000" pitchFamily="2" charset="-78"/>
            </a:endParaRPr>
          </a:p>
        </p:txBody>
      </p:sp>
      <p:sp>
        <p:nvSpPr>
          <p:cNvPr id="4" name="Google Shape;111;p17">
            <a:extLst>
              <a:ext uri="{FF2B5EF4-FFF2-40B4-BE49-F238E27FC236}">
                <a16:creationId xmlns:a16="http://schemas.microsoft.com/office/drawing/2014/main" id="{20148A4E-07D9-37A6-7C38-17B008AE512C}"/>
              </a:ext>
            </a:extLst>
          </p:cNvPr>
          <p:cNvSpPr txBox="1">
            <a:spLocks/>
          </p:cNvSpPr>
          <p:nvPr/>
        </p:nvSpPr>
        <p:spPr>
          <a:xfrm>
            <a:off x="3119673" y="3723297"/>
            <a:ext cx="8504543" cy="2490015"/>
          </a:xfrm>
          <a:prstGeom prst="rect">
            <a:avLst/>
          </a:prstGeom>
          <a:noFill/>
          <a:ln>
            <a:noFill/>
          </a:ln>
        </p:spPr>
        <p:txBody>
          <a:bodyPr spcFirstLastPara="1" wrap="square" lIns="121900" tIns="121900" rIns="121900" bIns="121900" anchor="t" anchorCtr="0">
            <a:noAutofit/>
          </a:bodyPr>
          <a:lstStyle>
            <a:defPPr marR="0" lvl="0" algn="l" rtl="0">
              <a:lnSpc>
                <a:spcPct val="100000"/>
              </a:lnSpc>
              <a:spcBef>
                <a:spcPts val="0"/>
              </a:spcBef>
              <a:spcAft>
                <a:spcPts val="0"/>
              </a:spcAft>
            </a:defPPr>
            <a:lvl1pPr marL="457200" marR="0" lvl="0" indent="-381000" algn="l" rtl="0">
              <a:lnSpc>
                <a:spcPct val="100000"/>
              </a:lnSpc>
              <a:spcBef>
                <a:spcPts val="600"/>
              </a:spcBef>
              <a:spcAft>
                <a:spcPts val="0"/>
              </a:spcAft>
              <a:buClr>
                <a:schemeClr val="accent4"/>
              </a:buClr>
              <a:buSzPts val="2400"/>
              <a:buFont typeface="Source Sans Pro"/>
              <a:buChar char="◎"/>
              <a:defRPr sz="2400" b="0" i="0" u="none" strike="noStrike" cap="none">
                <a:solidFill>
                  <a:schemeClr val="dk1"/>
                </a:solidFill>
                <a:latin typeface="Source Sans Pro"/>
                <a:ea typeface="Source Sans Pro"/>
                <a:cs typeface="Source Sans Pro"/>
                <a:sym typeface="Source Sans Pro"/>
              </a:defRPr>
            </a:lvl1pPr>
            <a:lvl2pPr marL="914400" marR="0" lvl="1" indent="-381000" algn="l" rtl="0">
              <a:lnSpc>
                <a:spcPct val="100000"/>
              </a:lnSpc>
              <a:spcBef>
                <a:spcPts val="0"/>
              </a:spcBef>
              <a:spcAft>
                <a:spcPts val="0"/>
              </a:spcAft>
              <a:buClr>
                <a:schemeClr val="accent4"/>
              </a:buClr>
              <a:buSzPts val="2400"/>
              <a:buFont typeface="Source Sans Pro"/>
              <a:buChar char="○"/>
              <a:defRPr sz="2400" b="0" i="0" u="none" strike="noStrike" cap="none">
                <a:solidFill>
                  <a:schemeClr val="dk1"/>
                </a:solidFill>
                <a:latin typeface="Source Sans Pro"/>
                <a:ea typeface="Source Sans Pro"/>
                <a:cs typeface="Source Sans Pro"/>
                <a:sym typeface="Source Sans Pro"/>
              </a:defRPr>
            </a:lvl2pPr>
            <a:lvl3pPr marL="1371600" marR="0" lvl="2" indent="-381000" algn="l" rtl="0">
              <a:lnSpc>
                <a:spcPct val="100000"/>
              </a:lnSpc>
              <a:spcBef>
                <a:spcPts val="0"/>
              </a:spcBef>
              <a:spcAft>
                <a:spcPts val="0"/>
              </a:spcAft>
              <a:buClr>
                <a:schemeClr val="accent4"/>
              </a:buClr>
              <a:buSzPts val="2400"/>
              <a:buFont typeface="Source Sans Pro"/>
              <a:buChar char="◉"/>
              <a:defRPr sz="2400" b="0" i="0" u="none" strike="noStrike" cap="none">
                <a:solidFill>
                  <a:schemeClr val="dk1"/>
                </a:solidFill>
                <a:latin typeface="Source Sans Pro"/>
                <a:ea typeface="Source Sans Pro"/>
                <a:cs typeface="Source Sans Pro"/>
                <a:sym typeface="Source Sans Pro"/>
              </a:defRPr>
            </a:lvl3pPr>
            <a:lvl4pPr marL="1828800" marR="0" lvl="3" indent="-381000" algn="l" rtl="0">
              <a:lnSpc>
                <a:spcPct val="100000"/>
              </a:lnSpc>
              <a:spcBef>
                <a:spcPts val="0"/>
              </a:spcBef>
              <a:spcAft>
                <a:spcPts val="0"/>
              </a:spcAft>
              <a:buClr>
                <a:schemeClr val="dk1"/>
              </a:buClr>
              <a:buSzPts val="2400"/>
              <a:buFont typeface="Source Sans Pro"/>
              <a:buChar char="●"/>
              <a:defRPr sz="2400" b="0" i="0" u="none" strike="noStrike" cap="none">
                <a:solidFill>
                  <a:schemeClr val="dk1"/>
                </a:solidFill>
                <a:latin typeface="Source Sans Pro"/>
                <a:ea typeface="Source Sans Pro"/>
                <a:cs typeface="Source Sans Pro"/>
                <a:sym typeface="Source Sans Pro"/>
              </a:defRPr>
            </a:lvl4pPr>
            <a:lvl5pPr marL="2286000" marR="0" lvl="4" indent="-381000" algn="l" rtl="0">
              <a:lnSpc>
                <a:spcPct val="100000"/>
              </a:lnSpc>
              <a:spcBef>
                <a:spcPts val="0"/>
              </a:spcBef>
              <a:spcAft>
                <a:spcPts val="0"/>
              </a:spcAft>
              <a:buClr>
                <a:schemeClr val="dk1"/>
              </a:buClr>
              <a:buSzPts val="2400"/>
              <a:buFont typeface="Source Sans Pro"/>
              <a:buChar char="○"/>
              <a:defRPr sz="2400" b="0" i="0" u="none" strike="noStrike" cap="none">
                <a:solidFill>
                  <a:schemeClr val="dk1"/>
                </a:solidFill>
                <a:latin typeface="Source Sans Pro"/>
                <a:ea typeface="Source Sans Pro"/>
                <a:cs typeface="Source Sans Pro"/>
                <a:sym typeface="Source Sans Pro"/>
              </a:defRPr>
            </a:lvl5pPr>
            <a:lvl6pPr marL="2743200" marR="0" lvl="5" indent="-381000" algn="l" rtl="0">
              <a:lnSpc>
                <a:spcPct val="100000"/>
              </a:lnSpc>
              <a:spcBef>
                <a:spcPts val="0"/>
              </a:spcBef>
              <a:spcAft>
                <a:spcPts val="0"/>
              </a:spcAft>
              <a:buClr>
                <a:schemeClr val="dk1"/>
              </a:buClr>
              <a:buSzPts val="2400"/>
              <a:buFont typeface="Source Sans Pro"/>
              <a:buChar char="■"/>
              <a:defRPr sz="2400" b="0" i="0" u="none" strike="noStrike" cap="none">
                <a:solidFill>
                  <a:schemeClr val="dk1"/>
                </a:solidFill>
                <a:latin typeface="Source Sans Pro"/>
                <a:ea typeface="Source Sans Pro"/>
                <a:cs typeface="Source Sans Pro"/>
                <a:sym typeface="Source Sans Pro"/>
              </a:defRPr>
            </a:lvl6pPr>
            <a:lvl7pPr marL="3200400" marR="0" lvl="6" indent="-381000" algn="l" rtl="0">
              <a:lnSpc>
                <a:spcPct val="100000"/>
              </a:lnSpc>
              <a:spcBef>
                <a:spcPts val="0"/>
              </a:spcBef>
              <a:spcAft>
                <a:spcPts val="0"/>
              </a:spcAft>
              <a:buClr>
                <a:schemeClr val="dk1"/>
              </a:buClr>
              <a:buSzPts val="2400"/>
              <a:buFont typeface="Source Sans Pro"/>
              <a:buChar char="●"/>
              <a:defRPr sz="2400" b="0" i="0" u="none" strike="noStrike" cap="none">
                <a:solidFill>
                  <a:schemeClr val="dk1"/>
                </a:solidFill>
                <a:latin typeface="Source Sans Pro"/>
                <a:ea typeface="Source Sans Pro"/>
                <a:cs typeface="Source Sans Pro"/>
                <a:sym typeface="Source Sans Pro"/>
              </a:defRPr>
            </a:lvl7pPr>
            <a:lvl8pPr marL="3657600" marR="0" lvl="7" indent="-381000" algn="l" rtl="0">
              <a:lnSpc>
                <a:spcPct val="100000"/>
              </a:lnSpc>
              <a:spcBef>
                <a:spcPts val="0"/>
              </a:spcBef>
              <a:spcAft>
                <a:spcPts val="0"/>
              </a:spcAft>
              <a:buClr>
                <a:schemeClr val="dk1"/>
              </a:buClr>
              <a:buSzPts val="2400"/>
              <a:buFont typeface="Source Sans Pro"/>
              <a:buChar char="○"/>
              <a:defRPr sz="2400" b="0" i="0" u="none" strike="noStrike" cap="none">
                <a:solidFill>
                  <a:schemeClr val="dk1"/>
                </a:solidFill>
                <a:latin typeface="Source Sans Pro"/>
                <a:ea typeface="Source Sans Pro"/>
                <a:cs typeface="Source Sans Pro"/>
                <a:sym typeface="Source Sans Pro"/>
              </a:defRPr>
            </a:lvl8pPr>
            <a:lvl9pPr marL="4114800" marR="0" lvl="8" indent="-381000" algn="l" rtl="0">
              <a:lnSpc>
                <a:spcPct val="100000"/>
              </a:lnSpc>
              <a:spcBef>
                <a:spcPts val="0"/>
              </a:spcBef>
              <a:spcAft>
                <a:spcPts val="0"/>
              </a:spcAft>
              <a:buClr>
                <a:schemeClr val="dk1"/>
              </a:buClr>
              <a:buSzPts val="2400"/>
              <a:buFont typeface="Source Sans Pro"/>
              <a:buChar char="■"/>
              <a:defRPr sz="2400" b="0" i="0" u="none" strike="noStrike" cap="none">
                <a:solidFill>
                  <a:schemeClr val="dk1"/>
                </a:solidFill>
                <a:latin typeface="Source Sans Pro"/>
                <a:ea typeface="Source Sans Pro"/>
                <a:cs typeface="Source Sans Pro"/>
                <a:sym typeface="Source Sans Pro"/>
              </a:defRPr>
            </a:lvl9pPr>
          </a:lstStyle>
          <a:p>
            <a:pPr marL="482577" indent="-380982" algn="justLow" defTabSz="1219139" rtl="1">
              <a:lnSpc>
                <a:spcPct val="120000"/>
              </a:lnSpc>
              <a:spcBef>
                <a:spcPts val="0"/>
              </a:spcBef>
              <a:buClr>
                <a:srgbClr val="7030A0"/>
              </a:buClr>
              <a:defRPr/>
            </a:pPr>
            <a:r>
              <a:rPr lang="ar-SA" sz="3200" dirty="0">
                <a:solidFill>
                  <a:srgbClr val="002060"/>
                </a:solidFill>
                <a:latin typeface="Sakkal Majalla" panose="02000000000000000000" pitchFamily="2" charset="-78"/>
                <a:ea typeface="Samim" panose="020B0603030804020204" pitchFamily="34" charset="0"/>
                <a:cs typeface="Sakkal Majalla" panose="02000000000000000000" pitchFamily="2" charset="-78"/>
              </a:rPr>
              <a:t> " </a:t>
            </a:r>
            <a:r>
              <a:rPr lang="ar-SA" sz="3200" b="1" dirty="0">
                <a:solidFill>
                  <a:srgbClr val="002060"/>
                </a:solidFill>
                <a:latin typeface="Sakkal Majalla" panose="02000000000000000000" pitchFamily="2" charset="-78"/>
                <a:ea typeface="Samim" panose="020B0603030804020204" pitchFamily="34" charset="0"/>
                <a:cs typeface="Sakkal Majalla" panose="02000000000000000000" pitchFamily="2" charset="-78"/>
              </a:rPr>
              <a:t>تمكين المدرسة ومنح المعلمين الحرية والوقت الكافي داخل المدرسة للقيام بمهامهم: لتخطيط دروسهم والمراجعة والمناقشة مع زملائهم المعلمين لتعميق معرفتهم وفهمهم فيما يقومون بتدريسه</a:t>
            </a:r>
            <a:r>
              <a:rPr lang="ar-SA" sz="3200" dirty="0">
                <a:solidFill>
                  <a:srgbClr val="002060"/>
                </a:solidFill>
                <a:latin typeface="Sakkal Majalla" panose="02000000000000000000" pitchFamily="2" charset="-78"/>
                <a:ea typeface="Samim" panose="020B0603030804020204" pitchFamily="34" charset="0"/>
                <a:cs typeface="Sakkal Majalla" panose="02000000000000000000" pitchFamily="2" charset="-78"/>
              </a:rPr>
              <a:t>" </a:t>
            </a:r>
          </a:p>
          <a:p>
            <a:pPr marL="101595" indent="0" algn="justLow" defTabSz="1219139" rtl="1">
              <a:lnSpc>
                <a:spcPct val="120000"/>
              </a:lnSpc>
              <a:spcBef>
                <a:spcPts val="0"/>
              </a:spcBef>
              <a:buClr>
                <a:srgbClr val="7030A0"/>
              </a:buClr>
              <a:buNone/>
              <a:defRPr/>
            </a:pPr>
            <a:r>
              <a:rPr lang="ar-SA" sz="3200" b="1" dirty="0">
                <a:solidFill>
                  <a:srgbClr val="002060"/>
                </a:solidFill>
                <a:latin typeface="Sakkal Majalla" panose="02000000000000000000" pitchFamily="2" charset="-78"/>
                <a:ea typeface="Samim" panose="020B0603030804020204" pitchFamily="34" charset="0"/>
                <a:cs typeface="Sakkal Majalla" panose="02000000000000000000" pitchFamily="2" charset="-78"/>
              </a:rPr>
              <a:t>          </a:t>
            </a:r>
            <a:r>
              <a:rPr lang="ar-SA" sz="2000" b="1" dirty="0">
                <a:solidFill>
                  <a:srgbClr val="FF0000"/>
                </a:solidFill>
                <a:latin typeface="Sakkal Majalla" panose="02000000000000000000" pitchFamily="2" charset="-78"/>
                <a:ea typeface="Samim" panose="020B0603030804020204" pitchFamily="34" charset="0"/>
                <a:cs typeface="Sakkal Majalla" panose="02000000000000000000" pitchFamily="2" charset="-78"/>
              </a:rPr>
              <a:t>رئيس مجلس التعليم في شنغهاي</a:t>
            </a:r>
            <a:endParaRPr lang="ar-SA" sz="3200" b="1" dirty="0">
              <a:solidFill>
                <a:srgbClr val="FF0000"/>
              </a:solidFill>
              <a:latin typeface="Sakkal Majalla" panose="02000000000000000000" pitchFamily="2" charset="-78"/>
              <a:ea typeface="Samim" panose="020B0603030804020204" pitchFamily="34" charset="0"/>
              <a:cs typeface="Sakkal Majalla" panose="02000000000000000000" pitchFamily="2" charset="-78"/>
            </a:endParaRPr>
          </a:p>
        </p:txBody>
      </p:sp>
    </p:spTree>
    <p:extLst>
      <p:ext uri="{BB962C8B-B14F-4D97-AF65-F5344CB8AC3E}">
        <p14:creationId xmlns:p14="http://schemas.microsoft.com/office/powerpoint/2010/main" val="4502074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7"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7" presetClass="entr" presetSubtype="0" fill="hold" nodeType="clickEffect">
                                  <p:stCondLst>
                                    <p:cond delay="0"/>
                                  </p:stCondLst>
                                  <p:childTnLst>
                                    <p:set>
                                      <p:cBhvr>
                                        <p:cTn id="13" dur="1" fill="hold">
                                          <p:stCondLst>
                                            <p:cond delay="0"/>
                                          </p:stCondLst>
                                        </p:cTn>
                                        <p:tgtEl>
                                          <p:spTgt spid="4">
                                            <p:txEl>
                                              <p:pRg st="0" end="0"/>
                                            </p:txEl>
                                          </p:spTgt>
                                        </p:tgtEl>
                                        <p:attrNameLst>
                                          <p:attrName>style.visibility</p:attrName>
                                        </p:attrNameLst>
                                      </p:cBhvr>
                                      <p:to>
                                        <p:strVal val="visible"/>
                                      </p:to>
                                    </p:set>
                                    <p:animEffect transition="in" filter="fade">
                                      <p:cBhvr>
                                        <p:cTn id="14" dur="1000"/>
                                        <p:tgtEl>
                                          <p:spTgt spid="4">
                                            <p:txEl>
                                              <p:pRg st="0" end="0"/>
                                            </p:txEl>
                                          </p:spTgt>
                                        </p:tgtEl>
                                      </p:cBhvr>
                                    </p:animEffect>
                                    <p:anim calcmode="lin" valueType="num">
                                      <p:cBhvr>
                                        <p:cTn id="15" dur="1000" fill="hold"/>
                                        <p:tgtEl>
                                          <p:spTgt spid="4">
                                            <p:txEl>
                                              <p:pRg st="0" end="0"/>
                                            </p:txEl>
                                          </p:spTgt>
                                        </p:tgtEl>
                                        <p:attrNameLst>
                                          <p:attrName>ppt_x</p:attrName>
                                        </p:attrNameLst>
                                      </p:cBhvr>
                                      <p:tavLst>
                                        <p:tav tm="0">
                                          <p:val>
                                            <p:strVal val="#ppt_x"/>
                                          </p:val>
                                        </p:tav>
                                        <p:tav tm="100000">
                                          <p:val>
                                            <p:strVal val="#ppt_x"/>
                                          </p:val>
                                        </p:tav>
                                      </p:tavLst>
                                    </p:anim>
                                    <p:anim calcmode="lin" valueType="num">
                                      <p:cBhvr>
                                        <p:cTn id="16" dur="1000" fill="hold"/>
                                        <p:tgtEl>
                                          <p:spTgt spid="4">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7" presetClass="entr" presetSubtype="0" fill="hold" nodeType="clickEffect">
                                  <p:stCondLst>
                                    <p:cond delay="0"/>
                                  </p:stCondLst>
                                  <p:childTnLst>
                                    <p:set>
                                      <p:cBhvr>
                                        <p:cTn id="20" dur="1" fill="hold">
                                          <p:stCondLst>
                                            <p:cond delay="0"/>
                                          </p:stCondLst>
                                        </p:cTn>
                                        <p:tgtEl>
                                          <p:spTgt spid="4">
                                            <p:txEl>
                                              <p:pRg st="1" end="1"/>
                                            </p:txEl>
                                          </p:spTgt>
                                        </p:tgtEl>
                                        <p:attrNameLst>
                                          <p:attrName>style.visibility</p:attrName>
                                        </p:attrNameLst>
                                      </p:cBhvr>
                                      <p:to>
                                        <p:strVal val="visible"/>
                                      </p:to>
                                    </p:set>
                                    <p:animEffect transition="in" filter="fade">
                                      <p:cBhvr>
                                        <p:cTn id="21" dur="1000"/>
                                        <p:tgtEl>
                                          <p:spTgt spid="4">
                                            <p:txEl>
                                              <p:pRg st="1" end="1"/>
                                            </p:txEl>
                                          </p:spTgt>
                                        </p:tgtEl>
                                      </p:cBhvr>
                                    </p:animEffect>
                                    <p:anim calcmode="lin" valueType="num">
                                      <p:cBhvr>
                                        <p:cTn id="22" dur="1000" fill="hold"/>
                                        <p:tgtEl>
                                          <p:spTgt spid="4">
                                            <p:txEl>
                                              <p:pRg st="1" end="1"/>
                                            </p:txEl>
                                          </p:spTgt>
                                        </p:tgtEl>
                                        <p:attrNameLst>
                                          <p:attrName>ppt_x</p:attrName>
                                        </p:attrNameLst>
                                      </p:cBhvr>
                                      <p:tavLst>
                                        <p:tav tm="0">
                                          <p:val>
                                            <p:strVal val="#ppt_x"/>
                                          </p:val>
                                        </p:tav>
                                        <p:tav tm="100000">
                                          <p:val>
                                            <p:strVal val="#ppt_x"/>
                                          </p:val>
                                        </p:tav>
                                      </p:tavLst>
                                    </p:anim>
                                    <p:anim calcmode="lin" valueType="num">
                                      <p:cBhvr>
                                        <p:cTn id="23" dur="1000" fill="hold"/>
                                        <p:tgtEl>
                                          <p:spTgt spid="4">
                                            <p:txEl>
                                              <p:pRg st="1" end="1"/>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867096"/>
          <a:ext cx="9144000" cy="6010596"/>
          <a:chOff x="0" y="867096"/>
          <a:chExt cx="9144000" cy="6010596"/>
        </a:xfrm>
      </p:grpSpPr>
      <p:pic>
        <p:nvPicPr>
          <p:cNvPr id="2" name="Slide"/>
          <p:cNvPicPr>
            <a:picLocks noChangeAspect="1"/>
          </p:cNvPicPr>
          <p:nvPr/>
        </p:nvPicPr>
        <p:blipFill>
          <a:blip r:embed="rId2"/>
          <a:stretch>
            <a:fillRect/>
          </a:stretch>
        </p:blipFill>
        <p:spPr>
          <a:xfrm>
            <a:off x="0" y="0"/>
            <a:ext cx="12192000" cy="6858000"/>
          </a:xfrm>
          <a:prstGeom prst="rect">
            <a:avLst/>
          </a:prstGeom>
        </p:spPr>
      </p:pic>
    </p:spTree>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867096"/>
          <a:ext cx="9144000" cy="6010596"/>
          <a:chOff x="0" y="867096"/>
          <a:chExt cx="9144000" cy="6010596"/>
        </a:xfrm>
      </p:grpSpPr>
      <p:pic>
        <p:nvPicPr>
          <p:cNvPr id="2" name="Slide"/>
          <p:cNvPicPr>
            <a:picLocks noChangeAspect="1"/>
          </p:cNvPicPr>
          <p:nvPr/>
        </p:nvPicPr>
        <p:blipFill>
          <a:blip r:embed="rId2"/>
          <a:stretch>
            <a:fillRect/>
          </a:stretch>
        </p:blipFill>
        <p:spPr>
          <a:xfrm>
            <a:off x="0" y="0"/>
            <a:ext cx="12192000" cy="6858000"/>
          </a:xfrm>
          <a:prstGeom prst="rect">
            <a:avLst/>
          </a:prstGeom>
        </p:spPr>
      </p:pic>
    </p:spTree>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867096"/>
          <a:ext cx="9144000" cy="6010596"/>
          <a:chOff x="0" y="867096"/>
          <a:chExt cx="9144000" cy="6010596"/>
        </a:xfrm>
      </p:grpSpPr>
      <p:pic>
        <p:nvPicPr>
          <p:cNvPr id="2" name="Slide"/>
          <p:cNvPicPr>
            <a:picLocks noChangeAspect="1"/>
          </p:cNvPicPr>
          <p:nvPr/>
        </p:nvPicPr>
        <p:blipFill>
          <a:blip r:embed="rId2"/>
          <a:stretch>
            <a:fillRect/>
          </a:stretch>
        </p:blipFill>
        <p:spPr>
          <a:xfrm>
            <a:off x="0" y="0"/>
            <a:ext cx="12192000" cy="6858000"/>
          </a:xfrm>
          <a:prstGeom prst="rect">
            <a:avLst/>
          </a:prstGeom>
        </p:spPr>
      </p:pic>
    </p:spTree>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867096"/>
          <a:ext cx="9144000" cy="6010596"/>
          <a:chOff x="0" y="867096"/>
          <a:chExt cx="9144000" cy="6010596"/>
        </a:xfrm>
      </p:grpSpPr>
      <p:pic>
        <p:nvPicPr>
          <p:cNvPr id="2" name="Slide"/>
          <p:cNvPicPr>
            <a:picLocks noChangeAspect="1"/>
          </p:cNvPicPr>
          <p:nvPr/>
        </p:nvPicPr>
        <p:blipFill>
          <a:blip r:embed="rId2"/>
          <a:stretch>
            <a:fillRect/>
          </a:stretch>
        </p:blipFill>
        <p:spPr>
          <a:xfrm>
            <a:off x="0" y="0"/>
            <a:ext cx="12192000" cy="6858000"/>
          </a:xfrm>
          <a:prstGeom prst="rect">
            <a:avLst/>
          </a:prstGeom>
        </p:spPr>
      </p:pic>
    </p:spTree>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867096"/>
          <a:ext cx="9144000" cy="6010596"/>
          <a:chOff x="0" y="867096"/>
          <a:chExt cx="9144000" cy="6010596"/>
        </a:xfrm>
      </p:grpSpPr>
      <p:pic>
        <p:nvPicPr>
          <p:cNvPr id="2" name="Slide"/>
          <p:cNvPicPr>
            <a:picLocks noChangeAspect="1"/>
          </p:cNvPicPr>
          <p:nvPr/>
        </p:nvPicPr>
        <p:blipFill>
          <a:blip r:embed="rId2"/>
          <a:stretch>
            <a:fillRect/>
          </a:stretch>
        </p:blipFill>
        <p:spPr>
          <a:xfrm>
            <a:off x="0" y="0"/>
            <a:ext cx="12192000" cy="6858000"/>
          </a:xfrm>
          <a:prstGeom prst="rect">
            <a:avLst/>
          </a:prstGeom>
        </p:spPr>
      </p:pic>
    </p:spTree>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Google Shape;924;p31">
            <a:extLst>
              <a:ext uri="{FF2B5EF4-FFF2-40B4-BE49-F238E27FC236}">
                <a16:creationId xmlns:a16="http://schemas.microsoft.com/office/drawing/2014/main" id="{8472F184-5D8E-3062-B9DA-10FDF8CE0945}"/>
              </a:ext>
            </a:extLst>
          </p:cNvPr>
          <p:cNvSpPr txBox="1"/>
          <p:nvPr/>
        </p:nvSpPr>
        <p:spPr>
          <a:xfrm>
            <a:off x="2471058" y="2976588"/>
            <a:ext cx="7249884" cy="904824"/>
          </a:xfrm>
          <a:prstGeom prst="rect">
            <a:avLst/>
          </a:prstGeom>
          <a:solidFill>
            <a:srgbClr val="E5E8FF"/>
          </a:solidFill>
          <a:ln w="9525" cap="flat" cmpd="sng">
            <a:solidFill>
              <a:srgbClr val="97A4FF"/>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defTabSz="1219170" rtl="1" eaLnBrk="1" fontAlgn="auto" latinLnBrk="0" hangingPunct="1">
              <a:lnSpc>
                <a:spcPct val="100000"/>
              </a:lnSpc>
              <a:spcBef>
                <a:spcPts val="0"/>
              </a:spcBef>
              <a:spcAft>
                <a:spcPts val="0"/>
              </a:spcAft>
              <a:buClrTx/>
              <a:buSzTx/>
              <a:buFontTx/>
              <a:buNone/>
              <a:tabLst/>
              <a:defRPr/>
            </a:pPr>
            <a:r>
              <a:rPr kumimoji="0" lang="ar-SA" sz="2800" b="1" i="0" u="none" strike="noStrike" kern="0" cap="none" spc="0" normalizeH="0" baseline="0" noProof="0" dirty="0">
                <a:ln>
                  <a:noFill/>
                </a:ln>
                <a:solidFill>
                  <a:srgbClr val="01083A"/>
                </a:solidFill>
                <a:effectLst/>
                <a:uLnTx/>
                <a:uFillTx/>
                <a:latin typeface="Sakkal Majalla" panose="02000000000000000000" pitchFamily="2" charset="-78"/>
                <a:ea typeface="Samim" panose="020B0603030804020204" pitchFamily="34" charset="0"/>
                <a:cs typeface="Sakkal Majalla" panose="02000000000000000000" pitchFamily="2" charset="-78"/>
                <a:sym typeface="Josefin Sans"/>
              </a:rPr>
              <a:t>دور المساندة والدعم من مكتب التعليم للمدارس</a:t>
            </a:r>
            <a:endParaRPr kumimoji="0" sz="2800" b="1" i="0" u="none" strike="noStrike" kern="0" cap="none" spc="0" normalizeH="0" baseline="0" noProof="0" dirty="0">
              <a:ln>
                <a:noFill/>
              </a:ln>
              <a:solidFill>
                <a:srgbClr val="01083A"/>
              </a:solidFill>
              <a:effectLst/>
              <a:uLnTx/>
              <a:uFillTx/>
              <a:latin typeface="Sakkal Majalla" panose="02000000000000000000" pitchFamily="2" charset="-78"/>
              <a:ea typeface="Samim" panose="020B0603030804020204" pitchFamily="34" charset="0"/>
              <a:cs typeface="Sakkal Majalla" panose="02000000000000000000" pitchFamily="2" charset="-78"/>
              <a:sym typeface="Josefin Sans"/>
            </a:endParaRPr>
          </a:p>
        </p:txBody>
      </p:sp>
    </p:spTree>
    <p:extLst>
      <p:ext uri="{BB962C8B-B14F-4D97-AF65-F5344CB8AC3E}">
        <p14:creationId xmlns:p14="http://schemas.microsoft.com/office/powerpoint/2010/main" val="22844430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barn(inVertical)">
                                      <p:cBhvr>
                                        <p:cTn id="7" dur="1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Google Shape;910;p31">
            <a:extLst>
              <a:ext uri="{FF2B5EF4-FFF2-40B4-BE49-F238E27FC236}">
                <a16:creationId xmlns:a16="http://schemas.microsoft.com/office/drawing/2014/main" id="{C0674156-5885-F77E-CEC8-1BCAF0DF0C95}"/>
              </a:ext>
            </a:extLst>
          </p:cNvPr>
          <p:cNvSpPr txBox="1"/>
          <p:nvPr/>
        </p:nvSpPr>
        <p:spPr>
          <a:xfrm>
            <a:off x="10198861" y="893618"/>
            <a:ext cx="272143" cy="665321"/>
          </a:xfrm>
          <a:prstGeom prst="rect">
            <a:avLst/>
          </a:prstGeom>
          <a:solidFill>
            <a:srgbClr val="FF6600"/>
          </a:solidFill>
          <a:ln w="9525" cap="flat" cmpd="sng">
            <a:solidFill>
              <a:srgbClr val="97A4FF"/>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defTabSz="1219140" rtl="1" eaLnBrk="1" fontAlgn="auto" latinLnBrk="0" hangingPunct="1">
              <a:lnSpc>
                <a:spcPct val="100000"/>
              </a:lnSpc>
              <a:spcBef>
                <a:spcPts val="0"/>
              </a:spcBef>
              <a:spcAft>
                <a:spcPts val="0"/>
              </a:spcAft>
              <a:buClrTx/>
              <a:buSzTx/>
              <a:buFontTx/>
              <a:buNone/>
              <a:tabLst/>
              <a:defRPr/>
            </a:pPr>
            <a:endParaRPr kumimoji="0" sz="2000" b="1" i="0" u="none" strike="noStrike" kern="1200" cap="none" spc="0" normalizeH="0" baseline="0" noProof="0" dirty="0">
              <a:ln>
                <a:noFill/>
              </a:ln>
              <a:solidFill>
                <a:srgbClr val="01083A"/>
              </a:solidFill>
              <a:effectLst/>
              <a:uLnTx/>
              <a:uFillTx/>
              <a:latin typeface="Sakkal Majalla" panose="02000000000000000000" pitchFamily="2" charset="-78"/>
              <a:ea typeface="Samim" panose="020B0603030804020204" pitchFamily="34" charset="0"/>
              <a:cs typeface="Sakkal Majalla" panose="02000000000000000000" pitchFamily="2" charset="-78"/>
              <a:sym typeface="Josefin Sans"/>
            </a:endParaRPr>
          </a:p>
        </p:txBody>
      </p:sp>
      <p:sp>
        <p:nvSpPr>
          <p:cNvPr id="11" name="Google Shape;910;p31">
            <a:extLst>
              <a:ext uri="{FF2B5EF4-FFF2-40B4-BE49-F238E27FC236}">
                <a16:creationId xmlns:a16="http://schemas.microsoft.com/office/drawing/2014/main" id="{75E5AE39-2A32-6A15-C637-DC01CC27E428}"/>
              </a:ext>
            </a:extLst>
          </p:cNvPr>
          <p:cNvSpPr txBox="1"/>
          <p:nvPr/>
        </p:nvSpPr>
        <p:spPr>
          <a:xfrm>
            <a:off x="3253780" y="893618"/>
            <a:ext cx="6888099" cy="661413"/>
          </a:xfrm>
          <a:prstGeom prst="rect">
            <a:avLst/>
          </a:prstGeom>
          <a:solidFill>
            <a:srgbClr val="7030A0"/>
          </a:solidFill>
          <a:ln w="9525" cap="flat" cmpd="sng">
            <a:solidFill>
              <a:srgbClr val="97A4FF"/>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defTabSz="1219140" rtl="1" eaLnBrk="1" fontAlgn="auto" latinLnBrk="0" hangingPunct="1">
              <a:lnSpc>
                <a:spcPct val="100000"/>
              </a:lnSpc>
              <a:spcBef>
                <a:spcPts val="0"/>
              </a:spcBef>
              <a:spcAft>
                <a:spcPts val="0"/>
              </a:spcAft>
              <a:buClrTx/>
              <a:buSzTx/>
              <a:buFontTx/>
              <a:buNone/>
              <a:tabLst/>
              <a:defRPr/>
            </a:pPr>
            <a:r>
              <a:rPr kumimoji="0" lang="ar-SA" sz="3200" b="1" i="0" u="none" strike="noStrike" kern="1200" cap="none" spc="0" normalizeH="0" baseline="0" noProof="0" dirty="0">
                <a:ln>
                  <a:noFill/>
                </a:ln>
                <a:solidFill>
                  <a:prstClr val="white"/>
                </a:solidFill>
                <a:effectLst/>
                <a:uLnTx/>
                <a:uFillTx/>
                <a:latin typeface="Sakkal Majalla" panose="02000000000000000000" pitchFamily="2" charset="-78"/>
                <a:ea typeface="Samim" panose="020B0603030804020204" pitchFamily="34" charset="0"/>
                <a:cs typeface="Sakkal Majalla" panose="02000000000000000000" pitchFamily="2" charset="-78"/>
                <a:sym typeface="Josefin Sans"/>
              </a:rPr>
              <a:t>هناك تحول في الأدوار والممارسات المدرسية </a:t>
            </a:r>
            <a:endParaRPr kumimoji="0" sz="3200" b="1" i="0" u="none" strike="noStrike" kern="1200" cap="none" spc="0" normalizeH="0" baseline="0" noProof="0" dirty="0">
              <a:ln>
                <a:noFill/>
              </a:ln>
              <a:solidFill>
                <a:prstClr val="white"/>
              </a:solidFill>
              <a:effectLst/>
              <a:uLnTx/>
              <a:uFillTx/>
              <a:latin typeface="Sakkal Majalla" panose="02000000000000000000" pitchFamily="2" charset="-78"/>
              <a:ea typeface="Samim" panose="020B0603030804020204" pitchFamily="34" charset="0"/>
              <a:cs typeface="Sakkal Majalla" panose="02000000000000000000" pitchFamily="2" charset="-78"/>
              <a:sym typeface="Josefin Sans"/>
            </a:endParaRPr>
          </a:p>
        </p:txBody>
      </p:sp>
      <p:sp>
        <p:nvSpPr>
          <p:cNvPr id="12" name="مربع نص 11">
            <a:extLst>
              <a:ext uri="{FF2B5EF4-FFF2-40B4-BE49-F238E27FC236}">
                <a16:creationId xmlns:a16="http://schemas.microsoft.com/office/drawing/2014/main" id="{CC342096-FF9E-7A5C-8648-32E3C09197EF}"/>
              </a:ext>
            </a:extLst>
          </p:cNvPr>
          <p:cNvSpPr txBox="1"/>
          <p:nvPr/>
        </p:nvSpPr>
        <p:spPr>
          <a:xfrm>
            <a:off x="2851949" y="1643189"/>
            <a:ext cx="7346912" cy="481670"/>
          </a:xfrm>
          <a:prstGeom prst="rect">
            <a:avLst/>
          </a:prstGeom>
          <a:noFill/>
        </p:spPr>
        <p:txBody>
          <a:bodyPr wrap="square">
            <a:spAutoFit/>
          </a:bodyPr>
          <a:lstStyle/>
          <a:p>
            <a:pPr marL="0" marR="180335" lvl="0" indent="0" algn="justLow" defTabSz="914400" rtl="1" eaLnBrk="1" fontAlgn="auto" latinLnBrk="0" hangingPunct="1">
              <a:lnSpc>
                <a:spcPct val="115000"/>
              </a:lnSpc>
              <a:spcBef>
                <a:spcPts val="0"/>
              </a:spcBef>
              <a:spcAft>
                <a:spcPts val="0"/>
              </a:spcAft>
              <a:buClrTx/>
              <a:buSzTx/>
              <a:buFontTx/>
              <a:buNone/>
              <a:tabLst/>
              <a:defRPr/>
            </a:pPr>
            <a:r>
              <a:rPr kumimoji="0" lang="ar-SA" sz="2200" b="1" i="0" u="none" strike="noStrike" kern="1200" cap="none" spc="0" normalizeH="0" baseline="0" noProof="0" dirty="0">
                <a:ln>
                  <a:noFill/>
                </a:ln>
                <a:solidFill>
                  <a:srgbClr val="3F007E"/>
                </a:solidFill>
                <a:effectLst/>
                <a:uLnTx/>
                <a:uFillTx/>
                <a:latin typeface="Calibri" panose="020F0502020204030204"/>
                <a:ea typeface="Calibri" panose="020F0502020204030204" pitchFamily="34" charset="0"/>
                <a:cs typeface="Sakkal Majalla" panose="02000000000000000000" pitchFamily="2" charset="-78"/>
              </a:rPr>
              <a:t>يتطلب تغيير في أدوار الجهات  العلاقة بالمدرسة من أجل أن تتحقق معايير الأداء المدرسي</a:t>
            </a:r>
            <a:endParaRPr kumimoji="0" lang="ar-SA" sz="2200" b="0" i="0" u="none" strike="noStrike" kern="1200" cap="none" spc="0" normalizeH="0" baseline="0" noProof="0" dirty="0">
              <a:ln>
                <a:noFill/>
              </a:ln>
              <a:solidFill>
                <a:srgbClr val="3F007E"/>
              </a:solidFill>
              <a:effectLst/>
              <a:uLnTx/>
              <a:uFillTx/>
              <a:latin typeface="Calibri" panose="020F0502020204030204"/>
              <a:ea typeface="+mn-ea"/>
              <a:cs typeface="Arial" panose="020B0604020202020204" pitchFamily="34" charset="0"/>
            </a:endParaRPr>
          </a:p>
        </p:txBody>
      </p:sp>
      <p:graphicFrame>
        <p:nvGraphicFramePr>
          <p:cNvPr id="16" name="Google Shape;224;p24">
            <a:extLst>
              <a:ext uri="{FF2B5EF4-FFF2-40B4-BE49-F238E27FC236}">
                <a16:creationId xmlns:a16="http://schemas.microsoft.com/office/drawing/2014/main" id="{0C0D6819-0150-97C8-CD44-B47651B2B9D7}"/>
              </a:ext>
            </a:extLst>
          </p:cNvPr>
          <p:cNvGraphicFramePr/>
          <p:nvPr>
            <p:extLst>
              <p:ext uri="{D42A27DB-BD31-4B8C-83A1-F6EECF244321}">
                <p14:modId xmlns:p14="http://schemas.microsoft.com/office/powerpoint/2010/main" val="834579041"/>
              </p:ext>
            </p:extLst>
          </p:nvPr>
        </p:nvGraphicFramePr>
        <p:xfrm>
          <a:off x="1026160" y="2209109"/>
          <a:ext cx="9730164" cy="3375394"/>
        </p:xfrm>
        <a:graphic>
          <a:graphicData uri="http://schemas.openxmlformats.org/drawingml/2006/table">
            <a:tbl>
              <a:tblPr>
                <a:noFill/>
              </a:tblPr>
              <a:tblGrid>
                <a:gridCol w="2432541">
                  <a:extLst>
                    <a:ext uri="{9D8B030D-6E8A-4147-A177-3AD203B41FA5}">
                      <a16:colId xmlns:a16="http://schemas.microsoft.com/office/drawing/2014/main" val="618047255"/>
                    </a:ext>
                  </a:extLst>
                </a:gridCol>
                <a:gridCol w="2432541">
                  <a:extLst>
                    <a:ext uri="{9D8B030D-6E8A-4147-A177-3AD203B41FA5}">
                      <a16:colId xmlns:a16="http://schemas.microsoft.com/office/drawing/2014/main" val="20000"/>
                    </a:ext>
                  </a:extLst>
                </a:gridCol>
                <a:gridCol w="2432541">
                  <a:extLst>
                    <a:ext uri="{9D8B030D-6E8A-4147-A177-3AD203B41FA5}">
                      <a16:colId xmlns:a16="http://schemas.microsoft.com/office/drawing/2014/main" val="20002"/>
                    </a:ext>
                  </a:extLst>
                </a:gridCol>
                <a:gridCol w="2432541">
                  <a:extLst>
                    <a:ext uri="{9D8B030D-6E8A-4147-A177-3AD203B41FA5}">
                      <a16:colId xmlns:a16="http://schemas.microsoft.com/office/drawing/2014/main" val="2959885291"/>
                    </a:ext>
                  </a:extLst>
                </a:gridCol>
              </a:tblGrid>
              <a:tr h="802620">
                <a:tc>
                  <a:txBody>
                    <a:bodyPr/>
                    <a:lstStyle/>
                    <a:p>
                      <a:pPr marL="0" lvl="0" indent="0" algn="ctr" rtl="1">
                        <a:spcBef>
                          <a:spcPts val="0"/>
                        </a:spcBef>
                        <a:spcAft>
                          <a:spcPts val="0"/>
                        </a:spcAft>
                        <a:buNone/>
                      </a:pPr>
                      <a:r>
                        <a:rPr lang="ar-SA" sz="2400" b="1" dirty="0">
                          <a:solidFill>
                            <a:schemeClr val="bg1"/>
                          </a:solidFill>
                          <a:latin typeface="Sakkal Majalla" panose="02000000000000000000" pitchFamily="2" charset="-78"/>
                          <a:ea typeface="Samim" panose="020B0603030804020204" pitchFamily="34" charset="0"/>
                          <a:cs typeface="Sakkal Majalla" panose="02000000000000000000" pitchFamily="2" charset="-78"/>
                          <a:sym typeface="Titillium Web"/>
                        </a:rPr>
                        <a:t>الهيئة </a:t>
                      </a:r>
                      <a:endParaRPr sz="2400" b="1" dirty="0">
                        <a:solidFill>
                          <a:schemeClr val="bg1"/>
                        </a:solidFill>
                        <a:latin typeface="Sakkal Majalla" panose="02000000000000000000" pitchFamily="2" charset="-78"/>
                        <a:ea typeface="Samim" panose="020B0603030804020204" pitchFamily="34" charset="0"/>
                        <a:cs typeface="Sakkal Majalla" panose="02000000000000000000" pitchFamily="2" charset="-78"/>
                        <a:sym typeface="Titillium Web"/>
                      </a:endParaRPr>
                    </a:p>
                  </a:txBody>
                  <a:tcPr marL="91425" marR="91425" marT="68575" marB="68575"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r" defTabSz="914400" rtl="1" eaLnBrk="1" latinLnBrk="0" hangingPunct="1">
                        <a:defRPr sz="1800" kern="1200">
                          <a:solidFill>
                            <a:schemeClr val="tx1"/>
                          </a:solidFill>
                          <a:latin typeface="Arial"/>
                          <a:ea typeface="Arial Unicode MS"/>
                        </a:defRPr>
                      </a:lvl1pPr>
                      <a:lvl2pPr marL="457200" algn="r" defTabSz="914400" rtl="1" eaLnBrk="1" latinLnBrk="0" hangingPunct="1">
                        <a:defRPr sz="1800" kern="1200">
                          <a:solidFill>
                            <a:schemeClr val="tx1"/>
                          </a:solidFill>
                          <a:latin typeface="Arial"/>
                          <a:ea typeface="Arial Unicode MS"/>
                        </a:defRPr>
                      </a:lvl2pPr>
                      <a:lvl3pPr marL="914400" algn="r" defTabSz="914400" rtl="1" eaLnBrk="1" latinLnBrk="0" hangingPunct="1">
                        <a:defRPr sz="1800" kern="1200">
                          <a:solidFill>
                            <a:schemeClr val="tx1"/>
                          </a:solidFill>
                          <a:latin typeface="Arial"/>
                          <a:ea typeface="Arial Unicode MS"/>
                        </a:defRPr>
                      </a:lvl3pPr>
                      <a:lvl4pPr marL="1371600" algn="r" defTabSz="914400" rtl="1" eaLnBrk="1" latinLnBrk="0" hangingPunct="1">
                        <a:defRPr sz="1800" kern="1200">
                          <a:solidFill>
                            <a:schemeClr val="tx1"/>
                          </a:solidFill>
                          <a:latin typeface="Arial"/>
                          <a:ea typeface="Arial Unicode MS"/>
                        </a:defRPr>
                      </a:lvl4pPr>
                      <a:lvl5pPr marL="1828800" algn="r" defTabSz="914400" rtl="1" eaLnBrk="1" latinLnBrk="0" hangingPunct="1">
                        <a:defRPr sz="1800" kern="1200">
                          <a:solidFill>
                            <a:schemeClr val="tx1"/>
                          </a:solidFill>
                          <a:latin typeface="Arial"/>
                          <a:ea typeface="Arial Unicode MS"/>
                        </a:defRPr>
                      </a:lvl5pPr>
                      <a:lvl6pPr marL="2286000" algn="r" defTabSz="914400" rtl="1" eaLnBrk="1" latinLnBrk="0" hangingPunct="1">
                        <a:defRPr sz="1800" kern="1200">
                          <a:solidFill>
                            <a:schemeClr val="tx1"/>
                          </a:solidFill>
                          <a:latin typeface="Arial"/>
                          <a:ea typeface="Arial Unicode MS"/>
                        </a:defRPr>
                      </a:lvl6pPr>
                      <a:lvl7pPr marL="2743200" algn="r" defTabSz="914400" rtl="1" eaLnBrk="1" latinLnBrk="0" hangingPunct="1">
                        <a:defRPr sz="1800" kern="1200">
                          <a:solidFill>
                            <a:schemeClr val="tx1"/>
                          </a:solidFill>
                          <a:latin typeface="Arial"/>
                          <a:ea typeface="Arial Unicode MS"/>
                        </a:defRPr>
                      </a:lvl7pPr>
                      <a:lvl8pPr marL="3200400" algn="r" defTabSz="914400" rtl="1" eaLnBrk="1" latinLnBrk="0" hangingPunct="1">
                        <a:defRPr sz="1800" kern="1200">
                          <a:solidFill>
                            <a:schemeClr val="tx1"/>
                          </a:solidFill>
                          <a:latin typeface="Arial"/>
                          <a:ea typeface="Arial Unicode MS"/>
                        </a:defRPr>
                      </a:lvl8pPr>
                      <a:lvl9pPr marL="3657600" algn="r" defTabSz="914400" rtl="1" eaLnBrk="1" latinLnBrk="0" hangingPunct="1">
                        <a:defRPr sz="1800" kern="1200">
                          <a:solidFill>
                            <a:schemeClr val="tx1"/>
                          </a:solidFill>
                          <a:latin typeface="Arial"/>
                          <a:ea typeface="Arial Unicode MS"/>
                        </a:defRPr>
                      </a:lvl9pPr>
                    </a:lstStyle>
                    <a:p>
                      <a:pPr marL="0" lvl="0" indent="0" algn="ctr" rtl="1">
                        <a:spcBef>
                          <a:spcPts val="0"/>
                        </a:spcBef>
                        <a:spcAft>
                          <a:spcPts val="0"/>
                        </a:spcAft>
                        <a:buNone/>
                      </a:pPr>
                      <a:r>
                        <a:rPr lang="ar-SA" sz="2400" b="1" dirty="0">
                          <a:solidFill>
                            <a:schemeClr val="bg1"/>
                          </a:solidFill>
                          <a:latin typeface="Sakkal Majalla" panose="02000000000000000000" pitchFamily="2" charset="-78"/>
                          <a:ea typeface="Samim" panose="020B0603030804020204" pitchFamily="34" charset="0"/>
                          <a:cs typeface="Sakkal Majalla" panose="02000000000000000000" pitchFamily="2" charset="-78"/>
                          <a:sym typeface="Titillium Web"/>
                        </a:rPr>
                        <a:t>الجهاز الإشرافي</a:t>
                      </a:r>
                    </a:p>
                    <a:p>
                      <a:pPr marL="0" lvl="0" indent="0" algn="ctr" rtl="1">
                        <a:spcBef>
                          <a:spcPts val="0"/>
                        </a:spcBef>
                        <a:spcAft>
                          <a:spcPts val="0"/>
                        </a:spcAft>
                        <a:buNone/>
                      </a:pPr>
                      <a:r>
                        <a:rPr lang="ar-SA" sz="2400" b="1" dirty="0">
                          <a:solidFill>
                            <a:schemeClr val="bg1"/>
                          </a:solidFill>
                          <a:latin typeface="Sakkal Majalla" panose="02000000000000000000" pitchFamily="2" charset="-78"/>
                          <a:ea typeface="Samim" panose="020B0603030804020204" pitchFamily="34" charset="0"/>
                          <a:cs typeface="Sakkal Majalla" panose="02000000000000000000" pitchFamily="2" charset="-78"/>
                          <a:sym typeface="Titillium Web"/>
                        </a:rPr>
                        <a:t> ( الجهات خارج المدرسة)</a:t>
                      </a:r>
                      <a:endParaRPr sz="2400" b="1" dirty="0">
                        <a:solidFill>
                          <a:schemeClr val="bg1"/>
                        </a:solidFill>
                        <a:latin typeface="Sakkal Majalla" panose="02000000000000000000" pitchFamily="2" charset="-78"/>
                        <a:ea typeface="Samim" panose="020B0603030804020204" pitchFamily="34" charset="0"/>
                        <a:cs typeface="Sakkal Majalla" panose="02000000000000000000" pitchFamily="2" charset="-78"/>
                        <a:sym typeface="Titillium Web"/>
                      </a:endParaRPr>
                    </a:p>
                  </a:txBody>
                  <a:tcPr marL="91425" marR="91425" marT="68575" marB="68575"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14298" rtl="0" eaLnBrk="1" latinLnBrk="1" hangingPunct="1">
                        <a:defRPr sz="1800" kern="1200">
                          <a:solidFill>
                            <a:schemeClr val="tx1"/>
                          </a:solidFill>
                          <a:latin typeface="Calibri" panose="020F0502020204030204"/>
                          <a:ea typeface="Arial Unicode MS"/>
                        </a:defRPr>
                      </a:lvl1pPr>
                      <a:lvl2pPr marL="457150" algn="l" defTabSz="914298" rtl="0" eaLnBrk="1" latinLnBrk="1" hangingPunct="1">
                        <a:defRPr sz="1800" kern="1200">
                          <a:solidFill>
                            <a:schemeClr val="tx1"/>
                          </a:solidFill>
                          <a:latin typeface="Calibri" panose="020F0502020204030204"/>
                          <a:ea typeface="Arial Unicode MS"/>
                        </a:defRPr>
                      </a:lvl2pPr>
                      <a:lvl3pPr marL="914298" algn="l" defTabSz="914298" rtl="0" eaLnBrk="1" latinLnBrk="1" hangingPunct="1">
                        <a:defRPr sz="1800" kern="1200">
                          <a:solidFill>
                            <a:schemeClr val="tx1"/>
                          </a:solidFill>
                          <a:latin typeface="Calibri" panose="020F0502020204030204"/>
                          <a:ea typeface="Arial Unicode MS"/>
                        </a:defRPr>
                      </a:lvl3pPr>
                      <a:lvl4pPr marL="1371447" algn="l" defTabSz="914298" rtl="0" eaLnBrk="1" latinLnBrk="1" hangingPunct="1">
                        <a:defRPr sz="1800" kern="1200">
                          <a:solidFill>
                            <a:schemeClr val="tx1"/>
                          </a:solidFill>
                          <a:latin typeface="Calibri" panose="020F0502020204030204"/>
                          <a:ea typeface="Arial Unicode MS"/>
                        </a:defRPr>
                      </a:lvl4pPr>
                      <a:lvl5pPr marL="1828596" algn="l" defTabSz="914298" rtl="0" eaLnBrk="1" latinLnBrk="1" hangingPunct="1">
                        <a:defRPr sz="1800" kern="1200">
                          <a:solidFill>
                            <a:schemeClr val="tx1"/>
                          </a:solidFill>
                          <a:latin typeface="Calibri" panose="020F0502020204030204"/>
                          <a:ea typeface="Arial Unicode MS"/>
                        </a:defRPr>
                      </a:lvl5pPr>
                      <a:lvl6pPr marL="2285744" algn="l" defTabSz="914298" rtl="0" eaLnBrk="1" latinLnBrk="1" hangingPunct="1">
                        <a:defRPr sz="1800" kern="1200">
                          <a:solidFill>
                            <a:schemeClr val="tx1"/>
                          </a:solidFill>
                          <a:latin typeface="Calibri" panose="020F0502020204030204"/>
                          <a:ea typeface="Arial Unicode MS"/>
                        </a:defRPr>
                      </a:lvl6pPr>
                      <a:lvl7pPr marL="2742894" algn="l" defTabSz="914298" rtl="0" eaLnBrk="1" latinLnBrk="1" hangingPunct="1">
                        <a:defRPr sz="1800" kern="1200">
                          <a:solidFill>
                            <a:schemeClr val="tx1"/>
                          </a:solidFill>
                          <a:latin typeface="Calibri" panose="020F0502020204030204"/>
                          <a:ea typeface="Arial Unicode MS"/>
                        </a:defRPr>
                      </a:lvl7pPr>
                      <a:lvl8pPr marL="3200043" algn="l" defTabSz="914298" rtl="0" eaLnBrk="1" latinLnBrk="1" hangingPunct="1">
                        <a:defRPr sz="1800" kern="1200">
                          <a:solidFill>
                            <a:schemeClr val="tx1"/>
                          </a:solidFill>
                          <a:latin typeface="Calibri" panose="020F0502020204030204"/>
                          <a:ea typeface="Arial Unicode MS"/>
                        </a:defRPr>
                      </a:lvl8pPr>
                      <a:lvl9pPr marL="3657191" algn="l" defTabSz="914298" rtl="0" eaLnBrk="1" latinLnBrk="1" hangingPunct="1">
                        <a:defRPr sz="1800" kern="1200">
                          <a:solidFill>
                            <a:schemeClr val="tx1"/>
                          </a:solidFill>
                          <a:latin typeface="Calibri" panose="020F0502020204030204"/>
                          <a:ea typeface="Arial Unicode MS"/>
                        </a:defRPr>
                      </a:lvl9pPr>
                    </a:lstStyle>
                    <a:p>
                      <a:pPr algn="ctr"/>
                      <a:r>
                        <a:rPr kumimoji="0" lang="ar-SA" sz="2400" b="1" i="0" u="none" strike="noStrike" kern="1200" cap="none" spc="0" normalizeH="0" baseline="0" dirty="0">
                          <a:ln>
                            <a:noFill/>
                          </a:ln>
                          <a:solidFill>
                            <a:schemeClr val="bg1"/>
                          </a:solidFill>
                          <a:effectLst/>
                          <a:uLnTx/>
                          <a:uFillTx/>
                          <a:latin typeface="Sakkal Majalla" panose="02000000000000000000" pitchFamily="2" charset="-78"/>
                          <a:ea typeface="Samim" panose="020B0603030804020204" pitchFamily="34" charset="0"/>
                          <a:cs typeface="Sakkal Majalla" panose="02000000000000000000" pitchFamily="2" charset="-78"/>
                        </a:rPr>
                        <a:t>المدرسة</a:t>
                      </a:r>
                    </a:p>
                  </a:txBody>
                  <a:tcPr marL="91425" marR="91425" marT="68575" marB="68575"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14298" rtl="0" eaLnBrk="1" latinLnBrk="1" hangingPunct="1">
                        <a:defRPr sz="1800" kern="1200">
                          <a:solidFill>
                            <a:schemeClr val="tx1"/>
                          </a:solidFill>
                          <a:latin typeface="Calibri" panose="020F0502020204030204"/>
                          <a:ea typeface="Arial Unicode MS"/>
                        </a:defRPr>
                      </a:lvl1pPr>
                      <a:lvl2pPr marL="457150" algn="l" defTabSz="914298" rtl="0" eaLnBrk="1" latinLnBrk="1" hangingPunct="1">
                        <a:defRPr sz="1800" kern="1200">
                          <a:solidFill>
                            <a:schemeClr val="tx1"/>
                          </a:solidFill>
                          <a:latin typeface="Calibri" panose="020F0502020204030204"/>
                          <a:ea typeface="Arial Unicode MS"/>
                        </a:defRPr>
                      </a:lvl2pPr>
                      <a:lvl3pPr marL="914298" algn="l" defTabSz="914298" rtl="0" eaLnBrk="1" latinLnBrk="1" hangingPunct="1">
                        <a:defRPr sz="1800" kern="1200">
                          <a:solidFill>
                            <a:schemeClr val="tx1"/>
                          </a:solidFill>
                          <a:latin typeface="Calibri" panose="020F0502020204030204"/>
                          <a:ea typeface="Arial Unicode MS"/>
                        </a:defRPr>
                      </a:lvl3pPr>
                      <a:lvl4pPr marL="1371447" algn="l" defTabSz="914298" rtl="0" eaLnBrk="1" latinLnBrk="1" hangingPunct="1">
                        <a:defRPr sz="1800" kern="1200">
                          <a:solidFill>
                            <a:schemeClr val="tx1"/>
                          </a:solidFill>
                          <a:latin typeface="Calibri" panose="020F0502020204030204"/>
                          <a:ea typeface="Arial Unicode MS"/>
                        </a:defRPr>
                      </a:lvl4pPr>
                      <a:lvl5pPr marL="1828596" algn="l" defTabSz="914298" rtl="0" eaLnBrk="1" latinLnBrk="1" hangingPunct="1">
                        <a:defRPr sz="1800" kern="1200">
                          <a:solidFill>
                            <a:schemeClr val="tx1"/>
                          </a:solidFill>
                          <a:latin typeface="Calibri" panose="020F0502020204030204"/>
                          <a:ea typeface="Arial Unicode MS"/>
                        </a:defRPr>
                      </a:lvl5pPr>
                      <a:lvl6pPr marL="2285744" algn="l" defTabSz="914298" rtl="0" eaLnBrk="1" latinLnBrk="1" hangingPunct="1">
                        <a:defRPr sz="1800" kern="1200">
                          <a:solidFill>
                            <a:schemeClr val="tx1"/>
                          </a:solidFill>
                          <a:latin typeface="Calibri" panose="020F0502020204030204"/>
                          <a:ea typeface="Arial Unicode MS"/>
                        </a:defRPr>
                      </a:lvl6pPr>
                      <a:lvl7pPr marL="2742894" algn="l" defTabSz="914298" rtl="0" eaLnBrk="1" latinLnBrk="1" hangingPunct="1">
                        <a:defRPr sz="1800" kern="1200">
                          <a:solidFill>
                            <a:schemeClr val="tx1"/>
                          </a:solidFill>
                          <a:latin typeface="Calibri" panose="020F0502020204030204"/>
                          <a:ea typeface="Arial Unicode MS"/>
                        </a:defRPr>
                      </a:lvl7pPr>
                      <a:lvl8pPr marL="3200043" algn="l" defTabSz="914298" rtl="0" eaLnBrk="1" latinLnBrk="1" hangingPunct="1">
                        <a:defRPr sz="1800" kern="1200">
                          <a:solidFill>
                            <a:schemeClr val="tx1"/>
                          </a:solidFill>
                          <a:latin typeface="Calibri" panose="020F0502020204030204"/>
                          <a:ea typeface="Arial Unicode MS"/>
                        </a:defRPr>
                      </a:lvl8pPr>
                      <a:lvl9pPr marL="3657191" algn="l" defTabSz="914298" rtl="0" eaLnBrk="1" latinLnBrk="1" hangingPunct="1">
                        <a:defRPr sz="1800" kern="1200">
                          <a:solidFill>
                            <a:schemeClr val="tx1"/>
                          </a:solidFill>
                          <a:latin typeface="Calibri" panose="020F0502020204030204"/>
                          <a:ea typeface="Arial Unicode MS"/>
                        </a:defRPr>
                      </a:lvl9pPr>
                    </a:lstStyle>
                    <a:p>
                      <a:pPr marL="0" lvl="0" indent="0" algn="ctr" rtl="1">
                        <a:spcBef>
                          <a:spcPts val="0"/>
                        </a:spcBef>
                        <a:spcAft>
                          <a:spcPts val="0"/>
                        </a:spcAft>
                        <a:buNone/>
                      </a:pPr>
                      <a:r>
                        <a:rPr lang="ar-SA" sz="2400" b="1" dirty="0">
                          <a:solidFill>
                            <a:schemeClr val="bg1"/>
                          </a:solidFill>
                          <a:latin typeface="Sakkal Majalla" panose="02000000000000000000" pitchFamily="2" charset="-78"/>
                          <a:ea typeface="Samim" panose="020B0603030804020204" pitchFamily="34" charset="0"/>
                          <a:cs typeface="Sakkal Majalla" panose="02000000000000000000" pitchFamily="2" charset="-78"/>
                          <a:sym typeface="Titillium Web"/>
                        </a:rPr>
                        <a:t>الأدوار</a:t>
                      </a:r>
                      <a:endParaRPr sz="2400" b="1" dirty="0">
                        <a:solidFill>
                          <a:schemeClr val="bg1"/>
                        </a:solidFill>
                        <a:latin typeface="Sakkal Majalla" panose="02000000000000000000" pitchFamily="2" charset="-78"/>
                        <a:ea typeface="Samim" panose="020B0603030804020204" pitchFamily="34" charset="0"/>
                        <a:cs typeface="Sakkal Majalla" panose="02000000000000000000" pitchFamily="2" charset="-78"/>
                        <a:sym typeface="Titillium Web"/>
                      </a:endParaRPr>
                    </a:p>
                  </a:txBody>
                  <a:tcPr marL="91425" marR="91425" marT="68575" marB="68575"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val="10000"/>
                  </a:ext>
                </a:extLst>
              </a:tr>
              <a:tr h="1094506">
                <a:tc rowSpan="3">
                  <a:txBody>
                    <a:bodyPr/>
                    <a:lstStyle/>
                    <a:p>
                      <a:pPr marL="0" marR="0" lvl="0" indent="0" algn="ctr" defTabSz="914400" rtl="1" eaLnBrk="1" fontAlgn="auto" latinLnBrk="0" hangingPunct="1">
                        <a:lnSpc>
                          <a:spcPct val="100000"/>
                        </a:lnSpc>
                        <a:spcBef>
                          <a:spcPts val="0"/>
                        </a:spcBef>
                        <a:spcAft>
                          <a:spcPts val="0"/>
                        </a:spcAft>
                        <a:buClr>
                          <a:srgbClr val="CB1B4A"/>
                        </a:buClr>
                        <a:buSzTx/>
                        <a:buFont typeface="Wingdings" panose="05000000000000000000" pitchFamily="2" charset="2"/>
                        <a:buNone/>
                        <a:tabLst/>
                        <a:defRPr/>
                      </a:pPr>
                      <a:r>
                        <a:rPr kumimoji="0" lang="ar-SA" sz="2400" b="1" i="0" u="none" strike="noStrike" kern="1200" cap="none" spc="0" normalizeH="0" baseline="0" noProof="0" dirty="0">
                          <a:ln>
                            <a:noFill/>
                          </a:ln>
                          <a:solidFill>
                            <a:prstClr val="black"/>
                          </a:solidFill>
                          <a:effectLst/>
                          <a:uLnTx/>
                          <a:uFillTx/>
                          <a:latin typeface="Sakkal Majalla" panose="02000000000000000000" pitchFamily="2" charset="-78"/>
                          <a:ea typeface="Samim" panose="020B0603030804020204" pitchFamily="34" charset="0"/>
                          <a:cs typeface="Sakkal Majalla" panose="02000000000000000000" pitchFamily="2" charset="-78"/>
                          <a:sym typeface="Titillium Web"/>
                        </a:rPr>
                        <a:t>مقيم خارجي للأداء المدرسي في كل </a:t>
                      </a:r>
                      <a:r>
                        <a:rPr kumimoji="0" lang="ar-SA" sz="2400" b="1" i="0" u="none" strike="noStrike" kern="1200" cap="none" spc="0" normalizeH="0" baseline="0" noProof="0">
                          <a:ln>
                            <a:noFill/>
                          </a:ln>
                          <a:solidFill>
                            <a:prstClr val="black"/>
                          </a:solidFill>
                          <a:effectLst/>
                          <a:uLnTx/>
                          <a:uFillTx/>
                          <a:latin typeface="Sakkal Majalla" panose="02000000000000000000" pitchFamily="2" charset="-78"/>
                          <a:ea typeface="Samim" panose="020B0603030804020204" pitchFamily="34" charset="0"/>
                          <a:cs typeface="Sakkal Majalla" panose="02000000000000000000" pitchFamily="2" charset="-78"/>
                          <a:sym typeface="Titillium Web"/>
                        </a:rPr>
                        <a:t>جوانبه يقدم </a:t>
                      </a:r>
                      <a:r>
                        <a:rPr kumimoji="0" lang="ar-SA" sz="2400" b="1" i="0" u="none" strike="noStrike" kern="1200" cap="none" spc="0" normalizeH="0" baseline="0" noProof="0" dirty="0">
                          <a:ln>
                            <a:noFill/>
                          </a:ln>
                          <a:solidFill>
                            <a:prstClr val="black"/>
                          </a:solidFill>
                          <a:effectLst/>
                          <a:uLnTx/>
                          <a:uFillTx/>
                          <a:latin typeface="Sakkal Majalla" panose="02000000000000000000" pitchFamily="2" charset="-78"/>
                          <a:ea typeface="Samim" panose="020B0603030804020204" pitchFamily="34" charset="0"/>
                          <a:cs typeface="Sakkal Majalla" panose="02000000000000000000" pitchFamily="2" charset="-78"/>
                          <a:sym typeface="Titillium Web"/>
                        </a:rPr>
                        <a:t>تغذية راجعة وتحليل للأداء يستخدم في التطوير والتحسين </a:t>
                      </a:r>
                    </a:p>
                  </a:txBody>
                  <a:tcPr marL="91425" marR="91425" marT="68575" marB="68575"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3">
                  <a:txBody>
                    <a:bodyPr/>
                    <a:lstStyle>
                      <a:lvl1pPr marL="0" algn="r" defTabSz="914400" rtl="1" eaLnBrk="1" latinLnBrk="0" hangingPunct="1">
                        <a:defRPr sz="1800" kern="1200">
                          <a:solidFill>
                            <a:schemeClr val="tx1"/>
                          </a:solidFill>
                          <a:latin typeface="Arial"/>
                          <a:ea typeface="Arial Unicode MS"/>
                        </a:defRPr>
                      </a:lvl1pPr>
                      <a:lvl2pPr marL="457200" algn="r" defTabSz="914400" rtl="1" eaLnBrk="1" latinLnBrk="0" hangingPunct="1">
                        <a:defRPr sz="1800" kern="1200">
                          <a:solidFill>
                            <a:schemeClr val="tx1"/>
                          </a:solidFill>
                          <a:latin typeface="Arial"/>
                          <a:ea typeface="Arial Unicode MS"/>
                        </a:defRPr>
                      </a:lvl2pPr>
                      <a:lvl3pPr marL="914400" algn="r" defTabSz="914400" rtl="1" eaLnBrk="1" latinLnBrk="0" hangingPunct="1">
                        <a:defRPr sz="1800" kern="1200">
                          <a:solidFill>
                            <a:schemeClr val="tx1"/>
                          </a:solidFill>
                          <a:latin typeface="Arial"/>
                          <a:ea typeface="Arial Unicode MS"/>
                        </a:defRPr>
                      </a:lvl3pPr>
                      <a:lvl4pPr marL="1371600" algn="r" defTabSz="914400" rtl="1" eaLnBrk="1" latinLnBrk="0" hangingPunct="1">
                        <a:defRPr sz="1800" kern="1200">
                          <a:solidFill>
                            <a:schemeClr val="tx1"/>
                          </a:solidFill>
                          <a:latin typeface="Arial"/>
                          <a:ea typeface="Arial Unicode MS"/>
                        </a:defRPr>
                      </a:lvl4pPr>
                      <a:lvl5pPr marL="1828800" algn="r" defTabSz="914400" rtl="1" eaLnBrk="1" latinLnBrk="0" hangingPunct="1">
                        <a:defRPr sz="1800" kern="1200">
                          <a:solidFill>
                            <a:schemeClr val="tx1"/>
                          </a:solidFill>
                          <a:latin typeface="Arial"/>
                          <a:ea typeface="Arial Unicode MS"/>
                        </a:defRPr>
                      </a:lvl5pPr>
                      <a:lvl6pPr marL="2286000" algn="r" defTabSz="914400" rtl="1" eaLnBrk="1" latinLnBrk="0" hangingPunct="1">
                        <a:defRPr sz="1800" kern="1200">
                          <a:solidFill>
                            <a:schemeClr val="tx1"/>
                          </a:solidFill>
                          <a:latin typeface="Arial"/>
                          <a:ea typeface="Arial Unicode MS"/>
                        </a:defRPr>
                      </a:lvl6pPr>
                      <a:lvl7pPr marL="2743200" algn="r" defTabSz="914400" rtl="1" eaLnBrk="1" latinLnBrk="0" hangingPunct="1">
                        <a:defRPr sz="1800" kern="1200">
                          <a:solidFill>
                            <a:schemeClr val="tx1"/>
                          </a:solidFill>
                          <a:latin typeface="Arial"/>
                          <a:ea typeface="Arial Unicode MS"/>
                        </a:defRPr>
                      </a:lvl7pPr>
                      <a:lvl8pPr marL="3200400" algn="r" defTabSz="914400" rtl="1" eaLnBrk="1" latinLnBrk="0" hangingPunct="1">
                        <a:defRPr sz="1800" kern="1200">
                          <a:solidFill>
                            <a:schemeClr val="tx1"/>
                          </a:solidFill>
                          <a:latin typeface="Arial"/>
                          <a:ea typeface="Arial Unicode MS"/>
                        </a:defRPr>
                      </a:lvl8pPr>
                      <a:lvl9pPr marL="3657600" algn="r" defTabSz="914400" rtl="1" eaLnBrk="1" latinLnBrk="0" hangingPunct="1">
                        <a:defRPr sz="1800" kern="1200">
                          <a:solidFill>
                            <a:schemeClr val="tx1"/>
                          </a:solidFill>
                          <a:latin typeface="Arial"/>
                          <a:ea typeface="Arial Unicode MS"/>
                        </a:defRPr>
                      </a:lvl9pPr>
                    </a:lstStyle>
                    <a:p>
                      <a:pPr marL="0" marR="0" lvl="0" indent="0" algn="ctr" defTabSz="914400" rtl="1" eaLnBrk="1" fontAlgn="auto" latinLnBrk="0" hangingPunct="1">
                        <a:lnSpc>
                          <a:spcPct val="100000"/>
                        </a:lnSpc>
                        <a:spcBef>
                          <a:spcPts val="0"/>
                        </a:spcBef>
                        <a:spcAft>
                          <a:spcPts val="0"/>
                        </a:spcAft>
                        <a:buClr>
                          <a:srgbClr val="CB1B4A"/>
                        </a:buClr>
                        <a:buSzTx/>
                        <a:buFont typeface="Wingdings" panose="05000000000000000000" pitchFamily="2" charset="2"/>
                        <a:buNone/>
                        <a:tabLst/>
                        <a:defRPr/>
                      </a:pPr>
                      <a:r>
                        <a:rPr kumimoji="0" lang="ar-SA" sz="2400" b="1" i="0" u="none" strike="noStrike" kern="1200" cap="none" spc="0" normalizeH="0" baseline="0" noProof="0" dirty="0">
                          <a:ln>
                            <a:noFill/>
                          </a:ln>
                          <a:solidFill>
                            <a:prstClr val="black"/>
                          </a:solidFill>
                          <a:effectLst/>
                          <a:uLnTx/>
                          <a:uFillTx/>
                          <a:latin typeface="Sakkal Majalla" panose="02000000000000000000" pitchFamily="2" charset="-78"/>
                          <a:ea typeface="Samim" panose="020B0603030804020204" pitchFamily="34" charset="0"/>
                          <a:cs typeface="Sakkal Majalla" panose="02000000000000000000" pitchFamily="2" charset="-78"/>
                          <a:sym typeface="Titillium Web"/>
                        </a:rPr>
                        <a:t>تقديم مساندة ودعم نوعي للمدرسة بما يمكنها من القيام بمهامها وتحقيق أهدافها </a:t>
                      </a:r>
                    </a:p>
                  </a:txBody>
                  <a:tcPr marL="91425" marR="91425" marT="68575" marB="68575"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3">
                  <a:txBody>
                    <a:bodyPr/>
                    <a:lstStyle>
                      <a:lvl1pPr marL="0" algn="r" defTabSz="914400" rtl="1" eaLnBrk="1" latinLnBrk="0" hangingPunct="1">
                        <a:defRPr sz="1800" kern="1200">
                          <a:solidFill>
                            <a:schemeClr val="tx1"/>
                          </a:solidFill>
                          <a:latin typeface="Arial"/>
                          <a:ea typeface="Arial Unicode MS"/>
                        </a:defRPr>
                      </a:lvl1pPr>
                      <a:lvl2pPr marL="457200" algn="r" defTabSz="914400" rtl="1" eaLnBrk="1" latinLnBrk="0" hangingPunct="1">
                        <a:defRPr sz="1800" kern="1200">
                          <a:solidFill>
                            <a:schemeClr val="tx1"/>
                          </a:solidFill>
                          <a:latin typeface="Arial"/>
                          <a:ea typeface="Arial Unicode MS"/>
                        </a:defRPr>
                      </a:lvl2pPr>
                      <a:lvl3pPr marL="914400" algn="r" defTabSz="914400" rtl="1" eaLnBrk="1" latinLnBrk="0" hangingPunct="1">
                        <a:defRPr sz="1800" kern="1200">
                          <a:solidFill>
                            <a:schemeClr val="tx1"/>
                          </a:solidFill>
                          <a:latin typeface="Arial"/>
                          <a:ea typeface="Arial Unicode MS"/>
                        </a:defRPr>
                      </a:lvl3pPr>
                      <a:lvl4pPr marL="1371600" algn="r" defTabSz="914400" rtl="1" eaLnBrk="1" latinLnBrk="0" hangingPunct="1">
                        <a:defRPr sz="1800" kern="1200">
                          <a:solidFill>
                            <a:schemeClr val="tx1"/>
                          </a:solidFill>
                          <a:latin typeface="Arial"/>
                          <a:ea typeface="Arial Unicode MS"/>
                        </a:defRPr>
                      </a:lvl4pPr>
                      <a:lvl5pPr marL="1828800" algn="r" defTabSz="914400" rtl="1" eaLnBrk="1" latinLnBrk="0" hangingPunct="1">
                        <a:defRPr sz="1800" kern="1200">
                          <a:solidFill>
                            <a:schemeClr val="tx1"/>
                          </a:solidFill>
                          <a:latin typeface="Arial"/>
                          <a:ea typeface="Arial Unicode MS"/>
                        </a:defRPr>
                      </a:lvl5pPr>
                      <a:lvl6pPr marL="2286000" algn="r" defTabSz="914400" rtl="1" eaLnBrk="1" latinLnBrk="0" hangingPunct="1">
                        <a:defRPr sz="1800" kern="1200">
                          <a:solidFill>
                            <a:schemeClr val="tx1"/>
                          </a:solidFill>
                          <a:latin typeface="Arial"/>
                          <a:ea typeface="Arial Unicode MS"/>
                        </a:defRPr>
                      </a:lvl6pPr>
                      <a:lvl7pPr marL="2743200" algn="r" defTabSz="914400" rtl="1" eaLnBrk="1" latinLnBrk="0" hangingPunct="1">
                        <a:defRPr sz="1800" kern="1200">
                          <a:solidFill>
                            <a:schemeClr val="tx1"/>
                          </a:solidFill>
                          <a:latin typeface="Arial"/>
                          <a:ea typeface="Arial Unicode MS"/>
                        </a:defRPr>
                      </a:lvl7pPr>
                      <a:lvl8pPr marL="3200400" algn="r" defTabSz="914400" rtl="1" eaLnBrk="1" latinLnBrk="0" hangingPunct="1">
                        <a:defRPr sz="1800" kern="1200">
                          <a:solidFill>
                            <a:schemeClr val="tx1"/>
                          </a:solidFill>
                          <a:latin typeface="Arial"/>
                          <a:ea typeface="Arial Unicode MS"/>
                        </a:defRPr>
                      </a:lvl8pPr>
                      <a:lvl9pPr marL="3657600" algn="r" defTabSz="914400" rtl="1" eaLnBrk="1" latinLnBrk="0" hangingPunct="1">
                        <a:defRPr sz="1800" kern="1200">
                          <a:solidFill>
                            <a:schemeClr val="tx1"/>
                          </a:solidFill>
                          <a:latin typeface="Arial"/>
                          <a:ea typeface="Arial Unicode MS"/>
                        </a:defRPr>
                      </a:lvl9pPr>
                    </a:lstStyle>
                    <a:p>
                      <a:pPr marL="0" lvl="0" indent="0" algn="justLow" rtl="1">
                        <a:spcBef>
                          <a:spcPts val="0"/>
                        </a:spcBef>
                        <a:spcAft>
                          <a:spcPts val="0"/>
                        </a:spcAft>
                        <a:buClr>
                          <a:srgbClr val="CB1B4A"/>
                        </a:buClr>
                        <a:buFont typeface="Wingdings" panose="05000000000000000000" pitchFamily="2" charset="2"/>
                        <a:buNone/>
                      </a:pPr>
                      <a:r>
                        <a:rPr kumimoji="0" lang="ar-SA" sz="2400" b="1" i="0" u="none" strike="noStrike" kern="1200" cap="none" spc="0" normalizeH="0" baseline="0" noProof="0" dirty="0">
                          <a:ln>
                            <a:noFill/>
                          </a:ln>
                          <a:solidFill>
                            <a:schemeClr val="tx1"/>
                          </a:solidFill>
                          <a:effectLst/>
                          <a:uLnTx/>
                          <a:uFillTx/>
                          <a:latin typeface="Sakkal Majalla" panose="02000000000000000000" pitchFamily="2" charset="-78"/>
                          <a:ea typeface="Samim" panose="020B0603030804020204" pitchFamily="34" charset="0"/>
                          <a:cs typeface="Sakkal Majalla" panose="02000000000000000000" pitchFamily="2" charset="-78"/>
                          <a:sym typeface="Titillium Web"/>
                        </a:rPr>
                        <a:t>مدرسة تخطط وتصمم وتنفذ وتقوّم عملها وتطور أداءها بكل كفاءة واقتدار</a:t>
                      </a:r>
                    </a:p>
                  </a:txBody>
                  <a:tcPr marL="91425" marR="91425" marT="68575" marB="68575" anchor="ctr">
                    <a:lnL w="12700" cap="flat" cmpd="sng" algn="ctr">
                      <a:solidFill>
                        <a:sysClr val="windowText" lastClr="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298" rtl="0" eaLnBrk="1" latinLnBrk="1" hangingPunct="1">
                        <a:defRPr sz="1800" kern="1200">
                          <a:solidFill>
                            <a:schemeClr val="tx1"/>
                          </a:solidFill>
                          <a:latin typeface="Calibri" panose="020F0502020204030204"/>
                          <a:ea typeface="Arial Unicode MS"/>
                        </a:defRPr>
                      </a:lvl1pPr>
                      <a:lvl2pPr marL="457150" algn="l" defTabSz="914298" rtl="0" eaLnBrk="1" latinLnBrk="1" hangingPunct="1">
                        <a:defRPr sz="1800" kern="1200">
                          <a:solidFill>
                            <a:schemeClr val="tx1"/>
                          </a:solidFill>
                          <a:latin typeface="Calibri" panose="020F0502020204030204"/>
                          <a:ea typeface="Arial Unicode MS"/>
                        </a:defRPr>
                      </a:lvl2pPr>
                      <a:lvl3pPr marL="914298" algn="l" defTabSz="914298" rtl="0" eaLnBrk="1" latinLnBrk="1" hangingPunct="1">
                        <a:defRPr sz="1800" kern="1200">
                          <a:solidFill>
                            <a:schemeClr val="tx1"/>
                          </a:solidFill>
                          <a:latin typeface="Calibri" panose="020F0502020204030204"/>
                          <a:ea typeface="Arial Unicode MS"/>
                        </a:defRPr>
                      </a:lvl3pPr>
                      <a:lvl4pPr marL="1371447" algn="l" defTabSz="914298" rtl="0" eaLnBrk="1" latinLnBrk="1" hangingPunct="1">
                        <a:defRPr sz="1800" kern="1200">
                          <a:solidFill>
                            <a:schemeClr val="tx1"/>
                          </a:solidFill>
                          <a:latin typeface="Calibri" panose="020F0502020204030204"/>
                          <a:ea typeface="Arial Unicode MS"/>
                        </a:defRPr>
                      </a:lvl4pPr>
                      <a:lvl5pPr marL="1828596" algn="l" defTabSz="914298" rtl="0" eaLnBrk="1" latinLnBrk="1" hangingPunct="1">
                        <a:defRPr sz="1800" kern="1200">
                          <a:solidFill>
                            <a:schemeClr val="tx1"/>
                          </a:solidFill>
                          <a:latin typeface="Calibri" panose="020F0502020204030204"/>
                          <a:ea typeface="Arial Unicode MS"/>
                        </a:defRPr>
                      </a:lvl5pPr>
                      <a:lvl6pPr marL="2285744" algn="l" defTabSz="914298" rtl="0" eaLnBrk="1" latinLnBrk="1" hangingPunct="1">
                        <a:defRPr sz="1800" kern="1200">
                          <a:solidFill>
                            <a:schemeClr val="tx1"/>
                          </a:solidFill>
                          <a:latin typeface="Calibri" panose="020F0502020204030204"/>
                          <a:ea typeface="Arial Unicode MS"/>
                        </a:defRPr>
                      </a:lvl6pPr>
                      <a:lvl7pPr marL="2742894" algn="l" defTabSz="914298" rtl="0" eaLnBrk="1" latinLnBrk="1" hangingPunct="1">
                        <a:defRPr sz="1800" kern="1200">
                          <a:solidFill>
                            <a:schemeClr val="tx1"/>
                          </a:solidFill>
                          <a:latin typeface="Calibri" panose="020F0502020204030204"/>
                          <a:ea typeface="Arial Unicode MS"/>
                        </a:defRPr>
                      </a:lvl7pPr>
                      <a:lvl8pPr marL="3200043" algn="l" defTabSz="914298" rtl="0" eaLnBrk="1" latinLnBrk="1" hangingPunct="1">
                        <a:defRPr sz="1800" kern="1200">
                          <a:solidFill>
                            <a:schemeClr val="tx1"/>
                          </a:solidFill>
                          <a:latin typeface="Calibri" panose="020F0502020204030204"/>
                          <a:ea typeface="Arial Unicode MS"/>
                        </a:defRPr>
                      </a:lvl8pPr>
                      <a:lvl9pPr marL="3657191" algn="l" defTabSz="914298" rtl="0" eaLnBrk="1" latinLnBrk="1" hangingPunct="1">
                        <a:defRPr sz="1800" kern="1200">
                          <a:solidFill>
                            <a:schemeClr val="tx1"/>
                          </a:solidFill>
                          <a:latin typeface="Calibri" panose="020F0502020204030204"/>
                          <a:ea typeface="Arial Unicode MS"/>
                        </a:defRPr>
                      </a:lvl9pPr>
                    </a:lstStyle>
                    <a:p>
                      <a:pPr marL="0" lvl="0" indent="0" algn="ctr" rtl="1">
                        <a:spcBef>
                          <a:spcPts val="0"/>
                        </a:spcBef>
                        <a:spcAft>
                          <a:spcPts val="0"/>
                        </a:spcAft>
                        <a:buNone/>
                      </a:pPr>
                      <a:r>
                        <a:rPr lang="ar-SA" sz="2400" b="1" dirty="0">
                          <a:solidFill>
                            <a:schemeClr val="bg1"/>
                          </a:solidFill>
                          <a:latin typeface="Sakkal Majalla" panose="02000000000000000000" pitchFamily="2" charset="-78"/>
                          <a:ea typeface="Samim" panose="020B0603030804020204" pitchFamily="34" charset="0"/>
                          <a:cs typeface="Sakkal Majalla" panose="02000000000000000000" pitchFamily="2" charset="-78"/>
                          <a:sym typeface="Titillium Web"/>
                        </a:rPr>
                        <a:t>تقييم الأداء المدرسي</a:t>
                      </a:r>
                      <a:endParaRPr sz="2400" b="1" dirty="0">
                        <a:solidFill>
                          <a:schemeClr val="bg1"/>
                        </a:solidFill>
                        <a:latin typeface="Sakkal Majalla" panose="02000000000000000000" pitchFamily="2" charset="-78"/>
                        <a:ea typeface="Samim" panose="020B0603030804020204" pitchFamily="34" charset="0"/>
                        <a:cs typeface="Sakkal Majalla" panose="02000000000000000000" pitchFamily="2" charset="-78"/>
                        <a:sym typeface="Titillium Web"/>
                      </a:endParaRPr>
                    </a:p>
                  </a:txBody>
                  <a:tcPr marL="91425" marR="91425" marT="68575" marB="68575" anchor="ctr">
                    <a:lnL w="12700" cap="flat" cmpd="sng" algn="ctr">
                      <a:solidFill>
                        <a:schemeClr val="tx1"/>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prstClr val="black"/>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val="10001"/>
                  </a:ext>
                </a:extLst>
              </a:tr>
              <a:tr h="706109">
                <a:tc vMerge="1">
                  <a:txBody>
                    <a:bodyPr/>
                    <a:lstStyle/>
                    <a:p>
                      <a:pPr marL="0" marR="0" lvl="0" indent="0" algn="ctr" defTabSz="914400" rtl="1" eaLnBrk="1" fontAlgn="auto" latinLnBrk="0" hangingPunct="1">
                        <a:lnSpc>
                          <a:spcPct val="100000"/>
                        </a:lnSpc>
                        <a:spcBef>
                          <a:spcPts val="0"/>
                        </a:spcBef>
                        <a:spcAft>
                          <a:spcPts val="0"/>
                        </a:spcAft>
                        <a:buClr>
                          <a:srgbClr val="CB1B4A"/>
                        </a:buClr>
                        <a:buSzTx/>
                        <a:buFont typeface="Wingdings" panose="05000000000000000000" pitchFamily="2" charset="2"/>
                        <a:buNone/>
                        <a:tabLst/>
                        <a:defRPr/>
                      </a:pPr>
                      <a:endParaRPr kumimoji="0" lang="ar-SA" sz="2400" b="1" i="0" u="none" strike="noStrike" kern="1200" cap="none" spc="0" normalizeH="0" baseline="0" noProof="0" dirty="0">
                        <a:ln>
                          <a:noFill/>
                        </a:ln>
                        <a:solidFill>
                          <a:prstClr val="black"/>
                        </a:solidFill>
                        <a:effectLst/>
                        <a:uLnTx/>
                        <a:uFillTx/>
                        <a:latin typeface="Sakkal Majalla" panose="02000000000000000000" pitchFamily="2" charset="-78"/>
                        <a:ea typeface="Samim" panose="020B0603030804020204" pitchFamily="34" charset="0"/>
                        <a:cs typeface="Sakkal Majalla" panose="02000000000000000000" pitchFamily="2" charset="-78"/>
                        <a:sym typeface="Titillium Web"/>
                      </a:endParaRPr>
                    </a:p>
                  </a:txBody>
                  <a:tcPr marL="91425" marR="91425" marT="68575" marB="68575"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vMerge="1">
                  <a:txBody>
                    <a:bodyPr/>
                    <a:lstStyle>
                      <a:lvl1pPr marL="0" algn="r" defTabSz="914400" rtl="1" eaLnBrk="1" latinLnBrk="0" hangingPunct="1">
                        <a:defRPr sz="1800" kern="1200">
                          <a:solidFill>
                            <a:schemeClr val="tx1"/>
                          </a:solidFill>
                          <a:latin typeface="Arial"/>
                          <a:ea typeface="Arial Unicode MS"/>
                        </a:defRPr>
                      </a:lvl1pPr>
                      <a:lvl2pPr marL="457200" algn="r" defTabSz="914400" rtl="1" eaLnBrk="1" latinLnBrk="0" hangingPunct="1">
                        <a:defRPr sz="1800" kern="1200">
                          <a:solidFill>
                            <a:schemeClr val="tx1"/>
                          </a:solidFill>
                          <a:latin typeface="Arial"/>
                          <a:ea typeface="Arial Unicode MS"/>
                        </a:defRPr>
                      </a:lvl2pPr>
                      <a:lvl3pPr marL="914400" algn="r" defTabSz="914400" rtl="1" eaLnBrk="1" latinLnBrk="0" hangingPunct="1">
                        <a:defRPr sz="1800" kern="1200">
                          <a:solidFill>
                            <a:schemeClr val="tx1"/>
                          </a:solidFill>
                          <a:latin typeface="Arial"/>
                          <a:ea typeface="Arial Unicode MS"/>
                        </a:defRPr>
                      </a:lvl3pPr>
                      <a:lvl4pPr marL="1371600" algn="r" defTabSz="914400" rtl="1" eaLnBrk="1" latinLnBrk="0" hangingPunct="1">
                        <a:defRPr sz="1800" kern="1200">
                          <a:solidFill>
                            <a:schemeClr val="tx1"/>
                          </a:solidFill>
                          <a:latin typeface="Arial"/>
                          <a:ea typeface="Arial Unicode MS"/>
                        </a:defRPr>
                      </a:lvl4pPr>
                      <a:lvl5pPr marL="1828800" algn="r" defTabSz="914400" rtl="1" eaLnBrk="1" latinLnBrk="0" hangingPunct="1">
                        <a:defRPr sz="1800" kern="1200">
                          <a:solidFill>
                            <a:schemeClr val="tx1"/>
                          </a:solidFill>
                          <a:latin typeface="Arial"/>
                          <a:ea typeface="Arial Unicode MS"/>
                        </a:defRPr>
                      </a:lvl5pPr>
                      <a:lvl6pPr marL="2286000" algn="r" defTabSz="914400" rtl="1" eaLnBrk="1" latinLnBrk="0" hangingPunct="1">
                        <a:defRPr sz="1800" kern="1200">
                          <a:solidFill>
                            <a:schemeClr val="tx1"/>
                          </a:solidFill>
                          <a:latin typeface="Arial"/>
                          <a:ea typeface="Arial Unicode MS"/>
                        </a:defRPr>
                      </a:lvl6pPr>
                      <a:lvl7pPr marL="2743200" algn="r" defTabSz="914400" rtl="1" eaLnBrk="1" latinLnBrk="0" hangingPunct="1">
                        <a:defRPr sz="1800" kern="1200">
                          <a:solidFill>
                            <a:schemeClr val="tx1"/>
                          </a:solidFill>
                          <a:latin typeface="Arial"/>
                          <a:ea typeface="Arial Unicode MS"/>
                        </a:defRPr>
                      </a:lvl7pPr>
                      <a:lvl8pPr marL="3200400" algn="r" defTabSz="914400" rtl="1" eaLnBrk="1" latinLnBrk="0" hangingPunct="1">
                        <a:defRPr sz="1800" kern="1200">
                          <a:solidFill>
                            <a:schemeClr val="tx1"/>
                          </a:solidFill>
                          <a:latin typeface="Arial"/>
                          <a:ea typeface="Arial Unicode MS"/>
                        </a:defRPr>
                      </a:lvl8pPr>
                      <a:lvl9pPr marL="3657600" algn="r" defTabSz="914400" rtl="1" eaLnBrk="1" latinLnBrk="0" hangingPunct="1">
                        <a:defRPr sz="1800" kern="1200">
                          <a:solidFill>
                            <a:schemeClr val="tx1"/>
                          </a:solidFill>
                          <a:latin typeface="Arial"/>
                          <a:ea typeface="Arial Unicode MS"/>
                        </a:defRPr>
                      </a:lvl9pPr>
                    </a:lstStyle>
                    <a:p>
                      <a:pPr marL="0" marR="0" lvl="0" indent="0" algn="ctr" defTabSz="914400" rtl="1" eaLnBrk="1" fontAlgn="auto" latinLnBrk="0" hangingPunct="1">
                        <a:lnSpc>
                          <a:spcPct val="100000"/>
                        </a:lnSpc>
                        <a:spcBef>
                          <a:spcPts val="0"/>
                        </a:spcBef>
                        <a:spcAft>
                          <a:spcPts val="0"/>
                        </a:spcAft>
                        <a:buClr>
                          <a:srgbClr val="CB1B4A"/>
                        </a:buClr>
                        <a:buSzTx/>
                        <a:buFont typeface="Wingdings" panose="05000000000000000000" pitchFamily="2" charset="2"/>
                        <a:buNone/>
                        <a:tabLst/>
                        <a:defRPr/>
                      </a:pPr>
                      <a:endParaRPr kumimoji="0" lang="ar-SA" sz="2400" b="1" i="0" u="none" strike="noStrike" kern="1200" cap="none" spc="0" normalizeH="0" baseline="0" noProof="0" dirty="0">
                        <a:ln>
                          <a:noFill/>
                        </a:ln>
                        <a:solidFill>
                          <a:prstClr val="black"/>
                        </a:solidFill>
                        <a:effectLst/>
                        <a:uLnTx/>
                        <a:uFillTx/>
                        <a:latin typeface="Sakkal Majalla" panose="02000000000000000000" pitchFamily="2" charset="-78"/>
                        <a:ea typeface="Samim" panose="020B0603030804020204" pitchFamily="34" charset="0"/>
                        <a:cs typeface="Sakkal Majalla" panose="02000000000000000000" pitchFamily="2" charset="-78"/>
                        <a:sym typeface="Titillium Web"/>
                      </a:endParaRPr>
                    </a:p>
                  </a:txBody>
                  <a:tcPr marL="91425" marR="91425" marT="68575" marB="68575"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vMerge="1">
                  <a:txBody>
                    <a:bodyPr/>
                    <a:lstStyle>
                      <a:lvl1pPr marL="0" algn="r" defTabSz="914400" rtl="1" eaLnBrk="1" latinLnBrk="0" hangingPunct="1">
                        <a:defRPr sz="1800" kern="1200">
                          <a:solidFill>
                            <a:schemeClr val="tx1"/>
                          </a:solidFill>
                          <a:latin typeface="Arial"/>
                          <a:ea typeface="Arial Unicode MS"/>
                        </a:defRPr>
                      </a:lvl1pPr>
                      <a:lvl2pPr marL="457200" algn="r" defTabSz="914400" rtl="1" eaLnBrk="1" latinLnBrk="0" hangingPunct="1">
                        <a:defRPr sz="1800" kern="1200">
                          <a:solidFill>
                            <a:schemeClr val="tx1"/>
                          </a:solidFill>
                          <a:latin typeface="Arial"/>
                          <a:ea typeface="Arial Unicode MS"/>
                        </a:defRPr>
                      </a:lvl2pPr>
                      <a:lvl3pPr marL="914400" algn="r" defTabSz="914400" rtl="1" eaLnBrk="1" latinLnBrk="0" hangingPunct="1">
                        <a:defRPr sz="1800" kern="1200">
                          <a:solidFill>
                            <a:schemeClr val="tx1"/>
                          </a:solidFill>
                          <a:latin typeface="Arial"/>
                          <a:ea typeface="Arial Unicode MS"/>
                        </a:defRPr>
                      </a:lvl3pPr>
                      <a:lvl4pPr marL="1371600" algn="r" defTabSz="914400" rtl="1" eaLnBrk="1" latinLnBrk="0" hangingPunct="1">
                        <a:defRPr sz="1800" kern="1200">
                          <a:solidFill>
                            <a:schemeClr val="tx1"/>
                          </a:solidFill>
                          <a:latin typeface="Arial"/>
                          <a:ea typeface="Arial Unicode MS"/>
                        </a:defRPr>
                      </a:lvl4pPr>
                      <a:lvl5pPr marL="1828800" algn="r" defTabSz="914400" rtl="1" eaLnBrk="1" latinLnBrk="0" hangingPunct="1">
                        <a:defRPr sz="1800" kern="1200">
                          <a:solidFill>
                            <a:schemeClr val="tx1"/>
                          </a:solidFill>
                          <a:latin typeface="Arial"/>
                          <a:ea typeface="Arial Unicode MS"/>
                        </a:defRPr>
                      </a:lvl5pPr>
                      <a:lvl6pPr marL="2286000" algn="r" defTabSz="914400" rtl="1" eaLnBrk="1" latinLnBrk="0" hangingPunct="1">
                        <a:defRPr sz="1800" kern="1200">
                          <a:solidFill>
                            <a:schemeClr val="tx1"/>
                          </a:solidFill>
                          <a:latin typeface="Arial"/>
                          <a:ea typeface="Arial Unicode MS"/>
                        </a:defRPr>
                      </a:lvl6pPr>
                      <a:lvl7pPr marL="2743200" algn="r" defTabSz="914400" rtl="1" eaLnBrk="1" latinLnBrk="0" hangingPunct="1">
                        <a:defRPr sz="1800" kern="1200">
                          <a:solidFill>
                            <a:schemeClr val="tx1"/>
                          </a:solidFill>
                          <a:latin typeface="Arial"/>
                          <a:ea typeface="Arial Unicode MS"/>
                        </a:defRPr>
                      </a:lvl7pPr>
                      <a:lvl8pPr marL="3200400" algn="r" defTabSz="914400" rtl="1" eaLnBrk="1" latinLnBrk="0" hangingPunct="1">
                        <a:defRPr sz="1800" kern="1200">
                          <a:solidFill>
                            <a:schemeClr val="tx1"/>
                          </a:solidFill>
                          <a:latin typeface="Arial"/>
                          <a:ea typeface="Arial Unicode MS"/>
                        </a:defRPr>
                      </a:lvl8pPr>
                      <a:lvl9pPr marL="3657600" algn="r" defTabSz="914400" rtl="1" eaLnBrk="1" latinLnBrk="0" hangingPunct="1">
                        <a:defRPr sz="1800" kern="1200">
                          <a:solidFill>
                            <a:schemeClr val="tx1"/>
                          </a:solidFill>
                          <a:latin typeface="Arial"/>
                          <a:ea typeface="Arial Unicode MS"/>
                        </a:defRPr>
                      </a:lvl9pPr>
                    </a:lstStyle>
                    <a:p>
                      <a:pPr marL="0" marR="0" lvl="0" indent="0" algn="justLow" defTabSz="914400" rtl="1" eaLnBrk="1" fontAlgn="auto" latinLnBrk="0" hangingPunct="1">
                        <a:lnSpc>
                          <a:spcPct val="100000"/>
                        </a:lnSpc>
                        <a:spcBef>
                          <a:spcPts val="0"/>
                        </a:spcBef>
                        <a:spcAft>
                          <a:spcPts val="0"/>
                        </a:spcAft>
                        <a:buClr>
                          <a:srgbClr val="CB1B4A"/>
                        </a:buClr>
                        <a:buSzTx/>
                        <a:buFont typeface="Wingdings" panose="05000000000000000000" pitchFamily="2" charset="2"/>
                        <a:buNone/>
                        <a:tabLst/>
                        <a:defRPr/>
                      </a:pPr>
                      <a:r>
                        <a:rPr kumimoji="0" lang="ar-SA" sz="2400" b="1" i="0" u="none" strike="noStrike" kern="1200" cap="none" spc="0" normalizeH="0" baseline="0" noProof="0" dirty="0">
                          <a:ln>
                            <a:noFill/>
                          </a:ln>
                          <a:solidFill>
                            <a:schemeClr val="tx1"/>
                          </a:solidFill>
                          <a:effectLst/>
                          <a:uLnTx/>
                          <a:uFillTx/>
                          <a:latin typeface="Sakkal Majalla" panose="02000000000000000000" pitchFamily="2" charset="-78"/>
                          <a:ea typeface="Samim" panose="020B0603030804020204" pitchFamily="34" charset="0"/>
                          <a:cs typeface="Sakkal Majalla" panose="02000000000000000000" pitchFamily="2" charset="-78"/>
                          <a:sym typeface="Titillium Web"/>
                        </a:rPr>
                        <a:t>تعمل على إعداد </a:t>
                      </a:r>
                    </a:p>
                  </a:txBody>
                  <a:tcPr marL="91425" marR="91425" marT="68575" marB="68575"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lvl1pPr marL="0" algn="l" defTabSz="914298" rtl="0" eaLnBrk="1" latinLnBrk="1" hangingPunct="1">
                        <a:defRPr sz="1800" kern="1200">
                          <a:solidFill>
                            <a:schemeClr val="tx1"/>
                          </a:solidFill>
                          <a:latin typeface="Calibri" panose="020F0502020204030204"/>
                          <a:ea typeface="Arial Unicode MS"/>
                        </a:defRPr>
                      </a:lvl1pPr>
                      <a:lvl2pPr marL="457150" algn="l" defTabSz="914298" rtl="0" eaLnBrk="1" latinLnBrk="1" hangingPunct="1">
                        <a:defRPr sz="1800" kern="1200">
                          <a:solidFill>
                            <a:schemeClr val="tx1"/>
                          </a:solidFill>
                          <a:latin typeface="Calibri" panose="020F0502020204030204"/>
                          <a:ea typeface="Arial Unicode MS"/>
                        </a:defRPr>
                      </a:lvl2pPr>
                      <a:lvl3pPr marL="914298" algn="l" defTabSz="914298" rtl="0" eaLnBrk="1" latinLnBrk="1" hangingPunct="1">
                        <a:defRPr sz="1800" kern="1200">
                          <a:solidFill>
                            <a:schemeClr val="tx1"/>
                          </a:solidFill>
                          <a:latin typeface="Calibri" panose="020F0502020204030204"/>
                          <a:ea typeface="Arial Unicode MS"/>
                        </a:defRPr>
                      </a:lvl3pPr>
                      <a:lvl4pPr marL="1371447" algn="l" defTabSz="914298" rtl="0" eaLnBrk="1" latinLnBrk="1" hangingPunct="1">
                        <a:defRPr sz="1800" kern="1200">
                          <a:solidFill>
                            <a:schemeClr val="tx1"/>
                          </a:solidFill>
                          <a:latin typeface="Calibri" panose="020F0502020204030204"/>
                          <a:ea typeface="Arial Unicode MS"/>
                        </a:defRPr>
                      </a:lvl4pPr>
                      <a:lvl5pPr marL="1828596" algn="l" defTabSz="914298" rtl="0" eaLnBrk="1" latinLnBrk="1" hangingPunct="1">
                        <a:defRPr sz="1800" kern="1200">
                          <a:solidFill>
                            <a:schemeClr val="tx1"/>
                          </a:solidFill>
                          <a:latin typeface="Calibri" panose="020F0502020204030204"/>
                          <a:ea typeface="Arial Unicode MS"/>
                        </a:defRPr>
                      </a:lvl5pPr>
                      <a:lvl6pPr marL="2285744" algn="l" defTabSz="914298" rtl="0" eaLnBrk="1" latinLnBrk="1" hangingPunct="1">
                        <a:defRPr sz="1800" kern="1200">
                          <a:solidFill>
                            <a:schemeClr val="tx1"/>
                          </a:solidFill>
                          <a:latin typeface="Calibri" panose="020F0502020204030204"/>
                          <a:ea typeface="Arial Unicode MS"/>
                        </a:defRPr>
                      </a:lvl6pPr>
                      <a:lvl7pPr marL="2742894" algn="l" defTabSz="914298" rtl="0" eaLnBrk="1" latinLnBrk="1" hangingPunct="1">
                        <a:defRPr sz="1800" kern="1200">
                          <a:solidFill>
                            <a:schemeClr val="tx1"/>
                          </a:solidFill>
                          <a:latin typeface="Calibri" panose="020F0502020204030204"/>
                          <a:ea typeface="Arial Unicode MS"/>
                        </a:defRPr>
                      </a:lvl7pPr>
                      <a:lvl8pPr marL="3200043" algn="l" defTabSz="914298" rtl="0" eaLnBrk="1" latinLnBrk="1" hangingPunct="1">
                        <a:defRPr sz="1800" kern="1200">
                          <a:solidFill>
                            <a:schemeClr val="tx1"/>
                          </a:solidFill>
                          <a:latin typeface="Calibri" panose="020F0502020204030204"/>
                          <a:ea typeface="Arial Unicode MS"/>
                        </a:defRPr>
                      </a:lvl8pPr>
                      <a:lvl9pPr marL="3657191" algn="l" defTabSz="914298" rtl="0" eaLnBrk="1" latinLnBrk="1" hangingPunct="1">
                        <a:defRPr sz="1800" kern="1200">
                          <a:solidFill>
                            <a:schemeClr val="tx1"/>
                          </a:solidFill>
                          <a:latin typeface="Calibri" panose="020F0502020204030204"/>
                          <a:ea typeface="Arial Unicode MS"/>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SA" sz="2400" b="1" kern="1200" noProof="0" dirty="0">
                          <a:solidFill>
                            <a:schemeClr val="bg1"/>
                          </a:solidFill>
                          <a:latin typeface="Sakkal Majalla" panose="02000000000000000000" pitchFamily="2" charset="-78"/>
                          <a:ea typeface="Samim" panose="020B0603030804020204" pitchFamily="34" charset="0"/>
                          <a:cs typeface="Sakkal Majalla" panose="02000000000000000000" pitchFamily="2" charset="-78"/>
                          <a:sym typeface="Titillium Web"/>
                        </a:rPr>
                        <a:t>التطوير والتحسين</a:t>
                      </a:r>
                    </a:p>
                  </a:txBody>
                  <a:tcPr marL="91425" marR="91425" marT="68575" marB="68575"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val="10003"/>
                  </a:ext>
                </a:extLst>
              </a:tr>
              <a:tr h="706109">
                <a:tc vMerge="1">
                  <a:txBody>
                    <a:bodyPr/>
                    <a:lstStyle/>
                    <a:p>
                      <a:pPr marL="0" marR="0" lvl="0" indent="0" algn="ctr" defTabSz="914400" rtl="1" eaLnBrk="1" fontAlgn="auto" latinLnBrk="0" hangingPunct="1">
                        <a:lnSpc>
                          <a:spcPct val="100000"/>
                        </a:lnSpc>
                        <a:spcBef>
                          <a:spcPts val="0"/>
                        </a:spcBef>
                        <a:spcAft>
                          <a:spcPts val="0"/>
                        </a:spcAft>
                        <a:buClr>
                          <a:srgbClr val="CB1B4A"/>
                        </a:buClr>
                        <a:buSzTx/>
                        <a:buFont typeface="Wingdings" panose="05000000000000000000" pitchFamily="2" charset="2"/>
                        <a:buNone/>
                        <a:tabLst/>
                        <a:defRPr/>
                      </a:pPr>
                      <a:endParaRPr kumimoji="0" lang="ar-SA" sz="2400" b="1" i="0" u="none" strike="noStrike" kern="1200" cap="none" spc="0" normalizeH="0" baseline="0" noProof="0" dirty="0">
                        <a:ln>
                          <a:noFill/>
                        </a:ln>
                        <a:solidFill>
                          <a:prstClr val="black"/>
                        </a:solidFill>
                        <a:effectLst/>
                        <a:uLnTx/>
                        <a:uFillTx/>
                        <a:latin typeface="Sakkal Majalla" panose="02000000000000000000" pitchFamily="2" charset="-78"/>
                        <a:ea typeface="Samim" panose="020B0603030804020204" pitchFamily="34" charset="0"/>
                        <a:cs typeface="Sakkal Majalla" panose="02000000000000000000" pitchFamily="2" charset="-78"/>
                        <a:sym typeface="Titillium Web"/>
                      </a:endParaRPr>
                    </a:p>
                  </a:txBody>
                  <a:tcPr marL="91425" marR="91425" marT="68575" marB="68575"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vMerge="1">
                  <a:txBody>
                    <a:bodyPr/>
                    <a:lstStyle/>
                    <a:p>
                      <a:pPr marL="0" marR="0" lvl="0" indent="0" algn="ctr" defTabSz="914400" rtl="1" eaLnBrk="1" fontAlgn="auto" latinLnBrk="0" hangingPunct="1">
                        <a:lnSpc>
                          <a:spcPct val="100000"/>
                        </a:lnSpc>
                        <a:spcBef>
                          <a:spcPts val="0"/>
                        </a:spcBef>
                        <a:spcAft>
                          <a:spcPts val="0"/>
                        </a:spcAft>
                        <a:buClr>
                          <a:srgbClr val="CB1B4A"/>
                        </a:buClr>
                        <a:buSzTx/>
                        <a:buFont typeface="Wingdings" panose="05000000000000000000" pitchFamily="2" charset="2"/>
                        <a:buNone/>
                        <a:tabLst/>
                        <a:defRPr/>
                      </a:pPr>
                      <a:endParaRPr kumimoji="0" lang="ar-SA" sz="2400" b="1" i="0" u="none" strike="noStrike" kern="1200" cap="none" spc="0" normalizeH="0" baseline="0" noProof="0" dirty="0">
                        <a:ln>
                          <a:noFill/>
                        </a:ln>
                        <a:solidFill>
                          <a:prstClr val="black"/>
                        </a:solidFill>
                        <a:effectLst/>
                        <a:uLnTx/>
                        <a:uFillTx/>
                        <a:latin typeface="Sakkal Majalla" panose="02000000000000000000" pitchFamily="2" charset="-78"/>
                        <a:ea typeface="Samim" panose="020B0603030804020204" pitchFamily="34" charset="0"/>
                        <a:cs typeface="Sakkal Majalla" panose="02000000000000000000" pitchFamily="2" charset="-78"/>
                        <a:sym typeface="Titillium Web"/>
                      </a:endParaRPr>
                    </a:p>
                  </a:txBody>
                  <a:tcPr marL="91425" marR="91425" marT="68575" marB="68575"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vMerge="1">
                  <a:txBody>
                    <a:bodyPr/>
                    <a:lstStyle/>
                    <a:p>
                      <a:pPr marL="0" lvl="0" indent="0" algn="justLow" rtl="1">
                        <a:spcBef>
                          <a:spcPts val="0"/>
                        </a:spcBef>
                        <a:spcAft>
                          <a:spcPts val="0"/>
                        </a:spcAft>
                        <a:buClr>
                          <a:srgbClr val="CB1B4A"/>
                        </a:buClr>
                        <a:buFont typeface="Wingdings" panose="05000000000000000000" pitchFamily="2" charset="2"/>
                        <a:buNone/>
                      </a:pPr>
                      <a:endParaRPr kumimoji="0" lang="ar-SA" sz="2400" b="1" i="0" u="none" strike="noStrike" kern="1200" cap="none" spc="0" normalizeH="0" baseline="0" noProof="0" dirty="0">
                        <a:ln>
                          <a:noFill/>
                        </a:ln>
                        <a:solidFill>
                          <a:schemeClr val="tx1"/>
                        </a:solidFill>
                        <a:effectLst/>
                        <a:uLnTx/>
                        <a:uFillTx/>
                        <a:latin typeface="Sakkal Majalla" panose="02000000000000000000" pitchFamily="2" charset="-78"/>
                        <a:ea typeface="Samim" panose="020B0603030804020204" pitchFamily="34" charset="0"/>
                        <a:cs typeface="Sakkal Majalla" panose="02000000000000000000" pitchFamily="2" charset="-78"/>
                        <a:sym typeface="Titillium Web"/>
                      </a:endParaRPr>
                    </a:p>
                  </a:txBody>
                  <a:tcPr marL="91425" marR="91425" marT="68575" marB="68575">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SA" sz="2400" b="1" kern="1200" noProof="0" dirty="0">
                          <a:solidFill>
                            <a:schemeClr val="bg1"/>
                          </a:solidFill>
                          <a:latin typeface="Sakkal Majalla" panose="02000000000000000000" pitchFamily="2" charset="-78"/>
                          <a:ea typeface="Samim" panose="020B0603030804020204" pitchFamily="34" charset="0"/>
                          <a:cs typeface="Sakkal Majalla" panose="02000000000000000000" pitchFamily="2" charset="-78"/>
                          <a:sym typeface="Titillium Web"/>
                        </a:rPr>
                        <a:t>المسؤولية تجاه المهام</a:t>
                      </a:r>
                    </a:p>
                  </a:txBody>
                  <a:tcPr marL="91425" marR="91425" marT="68575" marB="68575"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val="1229341789"/>
                  </a:ext>
                </a:extLst>
              </a:tr>
            </a:tbl>
          </a:graphicData>
        </a:graphic>
      </p:graphicFrame>
    </p:spTree>
    <p:extLst>
      <p:ext uri="{BB962C8B-B14F-4D97-AF65-F5344CB8AC3E}">
        <p14:creationId xmlns:p14="http://schemas.microsoft.com/office/powerpoint/2010/main" val="10840886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barn(inVertical)">
                                      <p:cBhvr>
                                        <p:cTn id="7" dur="1000"/>
                                        <p:tgtEl>
                                          <p:spTgt spid="10"/>
                                        </p:tgtEl>
                                      </p:cBhvr>
                                    </p:animEffect>
                                  </p:childTnLst>
                                </p:cTn>
                              </p:par>
                              <p:par>
                                <p:cTn id="8" presetID="16" presetClass="entr" presetSubtype="21"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barn(inVertical)">
                                      <p:cBhvr>
                                        <p:cTn id="10" dur="1000"/>
                                        <p:tgtEl>
                                          <p:spTgt spid="11"/>
                                        </p:tgtEl>
                                      </p:cBhvr>
                                    </p:animEffect>
                                  </p:childTnLst>
                                </p:cTn>
                              </p:par>
                            </p:childTnLst>
                          </p:cTn>
                        </p:par>
                      </p:childTnLst>
                    </p:cTn>
                  </p:par>
                  <p:par>
                    <p:cTn id="11" fill="hold">
                      <p:stCondLst>
                        <p:cond delay="indefinite"/>
                      </p:stCondLst>
                      <p:childTnLst>
                        <p:par>
                          <p:cTn id="12" fill="hold">
                            <p:stCondLst>
                              <p:cond delay="0"/>
                            </p:stCondLst>
                            <p:childTnLst>
                              <p:par>
                                <p:cTn id="13" presetID="16" presetClass="entr" presetSubtype="21" fill="hold" grpId="0" nodeType="click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barn(inVertical)">
                                      <p:cBhvr>
                                        <p:cTn id="15" dur="500"/>
                                        <p:tgtEl>
                                          <p:spTgt spid="12"/>
                                        </p:tgtEl>
                                      </p:cBhvr>
                                    </p:animEffect>
                                  </p:childTnLst>
                                </p:cTn>
                              </p:par>
                            </p:childTnLst>
                          </p:cTn>
                        </p:par>
                      </p:childTnLst>
                    </p:cTn>
                  </p:par>
                  <p:par>
                    <p:cTn id="16" fill="hold">
                      <p:stCondLst>
                        <p:cond delay="indefinite"/>
                      </p:stCondLst>
                      <p:childTnLst>
                        <p:par>
                          <p:cTn id="17" fill="hold">
                            <p:stCondLst>
                              <p:cond delay="0"/>
                            </p:stCondLst>
                            <p:childTnLst>
                              <p:par>
                                <p:cTn id="18" presetID="16" presetClass="entr" presetSubtype="21" fill="hold" nodeType="clickEffect">
                                  <p:stCondLst>
                                    <p:cond delay="0"/>
                                  </p:stCondLst>
                                  <p:childTnLst>
                                    <p:set>
                                      <p:cBhvr>
                                        <p:cTn id="19" dur="1" fill="hold">
                                          <p:stCondLst>
                                            <p:cond delay="0"/>
                                          </p:stCondLst>
                                        </p:cTn>
                                        <p:tgtEl>
                                          <p:spTgt spid="16"/>
                                        </p:tgtEl>
                                        <p:attrNameLst>
                                          <p:attrName>style.visibility</p:attrName>
                                        </p:attrNameLst>
                                      </p:cBhvr>
                                      <p:to>
                                        <p:strVal val="visible"/>
                                      </p:to>
                                    </p:set>
                                    <p:animEffect transition="in" filter="barn(inVertical)">
                                      <p:cBhvr>
                                        <p:cTn id="20" dur="175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p:bld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6">
            <a:extLst>
              <a:ext uri="{FF2B5EF4-FFF2-40B4-BE49-F238E27FC236}">
                <a16:creationId xmlns:a16="http://schemas.microsoft.com/office/drawing/2014/main" id="{82F386D9-55FF-CFC2-D9A5-EFC0D11FFC86}"/>
              </a:ext>
            </a:extLst>
          </p:cNvPr>
          <p:cNvSpPr/>
          <p:nvPr/>
        </p:nvSpPr>
        <p:spPr bwMode="auto">
          <a:xfrm>
            <a:off x="522514" y="954209"/>
            <a:ext cx="10863943" cy="5189068"/>
          </a:xfrm>
          <a:prstGeom prst="rect">
            <a:avLst/>
          </a:prstGeom>
          <a:noFill/>
          <a:ln>
            <a:noFill/>
            <a:prstDash val="dash"/>
          </a:ln>
        </p:spPr>
        <p:txBody>
          <a:bodyPr vert="horz" wrap="square" lIns="91440" tIns="45720" rIns="91440" bIns="45720" numCol="1" rtlCol="0" anchor="t" anchorCtr="0" compatLnSpc="1">
            <a:prstTxWarp prst="textNoShape">
              <a:avLst/>
            </a:prstTxWarp>
          </a:bodyPr>
          <a:lstStyle/>
          <a:p>
            <a:pPr marL="0" marR="0" lvl="0" indent="0" algn="justLow" defTabSz="914176" rtl="1" eaLnBrk="1" fontAlgn="auto" latinLnBrk="1" hangingPunct="1">
              <a:lnSpc>
                <a:spcPct val="100000"/>
              </a:lnSpc>
              <a:spcBef>
                <a:spcPts val="0"/>
              </a:spcBef>
              <a:spcAft>
                <a:spcPts val="0"/>
              </a:spcAft>
              <a:buClr>
                <a:srgbClr val="32AEB8"/>
              </a:buClr>
              <a:buSzPct val="120000"/>
              <a:buFontTx/>
              <a:buNone/>
              <a:tabLst/>
              <a:defRPr/>
            </a:pPr>
            <a:r>
              <a:rPr kumimoji="0" lang="ar-SA" altLang="ko-KR" sz="3200" b="1" i="0" u="none" strike="noStrike" kern="1200" cap="none" spc="0" normalizeH="0" baseline="0" noProof="0" dirty="0">
                <a:ln>
                  <a:noFill/>
                </a:ln>
                <a:solidFill>
                  <a:srgbClr val="C00000"/>
                </a:solidFill>
                <a:effectLst/>
                <a:uLnTx/>
                <a:uFillTx/>
                <a:latin typeface="Sakkal Majalla" panose="02000000000000000000" pitchFamily="2" charset="-78"/>
                <a:ea typeface="맑은 고딕" panose="020B0503020000020004" pitchFamily="34" charset="-127"/>
                <a:cs typeface="Sakkal Majalla" panose="02000000000000000000" pitchFamily="2" charset="-78"/>
              </a:rPr>
              <a:t>الهدف العام: </a:t>
            </a:r>
            <a:r>
              <a:rPr kumimoji="0" lang="ar-SA" altLang="ko-KR" sz="2800" b="0" i="0" u="none" strike="noStrike" kern="1200" cap="none" spc="0" normalizeH="0" baseline="0" noProof="0" dirty="0">
                <a:ln>
                  <a:noFill/>
                </a:ln>
                <a:solidFill>
                  <a:prstClr val="black"/>
                </a:solidFill>
                <a:effectLst/>
                <a:uLnTx/>
                <a:uFillTx/>
                <a:latin typeface="Sakkal Majalla" panose="02000000000000000000" pitchFamily="2" charset="-78"/>
                <a:ea typeface="맑은 고딕" panose="020B0503020000020004" pitchFamily="34" charset="-127"/>
                <a:cs typeface="Sakkal Majalla" panose="02000000000000000000" pitchFamily="2" charset="-78"/>
              </a:rPr>
              <a:t>مساندة المدارس لتحقيق معايير التقويم والاعتماد المدرسي المعتمدة من هيئة تقويم التعليم والتدريب من أجل الارتقاء بمستوى المدارس وفق تلك المعايير، وبما يحقق الوصول لمستهدفات قطاع التعليم العام في مؤشر منظومة التعليم والتدريب.</a:t>
            </a:r>
          </a:p>
          <a:p>
            <a:pPr marL="180966" marR="0" lvl="0" indent="-180966" algn="justLow" defTabSz="914176" rtl="1" eaLnBrk="1" fontAlgn="auto" latinLnBrk="1" hangingPunct="1">
              <a:lnSpc>
                <a:spcPct val="100000"/>
              </a:lnSpc>
              <a:spcBef>
                <a:spcPts val="0"/>
              </a:spcBef>
              <a:spcAft>
                <a:spcPts val="0"/>
              </a:spcAft>
              <a:buClr>
                <a:srgbClr val="32AEB8"/>
              </a:buClr>
              <a:buSzPct val="120000"/>
              <a:buFont typeface="Arial" panose="020B0604020202020204" pitchFamily="34" charset="0"/>
              <a:buChar char="•"/>
              <a:tabLst/>
              <a:defRPr/>
            </a:pPr>
            <a:r>
              <a:rPr kumimoji="0" lang="ar-SA" altLang="ko-KR" sz="2800" b="1" i="0" u="none" strike="noStrike" kern="1200" cap="none" spc="0" normalizeH="0" baseline="0" noProof="0" dirty="0">
                <a:ln>
                  <a:noFill/>
                </a:ln>
                <a:solidFill>
                  <a:srgbClr val="C00000"/>
                </a:solidFill>
                <a:effectLst/>
                <a:uLnTx/>
                <a:uFillTx/>
                <a:latin typeface="Sakkal Majalla" panose="02000000000000000000" pitchFamily="2" charset="-78"/>
                <a:ea typeface="맑은 고딕" panose="020B0503020000020004" pitchFamily="34" charset="-127"/>
                <a:cs typeface="Sakkal Majalla" panose="02000000000000000000" pitchFamily="2" charset="-78"/>
              </a:rPr>
              <a:t>الأهداف التفصيلية:</a:t>
            </a:r>
          </a:p>
          <a:p>
            <a:pPr marL="180966" marR="0" lvl="0" indent="-180966" algn="justLow" defTabSz="914176" rtl="1" eaLnBrk="1" fontAlgn="auto" latinLnBrk="1" hangingPunct="1">
              <a:lnSpc>
                <a:spcPct val="100000"/>
              </a:lnSpc>
              <a:spcBef>
                <a:spcPts val="0"/>
              </a:spcBef>
              <a:spcAft>
                <a:spcPts val="0"/>
              </a:spcAft>
              <a:buClr>
                <a:srgbClr val="32AEB8"/>
              </a:buClr>
              <a:buSzPct val="120000"/>
              <a:buFont typeface="Arial" panose="020B0604020202020204" pitchFamily="34" charset="0"/>
              <a:buChar char="•"/>
              <a:tabLst/>
              <a:defRPr/>
            </a:pPr>
            <a:r>
              <a:rPr kumimoji="0" lang="ar-SA" altLang="ko-KR" sz="2800" b="0" i="0" u="none" strike="noStrike" kern="1200" cap="none" spc="0" normalizeH="0" baseline="0" noProof="0" dirty="0">
                <a:ln>
                  <a:noFill/>
                </a:ln>
                <a:solidFill>
                  <a:prstClr val="black"/>
                </a:solidFill>
                <a:effectLst/>
                <a:uLnTx/>
                <a:uFillTx/>
                <a:latin typeface="Sakkal Majalla" panose="02000000000000000000" pitchFamily="2" charset="-78"/>
                <a:ea typeface="맑은 고딕" panose="020B0503020000020004" pitchFamily="34" charset="-127"/>
                <a:cs typeface="Sakkal Majalla" panose="02000000000000000000" pitchFamily="2" charset="-78"/>
              </a:rPr>
              <a:t>رفع مستوى أداء المدرسة من خلال دعم تمكينها لتحقيق معايير التقويم والاعتماد المدرسي.</a:t>
            </a:r>
          </a:p>
          <a:p>
            <a:pPr marL="180966" marR="0" lvl="0" indent="-180966" algn="justLow" defTabSz="914176" rtl="1" eaLnBrk="1" fontAlgn="auto" latinLnBrk="1" hangingPunct="1">
              <a:lnSpc>
                <a:spcPct val="100000"/>
              </a:lnSpc>
              <a:spcBef>
                <a:spcPts val="0"/>
              </a:spcBef>
              <a:spcAft>
                <a:spcPts val="0"/>
              </a:spcAft>
              <a:buClr>
                <a:srgbClr val="32AEB8"/>
              </a:buClr>
              <a:buSzPct val="120000"/>
              <a:buFont typeface="Arial" panose="020B0604020202020204" pitchFamily="34" charset="0"/>
              <a:buChar char="•"/>
              <a:tabLst/>
              <a:defRPr/>
            </a:pPr>
            <a:r>
              <a:rPr kumimoji="0" lang="ar-SA" altLang="ko-KR" sz="2800" b="0" i="0" u="none" strike="noStrike" kern="1200" cap="none" spc="0" normalizeH="0" baseline="0" noProof="0" dirty="0">
                <a:ln>
                  <a:noFill/>
                </a:ln>
                <a:solidFill>
                  <a:prstClr val="black"/>
                </a:solidFill>
                <a:effectLst/>
                <a:uLnTx/>
                <a:uFillTx/>
                <a:latin typeface="Sakkal Majalla" panose="02000000000000000000" pitchFamily="2" charset="-78"/>
                <a:ea typeface="맑은 고딕" panose="020B0503020000020004" pitchFamily="34" charset="-127"/>
                <a:cs typeface="Sakkal Majalla" panose="02000000000000000000" pitchFamily="2" charset="-78"/>
              </a:rPr>
              <a:t>مساندة المدرسة في التطبيق الفاعل لأدوات التقويم الذاتي، ومن ثم تحقيق معايير التقويم والاعتماد المدرسي.</a:t>
            </a:r>
          </a:p>
          <a:p>
            <a:pPr marL="180966" marR="0" lvl="0" indent="-180966" algn="justLow" defTabSz="914176" rtl="1" eaLnBrk="1" fontAlgn="auto" latinLnBrk="1" hangingPunct="1">
              <a:lnSpc>
                <a:spcPct val="100000"/>
              </a:lnSpc>
              <a:spcBef>
                <a:spcPts val="0"/>
              </a:spcBef>
              <a:spcAft>
                <a:spcPts val="0"/>
              </a:spcAft>
              <a:buClr>
                <a:srgbClr val="32AEB8"/>
              </a:buClr>
              <a:buSzPct val="120000"/>
              <a:buFont typeface="Arial" panose="020B0604020202020204" pitchFamily="34" charset="0"/>
              <a:buChar char="•"/>
              <a:tabLst/>
              <a:defRPr/>
            </a:pPr>
            <a:r>
              <a:rPr kumimoji="0" lang="ar-SA" altLang="ko-KR" sz="2800" b="0" i="0" u="none" strike="noStrike" kern="1200" cap="none" spc="0" normalizeH="0" baseline="0" noProof="0" dirty="0">
                <a:ln>
                  <a:noFill/>
                </a:ln>
                <a:solidFill>
                  <a:prstClr val="black"/>
                </a:solidFill>
                <a:effectLst/>
                <a:uLnTx/>
                <a:uFillTx/>
                <a:latin typeface="Sakkal Majalla" panose="02000000000000000000" pitchFamily="2" charset="-78"/>
                <a:ea typeface="맑은 고딕" panose="020B0503020000020004" pitchFamily="34" charset="-127"/>
                <a:cs typeface="Sakkal Majalla" panose="02000000000000000000" pitchFamily="2" charset="-78"/>
              </a:rPr>
              <a:t>المساعدة في دراسة وتحليل واقع المدارس لتقديم الدعم والمساندة المناسبة.</a:t>
            </a:r>
          </a:p>
          <a:p>
            <a:pPr marL="180966" marR="0" lvl="0" indent="-180966" algn="justLow" defTabSz="914176" rtl="1" eaLnBrk="1" fontAlgn="auto" latinLnBrk="1" hangingPunct="1">
              <a:lnSpc>
                <a:spcPct val="100000"/>
              </a:lnSpc>
              <a:spcBef>
                <a:spcPts val="0"/>
              </a:spcBef>
              <a:spcAft>
                <a:spcPts val="0"/>
              </a:spcAft>
              <a:buClr>
                <a:srgbClr val="32AEB8"/>
              </a:buClr>
              <a:buSzPct val="120000"/>
              <a:buFont typeface="Arial" panose="020B0604020202020204" pitchFamily="34" charset="0"/>
              <a:buChar char="•"/>
              <a:tabLst/>
              <a:defRPr/>
            </a:pPr>
            <a:r>
              <a:rPr kumimoji="0" lang="ar-SA" altLang="ko-KR" sz="2800" b="0" i="0" u="none" strike="noStrike" kern="1200" cap="none" spc="0" normalizeH="0" baseline="0" noProof="0" dirty="0">
                <a:ln>
                  <a:noFill/>
                </a:ln>
                <a:solidFill>
                  <a:prstClr val="black"/>
                </a:solidFill>
                <a:effectLst/>
                <a:uLnTx/>
                <a:uFillTx/>
                <a:latin typeface="Sakkal Majalla" panose="02000000000000000000" pitchFamily="2" charset="-78"/>
                <a:ea typeface="맑은 고딕" panose="020B0503020000020004" pitchFamily="34" charset="-127"/>
                <a:cs typeface="Sakkal Majalla" panose="02000000000000000000" pitchFamily="2" charset="-78"/>
              </a:rPr>
              <a:t>إيجاد بيئة عمل حيوية وفاعلة داخل المدرسة بجعل النظام المدرسي يتعلم من خبراته.</a:t>
            </a:r>
          </a:p>
          <a:p>
            <a:pPr marL="180966" marR="0" lvl="0" indent="-180966" algn="justLow" defTabSz="914176" rtl="1" eaLnBrk="1" fontAlgn="auto" latinLnBrk="1" hangingPunct="1">
              <a:lnSpc>
                <a:spcPct val="100000"/>
              </a:lnSpc>
              <a:spcBef>
                <a:spcPts val="0"/>
              </a:spcBef>
              <a:spcAft>
                <a:spcPts val="0"/>
              </a:spcAft>
              <a:buClr>
                <a:srgbClr val="32AEB8"/>
              </a:buClr>
              <a:buSzPct val="120000"/>
              <a:buFont typeface="Arial" panose="020B0604020202020204" pitchFamily="34" charset="0"/>
              <a:buChar char="•"/>
              <a:tabLst/>
              <a:defRPr/>
            </a:pPr>
            <a:r>
              <a:rPr kumimoji="0" lang="ar-SA" altLang="ko-KR" sz="2800" b="0" i="0" u="none" strike="noStrike" kern="1200" cap="none" spc="0" normalizeH="0" baseline="0" noProof="0" dirty="0">
                <a:ln>
                  <a:noFill/>
                </a:ln>
                <a:solidFill>
                  <a:prstClr val="black"/>
                </a:solidFill>
                <a:effectLst/>
                <a:uLnTx/>
                <a:uFillTx/>
                <a:latin typeface="Sakkal Majalla" panose="02000000000000000000" pitchFamily="2" charset="-78"/>
                <a:ea typeface="맑은 고딕" panose="020B0503020000020004" pitchFamily="34" charset="-127"/>
                <a:cs typeface="Sakkal Majalla" panose="02000000000000000000" pitchFamily="2" charset="-78"/>
              </a:rPr>
              <a:t>مساندة المدرسة في مختلف جوانب التطوير المهني للمعلمين.</a:t>
            </a:r>
          </a:p>
          <a:p>
            <a:pPr marL="180966" marR="0" lvl="0" indent="-180966" algn="justLow" defTabSz="914176" rtl="1" eaLnBrk="1" fontAlgn="auto" latinLnBrk="1" hangingPunct="1">
              <a:lnSpc>
                <a:spcPct val="100000"/>
              </a:lnSpc>
              <a:spcBef>
                <a:spcPts val="0"/>
              </a:spcBef>
              <a:spcAft>
                <a:spcPts val="0"/>
              </a:spcAft>
              <a:buClr>
                <a:srgbClr val="32AEB8"/>
              </a:buClr>
              <a:buSzPct val="120000"/>
              <a:buFont typeface="Arial" panose="020B0604020202020204" pitchFamily="34" charset="0"/>
              <a:buChar char="•"/>
              <a:tabLst/>
              <a:defRPr/>
            </a:pPr>
            <a:r>
              <a:rPr kumimoji="0" lang="ar-SA" altLang="ko-KR" sz="2800" b="0" i="0" u="none" strike="noStrike" kern="1200" cap="none" spc="0" normalizeH="0" baseline="0" noProof="0" dirty="0">
                <a:ln>
                  <a:noFill/>
                </a:ln>
                <a:solidFill>
                  <a:prstClr val="black"/>
                </a:solidFill>
                <a:effectLst/>
                <a:uLnTx/>
                <a:uFillTx/>
                <a:latin typeface="Sakkal Majalla" panose="02000000000000000000" pitchFamily="2" charset="-78"/>
                <a:ea typeface="맑은 고딕" panose="020B0503020000020004" pitchFamily="34" charset="-127"/>
                <a:cs typeface="Sakkal Majalla" panose="02000000000000000000" pitchFamily="2" charset="-78"/>
              </a:rPr>
              <a:t>تركيز أدوار المشرفين نحو مساندة مديري المدارس في قيادة عملية التحسين والتطوير بالتعاون مع منسوبي المدرسة. </a:t>
            </a:r>
          </a:p>
        </p:txBody>
      </p:sp>
      <p:sp>
        <p:nvSpPr>
          <p:cNvPr id="2" name="Google Shape;924;p31">
            <a:extLst>
              <a:ext uri="{FF2B5EF4-FFF2-40B4-BE49-F238E27FC236}">
                <a16:creationId xmlns:a16="http://schemas.microsoft.com/office/drawing/2014/main" id="{0B1EA4BA-4B22-399D-3D79-C62837D55789}"/>
              </a:ext>
            </a:extLst>
          </p:cNvPr>
          <p:cNvSpPr txBox="1"/>
          <p:nvPr/>
        </p:nvSpPr>
        <p:spPr>
          <a:xfrm>
            <a:off x="2329543" y="121628"/>
            <a:ext cx="7249884" cy="832581"/>
          </a:xfrm>
          <a:prstGeom prst="rect">
            <a:avLst/>
          </a:prstGeom>
          <a:solidFill>
            <a:srgbClr val="E5E8FF"/>
          </a:solidFill>
          <a:ln w="9525" cap="flat" cmpd="sng">
            <a:solidFill>
              <a:srgbClr val="97A4FF"/>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defTabSz="1219170" rtl="1" eaLnBrk="1" fontAlgn="auto" latinLnBrk="0" hangingPunct="1">
              <a:lnSpc>
                <a:spcPct val="100000"/>
              </a:lnSpc>
              <a:spcBef>
                <a:spcPts val="0"/>
              </a:spcBef>
              <a:spcAft>
                <a:spcPts val="0"/>
              </a:spcAft>
              <a:buClrTx/>
              <a:buSzTx/>
              <a:buFontTx/>
              <a:buNone/>
              <a:tabLst/>
              <a:defRPr/>
            </a:pPr>
            <a:r>
              <a:rPr kumimoji="0" lang="ar-SA" sz="2800" b="1" i="0" u="none" strike="noStrike" kern="0" cap="none" spc="0" normalizeH="0" baseline="0" noProof="0" dirty="0">
                <a:ln>
                  <a:noFill/>
                </a:ln>
                <a:solidFill>
                  <a:srgbClr val="01083A"/>
                </a:solidFill>
                <a:effectLst/>
                <a:uLnTx/>
                <a:uFillTx/>
                <a:latin typeface="Sakkal Majalla" panose="02000000000000000000" pitchFamily="2" charset="-78"/>
                <a:ea typeface="Samim" panose="020B0603030804020204" pitchFamily="34" charset="0"/>
                <a:cs typeface="Sakkal Majalla" panose="02000000000000000000" pitchFamily="2" charset="-78"/>
                <a:sym typeface="Josefin Sans"/>
              </a:rPr>
              <a:t>دور المساندة والدعم من مكتب التعليم للمدارس</a:t>
            </a:r>
            <a:endParaRPr kumimoji="0" sz="2800" b="1" i="0" u="none" strike="noStrike" kern="0" cap="none" spc="0" normalizeH="0" baseline="0" noProof="0" dirty="0">
              <a:ln>
                <a:noFill/>
              </a:ln>
              <a:solidFill>
                <a:srgbClr val="01083A"/>
              </a:solidFill>
              <a:effectLst/>
              <a:uLnTx/>
              <a:uFillTx/>
              <a:latin typeface="Sakkal Majalla" panose="02000000000000000000" pitchFamily="2" charset="-78"/>
              <a:ea typeface="Samim" panose="020B0603030804020204" pitchFamily="34" charset="0"/>
              <a:cs typeface="Sakkal Majalla" panose="02000000000000000000" pitchFamily="2" charset="-78"/>
              <a:sym typeface="Josefin Sans"/>
            </a:endParaRPr>
          </a:p>
        </p:txBody>
      </p:sp>
    </p:spTree>
    <p:extLst>
      <p:ext uri="{BB962C8B-B14F-4D97-AF65-F5344CB8AC3E}">
        <p14:creationId xmlns:p14="http://schemas.microsoft.com/office/powerpoint/2010/main" val="18215733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47" presetClass="entr" presetSubtype="0" fill="hold" nodeType="clickEffect">
                                  <p:stCondLst>
                                    <p:cond delay="0"/>
                                  </p:stCondLst>
                                  <p:childTnLst>
                                    <p:set>
                                      <p:cBhvr>
                                        <p:cTn id="11" dur="1" fill="hold">
                                          <p:stCondLst>
                                            <p:cond delay="0"/>
                                          </p:stCondLst>
                                        </p:cTn>
                                        <p:tgtEl>
                                          <p:spTgt spid="5">
                                            <p:txEl>
                                              <p:pRg st="0" end="0"/>
                                            </p:txEl>
                                          </p:spTgt>
                                        </p:tgtEl>
                                        <p:attrNameLst>
                                          <p:attrName>style.visibility</p:attrName>
                                        </p:attrNameLst>
                                      </p:cBhvr>
                                      <p:to>
                                        <p:strVal val="visible"/>
                                      </p:to>
                                    </p:set>
                                    <p:animEffect transition="in" filter="fade">
                                      <p:cBhvr>
                                        <p:cTn id="12" dur="1250"/>
                                        <p:tgtEl>
                                          <p:spTgt spid="5">
                                            <p:txEl>
                                              <p:pRg st="0" end="0"/>
                                            </p:txEl>
                                          </p:spTgt>
                                        </p:tgtEl>
                                      </p:cBhvr>
                                    </p:animEffect>
                                    <p:anim calcmode="lin" valueType="num">
                                      <p:cBhvr>
                                        <p:cTn id="13" dur="1250" fill="hold"/>
                                        <p:tgtEl>
                                          <p:spTgt spid="5">
                                            <p:txEl>
                                              <p:pRg st="0" end="0"/>
                                            </p:txEl>
                                          </p:spTgt>
                                        </p:tgtEl>
                                        <p:attrNameLst>
                                          <p:attrName>ppt_x</p:attrName>
                                        </p:attrNameLst>
                                      </p:cBhvr>
                                      <p:tavLst>
                                        <p:tav tm="0">
                                          <p:val>
                                            <p:strVal val="#ppt_x"/>
                                          </p:val>
                                        </p:tav>
                                        <p:tav tm="100000">
                                          <p:val>
                                            <p:strVal val="#ppt_x"/>
                                          </p:val>
                                        </p:tav>
                                      </p:tavLst>
                                    </p:anim>
                                    <p:anim calcmode="lin" valueType="num">
                                      <p:cBhvr>
                                        <p:cTn id="14" dur="1250" fill="hold"/>
                                        <p:tgtEl>
                                          <p:spTgt spid="5">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7" presetClass="entr" presetSubtype="0" fill="hold" nodeType="clickEffect">
                                  <p:stCondLst>
                                    <p:cond delay="0"/>
                                  </p:stCondLst>
                                  <p:childTnLst>
                                    <p:set>
                                      <p:cBhvr>
                                        <p:cTn id="18" dur="1" fill="hold">
                                          <p:stCondLst>
                                            <p:cond delay="0"/>
                                          </p:stCondLst>
                                        </p:cTn>
                                        <p:tgtEl>
                                          <p:spTgt spid="5">
                                            <p:txEl>
                                              <p:pRg st="1" end="1"/>
                                            </p:txEl>
                                          </p:spTgt>
                                        </p:tgtEl>
                                        <p:attrNameLst>
                                          <p:attrName>style.visibility</p:attrName>
                                        </p:attrNameLst>
                                      </p:cBhvr>
                                      <p:to>
                                        <p:strVal val="visible"/>
                                      </p:to>
                                    </p:set>
                                    <p:animEffect transition="in" filter="fade">
                                      <p:cBhvr>
                                        <p:cTn id="19" dur="1250"/>
                                        <p:tgtEl>
                                          <p:spTgt spid="5">
                                            <p:txEl>
                                              <p:pRg st="1" end="1"/>
                                            </p:txEl>
                                          </p:spTgt>
                                        </p:tgtEl>
                                      </p:cBhvr>
                                    </p:animEffect>
                                    <p:anim calcmode="lin" valueType="num">
                                      <p:cBhvr>
                                        <p:cTn id="20" dur="1250" fill="hold"/>
                                        <p:tgtEl>
                                          <p:spTgt spid="5">
                                            <p:txEl>
                                              <p:pRg st="1" end="1"/>
                                            </p:txEl>
                                          </p:spTgt>
                                        </p:tgtEl>
                                        <p:attrNameLst>
                                          <p:attrName>ppt_x</p:attrName>
                                        </p:attrNameLst>
                                      </p:cBhvr>
                                      <p:tavLst>
                                        <p:tav tm="0">
                                          <p:val>
                                            <p:strVal val="#ppt_x"/>
                                          </p:val>
                                        </p:tav>
                                        <p:tav tm="100000">
                                          <p:val>
                                            <p:strVal val="#ppt_x"/>
                                          </p:val>
                                        </p:tav>
                                      </p:tavLst>
                                    </p:anim>
                                    <p:anim calcmode="lin" valueType="num">
                                      <p:cBhvr>
                                        <p:cTn id="21" dur="1250" fill="hold"/>
                                        <p:tgtEl>
                                          <p:spTgt spid="5">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47" presetClass="entr" presetSubtype="0" fill="hold" nodeType="clickEffect">
                                  <p:stCondLst>
                                    <p:cond delay="0"/>
                                  </p:stCondLst>
                                  <p:childTnLst>
                                    <p:set>
                                      <p:cBhvr>
                                        <p:cTn id="25" dur="1" fill="hold">
                                          <p:stCondLst>
                                            <p:cond delay="0"/>
                                          </p:stCondLst>
                                        </p:cTn>
                                        <p:tgtEl>
                                          <p:spTgt spid="5">
                                            <p:txEl>
                                              <p:pRg st="2" end="2"/>
                                            </p:txEl>
                                          </p:spTgt>
                                        </p:tgtEl>
                                        <p:attrNameLst>
                                          <p:attrName>style.visibility</p:attrName>
                                        </p:attrNameLst>
                                      </p:cBhvr>
                                      <p:to>
                                        <p:strVal val="visible"/>
                                      </p:to>
                                    </p:set>
                                    <p:animEffect transition="in" filter="fade">
                                      <p:cBhvr>
                                        <p:cTn id="26" dur="1250"/>
                                        <p:tgtEl>
                                          <p:spTgt spid="5">
                                            <p:txEl>
                                              <p:pRg st="2" end="2"/>
                                            </p:txEl>
                                          </p:spTgt>
                                        </p:tgtEl>
                                      </p:cBhvr>
                                    </p:animEffect>
                                    <p:anim calcmode="lin" valueType="num">
                                      <p:cBhvr>
                                        <p:cTn id="27" dur="1250" fill="hold"/>
                                        <p:tgtEl>
                                          <p:spTgt spid="5">
                                            <p:txEl>
                                              <p:pRg st="2" end="2"/>
                                            </p:txEl>
                                          </p:spTgt>
                                        </p:tgtEl>
                                        <p:attrNameLst>
                                          <p:attrName>ppt_x</p:attrName>
                                        </p:attrNameLst>
                                      </p:cBhvr>
                                      <p:tavLst>
                                        <p:tav tm="0">
                                          <p:val>
                                            <p:strVal val="#ppt_x"/>
                                          </p:val>
                                        </p:tav>
                                        <p:tav tm="100000">
                                          <p:val>
                                            <p:strVal val="#ppt_x"/>
                                          </p:val>
                                        </p:tav>
                                      </p:tavLst>
                                    </p:anim>
                                    <p:anim calcmode="lin" valueType="num">
                                      <p:cBhvr>
                                        <p:cTn id="28" dur="1250" fill="hold"/>
                                        <p:tgtEl>
                                          <p:spTgt spid="5">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47" presetClass="entr" presetSubtype="0" fill="hold" nodeType="clickEffect">
                                  <p:stCondLst>
                                    <p:cond delay="0"/>
                                  </p:stCondLst>
                                  <p:childTnLst>
                                    <p:set>
                                      <p:cBhvr>
                                        <p:cTn id="32" dur="1" fill="hold">
                                          <p:stCondLst>
                                            <p:cond delay="0"/>
                                          </p:stCondLst>
                                        </p:cTn>
                                        <p:tgtEl>
                                          <p:spTgt spid="5">
                                            <p:txEl>
                                              <p:pRg st="3" end="3"/>
                                            </p:txEl>
                                          </p:spTgt>
                                        </p:tgtEl>
                                        <p:attrNameLst>
                                          <p:attrName>style.visibility</p:attrName>
                                        </p:attrNameLst>
                                      </p:cBhvr>
                                      <p:to>
                                        <p:strVal val="visible"/>
                                      </p:to>
                                    </p:set>
                                    <p:animEffect transition="in" filter="fade">
                                      <p:cBhvr>
                                        <p:cTn id="33" dur="1250"/>
                                        <p:tgtEl>
                                          <p:spTgt spid="5">
                                            <p:txEl>
                                              <p:pRg st="3" end="3"/>
                                            </p:txEl>
                                          </p:spTgt>
                                        </p:tgtEl>
                                      </p:cBhvr>
                                    </p:animEffect>
                                    <p:anim calcmode="lin" valueType="num">
                                      <p:cBhvr>
                                        <p:cTn id="34" dur="1250" fill="hold"/>
                                        <p:tgtEl>
                                          <p:spTgt spid="5">
                                            <p:txEl>
                                              <p:pRg st="3" end="3"/>
                                            </p:txEl>
                                          </p:spTgt>
                                        </p:tgtEl>
                                        <p:attrNameLst>
                                          <p:attrName>ppt_x</p:attrName>
                                        </p:attrNameLst>
                                      </p:cBhvr>
                                      <p:tavLst>
                                        <p:tav tm="0">
                                          <p:val>
                                            <p:strVal val="#ppt_x"/>
                                          </p:val>
                                        </p:tav>
                                        <p:tav tm="100000">
                                          <p:val>
                                            <p:strVal val="#ppt_x"/>
                                          </p:val>
                                        </p:tav>
                                      </p:tavLst>
                                    </p:anim>
                                    <p:anim calcmode="lin" valueType="num">
                                      <p:cBhvr>
                                        <p:cTn id="35" dur="1250" fill="hold"/>
                                        <p:tgtEl>
                                          <p:spTgt spid="5">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36" fill="hold">
                      <p:stCondLst>
                        <p:cond delay="indefinite"/>
                      </p:stCondLst>
                      <p:childTnLst>
                        <p:par>
                          <p:cTn id="37" fill="hold">
                            <p:stCondLst>
                              <p:cond delay="0"/>
                            </p:stCondLst>
                            <p:childTnLst>
                              <p:par>
                                <p:cTn id="38" presetID="47" presetClass="entr" presetSubtype="0" fill="hold" nodeType="clickEffect">
                                  <p:stCondLst>
                                    <p:cond delay="0"/>
                                  </p:stCondLst>
                                  <p:childTnLst>
                                    <p:set>
                                      <p:cBhvr>
                                        <p:cTn id="39" dur="1" fill="hold">
                                          <p:stCondLst>
                                            <p:cond delay="0"/>
                                          </p:stCondLst>
                                        </p:cTn>
                                        <p:tgtEl>
                                          <p:spTgt spid="5">
                                            <p:txEl>
                                              <p:pRg st="4" end="4"/>
                                            </p:txEl>
                                          </p:spTgt>
                                        </p:tgtEl>
                                        <p:attrNameLst>
                                          <p:attrName>style.visibility</p:attrName>
                                        </p:attrNameLst>
                                      </p:cBhvr>
                                      <p:to>
                                        <p:strVal val="visible"/>
                                      </p:to>
                                    </p:set>
                                    <p:animEffect transition="in" filter="fade">
                                      <p:cBhvr>
                                        <p:cTn id="40" dur="1250"/>
                                        <p:tgtEl>
                                          <p:spTgt spid="5">
                                            <p:txEl>
                                              <p:pRg st="4" end="4"/>
                                            </p:txEl>
                                          </p:spTgt>
                                        </p:tgtEl>
                                      </p:cBhvr>
                                    </p:animEffect>
                                    <p:anim calcmode="lin" valueType="num">
                                      <p:cBhvr>
                                        <p:cTn id="41" dur="1250" fill="hold"/>
                                        <p:tgtEl>
                                          <p:spTgt spid="5">
                                            <p:txEl>
                                              <p:pRg st="4" end="4"/>
                                            </p:txEl>
                                          </p:spTgt>
                                        </p:tgtEl>
                                        <p:attrNameLst>
                                          <p:attrName>ppt_x</p:attrName>
                                        </p:attrNameLst>
                                      </p:cBhvr>
                                      <p:tavLst>
                                        <p:tav tm="0">
                                          <p:val>
                                            <p:strVal val="#ppt_x"/>
                                          </p:val>
                                        </p:tav>
                                        <p:tav tm="100000">
                                          <p:val>
                                            <p:strVal val="#ppt_x"/>
                                          </p:val>
                                        </p:tav>
                                      </p:tavLst>
                                    </p:anim>
                                    <p:anim calcmode="lin" valueType="num">
                                      <p:cBhvr>
                                        <p:cTn id="42" dur="1250" fill="hold"/>
                                        <p:tgtEl>
                                          <p:spTgt spid="5">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43" fill="hold">
                      <p:stCondLst>
                        <p:cond delay="indefinite"/>
                      </p:stCondLst>
                      <p:childTnLst>
                        <p:par>
                          <p:cTn id="44" fill="hold">
                            <p:stCondLst>
                              <p:cond delay="0"/>
                            </p:stCondLst>
                            <p:childTnLst>
                              <p:par>
                                <p:cTn id="45" presetID="47" presetClass="entr" presetSubtype="0" fill="hold" nodeType="clickEffect">
                                  <p:stCondLst>
                                    <p:cond delay="0"/>
                                  </p:stCondLst>
                                  <p:childTnLst>
                                    <p:set>
                                      <p:cBhvr>
                                        <p:cTn id="46" dur="1" fill="hold">
                                          <p:stCondLst>
                                            <p:cond delay="0"/>
                                          </p:stCondLst>
                                        </p:cTn>
                                        <p:tgtEl>
                                          <p:spTgt spid="5">
                                            <p:txEl>
                                              <p:pRg st="5" end="5"/>
                                            </p:txEl>
                                          </p:spTgt>
                                        </p:tgtEl>
                                        <p:attrNameLst>
                                          <p:attrName>style.visibility</p:attrName>
                                        </p:attrNameLst>
                                      </p:cBhvr>
                                      <p:to>
                                        <p:strVal val="visible"/>
                                      </p:to>
                                    </p:set>
                                    <p:animEffect transition="in" filter="fade">
                                      <p:cBhvr>
                                        <p:cTn id="47" dur="1250"/>
                                        <p:tgtEl>
                                          <p:spTgt spid="5">
                                            <p:txEl>
                                              <p:pRg st="5" end="5"/>
                                            </p:txEl>
                                          </p:spTgt>
                                        </p:tgtEl>
                                      </p:cBhvr>
                                    </p:animEffect>
                                    <p:anim calcmode="lin" valueType="num">
                                      <p:cBhvr>
                                        <p:cTn id="48" dur="1250" fill="hold"/>
                                        <p:tgtEl>
                                          <p:spTgt spid="5">
                                            <p:txEl>
                                              <p:pRg st="5" end="5"/>
                                            </p:txEl>
                                          </p:spTgt>
                                        </p:tgtEl>
                                        <p:attrNameLst>
                                          <p:attrName>ppt_x</p:attrName>
                                        </p:attrNameLst>
                                      </p:cBhvr>
                                      <p:tavLst>
                                        <p:tav tm="0">
                                          <p:val>
                                            <p:strVal val="#ppt_x"/>
                                          </p:val>
                                        </p:tav>
                                        <p:tav tm="100000">
                                          <p:val>
                                            <p:strVal val="#ppt_x"/>
                                          </p:val>
                                        </p:tav>
                                      </p:tavLst>
                                    </p:anim>
                                    <p:anim calcmode="lin" valueType="num">
                                      <p:cBhvr>
                                        <p:cTn id="49" dur="1250" fill="hold"/>
                                        <p:tgtEl>
                                          <p:spTgt spid="5">
                                            <p:txEl>
                                              <p:pRg st="5" end="5"/>
                                            </p:txEl>
                                          </p:spTgt>
                                        </p:tgtEl>
                                        <p:attrNameLst>
                                          <p:attrName>ppt_y</p:attrName>
                                        </p:attrNameLst>
                                      </p:cBhvr>
                                      <p:tavLst>
                                        <p:tav tm="0">
                                          <p:val>
                                            <p:strVal val="#ppt_y-.1"/>
                                          </p:val>
                                        </p:tav>
                                        <p:tav tm="100000">
                                          <p:val>
                                            <p:strVal val="#ppt_y"/>
                                          </p:val>
                                        </p:tav>
                                      </p:tavLst>
                                    </p:anim>
                                  </p:childTnLst>
                                </p:cTn>
                              </p:par>
                            </p:childTnLst>
                          </p:cTn>
                        </p:par>
                      </p:childTnLst>
                    </p:cTn>
                  </p:par>
                  <p:par>
                    <p:cTn id="50" fill="hold">
                      <p:stCondLst>
                        <p:cond delay="indefinite"/>
                      </p:stCondLst>
                      <p:childTnLst>
                        <p:par>
                          <p:cTn id="51" fill="hold">
                            <p:stCondLst>
                              <p:cond delay="0"/>
                            </p:stCondLst>
                            <p:childTnLst>
                              <p:par>
                                <p:cTn id="52" presetID="47" presetClass="entr" presetSubtype="0" fill="hold" nodeType="clickEffect">
                                  <p:stCondLst>
                                    <p:cond delay="0"/>
                                  </p:stCondLst>
                                  <p:childTnLst>
                                    <p:set>
                                      <p:cBhvr>
                                        <p:cTn id="53" dur="1" fill="hold">
                                          <p:stCondLst>
                                            <p:cond delay="0"/>
                                          </p:stCondLst>
                                        </p:cTn>
                                        <p:tgtEl>
                                          <p:spTgt spid="5">
                                            <p:txEl>
                                              <p:pRg st="6" end="6"/>
                                            </p:txEl>
                                          </p:spTgt>
                                        </p:tgtEl>
                                        <p:attrNameLst>
                                          <p:attrName>style.visibility</p:attrName>
                                        </p:attrNameLst>
                                      </p:cBhvr>
                                      <p:to>
                                        <p:strVal val="visible"/>
                                      </p:to>
                                    </p:set>
                                    <p:animEffect transition="in" filter="fade">
                                      <p:cBhvr>
                                        <p:cTn id="54" dur="1250"/>
                                        <p:tgtEl>
                                          <p:spTgt spid="5">
                                            <p:txEl>
                                              <p:pRg st="6" end="6"/>
                                            </p:txEl>
                                          </p:spTgt>
                                        </p:tgtEl>
                                      </p:cBhvr>
                                    </p:animEffect>
                                    <p:anim calcmode="lin" valueType="num">
                                      <p:cBhvr>
                                        <p:cTn id="55" dur="1250" fill="hold"/>
                                        <p:tgtEl>
                                          <p:spTgt spid="5">
                                            <p:txEl>
                                              <p:pRg st="6" end="6"/>
                                            </p:txEl>
                                          </p:spTgt>
                                        </p:tgtEl>
                                        <p:attrNameLst>
                                          <p:attrName>ppt_x</p:attrName>
                                        </p:attrNameLst>
                                      </p:cBhvr>
                                      <p:tavLst>
                                        <p:tav tm="0">
                                          <p:val>
                                            <p:strVal val="#ppt_x"/>
                                          </p:val>
                                        </p:tav>
                                        <p:tav tm="100000">
                                          <p:val>
                                            <p:strVal val="#ppt_x"/>
                                          </p:val>
                                        </p:tav>
                                      </p:tavLst>
                                    </p:anim>
                                    <p:anim calcmode="lin" valueType="num">
                                      <p:cBhvr>
                                        <p:cTn id="56" dur="1250" fill="hold"/>
                                        <p:tgtEl>
                                          <p:spTgt spid="5">
                                            <p:txEl>
                                              <p:pRg st="6" end="6"/>
                                            </p:txEl>
                                          </p:spTgt>
                                        </p:tgtEl>
                                        <p:attrNameLst>
                                          <p:attrName>ppt_y</p:attrName>
                                        </p:attrNameLst>
                                      </p:cBhvr>
                                      <p:tavLst>
                                        <p:tav tm="0">
                                          <p:val>
                                            <p:strVal val="#ppt_y-.1"/>
                                          </p:val>
                                        </p:tav>
                                        <p:tav tm="100000">
                                          <p:val>
                                            <p:strVal val="#ppt_y"/>
                                          </p:val>
                                        </p:tav>
                                      </p:tavLst>
                                    </p:anim>
                                  </p:childTnLst>
                                </p:cTn>
                              </p:par>
                            </p:childTnLst>
                          </p:cTn>
                        </p:par>
                      </p:childTnLst>
                    </p:cTn>
                  </p:par>
                  <p:par>
                    <p:cTn id="57" fill="hold">
                      <p:stCondLst>
                        <p:cond delay="indefinite"/>
                      </p:stCondLst>
                      <p:childTnLst>
                        <p:par>
                          <p:cTn id="58" fill="hold">
                            <p:stCondLst>
                              <p:cond delay="0"/>
                            </p:stCondLst>
                            <p:childTnLst>
                              <p:par>
                                <p:cTn id="59" presetID="47" presetClass="entr" presetSubtype="0" fill="hold" nodeType="clickEffect">
                                  <p:stCondLst>
                                    <p:cond delay="0"/>
                                  </p:stCondLst>
                                  <p:childTnLst>
                                    <p:set>
                                      <p:cBhvr>
                                        <p:cTn id="60" dur="1" fill="hold">
                                          <p:stCondLst>
                                            <p:cond delay="0"/>
                                          </p:stCondLst>
                                        </p:cTn>
                                        <p:tgtEl>
                                          <p:spTgt spid="5">
                                            <p:txEl>
                                              <p:pRg st="7" end="7"/>
                                            </p:txEl>
                                          </p:spTgt>
                                        </p:tgtEl>
                                        <p:attrNameLst>
                                          <p:attrName>style.visibility</p:attrName>
                                        </p:attrNameLst>
                                      </p:cBhvr>
                                      <p:to>
                                        <p:strVal val="visible"/>
                                      </p:to>
                                    </p:set>
                                    <p:animEffect transition="in" filter="fade">
                                      <p:cBhvr>
                                        <p:cTn id="61" dur="1250"/>
                                        <p:tgtEl>
                                          <p:spTgt spid="5">
                                            <p:txEl>
                                              <p:pRg st="7" end="7"/>
                                            </p:txEl>
                                          </p:spTgt>
                                        </p:tgtEl>
                                      </p:cBhvr>
                                    </p:animEffect>
                                    <p:anim calcmode="lin" valueType="num">
                                      <p:cBhvr>
                                        <p:cTn id="62" dur="1250" fill="hold"/>
                                        <p:tgtEl>
                                          <p:spTgt spid="5">
                                            <p:txEl>
                                              <p:pRg st="7" end="7"/>
                                            </p:txEl>
                                          </p:spTgt>
                                        </p:tgtEl>
                                        <p:attrNameLst>
                                          <p:attrName>ppt_x</p:attrName>
                                        </p:attrNameLst>
                                      </p:cBhvr>
                                      <p:tavLst>
                                        <p:tav tm="0">
                                          <p:val>
                                            <p:strVal val="#ppt_x"/>
                                          </p:val>
                                        </p:tav>
                                        <p:tav tm="100000">
                                          <p:val>
                                            <p:strVal val="#ppt_x"/>
                                          </p:val>
                                        </p:tav>
                                      </p:tavLst>
                                    </p:anim>
                                    <p:anim calcmode="lin" valueType="num">
                                      <p:cBhvr>
                                        <p:cTn id="63" dur="1250" fill="hold"/>
                                        <p:tgtEl>
                                          <p:spTgt spid="5">
                                            <p:txEl>
                                              <p:pRg st="7" end="7"/>
                                            </p:txEl>
                                          </p:spTgt>
                                        </p:tgtEl>
                                        <p:attrNameLst>
                                          <p:attrName>ppt_y</p:attrName>
                                        </p:attrNameLst>
                                      </p:cBhvr>
                                      <p:tavLst>
                                        <p:tav tm="0">
                                          <p:val>
                                            <p:strVal val="#ppt_y-.1"/>
                                          </p:val>
                                        </p:tav>
                                        <p:tav tm="100000">
                                          <p:val>
                                            <p:strVal val="#ppt_y"/>
                                          </p:val>
                                        </p:tav>
                                      </p:tavLst>
                                    </p:anim>
                                  </p:childTnLst>
                                </p:cTn>
                              </p:par>
                            </p:childTnLst>
                          </p:cTn>
                        </p:par>
                      </p:childTnLst>
                    </p:cTn>
                  </p:par>
                  <p:par>
                    <p:cTn id="64" fill="hold">
                      <p:stCondLst>
                        <p:cond delay="indefinite"/>
                      </p:stCondLst>
                      <p:childTnLst>
                        <p:par>
                          <p:cTn id="65" fill="hold">
                            <p:stCondLst>
                              <p:cond delay="0"/>
                            </p:stCondLst>
                            <p:childTnLst>
                              <p:par>
                                <p:cTn id="66" presetID="16" presetClass="entr" presetSubtype="21" fill="hold" grpId="0" nodeType="clickEffect">
                                  <p:stCondLst>
                                    <p:cond delay="0"/>
                                  </p:stCondLst>
                                  <p:childTnLst>
                                    <p:set>
                                      <p:cBhvr>
                                        <p:cTn id="67" dur="1" fill="hold">
                                          <p:stCondLst>
                                            <p:cond delay="0"/>
                                          </p:stCondLst>
                                        </p:cTn>
                                        <p:tgtEl>
                                          <p:spTgt spid="2"/>
                                        </p:tgtEl>
                                        <p:attrNameLst>
                                          <p:attrName>style.visibility</p:attrName>
                                        </p:attrNameLst>
                                      </p:cBhvr>
                                      <p:to>
                                        <p:strVal val="visible"/>
                                      </p:to>
                                    </p:set>
                                    <p:animEffect transition="in" filter="barn(inVertical)">
                                      <p:cBhvr>
                                        <p:cTn id="68" dur="1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2" grpId="0" animBg="1"/>
    </p:bld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Google Shape;1313;p30">
            <a:extLst>
              <a:ext uri="{FF2B5EF4-FFF2-40B4-BE49-F238E27FC236}">
                <a16:creationId xmlns:a16="http://schemas.microsoft.com/office/drawing/2014/main" id="{9999AE2E-D215-7EEC-DA5A-EE8948B5D785}"/>
              </a:ext>
            </a:extLst>
          </p:cNvPr>
          <p:cNvSpPr txBox="1"/>
          <p:nvPr/>
        </p:nvSpPr>
        <p:spPr>
          <a:xfrm>
            <a:off x="3948546" y="366053"/>
            <a:ext cx="5133109" cy="486083"/>
          </a:xfrm>
          <a:prstGeom prst="rect">
            <a:avLst/>
          </a:prstGeom>
          <a:noFill/>
          <a:ln>
            <a:noFill/>
          </a:ln>
        </p:spPr>
        <p:txBody>
          <a:bodyPr spcFirstLastPara="1" wrap="square" lIns="121900" tIns="121900" rIns="121900" bIns="121900" anchor="ctr" anchorCtr="0">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3200" b="1" i="0" u="none" strike="noStrike" kern="0" cap="none" spc="0" normalizeH="0" baseline="0" noProof="0" dirty="0">
                <a:ln>
                  <a:noFill/>
                </a:ln>
                <a:solidFill>
                  <a:srgbClr val="002060"/>
                </a:solidFill>
                <a:effectLst/>
                <a:uLnTx/>
                <a:uFillTx/>
                <a:latin typeface="Sakkal Majalla" panose="02000000000000000000" pitchFamily="2" charset="-78"/>
                <a:ea typeface="Samim" panose="020B0603030804020204" pitchFamily="34" charset="0"/>
                <a:cs typeface="Sakkal Majalla" panose="02000000000000000000" pitchFamily="2" charset="-78"/>
                <a:sym typeface="Barlow Light"/>
              </a:rPr>
              <a:t>مفاهيم أساسية</a:t>
            </a:r>
            <a:endParaRPr kumimoji="0" sz="3200" b="0" i="0" u="none" strike="noStrike" kern="1200" cap="none" spc="0" normalizeH="0" baseline="0" noProof="0" dirty="0">
              <a:ln>
                <a:noFill/>
              </a:ln>
              <a:solidFill>
                <a:srgbClr val="002060"/>
              </a:solidFill>
              <a:effectLst/>
              <a:uLnTx/>
              <a:uFillTx/>
              <a:latin typeface="Sakkal Majalla" panose="02000000000000000000" pitchFamily="2" charset="-78"/>
              <a:ea typeface="Samim" panose="020B0603030804020204" pitchFamily="34" charset="0"/>
              <a:cs typeface="Sakkal Majalla" panose="02000000000000000000" pitchFamily="2" charset="-78"/>
              <a:sym typeface="Roboto"/>
            </a:endParaRPr>
          </a:p>
        </p:txBody>
      </p:sp>
      <p:graphicFrame>
        <p:nvGraphicFramePr>
          <p:cNvPr id="6" name="جدول 5">
            <a:extLst>
              <a:ext uri="{FF2B5EF4-FFF2-40B4-BE49-F238E27FC236}">
                <a16:creationId xmlns:a16="http://schemas.microsoft.com/office/drawing/2014/main" id="{8162C4FE-AF8F-DEB9-B7EE-60A0D3AFECA1}"/>
              </a:ext>
            </a:extLst>
          </p:cNvPr>
          <p:cNvGraphicFramePr>
            <a:graphicFrameLocks noGrp="1"/>
          </p:cNvGraphicFramePr>
          <p:nvPr/>
        </p:nvGraphicFramePr>
        <p:xfrm>
          <a:off x="737755" y="972065"/>
          <a:ext cx="11158418" cy="1476792"/>
        </p:xfrm>
        <a:graphic>
          <a:graphicData uri="http://schemas.openxmlformats.org/drawingml/2006/table">
            <a:tbl>
              <a:tblPr rtl="1" firstRow="1" bandRow="1">
                <a:tableStyleId>{69012ECD-51FC-41F1-AA8D-1B2483CD663E}</a:tableStyleId>
              </a:tblPr>
              <a:tblGrid>
                <a:gridCol w="5579209">
                  <a:extLst>
                    <a:ext uri="{9D8B030D-6E8A-4147-A177-3AD203B41FA5}">
                      <a16:colId xmlns:a16="http://schemas.microsoft.com/office/drawing/2014/main" val="1232613845"/>
                    </a:ext>
                  </a:extLst>
                </a:gridCol>
                <a:gridCol w="5579209">
                  <a:extLst>
                    <a:ext uri="{9D8B030D-6E8A-4147-A177-3AD203B41FA5}">
                      <a16:colId xmlns:a16="http://schemas.microsoft.com/office/drawing/2014/main" val="3578687133"/>
                    </a:ext>
                  </a:extLst>
                </a:gridCol>
              </a:tblGrid>
              <a:tr h="428038">
                <a:tc>
                  <a:txBody>
                    <a:bodyPr/>
                    <a:lstStyle/>
                    <a:p>
                      <a:pPr algn="r" rtl="1"/>
                      <a:r>
                        <a:rPr lang="ar-SA" sz="2800" b="1" kern="1200" dirty="0">
                          <a:solidFill>
                            <a:schemeClr val="bg1"/>
                          </a:solidFill>
                          <a:latin typeface="Sakkal Majalla" panose="02000000000000000000" pitchFamily="2" charset="-78"/>
                          <a:ea typeface="+mn-ea"/>
                          <a:cs typeface="Sakkal Majalla" panose="02000000000000000000" pitchFamily="2" charset="-78"/>
                        </a:rPr>
                        <a:t>ماذا نعني بمفهوم الدعم </a:t>
                      </a:r>
                      <a:r>
                        <a:rPr lang="en-US" sz="2800" b="1" kern="1200" dirty="0">
                          <a:solidFill>
                            <a:schemeClr val="bg1"/>
                          </a:solidFill>
                          <a:latin typeface="Sakkal Majalla" panose="02000000000000000000" pitchFamily="2" charset="-78"/>
                          <a:ea typeface="+mn-ea"/>
                          <a:cs typeface="Sakkal Majalla" panose="02000000000000000000" pitchFamily="2" charset="-78"/>
                        </a:rPr>
                        <a:t>Supporting , Assistance</a:t>
                      </a:r>
                      <a:endParaRPr lang="ar-SA" sz="2800" b="1" kern="1200" dirty="0">
                        <a:solidFill>
                          <a:schemeClr val="bg1"/>
                        </a:solidFill>
                        <a:latin typeface="Sakkal Majalla" panose="02000000000000000000" pitchFamily="2" charset="-78"/>
                        <a:ea typeface="+mn-ea"/>
                        <a:cs typeface="Sakkal Majalla" panose="02000000000000000000" pitchFamily="2" charset="-78"/>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A08E"/>
                    </a:solidFill>
                  </a:tcPr>
                </a:tc>
                <a:tc>
                  <a:txBody>
                    <a:bodyPr/>
                    <a:lstStyle/>
                    <a:p>
                      <a:pPr algn="r" rtl="1"/>
                      <a:endParaRPr lang="ar-SA" sz="2800" b="1" kern="1200" dirty="0">
                        <a:solidFill>
                          <a:schemeClr val="bg1"/>
                        </a:solidFill>
                        <a:latin typeface="Sakkal Majalla" panose="02000000000000000000" pitchFamily="2" charset="-78"/>
                        <a:ea typeface="+mn-ea"/>
                        <a:cs typeface="Sakkal Majalla" panose="02000000000000000000" pitchFamily="2" charset="-78"/>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71395868"/>
                  </a:ext>
                </a:extLst>
              </a:tr>
              <a:tr h="958632">
                <a:tc gridSpan="2">
                  <a:txBody>
                    <a:bodyPr/>
                    <a:lstStyle/>
                    <a:p>
                      <a:pPr marL="0" lvl="0" indent="0" algn="justLow" rtl="1">
                        <a:buFont typeface="+mj-lt"/>
                        <a:buNone/>
                        <a:tabLst>
                          <a:tab pos="176213" algn="l"/>
                        </a:tabLst>
                      </a:pPr>
                      <a:r>
                        <a:rPr lang="ar-SA" sz="2400" b="1" kern="0" noProof="0" dirty="0">
                          <a:solidFill>
                            <a:srgbClr val="007774"/>
                          </a:solidFill>
                          <a:latin typeface="Sakkal Majalla" panose="02000000000000000000" pitchFamily="2" charset="-78"/>
                          <a:ea typeface="Samim" panose="020B0603030804020204" pitchFamily="34" charset="0"/>
                          <a:cs typeface="Sakkal Majalla" panose="02000000000000000000" pitchFamily="2" charset="-78"/>
                        </a:rPr>
                        <a:t>هو دور أو مجموعة أدوار يقوم بها مكتب التعليم من خلال المشرفين التربويين لتمكين المدرسة من أن تقوم بمهامها بكفاءة وتحقق التميز في أداء تلك المهام في ضوء معايير الأداء ( معايير برنامج التقويم المدرسي).</a:t>
                      </a:r>
                      <a:endParaRPr lang="ar-SA" sz="2400" dirty="0">
                        <a:solidFill>
                          <a:srgbClr val="007774"/>
                        </a:solidFill>
                        <a:latin typeface="Sakkal Majalla" panose="02000000000000000000" pitchFamily="2" charset="-78"/>
                        <a:cs typeface="Sakkal Majalla" panose="02000000000000000000" pitchFamily="2" charset="-7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rtl="1"/>
                      <a:endParaRPr lang="ar-SA"/>
                    </a:p>
                  </a:txBody>
                  <a:tcPr/>
                </a:tc>
                <a:extLst>
                  <a:ext uri="{0D108BD9-81ED-4DB2-BD59-A6C34878D82A}">
                    <a16:rowId xmlns:a16="http://schemas.microsoft.com/office/drawing/2014/main" val="613350815"/>
                  </a:ext>
                </a:extLst>
              </a:tr>
            </a:tbl>
          </a:graphicData>
        </a:graphic>
      </p:graphicFrame>
      <p:graphicFrame>
        <p:nvGraphicFramePr>
          <p:cNvPr id="10" name="جدول 9">
            <a:extLst>
              <a:ext uri="{FF2B5EF4-FFF2-40B4-BE49-F238E27FC236}">
                <a16:creationId xmlns:a16="http://schemas.microsoft.com/office/drawing/2014/main" id="{14AAC8AD-5131-22A0-ABA9-2BC8BCD1DD71}"/>
              </a:ext>
            </a:extLst>
          </p:cNvPr>
          <p:cNvGraphicFramePr>
            <a:graphicFrameLocks noGrp="1"/>
          </p:cNvGraphicFramePr>
          <p:nvPr/>
        </p:nvGraphicFramePr>
        <p:xfrm>
          <a:off x="737755" y="2690604"/>
          <a:ext cx="11158418" cy="2072640"/>
        </p:xfrm>
        <a:graphic>
          <a:graphicData uri="http://schemas.openxmlformats.org/drawingml/2006/table">
            <a:tbl>
              <a:tblPr rtl="1" firstRow="1" bandRow="1">
                <a:tableStyleId>{69012ECD-51FC-41F1-AA8D-1B2483CD663E}</a:tableStyleId>
              </a:tblPr>
              <a:tblGrid>
                <a:gridCol w="5651237">
                  <a:extLst>
                    <a:ext uri="{9D8B030D-6E8A-4147-A177-3AD203B41FA5}">
                      <a16:colId xmlns:a16="http://schemas.microsoft.com/office/drawing/2014/main" val="1232613845"/>
                    </a:ext>
                  </a:extLst>
                </a:gridCol>
                <a:gridCol w="5507181">
                  <a:extLst>
                    <a:ext uri="{9D8B030D-6E8A-4147-A177-3AD203B41FA5}">
                      <a16:colId xmlns:a16="http://schemas.microsoft.com/office/drawing/2014/main" val="3578687133"/>
                    </a:ext>
                  </a:extLst>
                </a:gridCol>
              </a:tblGrid>
              <a:tr h="428038">
                <a:tc>
                  <a:txBody>
                    <a:bodyPr/>
                    <a:lstStyle/>
                    <a:p>
                      <a:pPr algn="r" rtl="1"/>
                      <a:r>
                        <a:rPr lang="ar-SA" sz="2400" b="1" kern="1200" dirty="0">
                          <a:solidFill>
                            <a:schemeClr val="bg1"/>
                          </a:solidFill>
                          <a:latin typeface="Sakkal Majalla" panose="02000000000000000000" pitchFamily="2" charset="-78"/>
                          <a:ea typeface="+mn-ea"/>
                          <a:cs typeface="Sakkal Majalla" panose="02000000000000000000" pitchFamily="2" charset="-78"/>
                        </a:rPr>
                        <a:t>مؤشرات نجاح الدعم الذي يقدمه المشرف التربوي للمدرسة:</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A08E"/>
                    </a:solidFill>
                  </a:tcPr>
                </a:tc>
                <a:tc>
                  <a:txBody>
                    <a:bodyPr/>
                    <a:lstStyle/>
                    <a:p>
                      <a:pPr algn="r" rtl="1"/>
                      <a:endParaRPr lang="ar-SA" sz="2800" b="1" kern="1200" dirty="0">
                        <a:solidFill>
                          <a:schemeClr val="bg1"/>
                        </a:solidFill>
                        <a:latin typeface="Sakkal Majalla" panose="02000000000000000000" pitchFamily="2" charset="-78"/>
                        <a:ea typeface="+mn-ea"/>
                        <a:cs typeface="Sakkal Majalla" panose="02000000000000000000" pitchFamily="2" charset="-78"/>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71395868"/>
                  </a:ext>
                </a:extLst>
              </a:tr>
              <a:tr h="958632">
                <a:tc gridSpan="2">
                  <a:txBody>
                    <a:bodyPr/>
                    <a:lstStyle/>
                    <a:p>
                      <a:pPr marL="342900" lvl="0" indent="-342900" algn="justLow" defTabSz="914400" rtl="1" eaLnBrk="1" latinLnBrk="0" hangingPunct="1">
                        <a:buFont typeface="Wingdings" panose="05000000000000000000" pitchFamily="2" charset="2"/>
                        <a:buChar char="§"/>
                        <a:tabLst>
                          <a:tab pos="176213" algn="l"/>
                        </a:tabLst>
                      </a:pPr>
                      <a:r>
                        <a:rPr lang="ar-SA" sz="2400" b="1" kern="0" noProof="0" dirty="0">
                          <a:solidFill>
                            <a:srgbClr val="007774"/>
                          </a:solidFill>
                          <a:latin typeface="Sakkal Majalla" panose="02000000000000000000" pitchFamily="2" charset="-78"/>
                          <a:ea typeface="Samim" panose="020B0603030804020204" pitchFamily="34" charset="0"/>
                          <a:cs typeface="Sakkal Majalla" panose="02000000000000000000" pitchFamily="2" charset="-78"/>
                        </a:rPr>
                        <a:t>تحسن أداء المدرسة في تصنيف التقويم المدرسي الخارجي.</a:t>
                      </a:r>
                    </a:p>
                    <a:p>
                      <a:pPr marL="342900" lvl="0" indent="-342900" algn="justLow" defTabSz="914400" rtl="1" eaLnBrk="1" latinLnBrk="0" hangingPunct="1">
                        <a:buFont typeface="Wingdings" panose="05000000000000000000" pitchFamily="2" charset="2"/>
                        <a:buChar char="§"/>
                        <a:tabLst>
                          <a:tab pos="176213" algn="l"/>
                        </a:tabLst>
                      </a:pPr>
                      <a:r>
                        <a:rPr lang="ar-SA" sz="2400" b="1" kern="0" noProof="0" dirty="0">
                          <a:solidFill>
                            <a:srgbClr val="007774"/>
                          </a:solidFill>
                          <a:latin typeface="Sakkal Majalla" panose="02000000000000000000" pitchFamily="2" charset="-78"/>
                          <a:ea typeface="Samim" panose="020B0603030804020204" pitchFamily="34" charset="0"/>
                          <a:cs typeface="Sakkal Majalla" panose="02000000000000000000" pitchFamily="2" charset="-78"/>
                        </a:rPr>
                        <a:t>فاعلية الدعم.</a:t>
                      </a:r>
                    </a:p>
                    <a:p>
                      <a:pPr marL="342900" lvl="0" indent="-342900" algn="justLow" defTabSz="914400" rtl="1" eaLnBrk="1" latinLnBrk="0" hangingPunct="1">
                        <a:buFont typeface="Wingdings" panose="05000000000000000000" pitchFamily="2" charset="2"/>
                        <a:buChar char="§"/>
                        <a:tabLst>
                          <a:tab pos="176213" algn="l"/>
                        </a:tabLst>
                      </a:pPr>
                      <a:r>
                        <a:rPr lang="ar-SA" sz="2400" b="1" kern="0" noProof="0" dirty="0">
                          <a:solidFill>
                            <a:srgbClr val="007774"/>
                          </a:solidFill>
                          <a:latin typeface="Sakkal Majalla" panose="02000000000000000000" pitchFamily="2" charset="-78"/>
                          <a:ea typeface="Samim" panose="020B0603030804020204" pitchFamily="34" charset="0"/>
                          <a:cs typeface="Sakkal Majalla" panose="02000000000000000000" pitchFamily="2" charset="-78"/>
                        </a:rPr>
                        <a:t>رضاء المستفيد ( مدير المدرسة ، المعلمين ، الهيئة التعليمة والإدارية) عن المساندة والدعم المقدمة لهم.</a:t>
                      </a:r>
                    </a:p>
                    <a:p>
                      <a:pPr marL="0" lvl="0" indent="0" algn="justLow" rtl="1">
                        <a:buFont typeface="Wingdings" panose="05000000000000000000" pitchFamily="2" charset="2"/>
                        <a:buNone/>
                        <a:tabLst>
                          <a:tab pos="176213" algn="l"/>
                        </a:tabLst>
                      </a:pPr>
                      <a:endParaRPr lang="ar-SA" sz="2400" b="1" kern="0" noProof="0" dirty="0">
                        <a:solidFill>
                          <a:srgbClr val="002060"/>
                        </a:solidFill>
                        <a:latin typeface="Sakkal Majalla" panose="02000000000000000000" pitchFamily="2" charset="-78"/>
                        <a:ea typeface="Samim" panose="020B0603030804020204" pitchFamily="34" charset="0"/>
                        <a:cs typeface="Sakkal Majalla" panose="02000000000000000000" pitchFamily="2" charset="-7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rtl="1"/>
                      <a:endParaRPr lang="ar-SA"/>
                    </a:p>
                  </a:txBody>
                  <a:tcPr/>
                </a:tc>
                <a:extLst>
                  <a:ext uri="{0D108BD9-81ED-4DB2-BD59-A6C34878D82A}">
                    <a16:rowId xmlns:a16="http://schemas.microsoft.com/office/drawing/2014/main" val="613350815"/>
                  </a:ext>
                </a:extLst>
              </a:tr>
            </a:tbl>
          </a:graphicData>
        </a:graphic>
      </p:graphicFrame>
    </p:spTree>
    <p:extLst>
      <p:ext uri="{BB962C8B-B14F-4D97-AF65-F5344CB8AC3E}">
        <p14:creationId xmlns:p14="http://schemas.microsoft.com/office/powerpoint/2010/main" val="4035791359"/>
      </p:ext>
    </p:extLst>
  </p:cSld>
  <p:clrMapOvr>
    <a:masterClrMapping/>
  </p:clrMapOvr>
  <mc:AlternateContent xmlns:mc="http://schemas.openxmlformats.org/markup-compatibility/2006" xmlns:p14="http://schemas.microsoft.com/office/powerpoint/2010/main">
    <mc:Choice Requires="p14">
      <p:transition spd="slow" p14:dur="1200">
        <p14:prism dir="r"/>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arn(inVertical)">
                                      <p:cBhvr>
                                        <p:cTn id="7" dur="1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barn(inVertical)">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16" presetClass="entr" presetSubtype="21" fill="hold"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barn(inVertical)">
                                      <p:cBhvr>
                                        <p:cTn id="1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Google Shape;1313;p30">
            <a:extLst>
              <a:ext uri="{FF2B5EF4-FFF2-40B4-BE49-F238E27FC236}">
                <a16:creationId xmlns:a16="http://schemas.microsoft.com/office/drawing/2014/main" id="{9999AE2E-D215-7EEC-DA5A-EE8948B5D785}"/>
              </a:ext>
            </a:extLst>
          </p:cNvPr>
          <p:cNvSpPr txBox="1"/>
          <p:nvPr/>
        </p:nvSpPr>
        <p:spPr>
          <a:xfrm>
            <a:off x="3948546" y="366053"/>
            <a:ext cx="5133109" cy="486083"/>
          </a:xfrm>
          <a:prstGeom prst="rect">
            <a:avLst/>
          </a:prstGeom>
          <a:noFill/>
          <a:ln>
            <a:noFill/>
          </a:ln>
        </p:spPr>
        <p:txBody>
          <a:bodyPr spcFirstLastPara="1" wrap="square" lIns="121900" tIns="121900" rIns="121900" bIns="121900" anchor="ctr" anchorCtr="0">
            <a:no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ar-SA" sz="3200" b="1" i="0" u="none" strike="noStrike" kern="0" cap="none" spc="0" normalizeH="0" baseline="0" noProof="0" dirty="0">
                <a:ln>
                  <a:noFill/>
                </a:ln>
                <a:solidFill>
                  <a:srgbClr val="ED7D31">
                    <a:lumMod val="50000"/>
                  </a:srgbClr>
                </a:solidFill>
                <a:effectLst/>
                <a:uLnTx/>
                <a:uFillTx/>
                <a:latin typeface="Sakkal Majalla" panose="02000000000000000000" pitchFamily="2" charset="-78"/>
                <a:ea typeface="Samim" panose="020B0603030804020204" pitchFamily="34" charset="0"/>
                <a:cs typeface="Sakkal Majalla" panose="02000000000000000000" pitchFamily="2" charset="-78"/>
                <a:sym typeface="Barlow Light"/>
              </a:rPr>
              <a:t>توزيع الأدوار ومراحل التنفيذ</a:t>
            </a:r>
            <a:endParaRPr kumimoji="0" sz="3200" b="0" i="0" u="none" strike="noStrike" kern="1200" cap="none" spc="0" normalizeH="0" baseline="0" noProof="0" dirty="0">
              <a:ln>
                <a:noFill/>
              </a:ln>
              <a:solidFill>
                <a:srgbClr val="ED7D31">
                  <a:lumMod val="50000"/>
                </a:srgbClr>
              </a:solidFill>
              <a:effectLst/>
              <a:uLnTx/>
              <a:uFillTx/>
              <a:latin typeface="Sakkal Majalla" panose="02000000000000000000" pitchFamily="2" charset="-78"/>
              <a:ea typeface="Samim" panose="020B0603030804020204" pitchFamily="34" charset="0"/>
              <a:cs typeface="Sakkal Majalla" panose="02000000000000000000" pitchFamily="2" charset="-78"/>
              <a:sym typeface="Roboto"/>
            </a:endParaRPr>
          </a:p>
        </p:txBody>
      </p:sp>
      <p:graphicFrame>
        <p:nvGraphicFramePr>
          <p:cNvPr id="6" name="جدول 5">
            <a:extLst>
              <a:ext uri="{FF2B5EF4-FFF2-40B4-BE49-F238E27FC236}">
                <a16:creationId xmlns:a16="http://schemas.microsoft.com/office/drawing/2014/main" id="{8162C4FE-AF8F-DEB9-B7EE-60A0D3AFECA1}"/>
              </a:ext>
            </a:extLst>
          </p:cNvPr>
          <p:cNvGraphicFramePr>
            <a:graphicFrameLocks noGrp="1"/>
          </p:cNvGraphicFramePr>
          <p:nvPr/>
        </p:nvGraphicFramePr>
        <p:xfrm>
          <a:off x="853653" y="1026495"/>
          <a:ext cx="10879230" cy="1476792"/>
        </p:xfrm>
        <a:graphic>
          <a:graphicData uri="http://schemas.openxmlformats.org/drawingml/2006/table">
            <a:tbl>
              <a:tblPr rtl="1" firstRow="1" bandRow="1">
                <a:tableStyleId>{69012ECD-51FC-41F1-AA8D-1B2483CD663E}</a:tableStyleId>
              </a:tblPr>
              <a:tblGrid>
                <a:gridCol w="5439615">
                  <a:extLst>
                    <a:ext uri="{9D8B030D-6E8A-4147-A177-3AD203B41FA5}">
                      <a16:colId xmlns:a16="http://schemas.microsoft.com/office/drawing/2014/main" val="1232613845"/>
                    </a:ext>
                  </a:extLst>
                </a:gridCol>
                <a:gridCol w="5439615">
                  <a:extLst>
                    <a:ext uri="{9D8B030D-6E8A-4147-A177-3AD203B41FA5}">
                      <a16:colId xmlns:a16="http://schemas.microsoft.com/office/drawing/2014/main" val="3578687133"/>
                    </a:ext>
                  </a:extLst>
                </a:gridCol>
              </a:tblGrid>
              <a:tr h="428038">
                <a:tc>
                  <a:txBody>
                    <a:bodyPr/>
                    <a:lstStyle/>
                    <a:p>
                      <a:pPr algn="r" rtl="1"/>
                      <a:r>
                        <a:rPr lang="ar-SA" sz="2800" b="1" kern="1200" dirty="0">
                          <a:solidFill>
                            <a:schemeClr val="bg1"/>
                          </a:solidFill>
                          <a:latin typeface="Sakkal Majalla" panose="02000000000000000000" pitchFamily="2" charset="-78"/>
                          <a:ea typeface="+mn-ea"/>
                          <a:cs typeface="Sakkal Majalla" panose="02000000000000000000" pitchFamily="2" charset="-78"/>
                        </a:rPr>
                        <a:t>أدوار المساندة والدعم للمدارس</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A08E"/>
                    </a:solidFill>
                  </a:tcPr>
                </a:tc>
                <a:tc>
                  <a:txBody>
                    <a:bodyPr/>
                    <a:lstStyle/>
                    <a:p>
                      <a:pPr algn="r" rtl="1"/>
                      <a:endParaRPr lang="ar-SA" sz="2800" b="1" kern="1200" dirty="0">
                        <a:solidFill>
                          <a:schemeClr val="bg1"/>
                        </a:solidFill>
                        <a:latin typeface="Sakkal Majalla" panose="02000000000000000000" pitchFamily="2" charset="-78"/>
                        <a:ea typeface="+mn-ea"/>
                        <a:cs typeface="Sakkal Majalla" panose="02000000000000000000" pitchFamily="2" charset="-78"/>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71395868"/>
                  </a:ext>
                </a:extLst>
              </a:tr>
              <a:tr h="958632">
                <a:tc gridSpan="2">
                  <a:txBody>
                    <a:bodyPr/>
                    <a:lstStyle/>
                    <a:p>
                      <a:pPr marL="0" lvl="0" indent="0" algn="justLow" rtl="1">
                        <a:buFont typeface="+mj-lt"/>
                        <a:buNone/>
                        <a:tabLst>
                          <a:tab pos="176213" algn="l"/>
                        </a:tabLst>
                      </a:pPr>
                      <a:r>
                        <a:rPr lang="ar-SA" sz="2400" b="1" kern="0" noProof="0" dirty="0">
                          <a:solidFill>
                            <a:srgbClr val="007774"/>
                          </a:solidFill>
                          <a:latin typeface="Sakkal Majalla" panose="02000000000000000000" pitchFamily="2" charset="-78"/>
                          <a:ea typeface="Samim" panose="020B0603030804020204" pitchFamily="34" charset="0"/>
                          <a:cs typeface="Sakkal Majalla" panose="02000000000000000000" pitchFamily="2" charset="-78"/>
                        </a:rPr>
                        <a:t>يسند مدير مكتب التعليم لكل مشرف تربوي من خلال نظام نور عدد (2- إلى 3 ) مدارس، بالإضافة لعمله، للقيام بأدوار الدعم والمساندة</a:t>
                      </a:r>
                      <a:endParaRPr lang="ar-SA" sz="2400" dirty="0">
                        <a:solidFill>
                          <a:srgbClr val="007774"/>
                        </a:solidFill>
                        <a:latin typeface="Sakkal Majalla" panose="02000000000000000000" pitchFamily="2" charset="-78"/>
                        <a:cs typeface="Sakkal Majalla" panose="02000000000000000000" pitchFamily="2" charset="-7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rtl="1"/>
                      <a:endParaRPr lang="ar-SA"/>
                    </a:p>
                  </a:txBody>
                  <a:tcPr/>
                </a:tc>
                <a:extLst>
                  <a:ext uri="{0D108BD9-81ED-4DB2-BD59-A6C34878D82A}">
                    <a16:rowId xmlns:a16="http://schemas.microsoft.com/office/drawing/2014/main" val="613350815"/>
                  </a:ext>
                </a:extLst>
              </a:tr>
            </a:tbl>
          </a:graphicData>
        </a:graphic>
      </p:graphicFrame>
      <p:sp>
        <p:nvSpPr>
          <p:cNvPr id="2" name="Google Shape;910;p31">
            <a:extLst>
              <a:ext uri="{FF2B5EF4-FFF2-40B4-BE49-F238E27FC236}">
                <a16:creationId xmlns:a16="http://schemas.microsoft.com/office/drawing/2014/main" id="{0E5F62C0-C590-03AF-088B-CF5CFA15F7C8}"/>
              </a:ext>
            </a:extLst>
          </p:cNvPr>
          <p:cNvSpPr txBox="1"/>
          <p:nvPr/>
        </p:nvSpPr>
        <p:spPr>
          <a:xfrm>
            <a:off x="8784777" y="3019243"/>
            <a:ext cx="2220687" cy="1781358"/>
          </a:xfrm>
          <a:prstGeom prst="rect">
            <a:avLst/>
          </a:prstGeom>
          <a:solidFill>
            <a:srgbClr val="11C1FF">
              <a:alpha val="55294"/>
            </a:srgbClr>
          </a:solidFill>
          <a:ln w="9525" cap="flat" cmpd="sng">
            <a:solidFill>
              <a:srgbClr val="97A4FF"/>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defTabSz="1219140" rtl="1" eaLnBrk="1" fontAlgn="auto" latinLnBrk="0" hangingPunct="1">
              <a:lnSpc>
                <a:spcPct val="100000"/>
              </a:lnSpc>
              <a:spcBef>
                <a:spcPts val="0"/>
              </a:spcBef>
              <a:spcAft>
                <a:spcPts val="0"/>
              </a:spcAft>
              <a:buClrTx/>
              <a:buSzTx/>
              <a:buFontTx/>
              <a:buNone/>
              <a:tabLst/>
              <a:defRPr/>
            </a:pPr>
            <a:r>
              <a:rPr kumimoji="0" lang="ar-SA" sz="2400" b="1" i="0" u="none" strike="noStrike" kern="1200" cap="none" spc="0" normalizeH="0" baseline="0" noProof="0" dirty="0">
                <a:ln>
                  <a:noFill/>
                </a:ln>
                <a:solidFill>
                  <a:srgbClr val="01083A"/>
                </a:solidFill>
                <a:effectLst/>
                <a:uLnTx/>
                <a:uFillTx/>
                <a:latin typeface="Sakkal Majalla" panose="02000000000000000000" pitchFamily="2" charset="-78"/>
                <a:ea typeface="Samim" panose="020B0603030804020204" pitchFamily="34" charset="0"/>
                <a:cs typeface="Sakkal Majalla" panose="02000000000000000000" pitchFamily="2" charset="-78"/>
                <a:sym typeface="Josefin Sans"/>
              </a:rPr>
              <a:t>مرحلة قبل تطبيق التقويم الذاتي</a:t>
            </a:r>
            <a:endParaRPr kumimoji="0" sz="2400" b="1" i="0" u="none" strike="noStrike" kern="1200" cap="none" spc="0" normalizeH="0" baseline="0" noProof="0" dirty="0">
              <a:ln>
                <a:noFill/>
              </a:ln>
              <a:solidFill>
                <a:srgbClr val="01083A"/>
              </a:solidFill>
              <a:effectLst/>
              <a:uLnTx/>
              <a:uFillTx/>
              <a:latin typeface="Sakkal Majalla" panose="02000000000000000000" pitchFamily="2" charset="-78"/>
              <a:ea typeface="Samim" panose="020B0603030804020204" pitchFamily="34" charset="0"/>
              <a:cs typeface="Sakkal Majalla" panose="02000000000000000000" pitchFamily="2" charset="-78"/>
              <a:sym typeface="Josefin Sans"/>
            </a:endParaRPr>
          </a:p>
        </p:txBody>
      </p:sp>
      <p:sp>
        <p:nvSpPr>
          <p:cNvPr id="5" name="Google Shape;910;p31">
            <a:extLst>
              <a:ext uri="{FF2B5EF4-FFF2-40B4-BE49-F238E27FC236}">
                <a16:creationId xmlns:a16="http://schemas.microsoft.com/office/drawing/2014/main" id="{82AEB0CD-BAE8-DE56-E25F-BC1C0873699C}"/>
              </a:ext>
            </a:extLst>
          </p:cNvPr>
          <p:cNvSpPr txBox="1"/>
          <p:nvPr/>
        </p:nvSpPr>
        <p:spPr>
          <a:xfrm>
            <a:off x="5045537" y="3019243"/>
            <a:ext cx="2220687" cy="1781358"/>
          </a:xfrm>
          <a:prstGeom prst="rect">
            <a:avLst/>
          </a:prstGeom>
          <a:solidFill>
            <a:srgbClr val="11C1FF">
              <a:alpha val="55294"/>
            </a:srgbClr>
          </a:solidFill>
          <a:ln w="9525" cap="flat" cmpd="sng">
            <a:solidFill>
              <a:srgbClr val="97A4FF"/>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defTabSz="1219140" rtl="1" eaLnBrk="1" fontAlgn="auto" latinLnBrk="0" hangingPunct="1">
              <a:lnSpc>
                <a:spcPct val="100000"/>
              </a:lnSpc>
              <a:spcBef>
                <a:spcPts val="0"/>
              </a:spcBef>
              <a:spcAft>
                <a:spcPts val="0"/>
              </a:spcAft>
              <a:buClrTx/>
              <a:buSzTx/>
              <a:buFontTx/>
              <a:buNone/>
              <a:tabLst/>
              <a:defRPr/>
            </a:pPr>
            <a:r>
              <a:rPr kumimoji="0" lang="ar-SA" sz="2400" b="1" i="0" u="none" strike="noStrike" kern="1200" cap="none" spc="0" normalizeH="0" baseline="0" noProof="0" dirty="0">
                <a:ln>
                  <a:noFill/>
                </a:ln>
                <a:solidFill>
                  <a:srgbClr val="01083A"/>
                </a:solidFill>
                <a:effectLst/>
                <a:uLnTx/>
                <a:uFillTx/>
                <a:latin typeface="Sakkal Majalla" panose="02000000000000000000" pitchFamily="2" charset="-78"/>
                <a:ea typeface="Samim" panose="020B0603030804020204" pitchFamily="34" charset="0"/>
                <a:cs typeface="Sakkal Majalla" panose="02000000000000000000" pitchFamily="2" charset="-78"/>
                <a:sym typeface="Josefin Sans"/>
              </a:rPr>
              <a:t>أثناء تطبيق المدارس للتقويم الذاتي</a:t>
            </a:r>
            <a:endParaRPr kumimoji="0" sz="2400" b="1" i="0" u="none" strike="noStrike" kern="1200" cap="none" spc="0" normalizeH="0" baseline="0" noProof="0" dirty="0">
              <a:ln>
                <a:noFill/>
              </a:ln>
              <a:solidFill>
                <a:srgbClr val="01083A"/>
              </a:solidFill>
              <a:effectLst/>
              <a:uLnTx/>
              <a:uFillTx/>
              <a:latin typeface="Sakkal Majalla" panose="02000000000000000000" pitchFamily="2" charset="-78"/>
              <a:ea typeface="Samim" panose="020B0603030804020204" pitchFamily="34" charset="0"/>
              <a:cs typeface="Sakkal Majalla" panose="02000000000000000000" pitchFamily="2" charset="-78"/>
              <a:sym typeface="Josefin Sans"/>
            </a:endParaRPr>
          </a:p>
        </p:txBody>
      </p:sp>
      <p:sp>
        <p:nvSpPr>
          <p:cNvPr id="8" name="Google Shape;910;p31">
            <a:extLst>
              <a:ext uri="{FF2B5EF4-FFF2-40B4-BE49-F238E27FC236}">
                <a16:creationId xmlns:a16="http://schemas.microsoft.com/office/drawing/2014/main" id="{7978873C-BCEE-9905-9E46-B2C8A29D68B2}"/>
              </a:ext>
            </a:extLst>
          </p:cNvPr>
          <p:cNvSpPr txBox="1"/>
          <p:nvPr/>
        </p:nvSpPr>
        <p:spPr>
          <a:xfrm>
            <a:off x="1306297" y="3019243"/>
            <a:ext cx="2220687" cy="1781358"/>
          </a:xfrm>
          <a:prstGeom prst="rect">
            <a:avLst/>
          </a:prstGeom>
          <a:solidFill>
            <a:srgbClr val="11C1FF">
              <a:alpha val="55294"/>
            </a:srgbClr>
          </a:solidFill>
          <a:ln w="9525" cap="flat" cmpd="sng">
            <a:solidFill>
              <a:srgbClr val="97A4FF"/>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defTabSz="1219140" rtl="1" eaLnBrk="1" fontAlgn="auto" latinLnBrk="0" hangingPunct="1">
              <a:lnSpc>
                <a:spcPct val="100000"/>
              </a:lnSpc>
              <a:spcBef>
                <a:spcPts val="0"/>
              </a:spcBef>
              <a:spcAft>
                <a:spcPts val="0"/>
              </a:spcAft>
              <a:buClrTx/>
              <a:buSzTx/>
              <a:buFontTx/>
              <a:buNone/>
              <a:tabLst/>
              <a:defRPr/>
            </a:pPr>
            <a:r>
              <a:rPr kumimoji="0" lang="ar-SA" sz="2400" b="1" i="0" u="none" strike="noStrike" kern="1200" cap="none" spc="0" normalizeH="0" baseline="0" noProof="0" dirty="0">
                <a:ln>
                  <a:noFill/>
                </a:ln>
                <a:solidFill>
                  <a:srgbClr val="01083A"/>
                </a:solidFill>
                <a:effectLst/>
                <a:uLnTx/>
                <a:uFillTx/>
                <a:latin typeface="Sakkal Majalla" panose="02000000000000000000" pitchFamily="2" charset="-78"/>
                <a:ea typeface="Samim" panose="020B0603030804020204" pitchFamily="34" charset="0"/>
                <a:cs typeface="Sakkal Majalla" panose="02000000000000000000" pitchFamily="2" charset="-78"/>
                <a:sym typeface="Josefin Sans"/>
              </a:rPr>
              <a:t>مرحلة ما بعد تطبيق التقويم الذاتي</a:t>
            </a:r>
            <a:endParaRPr kumimoji="0" sz="2400" b="1" i="0" u="none" strike="noStrike" kern="1200" cap="none" spc="0" normalizeH="0" baseline="0" noProof="0" dirty="0">
              <a:ln>
                <a:noFill/>
              </a:ln>
              <a:solidFill>
                <a:srgbClr val="01083A"/>
              </a:solidFill>
              <a:effectLst/>
              <a:uLnTx/>
              <a:uFillTx/>
              <a:latin typeface="Sakkal Majalla" panose="02000000000000000000" pitchFamily="2" charset="-78"/>
              <a:ea typeface="Samim" panose="020B0603030804020204" pitchFamily="34" charset="0"/>
              <a:cs typeface="Sakkal Majalla" panose="02000000000000000000" pitchFamily="2" charset="-78"/>
              <a:sym typeface="Josefin Sans"/>
            </a:endParaRPr>
          </a:p>
        </p:txBody>
      </p:sp>
      <p:sp>
        <p:nvSpPr>
          <p:cNvPr id="11" name="سهم: لليسار 10">
            <a:extLst>
              <a:ext uri="{FF2B5EF4-FFF2-40B4-BE49-F238E27FC236}">
                <a16:creationId xmlns:a16="http://schemas.microsoft.com/office/drawing/2014/main" id="{09D23B0B-1FC5-D8F7-BE65-4A8363AD8AB5}"/>
              </a:ext>
            </a:extLst>
          </p:cNvPr>
          <p:cNvSpPr/>
          <p:nvPr/>
        </p:nvSpPr>
        <p:spPr>
          <a:xfrm>
            <a:off x="7492100" y="3621236"/>
            <a:ext cx="1066800" cy="577371"/>
          </a:xfrm>
          <a:prstGeom prst="leftArrow">
            <a:avLst/>
          </a:prstGeom>
        </p:spPr>
        <p:style>
          <a:lnRef idx="1">
            <a:schemeClr val="accent2"/>
          </a:lnRef>
          <a:fillRef idx="3">
            <a:schemeClr val="accent2"/>
          </a:fillRef>
          <a:effectRef idx="2">
            <a:schemeClr val="accent2"/>
          </a:effectRef>
          <a:fontRef idx="minor">
            <a:schemeClr val="lt1"/>
          </a:fontRef>
        </p:style>
        <p:txBody>
          <a:bodyPr rtlCol="1"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SA" sz="1800" b="0" i="0" u="none" strike="noStrike" kern="120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sp>
        <p:nvSpPr>
          <p:cNvPr id="12" name="سهم: لليسار 11">
            <a:extLst>
              <a:ext uri="{FF2B5EF4-FFF2-40B4-BE49-F238E27FC236}">
                <a16:creationId xmlns:a16="http://schemas.microsoft.com/office/drawing/2014/main" id="{4013D80A-16B6-A943-BD02-0A0C67CEE580}"/>
              </a:ext>
            </a:extLst>
          </p:cNvPr>
          <p:cNvSpPr/>
          <p:nvPr/>
        </p:nvSpPr>
        <p:spPr>
          <a:xfrm>
            <a:off x="3752860" y="3621235"/>
            <a:ext cx="1066800" cy="577371"/>
          </a:xfrm>
          <a:prstGeom prst="leftArrow">
            <a:avLst/>
          </a:prstGeom>
        </p:spPr>
        <p:style>
          <a:lnRef idx="1">
            <a:schemeClr val="accent2"/>
          </a:lnRef>
          <a:fillRef idx="3">
            <a:schemeClr val="accent2"/>
          </a:fillRef>
          <a:effectRef idx="2">
            <a:schemeClr val="accent2"/>
          </a:effectRef>
          <a:fontRef idx="minor">
            <a:schemeClr val="lt1"/>
          </a:fontRef>
        </p:style>
        <p:txBody>
          <a:bodyPr rtlCol="1"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ar-SA" sz="1800" b="0" i="0" u="none" strike="noStrike" kern="120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993044063"/>
      </p:ext>
    </p:extLst>
  </p:cSld>
  <p:clrMapOvr>
    <a:masterClrMapping/>
  </p:clrMapOvr>
  <mc:AlternateContent xmlns:mc="http://schemas.openxmlformats.org/markup-compatibility/2006" xmlns:p14="http://schemas.microsoft.com/office/powerpoint/2010/main">
    <mc:Choice Requires="p14">
      <p:transition spd="slow" p14:dur="1200">
        <p14:prism dir="r"/>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arn(inVertical)">
                                      <p:cBhvr>
                                        <p:cTn id="7" dur="1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barn(inVertical)">
                                      <p:cBhvr>
                                        <p:cTn id="12" dur="125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16" presetClass="entr" presetSubtype="21" fill="hold" grpId="0" nodeType="clickEffect">
                                  <p:stCondLst>
                                    <p:cond delay="0"/>
                                  </p:stCondLst>
                                  <p:childTnLst>
                                    <p:set>
                                      <p:cBhvr>
                                        <p:cTn id="16" dur="1" fill="hold">
                                          <p:stCondLst>
                                            <p:cond delay="0"/>
                                          </p:stCondLst>
                                        </p:cTn>
                                        <p:tgtEl>
                                          <p:spTgt spid="2"/>
                                        </p:tgtEl>
                                        <p:attrNameLst>
                                          <p:attrName>style.visibility</p:attrName>
                                        </p:attrNameLst>
                                      </p:cBhvr>
                                      <p:to>
                                        <p:strVal val="visible"/>
                                      </p:to>
                                    </p:set>
                                    <p:animEffect transition="in" filter="barn(inVertical)">
                                      <p:cBhvr>
                                        <p:cTn id="17" dur="1000"/>
                                        <p:tgtEl>
                                          <p:spTgt spid="2"/>
                                        </p:tgtEl>
                                      </p:cBhvr>
                                    </p:animEffect>
                                  </p:childTnLst>
                                </p:cTn>
                              </p:par>
                            </p:childTnLst>
                          </p:cTn>
                        </p:par>
                      </p:childTnLst>
                    </p:cTn>
                  </p:par>
                  <p:par>
                    <p:cTn id="18" fill="hold">
                      <p:stCondLst>
                        <p:cond delay="indefinite"/>
                      </p:stCondLst>
                      <p:childTnLst>
                        <p:par>
                          <p:cTn id="19" fill="hold">
                            <p:stCondLst>
                              <p:cond delay="0"/>
                            </p:stCondLst>
                            <p:childTnLst>
                              <p:par>
                                <p:cTn id="20" presetID="16" presetClass="entr" presetSubtype="21" fill="hold" grpId="0" nodeType="click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barn(inVertical)">
                                      <p:cBhvr>
                                        <p:cTn id="22" dur="1000"/>
                                        <p:tgtEl>
                                          <p:spTgt spid="11"/>
                                        </p:tgtEl>
                                      </p:cBhvr>
                                    </p:animEffect>
                                  </p:childTnLst>
                                </p:cTn>
                              </p:par>
                            </p:childTnLst>
                          </p:cTn>
                        </p:par>
                      </p:childTnLst>
                    </p:cTn>
                  </p:par>
                  <p:par>
                    <p:cTn id="23" fill="hold">
                      <p:stCondLst>
                        <p:cond delay="indefinite"/>
                      </p:stCondLst>
                      <p:childTnLst>
                        <p:par>
                          <p:cTn id="24" fill="hold">
                            <p:stCondLst>
                              <p:cond delay="0"/>
                            </p:stCondLst>
                            <p:childTnLst>
                              <p:par>
                                <p:cTn id="25" presetID="16" presetClass="entr" presetSubtype="21" fill="hold" grpId="0" nodeType="clickEffect">
                                  <p:stCondLst>
                                    <p:cond delay="0"/>
                                  </p:stCondLst>
                                  <p:childTnLst>
                                    <p:set>
                                      <p:cBhvr>
                                        <p:cTn id="26" dur="1" fill="hold">
                                          <p:stCondLst>
                                            <p:cond delay="0"/>
                                          </p:stCondLst>
                                        </p:cTn>
                                        <p:tgtEl>
                                          <p:spTgt spid="5"/>
                                        </p:tgtEl>
                                        <p:attrNameLst>
                                          <p:attrName>style.visibility</p:attrName>
                                        </p:attrNameLst>
                                      </p:cBhvr>
                                      <p:to>
                                        <p:strVal val="visible"/>
                                      </p:to>
                                    </p:set>
                                    <p:animEffect transition="in" filter="barn(inVertical)">
                                      <p:cBhvr>
                                        <p:cTn id="27" dur="1000"/>
                                        <p:tgtEl>
                                          <p:spTgt spid="5"/>
                                        </p:tgtEl>
                                      </p:cBhvr>
                                    </p:animEffect>
                                  </p:childTnLst>
                                </p:cTn>
                              </p:par>
                            </p:childTnLst>
                          </p:cTn>
                        </p:par>
                      </p:childTnLst>
                    </p:cTn>
                  </p:par>
                  <p:par>
                    <p:cTn id="28" fill="hold">
                      <p:stCondLst>
                        <p:cond delay="indefinite"/>
                      </p:stCondLst>
                      <p:childTnLst>
                        <p:par>
                          <p:cTn id="29" fill="hold">
                            <p:stCondLst>
                              <p:cond delay="0"/>
                            </p:stCondLst>
                            <p:childTnLst>
                              <p:par>
                                <p:cTn id="30" presetID="16" presetClass="entr" presetSubtype="21" fill="hold" grpId="0" nodeType="click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barn(inVertical)">
                                      <p:cBhvr>
                                        <p:cTn id="32" dur="1000"/>
                                        <p:tgtEl>
                                          <p:spTgt spid="12"/>
                                        </p:tgtEl>
                                      </p:cBhvr>
                                    </p:animEffect>
                                  </p:childTnLst>
                                </p:cTn>
                              </p:par>
                            </p:childTnLst>
                          </p:cTn>
                        </p:par>
                      </p:childTnLst>
                    </p:cTn>
                  </p:par>
                  <p:par>
                    <p:cTn id="33" fill="hold">
                      <p:stCondLst>
                        <p:cond delay="indefinite"/>
                      </p:stCondLst>
                      <p:childTnLst>
                        <p:par>
                          <p:cTn id="34" fill="hold">
                            <p:stCondLst>
                              <p:cond delay="0"/>
                            </p:stCondLst>
                            <p:childTnLst>
                              <p:par>
                                <p:cTn id="35" presetID="16" presetClass="entr" presetSubtype="21" fill="hold" grpId="0" nodeType="clickEffect">
                                  <p:stCondLst>
                                    <p:cond delay="0"/>
                                  </p:stCondLst>
                                  <p:childTnLst>
                                    <p:set>
                                      <p:cBhvr>
                                        <p:cTn id="36" dur="1" fill="hold">
                                          <p:stCondLst>
                                            <p:cond delay="0"/>
                                          </p:stCondLst>
                                        </p:cTn>
                                        <p:tgtEl>
                                          <p:spTgt spid="8"/>
                                        </p:tgtEl>
                                        <p:attrNameLst>
                                          <p:attrName>style.visibility</p:attrName>
                                        </p:attrNameLst>
                                      </p:cBhvr>
                                      <p:to>
                                        <p:strVal val="visible"/>
                                      </p:to>
                                    </p:set>
                                    <p:animEffect transition="in" filter="barn(inVertical)">
                                      <p:cBhvr>
                                        <p:cTn id="37" dur="1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2" grpId="0" animBg="1"/>
      <p:bldP spid="5" grpId="0" animBg="1"/>
      <p:bldP spid="8" grpId="0" animBg="1"/>
      <p:bldP spid="11" grpId="0" animBg="1"/>
      <p:bldP spid="12"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Google Shape;276;p22">
            <a:extLst>
              <a:ext uri="{FF2B5EF4-FFF2-40B4-BE49-F238E27FC236}">
                <a16:creationId xmlns:a16="http://schemas.microsoft.com/office/drawing/2014/main" id="{621EDC8C-2842-95D6-BE1E-DFADB112B8A9}"/>
              </a:ext>
            </a:extLst>
          </p:cNvPr>
          <p:cNvSpPr/>
          <p:nvPr/>
        </p:nvSpPr>
        <p:spPr>
          <a:xfrm>
            <a:off x="6472845" y="1893078"/>
            <a:ext cx="5191775" cy="3449276"/>
          </a:xfrm>
          <a:custGeom>
            <a:avLst/>
            <a:gdLst/>
            <a:ahLst/>
            <a:cxnLst/>
            <a:rect l="l" t="t" r="r" b="b"/>
            <a:pathLst>
              <a:path w="38494" h="2575" extrusionOk="0">
                <a:moveTo>
                  <a:pt x="0" y="0"/>
                </a:moveTo>
                <a:lnTo>
                  <a:pt x="0" y="2574"/>
                </a:lnTo>
                <a:lnTo>
                  <a:pt x="38494" y="2574"/>
                </a:lnTo>
                <a:lnTo>
                  <a:pt x="38494" y="0"/>
                </a:lnTo>
                <a:close/>
              </a:path>
            </a:pathLst>
          </a:custGeom>
          <a:solidFill>
            <a:srgbClr val="EFEFEF"/>
          </a:solidFill>
          <a:ln>
            <a:noFill/>
          </a:ln>
        </p:spPr>
        <p:txBody>
          <a:bodyPr spcFirstLastPara="1" wrap="square" lIns="121900" tIns="121900" rIns="121900" bIns="121900" anchor="t" anchorCtr="0">
            <a:noAutofit/>
          </a:bodyPr>
          <a:lstStyle/>
          <a:p>
            <a:pPr algn="justLow" defTabSz="1219170">
              <a:defRPr/>
            </a:pPr>
            <a:r>
              <a:rPr lang="ar-SA" sz="2400" b="1" dirty="0">
                <a:solidFill>
                  <a:prstClr val="black"/>
                </a:solidFill>
                <a:latin typeface="Sakkal Majalla" panose="02000000000000000000" pitchFamily="2" charset="-78"/>
                <a:ea typeface="Samim" panose="020B0603030804020204" pitchFamily="34" charset="0"/>
                <a:cs typeface="Sakkal Majalla" panose="02000000000000000000" pitchFamily="2" charset="-78"/>
              </a:rPr>
              <a:t>تنفيذ الدروس للطلاب من خلال ممارسة عمليتي التدريس والتعلم داخل الصف:</a:t>
            </a:r>
          </a:p>
          <a:p>
            <a:pPr marL="243411" indent="-243411" algn="justLow" defTabSz="1219170">
              <a:buClr>
                <a:schemeClr val="accent1">
                  <a:lumMod val="75000"/>
                </a:schemeClr>
              </a:buClr>
              <a:buFont typeface="Courier New" panose="02070309020205020404" pitchFamily="49" charset="0"/>
              <a:buChar char="o"/>
              <a:tabLst>
                <a:tab pos="122764" algn="l"/>
              </a:tabLst>
              <a:defRPr/>
            </a:pPr>
            <a:r>
              <a:rPr lang="ar-SA" sz="2400" dirty="0">
                <a:solidFill>
                  <a:srgbClr val="002060"/>
                </a:solidFill>
                <a:latin typeface="Sakkal Majalla" panose="02000000000000000000" pitchFamily="2" charset="-78"/>
                <a:ea typeface="Samim" panose="020B0603030804020204" pitchFamily="34" charset="0"/>
                <a:cs typeface="Sakkal Majalla" panose="02000000000000000000" pitchFamily="2" charset="-78"/>
              </a:rPr>
              <a:t>قلب المدرسة هي عمليتي التدريس والتعلم</a:t>
            </a:r>
          </a:p>
          <a:p>
            <a:pPr marL="243411" indent="-243411" algn="justLow" defTabSz="1219170">
              <a:buClr>
                <a:schemeClr val="accent1">
                  <a:lumMod val="75000"/>
                </a:schemeClr>
              </a:buClr>
              <a:buFont typeface="Courier New" panose="02070309020205020404" pitchFamily="49" charset="0"/>
              <a:buChar char="o"/>
              <a:tabLst>
                <a:tab pos="122764" algn="l"/>
              </a:tabLst>
              <a:defRPr/>
            </a:pPr>
            <a:r>
              <a:rPr lang="ar-SA" sz="2400" dirty="0">
                <a:solidFill>
                  <a:srgbClr val="002060"/>
                </a:solidFill>
                <a:latin typeface="Sakkal Majalla" panose="02000000000000000000" pitchFamily="2" charset="-78"/>
                <a:ea typeface="Samim" panose="020B0603030804020204" pitchFamily="34" charset="0"/>
                <a:cs typeface="Sakkal Majalla" panose="02000000000000000000" pitchFamily="2" charset="-78"/>
              </a:rPr>
              <a:t> أثمن ما تملكه المدرسة : وقت التدريس ، والطاقة العاطفية والجسمية للمعلمين.</a:t>
            </a:r>
          </a:p>
          <a:p>
            <a:pPr marL="243411" indent="-243411" algn="justLow" defTabSz="1219170">
              <a:buClr>
                <a:schemeClr val="accent1">
                  <a:lumMod val="75000"/>
                </a:schemeClr>
              </a:buClr>
              <a:buFont typeface="Courier New" panose="02070309020205020404" pitchFamily="49" charset="0"/>
              <a:buChar char="o"/>
              <a:tabLst>
                <a:tab pos="122764" algn="l"/>
              </a:tabLst>
              <a:defRPr/>
            </a:pPr>
            <a:r>
              <a:rPr lang="ar-SA" sz="2400" dirty="0">
                <a:solidFill>
                  <a:srgbClr val="002060"/>
                </a:solidFill>
                <a:latin typeface="Sakkal Majalla" panose="02000000000000000000" pitchFamily="2" charset="-78"/>
                <a:ea typeface="Samim" panose="020B0603030804020204" pitchFamily="34" charset="0"/>
                <a:cs typeface="Sakkal Majalla" panose="02000000000000000000" pitchFamily="2" charset="-78"/>
              </a:rPr>
              <a:t>( لا تهدروها ) ، دعوا المعلمين ينفقون طاقتهم من أجل تخطيط وتنفيذ دروسهم وتحسينها.</a:t>
            </a:r>
          </a:p>
        </p:txBody>
      </p:sp>
      <p:sp>
        <p:nvSpPr>
          <p:cNvPr id="5" name="Google Shape;277;p22">
            <a:extLst>
              <a:ext uri="{FF2B5EF4-FFF2-40B4-BE49-F238E27FC236}">
                <a16:creationId xmlns:a16="http://schemas.microsoft.com/office/drawing/2014/main" id="{8C745D8B-58C8-56A9-6FDB-3D4C59F6F255}"/>
              </a:ext>
            </a:extLst>
          </p:cNvPr>
          <p:cNvSpPr txBox="1">
            <a:spLocks/>
          </p:cNvSpPr>
          <p:nvPr/>
        </p:nvSpPr>
        <p:spPr>
          <a:xfrm>
            <a:off x="787829" y="98701"/>
            <a:ext cx="10972800" cy="642000"/>
          </a:xfrm>
          <a:prstGeom prst="rect">
            <a:avLst/>
          </a:prstGeom>
        </p:spPr>
        <p:txBody>
          <a:bodyPr spcFirstLastPara="1" wrap="square" lIns="121900" tIns="121900" rIns="121900" bIns="121900" anchor="ctr" anchorCtr="0">
            <a:noAutofit/>
          </a:bodyPr>
          <a:lstStyle>
            <a:lvl1pPr algn="ctr" defTabSz="914276" rtl="0" eaLnBrk="1" latinLnBrk="1" hangingPunct="1">
              <a:spcBef>
                <a:spcPct val="0"/>
              </a:spcBef>
              <a:buNone/>
              <a:defRPr sz="4400" kern="1200">
                <a:solidFill>
                  <a:schemeClr val="tx1"/>
                </a:solidFill>
                <a:latin typeface="+mj-lt"/>
                <a:ea typeface="+mj-ea"/>
                <a:cs typeface="+mj-cs"/>
              </a:defRPr>
            </a:lvl1pPr>
          </a:lstStyle>
          <a:p>
            <a:pPr defTabSz="1219170" rtl="1" latinLnBrk="0">
              <a:spcBef>
                <a:spcPts val="0"/>
              </a:spcBef>
              <a:defRPr/>
            </a:pPr>
            <a:r>
              <a:rPr lang="ar-SA" sz="3200" b="1" dirty="0">
                <a:solidFill>
                  <a:srgbClr val="002060"/>
                </a:solidFill>
                <a:latin typeface="Sakkal Majalla" panose="02000000000000000000" pitchFamily="2" charset="-78"/>
                <a:ea typeface="Samim" panose="020B0603030804020204" pitchFamily="34" charset="0"/>
                <a:cs typeface="Sakkal Majalla" panose="02000000000000000000" pitchFamily="2" charset="-78"/>
              </a:rPr>
              <a:t>في الأنظمة المدرسية المتفوقة- شنغهاي</a:t>
            </a:r>
            <a:endParaRPr lang="en-US" sz="3200" b="1" dirty="0">
              <a:solidFill>
                <a:srgbClr val="002060"/>
              </a:solidFill>
              <a:latin typeface="Sakkal Majalla" panose="02000000000000000000" pitchFamily="2" charset="-78"/>
              <a:ea typeface="Samim" panose="020B0603030804020204" pitchFamily="34" charset="0"/>
              <a:cs typeface="Sakkal Majalla" panose="02000000000000000000" pitchFamily="2" charset="-78"/>
            </a:endParaRPr>
          </a:p>
        </p:txBody>
      </p:sp>
      <p:sp>
        <p:nvSpPr>
          <p:cNvPr id="6" name="Google Shape;278;p22">
            <a:extLst>
              <a:ext uri="{FF2B5EF4-FFF2-40B4-BE49-F238E27FC236}">
                <a16:creationId xmlns:a16="http://schemas.microsoft.com/office/drawing/2014/main" id="{D5E733FD-D6D1-915E-512E-779EC77429F8}"/>
              </a:ext>
            </a:extLst>
          </p:cNvPr>
          <p:cNvSpPr/>
          <p:nvPr/>
        </p:nvSpPr>
        <p:spPr>
          <a:xfrm>
            <a:off x="3178711" y="1561164"/>
            <a:ext cx="265693" cy="177152"/>
          </a:xfrm>
          <a:custGeom>
            <a:avLst/>
            <a:gdLst/>
            <a:ahLst/>
            <a:cxnLst/>
            <a:rect l="l" t="t" r="r" b="b"/>
            <a:pathLst>
              <a:path w="3862" h="2575" extrusionOk="0">
                <a:moveTo>
                  <a:pt x="0" y="0"/>
                </a:moveTo>
                <a:lnTo>
                  <a:pt x="0" y="2574"/>
                </a:lnTo>
                <a:lnTo>
                  <a:pt x="3861" y="2574"/>
                </a:lnTo>
                <a:lnTo>
                  <a:pt x="3861" y="0"/>
                </a:lnTo>
                <a:close/>
              </a:path>
            </a:pathLst>
          </a:custGeom>
          <a:solidFill>
            <a:schemeClr val="accent2"/>
          </a:solidFill>
          <a:ln>
            <a:noFill/>
          </a:ln>
        </p:spPr>
        <p:txBody>
          <a:bodyPr spcFirstLastPara="1" wrap="square" lIns="121900" tIns="121900" rIns="121900" bIns="121900" anchor="ctr" anchorCtr="0">
            <a:noAutofit/>
          </a:bodyPr>
          <a:lstStyle/>
          <a:p>
            <a:pPr algn="l" rtl="0"/>
            <a:endParaRPr sz="2400"/>
          </a:p>
        </p:txBody>
      </p:sp>
      <p:sp>
        <p:nvSpPr>
          <p:cNvPr id="7" name="Google Shape;279;p22">
            <a:extLst>
              <a:ext uri="{FF2B5EF4-FFF2-40B4-BE49-F238E27FC236}">
                <a16:creationId xmlns:a16="http://schemas.microsoft.com/office/drawing/2014/main" id="{A55C2534-ABD1-62F1-E3AF-1347F10C8AC1}"/>
              </a:ext>
            </a:extLst>
          </p:cNvPr>
          <p:cNvSpPr/>
          <p:nvPr/>
        </p:nvSpPr>
        <p:spPr>
          <a:xfrm>
            <a:off x="9166364" y="1581479"/>
            <a:ext cx="265693" cy="177152"/>
          </a:xfrm>
          <a:custGeom>
            <a:avLst/>
            <a:gdLst/>
            <a:ahLst/>
            <a:cxnLst/>
            <a:rect l="l" t="t" r="r" b="b"/>
            <a:pathLst>
              <a:path w="3862" h="2575" extrusionOk="0">
                <a:moveTo>
                  <a:pt x="0" y="0"/>
                </a:moveTo>
                <a:lnTo>
                  <a:pt x="0" y="2574"/>
                </a:lnTo>
                <a:lnTo>
                  <a:pt x="3861" y="2574"/>
                </a:lnTo>
                <a:lnTo>
                  <a:pt x="3861" y="0"/>
                </a:lnTo>
                <a:close/>
              </a:path>
            </a:pathLst>
          </a:custGeom>
          <a:solidFill>
            <a:schemeClr val="accent5"/>
          </a:solidFill>
          <a:ln>
            <a:noFill/>
          </a:ln>
        </p:spPr>
        <p:txBody>
          <a:bodyPr spcFirstLastPara="1" wrap="square" lIns="121900" tIns="121900" rIns="121900" bIns="121900" anchor="ctr" anchorCtr="0">
            <a:noAutofit/>
          </a:bodyPr>
          <a:lstStyle/>
          <a:p>
            <a:pPr algn="l" rtl="0"/>
            <a:endParaRPr sz="2400"/>
          </a:p>
        </p:txBody>
      </p:sp>
      <p:sp>
        <p:nvSpPr>
          <p:cNvPr id="9" name="Google Shape;281;p22">
            <a:extLst>
              <a:ext uri="{FF2B5EF4-FFF2-40B4-BE49-F238E27FC236}">
                <a16:creationId xmlns:a16="http://schemas.microsoft.com/office/drawing/2014/main" id="{5F6D9C12-78DB-54AF-9714-9FE47D1BD06C}"/>
              </a:ext>
            </a:extLst>
          </p:cNvPr>
          <p:cNvSpPr/>
          <p:nvPr/>
        </p:nvSpPr>
        <p:spPr>
          <a:xfrm>
            <a:off x="3702757" y="889257"/>
            <a:ext cx="2009200" cy="2009200"/>
          </a:xfrm>
          <a:prstGeom prst="blockArc">
            <a:avLst>
              <a:gd name="adj1" fmla="val 10800000"/>
              <a:gd name="adj2" fmla="val 21533353"/>
              <a:gd name="adj3" fmla="val 15467"/>
            </a:avLst>
          </a:prstGeom>
          <a:solidFill>
            <a:schemeClr val="accent2"/>
          </a:solidFill>
          <a:ln>
            <a:noFill/>
          </a:ln>
        </p:spPr>
        <p:txBody>
          <a:bodyPr spcFirstLastPara="1" wrap="square" lIns="121900" tIns="121900" rIns="121900" bIns="121900" anchor="ctr" anchorCtr="0">
            <a:noAutofit/>
          </a:bodyPr>
          <a:lstStyle/>
          <a:p>
            <a:pPr algn="l" rtl="0"/>
            <a:endParaRPr sz="2400"/>
          </a:p>
        </p:txBody>
      </p:sp>
      <p:sp>
        <p:nvSpPr>
          <p:cNvPr id="10" name="Google Shape;282;p22">
            <a:extLst>
              <a:ext uri="{FF2B5EF4-FFF2-40B4-BE49-F238E27FC236}">
                <a16:creationId xmlns:a16="http://schemas.microsoft.com/office/drawing/2014/main" id="{1FB681D2-8495-D164-E09C-A3370D8FF594}"/>
              </a:ext>
            </a:extLst>
          </p:cNvPr>
          <p:cNvSpPr/>
          <p:nvPr/>
        </p:nvSpPr>
        <p:spPr>
          <a:xfrm>
            <a:off x="3702741" y="889240"/>
            <a:ext cx="2009200" cy="2009200"/>
          </a:xfrm>
          <a:prstGeom prst="blockArc">
            <a:avLst>
              <a:gd name="adj1" fmla="val 14353381"/>
              <a:gd name="adj2" fmla="val 21533353"/>
              <a:gd name="adj3" fmla="val 15467"/>
            </a:avLst>
          </a:prstGeom>
          <a:solidFill>
            <a:schemeClr val="lt2"/>
          </a:solidFill>
          <a:ln>
            <a:noFill/>
          </a:ln>
        </p:spPr>
        <p:txBody>
          <a:bodyPr spcFirstLastPara="1" wrap="square" lIns="121900" tIns="121900" rIns="121900" bIns="121900" anchor="ctr" anchorCtr="0">
            <a:noAutofit/>
          </a:bodyPr>
          <a:lstStyle/>
          <a:p>
            <a:pPr algn="l" rtl="0"/>
            <a:endParaRPr sz="2400"/>
          </a:p>
        </p:txBody>
      </p:sp>
      <p:sp>
        <p:nvSpPr>
          <p:cNvPr id="11" name="Google Shape;283;p22">
            <a:extLst>
              <a:ext uri="{FF2B5EF4-FFF2-40B4-BE49-F238E27FC236}">
                <a16:creationId xmlns:a16="http://schemas.microsoft.com/office/drawing/2014/main" id="{8619EDF3-725E-B6D5-5D10-3CB6B3AAB92C}"/>
              </a:ext>
            </a:extLst>
          </p:cNvPr>
          <p:cNvSpPr txBox="1"/>
          <p:nvPr/>
        </p:nvSpPr>
        <p:spPr>
          <a:xfrm>
            <a:off x="4205695" y="1305681"/>
            <a:ext cx="1066800" cy="494400"/>
          </a:xfrm>
          <a:prstGeom prst="rect">
            <a:avLst/>
          </a:prstGeom>
          <a:noFill/>
          <a:ln>
            <a:noFill/>
          </a:ln>
        </p:spPr>
        <p:txBody>
          <a:bodyPr spcFirstLastPara="1" wrap="square" lIns="121900" tIns="121900" rIns="121900" bIns="121900" anchor="ctr" anchorCtr="0">
            <a:noAutofit/>
          </a:bodyPr>
          <a:lstStyle/>
          <a:p>
            <a:pPr algn="ctr" rtl="0"/>
            <a:r>
              <a:rPr lang="en" sz="3200" b="1" dirty="0">
                <a:solidFill>
                  <a:schemeClr val="dk1"/>
                </a:solidFill>
                <a:latin typeface="Fira Sans Extra Condensed"/>
                <a:ea typeface="Fira Sans Extra Condensed"/>
                <a:cs typeface="Fira Sans Extra Condensed"/>
                <a:sym typeface="Fira Sans Extra Condensed"/>
              </a:rPr>
              <a:t>30%</a:t>
            </a:r>
            <a:endParaRPr sz="3200" b="1" dirty="0">
              <a:solidFill>
                <a:schemeClr val="dk1"/>
              </a:solidFill>
              <a:latin typeface="Fira Sans Extra Condensed"/>
              <a:ea typeface="Fira Sans Extra Condensed"/>
              <a:cs typeface="Fira Sans Extra Condensed"/>
              <a:sym typeface="Fira Sans Extra Condensed"/>
            </a:endParaRPr>
          </a:p>
        </p:txBody>
      </p:sp>
      <p:sp>
        <p:nvSpPr>
          <p:cNvPr id="12" name="Google Shape;284;p22">
            <a:extLst>
              <a:ext uri="{FF2B5EF4-FFF2-40B4-BE49-F238E27FC236}">
                <a16:creationId xmlns:a16="http://schemas.microsoft.com/office/drawing/2014/main" id="{8A0BB564-4CEB-7B97-26EB-D3C2DB617445}"/>
              </a:ext>
            </a:extLst>
          </p:cNvPr>
          <p:cNvSpPr/>
          <p:nvPr/>
        </p:nvSpPr>
        <p:spPr>
          <a:xfrm>
            <a:off x="9636996" y="904483"/>
            <a:ext cx="2009200" cy="2009200"/>
          </a:xfrm>
          <a:prstGeom prst="blockArc">
            <a:avLst>
              <a:gd name="adj1" fmla="val 10800000"/>
              <a:gd name="adj2" fmla="val 21533353"/>
              <a:gd name="adj3" fmla="val 15467"/>
            </a:avLst>
          </a:prstGeom>
          <a:solidFill>
            <a:schemeClr val="accent3"/>
          </a:solidFill>
          <a:ln>
            <a:noFill/>
          </a:ln>
        </p:spPr>
        <p:txBody>
          <a:bodyPr spcFirstLastPara="1" wrap="square" lIns="121900" tIns="121900" rIns="121900" bIns="121900" anchor="ctr" anchorCtr="0">
            <a:noAutofit/>
          </a:bodyPr>
          <a:lstStyle/>
          <a:p>
            <a:pPr algn="l" rtl="0"/>
            <a:endParaRPr sz="2400"/>
          </a:p>
        </p:txBody>
      </p:sp>
      <p:sp>
        <p:nvSpPr>
          <p:cNvPr id="13" name="Google Shape;285;p22">
            <a:extLst>
              <a:ext uri="{FF2B5EF4-FFF2-40B4-BE49-F238E27FC236}">
                <a16:creationId xmlns:a16="http://schemas.microsoft.com/office/drawing/2014/main" id="{14DCBD89-8B4C-FED2-BDE8-258E47C05493}"/>
              </a:ext>
            </a:extLst>
          </p:cNvPr>
          <p:cNvSpPr/>
          <p:nvPr/>
        </p:nvSpPr>
        <p:spPr>
          <a:xfrm>
            <a:off x="9636980" y="904465"/>
            <a:ext cx="2009200" cy="2009200"/>
          </a:xfrm>
          <a:prstGeom prst="blockArc">
            <a:avLst>
              <a:gd name="adj1" fmla="val 18531366"/>
              <a:gd name="adj2" fmla="val 21533353"/>
              <a:gd name="adj3" fmla="val 15467"/>
            </a:avLst>
          </a:prstGeom>
          <a:solidFill>
            <a:schemeClr val="lt2"/>
          </a:solidFill>
          <a:ln>
            <a:noFill/>
          </a:ln>
        </p:spPr>
        <p:txBody>
          <a:bodyPr spcFirstLastPara="1" wrap="square" lIns="121900" tIns="121900" rIns="121900" bIns="121900" anchor="ctr" anchorCtr="0">
            <a:noAutofit/>
          </a:bodyPr>
          <a:lstStyle/>
          <a:p>
            <a:pPr algn="l" rtl="0"/>
            <a:endParaRPr sz="2400"/>
          </a:p>
        </p:txBody>
      </p:sp>
      <p:sp>
        <p:nvSpPr>
          <p:cNvPr id="14" name="Google Shape;286;p22">
            <a:extLst>
              <a:ext uri="{FF2B5EF4-FFF2-40B4-BE49-F238E27FC236}">
                <a16:creationId xmlns:a16="http://schemas.microsoft.com/office/drawing/2014/main" id="{B2B4FDC6-A636-020F-A070-E5E3C2297259}"/>
              </a:ext>
            </a:extLst>
          </p:cNvPr>
          <p:cNvSpPr txBox="1"/>
          <p:nvPr/>
        </p:nvSpPr>
        <p:spPr>
          <a:xfrm>
            <a:off x="10169440" y="1368440"/>
            <a:ext cx="1066800" cy="494400"/>
          </a:xfrm>
          <a:prstGeom prst="rect">
            <a:avLst/>
          </a:prstGeom>
          <a:noFill/>
          <a:ln>
            <a:noFill/>
          </a:ln>
        </p:spPr>
        <p:txBody>
          <a:bodyPr spcFirstLastPara="1" wrap="square" lIns="121900" tIns="121900" rIns="121900" bIns="121900" anchor="ctr" anchorCtr="0">
            <a:noAutofit/>
          </a:bodyPr>
          <a:lstStyle/>
          <a:p>
            <a:pPr algn="ctr" rtl="0"/>
            <a:r>
              <a:rPr lang="en-US" sz="3200" b="1" dirty="0">
                <a:solidFill>
                  <a:schemeClr val="dk1"/>
                </a:solidFill>
                <a:latin typeface="Fira Sans Extra Condensed"/>
                <a:ea typeface="Fira Sans Extra Condensed"/>
                <a:cs typeface="Fira Sans Extra Condensed"/>
                <a:sym typeface="Fira Sans Extra Condensed"/>
              </a:rPr>
              <a:t>70</a:t>
            </a:r>
            <a:r>
              <a:rPr lang="en" sz="3200" b="1" dirty="0">
                <a:solidFill>
                  <a:schemeClr val="dk1"/>
                </a:solidFill>
                <a:latin typeface="Fira Sans Extra Condensed"/>
                <a:ea typeface="Fira Sans Extra Condensed"/>
                <a:cs typeface="Fira Sans Extra Condensed"/>
                <a:sym typeface="Fira Sans Extra Condensed"/>
              </a:rPr>
              <a:t>%</a:t>
            </a:r>
            <a:endParaRPr sz="3200" b="1" dirty="0">
              <a:solidFill>
                <a:schemeClr val="dk1"/>
              </a:solidFill>
              <a:latin typeface="Fira Sans Extra Condensed"/>
              <a:ea typeface="Fira Sans Extra Condensed"/>
              <a:cs typeface="Fira Sans Extra Condensed"/>
              <a:sym typeface="Fira Sans Extra Condensed"/>
            </a:endParaRPr>
          </a:p>
        </p:txBody>
      </p:sp>
      <p:sp>
        <p:nvSpPr>
          <p:cNvPr id="17" name="Google Shape;289;p22">
            <a:extLst>
              <a:ext uri="{FF2B5EF4-FFF2-40B4-BE49-F238E27FC236}">
                <a16:creationId xmlns:a16="http://schemas.microsoft.com/office/drawing/2014/main" id="{EB3624A9-6B2A-1CFA-9854-9CE70AD23267}"/>
              </a:ext>
            </a:extLst>
          </p:cNvPr>
          <p:cNvSpPr txBox="1"/>
          <p:nvPr/>
        </p:nvSpPr>
        <p:spPr>
          <a:xfrm>
            <a:off x="5555786" y="1515647"/>
            <a:ext cx="3629007" cy="377183"/>
          </a:xfrm>
          <a:prstGeom prst="rect">
            <a:avLst/>
          </a:prstGeom>
          <a:noFill/>
          <a:ln>
            <a:noFill/>
          </a:ln>
        </p:spPr>
        <p:txBody>
          <a:bodyPr spcFirstLastPara="1" wrap="square" lIns="121900" tIns="121900" rIns="121900" bIns="121900" anchor="ctr" anchorCtr="0">
            <a:noAutofit/>
          </a:bodyPr>
          <a:lstStyle/>
          <a:p>
            <a:r>
              <a:rPr lang="ar-SA" sz="2667" b="1" dirty="0">
                <a:solidFill>
                  <a:srgbClr val="C00000"/>
                </a:solidFill>
                <a:latin typeface="Sakkal Majalla" panose="02000000000000000000" pitchFamily="2" charset="-78"/>
                <a:ea typeface="Fira Sans Extra Condensed SemiBold"/>
                <a:cs typeface="Sakkal Majalla" panose="02000000000000000000" pitchFamily="2" charset="-78"/>
                <a:sym typeface="Fira Sans Extra Condensed SemiBold"/>
              </a:rPr>
              <a:t>تنفيذ التدريس</a:t>
            </a:r>
            <a:endParaRPr sz="2667" b="1" dirty="0">
              <a:solidFill>
                <a:srgbClr val="C00000"/>
              </a:solidFill>
              <a:latin typeface="Sakkal Majalla" panose="02000000000000000000" pitchFamily="2" charset="-78"/>
              <a:ea typeface="Fira Sans Extra Condensed SemiBold"/>
              <a:cs typeface="Sakkal Majalla" panose="02000000000000000000" pitchFamily="2" charset="-78"/>
              <a:sym typeface="Fira Sans Extra Condensed SemiBold"/>
            </a:endParaRPr>
          </a:p>
        </p:txBody>
      </p:sp>
      <p:sp>
        <p:nvSpPr>
          <p:cNvPr id="53" name="Google Shape;276;p22">
            <a:extLst>
              <a:ext uri="{FF2B5EF4-FFF2-40B4-BE49-F238E27FC236}">
                <a16:creationId xmlns:a16="http://schemas.microsoft.com/office/drawing/2014/main" id="{1A2DA26F-2879-AF8D-325E-E0F7B8BD0B01}"/>
              </a:ext>
            </a:extLst>
          </p:cNvPr>
          <p:cNvSpPr/>
          <p:nvPr/>
        </p:nvSpPr>
        <p:spPr>
          <a:xfrm>
            <a:off x="619607" y="1877385"/>
            <a:ext cx="5099548" cy="3449276"/>
          </a:xfrm>
          <a:custGeom>
            <a:avLst/>
            <a:gdLst/>
            <a:ahLst/>
            <a:cxnLst/>
            <a:rect l="l" t="t" r="r" b="b"/>
            <a:pathLst>
              <a:path w="38494" h="2575" extrusionOk="0">
                <a:moveTo>
                  <a:pt x="0" y="0"/>
                </a:moveTo>
                <a:lnTo>
                  <a:pt x="0" y="2574"/>
                </a:lnTo>
                <a:lnTo>
                  <a:pt x="38494" y="2574"/>
                </a:lnTo>
                <a:lnTo>
                  <a:pt x="38494" y="0"/>
                </a:lnTo>
                <a:close/>
              </a:path>
            </a:pathLst>
          </a:custGeom>
          <a:solidFill>
            <a:srgbClr val="EFEFEF"/>
          </a:solidFill>
          <a:ln>
            <a:noFill/>
          </a:ln>
        </p:spPr>
        <p:txBody>
          <a:bodyPr spcFirstLastPara="1" wrap="square" lIns="121900" tIns="121900" rIns="121900" bIns="121900" anchor="t" anchorCtr="0">
            <a:noAutofit/>
          </a:bodyPr>
          <a:lstStyle/>
          <a:p>
            <a:pPr algn="justLow" defTabSz="1219170">
              <a:defRPr/>
            </a:pPr>
            <a:r>
              <a:rPr lang="ar-SA" sz="2400" b="1" dirty="0">
                <a:solidFill>
                  <a:prstClr val="black"/>
                </a:solidFill>
                <a:latin typeface="Sakkal Majalla" panose="02000000000000000000" pitchFamily="2" charset="-78"/>
                <a:ea typeface="Samim" panose="020B0603030804020204" pitchFamily="34" charset="0"/>
                <a:cs typeface="Sakkal Majalla" panose="02000000000000000000" pitchFamily="2" charset="-78"/>
              </a:rPr>
              <a:t>كل يوم يجتمع المعلمين ويتناقشون ويخططون كيف يطورون ويحسنون:</a:t>
            </a:r>
          </a:p>
          <a:p>
            <a:pPr marL="243411" indent="-243411" algn="justLow" defTabSz="1219170">
              <a:buClr>
                <a:schemeClr val="accent1">
                  <a:lumMod val="75000"/>
                </a:schemeClr>
              </a:buClr>
              <a:buFont typeface="Courier New" panose="02070309020205020404" pitchFamily="49" charset="0"/>
              <a:buChar char="o"/>
              <a:tabLst>
                <a:tab pos="122764" algn="l"/>
              </a:tabLst>
              <a:defRPr/>
            </a:pPr>
            <a:r>
              <a:rPr lang="ar-SA" sz="2400" dirty="0">
                <a:solidFill>
                  <a:srgbClr val="002060"/>
                </a:solidFill>
                <a:latin typeface="Sakkal Majalla" panose="02000000000000000000" pitchFamily="2" charset="-78"/>
                <a:ea typeface="Samim" panose="020B0603030804020204" pitchFamily="34" charset="0"/>
                <a:cs typeface="Sakkal Majalla" panose="02000000000000000000" pitchFamily="2" charset="-78"/>
              </a:rPr>
              <a:t>تنفيذ الدروس</a:t>
            </a:r>
          </a:p>
          <a:p>
            <a:pPr marL="243411" indent="-243411" algn="justLow" defTabSz="1219170">
              <a:buClr>
                <a:schemeClr val="accent1">
                  <a:lumMod val="75000"/>
                </a:schemeClr>
              </a:buClr>
              <a:buFont typeface="Courier New" panose="02070309020205020404" pitchFamily="49" charset="0"/>
              <a:buChar char="o"/>
              <a:tabLst>
                <a:tab pos="122764" algn="l"/>
              </a:tabLst>
              <a:defRPr/>
            </a:pPr>
            <a:r>
              <a:rPr lang="ar-SA" sz="2400" dirty="0">
                <a:solidFill>
                  <a:srgbClr val="002060"/>
                </a:solidFill>
                <a:latin typeface="Sakkal Majalla" panose="02000000000000000000" pitchFamily="2" charset="-78"/>
                <a:ea typeface="Samim" panose="020B0603030804020204" pitchFamily="34" charset="0"/>
                <a:cs typeface="Sakkal Majalla" panose="02000000000000000000" pitchFamily="2" charset="-78"/>
              </a:rPr>
              <a:t> كيف يرفعون رغبة الطلاب ودافعتيهم وانضباطهم من أجل التعلم.</a:t>
            </a:r>
          </a:p>
          <a:p>
            <a:pPr marL="243411" indent="-243411" algn="justLow" defTabSz="1219170">
              <a:buClr>
                <a:schemeClr val="accent1">
                  <a:lumMod val="75000"/>
                </a:schemeClr>
              </a:buClr>
              <a:buFont typeface="Courier New" panose="02070309020205020404" pitchFamily="49" charset="0"/>
              <a:buChar char="o"/>
              <a:tabLst>
                <a:tab pos="122764" algn="l"/>
              </a:tabLst>
              <a:defRPr/>
            </a:pPr>
            <a:r>
              <a:rPr lang="ar-SA" sz="2400" dirty="0">
                <a:solidFill>
                  <a:srgbClr val="002060"/>
                </a:solidFill>
                <a:latin typeface="Sakkal Majalla" panose="02000000000000000000" pitchFamily="2" charset="-78"/>
                <a:ea typeface="Samim" panose="020B0603030804020204" pitchFamily="34" charset="0"/>
                <a:cs typeface="Sakkal Majalla" panose="02000000000000000000" pitchFamily="2" charset="-78"/>
              </a:rPr>
              <a:t> يتعلمون من خبرات بعضهم البعض.</a:t>
            </a:r>
          </a:p>
          <a:p>
            <a:pPr marL="243411" indent="-243411" algn="justLow" defTabSz="1219170">
              <a:buClr>
                <a:schemeClr val="accent1">
                  <a:lumMod val="75000"/>
                </a:schemeClr>
              </a:buClr>
              <a:buFont typeface="Courier New" panose="02070309020205020404" pitchFamily="49" charset="0"/>
              <a:buChar char="o"/>
              <a:tabLst>
                <a:tab pos="122764" algn="l"/>
              </a:tabLst>
              <a:defRPr/>
            </a:pPr>
            <a:r>
              <a:rPr lang="ar-SA" sz="2400" dirty="0">
                <a:solidFill>
                  <a:srgbClr val="002060"/>
                </a:solidFill>
                <a:latin typeface="Sakkal Majalla" panose="02000000000000000000" pitchFamily="2" charset="-78"/>
                <a:ea typeface="Samim" panose="020B0603030804020204" pitchFamily="34" charset="0"/>
                <a:cs typeface="Sakkal Majalla" panose="02000000000000000000" pitchFamily="2" charset="-78"/>
              </a:rPr>
              <a:t> يحلون مشكلات تعلم طلابهم.</a:t>
            </a:r>
          </a:p>
          <a:p>
            <a:pPr marL="243411" indent="-243411" algn="justLow" defTabSz="1219170">
              <a:buClr>
                <a:schemeClr val="accent1">
                  <a:lumMod val="75000"/>
                </a:schemeClr>
              </a:buClr>
              <a:buFont typeface="Courier New" panose="02070309020205020404" pitchFamily="49" charset="0"/>
              <a:buChar char="o"/>
              <a:tabLst>
                <a:tab pos="122764" algn="l"/>
              </a:tabLst>
              <a:defRPr/>
            </a:pPr>
            <a:r>
              <a:rPr lang="ar-SA" sz="2400" dirty="0">
                <a:solidFill>
                  <a:srgbClr val="002060"/>
                </a:solidFill>
                <a:latin typeface="Sakkal Majalla" panose="02000000000000000000" pitchFamily="2" charset="-78"/>
                <a:ea typeface="Samim" panose="020B0603030804020204" pitchFamily="34" charset="0"/>
                <a:cs typeface="Sakkal Majalla" panose="02000000000000000000" pitchFamily="2" charset="-78"/>
              </a:rPr>
              <a:t>يقرأون ويكتبون.</a:t>
            </a:r>
          </a:p>
        </p:txBody>
      </p:sp>
      <p:sp>
        <p:nvSpPr>
          <p:cNvPr id="54" name="Google Shape;289;p22">
            <a:extLst>
              <a:ext uri="{FF2B5EF4-FFF2-40B4-BE49-F238E27FC236}">
                <a16:creationId xmlns:a16="http://schemas.microsoft.com/office/drawing/2014/main" id="{47B3A639-B54E-5E42-CC43-9C7AE9B9D00D}"/>
              </a:ext>
            </a:extLst>
          </p:cNvPr>
          <p:cNvSpPr txBox="1"/>
          <p:nvPr/>
        </p:nvSpPr>
        <p:spPr>
          <a:xfrm>
            <a:off x="545804" y="1457113"/>
            <a:ext cx="2650477" cy="377183"/>
          </a:xfrm>
          <a:prstGeom prst="rect">
            <a:avLst/>
          </a:prstGeom>
          <a:noFill/>
          <a:ln>
            <a:noFill/>
          </a:ln>
        </p:spPr>
        <p:txBody>
          <a:bodyPr spcFirstLastPara="1" wrap="square" lIns="121900" tIns="121900" rIns="121900" bIns="121900" anchor="ctr" anchorCtr="0">
            <a:noAutofit/>
          </a:bodyPr>
          <a:lstStyle/>
          <a:p>
            <a:r>
              <a:rPr lang="ar-SA" sz="2667" b="1" dirty="0">
                <a:solidFill>
                  <a:srgbClr val="C00000"/>
                </a:solidFill>
                <a:latin typeface="Sakkal Majalla" panose="02000000000000000000" pitchFamily="2" charset="-78"/>
                <a:ea typeface="Fira Sans Extra Condensed SemiBold"/>
                <a:cs typeface="Sakkal Majalla" panose="02000000000000000000" pitchFamily="2" charset="-78"/>
                <a:sym typeface="Fira Sans Extra Condensed SemiBold"/>
              </a:rPr>
              <a:t>تطوير وتحسين التدريس</a:t>
            </a:r>
          </a:p>
        </p:txBody>
      </p:sp>
      <p:sp>
        <p:nvSpPr>
          <p:cNvPr id="57" name="Google Shape;331;p23">
            <a:extLst>
              <a:ext uri="{FF2B5EF4-FFF2-40B4-BE49-F238E27FC236}">
                <a16:creationId xmlns:a16="http://schemas.microsoft.com/office/drawing/2014/main" id="{A4005EDA-D102-BA2D-CA97-9BD81C783968}"/>
              </a:ext>
            </a:extLst>
          </p:cNvPr>
          <p:cNvSpPr/>
          <p:nvPr/>
        </p:nvSpPr>
        <p:spPr>
          <a:xfrm rot="5400000" flipV="1">
            <a:off x="4043101" y="1943199"/>
            <a:ext cx="850400" cy="8073860"/>
          </a:xfrm>
          <a:prstGeom prst="round2SameRect">
            <a:avLst>
              <a:gd name="adj1" fmla="val 44787"/>
              <a:gd name="adj2" fmla="val 0"/>
            </a:avLst>
          </a:prstGeom>
          <a:solidFill>
            <a:srgbClr val="EFEFEF"/>
          </a:solidFill>
          <a:ln>
            <a:noFill/>
          </a:ln>
        </p:spPr>
        <p:txBody>
          <a:bodyPr spcFirstLastPara="1" vert="vert" wrap="square" lIns="121900" tIns="121900" rIns="121900" bIns="121900" anchor="ctr" anchorCtr="0">
            <a:noAutofit/>
          </a:bodyPr>
          <a:lstStyle/>
          <a:p>
            <a:pPr marL="127994" algn="justLow" defTabSz="1625519">
              <a:spcBef>
                <a:spcPts val="1067"/>
              </a:spcBef>
              <a:buClr>
                <a:srgbClr val="000000"/>
              </a:buClr>
              <a:defRPr/>
            </a:pPr>
            <a:r>
              <a:rPr lang="ar-SA" sz="2133" b="1" kern="0" dirty="0">
                <a:solidFill>
                  <a:srgbClr val="002060"/>
                </a:solidFill>
                <a:latin typeface="Sakkal Majalla" panose="02000000000000000000" pitchFamily="2" charset="-78"/>
                <a:ea typeface="Samim" panose="020B0603030804020204" pitchFamily="34" charset="0"/>
                <a:cs typeface="Sakkal Majalla" panose="02000000000000000000" pitchFamily="2" charset="-78"/>
                <a:sym typeface="Arial"/>
              </a:rPr>
              <a:t>إدارة</a:t>
            </a:r>
            <a:r>
              <a:rPr lang="ar-SA" sz="2133" b="1" kern="0" dirty="0">
                <a:solidFill>
                  <a:srgbClr val="002060"/>
                </a:solidFill>
                <a:latin typeface="Sakkal Majalla" panose="02000000000000000000" pitchFamily="2" charset="-78"/>
                <a:ea typeface="Samim" panose="020B0603030804020204" pitchFamily="34" charset="0"/>
                <a:cs typeface="Sakkal Majalla" panose="02000000000000000000" pitchFamily="2" charset="-78"/>
              </a:rPr>
              <a:t> المدرسة: </a:t>
            </a:r>
            <a:r>
              <a:rPr lang="ar-SA" sz="2133" kern="0" dirty="0">
                <a:solidFill>
                  <a:srgbClr val="002060"/>
                </a:solidFill>
                <a:latin typeface="Sakkal Majalla" panose="02000000000000000000" pitchFamily="2" charset="-78"/>
                <a:ea typeface="Samim" panose="020B0603030804020204" pitchFamily="34" charset="0"/>
                <a:cs typeface="Sakkal Majalla" panose="02000000000000000000" pitchFamily="2" charset="-78"/>
              </a:rPr>
              <a:t>عملية إشرافية لقيادة وإدارة ومتابعة هذه المهام والحفاظ على استمرار تطويرها وتحسينها وحماية الوقت المخصص لها من أجل العمل الأصيل للمدرسة: تدريس كفء وتعلم عميق</a:t>
            </a:r>
            <a:endParaRPr lang="ar-SA" sz="2133" kern="0" dirty="0">
              <a:solidFill>
                <a:srgbClr val="002060"/>
              </a:solidFill>
              <a:latin typeface="Sakkal Majalla" panose="02000000000000000000" pitchFamily="2" charset="-78"/>
              <a:ea typeface="Samim" panose="020B0603030804020204" pitchFamily="34" charset="0"/>
              <a:cs typeface="Sakkal Majalla" panose="02000000000000000000" pitchFamily="2" charset="-78"/>
              <a:sym typeface="Arial"/>
            </a:endParaRPr>
          </a:p>
        </p:txBody>
      </p:sp>
      <p:sp>
        <p:nvSpPr>
          <p:cNvPr id="58" name="Google Shape;336;p23">
            <a:extLst>
              <a:ext uri="{FF2B5EF4-FFF2-40B4-BE49-F238E27FC236}">
                <a16:creationId xmlns:a16="http://schemas.microsoft.com/office/drawing/2014/main" id="{E6860A1E-1298-475B-8D3C-FFD5791CAE7F}"/>
              </a:ext>
            </a:extLst>
          </p:cNvPr>
          <p:cNvSpPr/>
          <p:nvPr/>
        </p:nvSpPr>
        <p:spPr>
          <a:xfrm rot="-5400000" flipV="1">
            <a:off x="9694789" y="4448440"/>
            <a:ext cx="850403" cy="3063379"/>
          </a:xfrm>
          <a:prstGeom prst="round2SameRect">
            <a:avLst>
              <a:gd name="adj1" fmla="val 50000"/>
              <a:gd name="adj2" fmla="val 0"/>
            </a:avLst>
          </a:prstGeom>
          <a:solidFill>
            <a:srgbClr val="264653"/>
          </a:solidFill>
          <a:ln>
            <a:noFill/>
          </a:ln>
        </p:spPr>
        <p:txBody>
          <a:bodyPr spcFirstLastPara="1" vert="vert270" wrap="square" lIns="121900" tIns="121900" rIns="121900" bIns="121900" anchor="ctr" anchorCtr="0">
            <a:noAutofit/>
          </a:bodyPr>
          <a:lstStyle/>
          <a:p>
            <a:pPr algn="ctr" defTabSz="1219170">
              <a:buClr>
                <a:srgbClr val="000000"/>
              </a:buClr>
              <a:defRPr/>
            </a:pPr>
            <a:r>
              <a:rPr lang="ar-SA" sz="3200" kern="0" dirty="0">
                <a:solidFill>
                  <a:schemeClr val="bg1"/>
                </a:solidFill>
                <a:latin typeface="Sakkal Majalla" panose="02000000000000000000" pitchFamily="2" charset="-78"/>
                <a:cs typeface="Sakkal Majalla" panose="02000000000000000000" pitchFamily="2" charset="-78"/>
                <a:sym typeface="Arial"/>
              </a:rPr>
              <a:t>مهمة القيادة المدرسية</a:t>
            </a:r>
            <a:endParaRPr sz="3200" kern="0" dirty="0">
              <a:solidFill>
                <a:schemeClr val="bg1"/>
              </a:solidFill>
              <a:latin typeface="Sakkal Majalla" panose="02000000000000000000" pitchFamily="2" charset="-78"/>
              <a:cs typeface="Sakkal Majalla" panose="02000000000000000000" pitchFamily="2" charset="-78"/>
              <a:sym typeface="Arial"/>
            </a:endParaRPr>
          </a:p>
        </p:txBody>
      </p:sp>
    </p:spTree>
    <p:extLst>
      <p:ext uri="{BB962C8B-B14F-4D97-AF65-F5344CB8AC3E}">
        <p14:creationId xmlns:p14="http://schemas.microsoft.com/office/powerpoint/2010/main" val="9252653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arn(inVertical)">
                                      <p:cBhvr>
                                        <p:cTn id="7" dur="125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grpId="0" nodeType="click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barn(inVertical)">
                                      <p:cBhvr>
                                        <p:cTn id="12" dur="500"/>
                                        <p:tgtEl>
                                          <p:spTgt spid="12"/>
                                        </p:tgtEl>
                                      </p:cBhvr>
                                    </p:animEffect>
                                  </p:childTnLst>
                                </p:cTn>
                              </p:par>
                              <p:par>
                                <p:cTn id="13" presetID="16" presetClass="entr" presetSubtype="21" fill="hold" grpId="0" nodeType="withEffect">
                                  <p:stCondLst>
                                    <p:cond delay="0"/>
                                  </p:stCondLst>
                                  <p:childTnLst>
                                    <p:set>
                                      <p:cBhvr>
                                        <p:cTn id="14" dur="1" fill="hold">
                                          <p:stCondLst>
                                            <p:cond delay="0"/>
                                          </p:stCondLst>
                                        </p:cTn>
                                        <p:tgtEl>
                                          <p:spTgt spid="13"/>
                                        </p:tgtEl>
                                        <p:attrNameLst>
                                          <p:attrName>style.visibility</p:attrName>
                                        </p:attrNameLst>
                                      </p:cBhvr>
                                      <p:to>
                                        <p:strVal val="visible"/>
                                      </p:to>
                                    </p:set>
                                    <p:animEffect transition="in" filter="barn(inVertical)">
                                      <p:cBhvr>
                                        <p:cTn id="15" dur="500"/>
                                        <p:tgtEl>
                                          <p:spTgt spid="13"/>
                                        </p:tgtEl>
                                      </p:cBhvr>
                                    </p:animEffect>
                                  </p:childTnLst>
                                </p:cTn>
                              </p:par>
                              <p:par>
                                <p:cTn id="16" presetID="16" presetClass="entr" presetSubtype="21" fill="hold" grpId="0" nodeType="withEffect">
                                  <p:stCondLst>
                                    <p:cond delay="0"/>
                                  </p:stCondLst>
                                  <p:childTnLst>
                                    <p:set>
                                      <p:cBhvr>
                                        <p:cTn id="17" dur="1" fill="hold">
                                          <p:stCondLst>
                                            <p:cond delay="0"/>
                                          </p:stCondLst>
                                        </p:cTn>
                                        <p:tgtEl>
                                          <p:spTgt spid="14"/>
                                        </p:tgtEl>
                                        <p:attrNameLst>
                                          <p:attrName>style.visibility</p:attrName>
                                        </p:attrNameLst>
                                      </p:cBhvr>
                                      <p:to>
                                        <p:strVal val="visible"/>
                                      </p:to>
                                    </p:set>
                                    <p:animEffect transition="in" filter="barn(inVertical)">
                                      <p:cBhvr>
                                        <p:cTn id="18" dur="500"/>
                                        <p:tgtEl>
                                          <p:spTgt spid="14"/>
                                        </p:tgtEl>
                                      </p:cBhvr>
                                    </p:animEffect>
                                  </p:childTnLst>
                                </p:cTn>
                              </p:par>
                            </p:childTnLst>
                          </p:cTn>
                        </p:par>
                      </p:childTnLst>
                    </p:cTn>
                  </p:par>
                  <p:par>
                    <p:cTn id="19" fill="hold">
                      <p:stCondLst>
                        <p:cond delay="indefinite"/>
                      </p:stCondLst>
                      <p:childTnLst>
                        <p:par>
                          <p:cTn id="20" fill="hold">
                            <p:stCondLst>
                              <p:cond delay="0"/>
                            </p:stCondLst>
                            <p:childTnLst>
                              <p:par>
                                <p:cTn id="21" presetID="16" presetClass="entr" presetSubtype="21" fill="hold" grpId="0" nodeType="click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barn(inVertical)">
                                      <p:cBhvr>
                                        <p:cTn id="23" dur="500"/>
                                        <p:tgtEl>
                                          <p:spTgt spid="7"/>
                                        </p:tgtEl>
                                      </p:cBhvr>
                                    </p:animEffect>
                                  </p:childTnLst>
                                </p:cTn>
                              </p:par>
                              <p:par>
                                <p:cTn id="24" presetID="16" presetClass="entr" presetSubtype="21" fill="hold" grpId="0" nodeType="withEffect">
                                  <p:stCondLst>
                                    <p:cond delay="0"/>
                                  </p:stCondLst>
                                  <p:childTnLst>
                                    <p:set>
                                      <p:cBhvr>
                                        <p:cTn id="25" dur="1" fill="hold">
                                          <p:stCondLst>
                                            <p:cond delay="0"/>
                                          </p:stCondLst>
                                        </p:cTn>
                                        <p:tgtEl>
                                          <p:spTgt spid="17"/>
                                        </p:tgtEl>
                                        <p:attrNameLst>
                                          <p:attrName>style.visibility</p:attrName>
                                        </p:attrNameLst>
                                      </p:cBhvr>
                                      <p:to>
                                        <p:strVal val="visible"/>
                                      </p:to>
                                    </p:set>
                                    <p:animEffect transition="in" filter="barn(inVertical)">
                                      <p:cBhvr>
                                        <p:cTn id="26" dur="500"/>
                                        <p:tgtEl>
                                          <p:spTgt spid="17"/>
                                        </p:tgtEl>
                                      </p:cBhvr>
                                    </p:animEffect>
                                  </p:childTnLst>
                                </p:cTn>
                              </p:par>
                            </p:childTnLst>
                          </p:cTn>
                        </p:par>
                      </p:childTnLst>
                    </p:cTn>
                  </p:par>
                  <p:par>
                    <p:cTn id="27" fill="hold">
                      <p:stCondLst>
                        <p:cond delay="indefinite"/>
                      </p:stCondLst>
                      <p:childTnLst>
                        <p:par>
                          <p:cTn id="28" fill="hold">
                            <p:stCondLst>
                              <p:cond delay="0"/>
                            </p:stCondLst>
                            <p:childTnLst>
                              <p:par>
                                <p:cTn id="29" presetID="16" presetClass="entr" presetSubtype="21" fill="hold" grpId="0" nodeType="clickEffect">
                                  <p:stCondLst>
                                    <p:cond delay="0"/>
                                  </p:stCondLst>
                                  <p:childTnLst>
                                    <p:set>
                                      <p:cBhvr>
                                        <p:cTn id="30" dur="1" fill="hold">
                                          <p:stCondLst>
                                            <p:cond delay="0"/>
                                          </p:stCondLst>
                                        </p:cTn>
                                        <p:tgtEl>
                                          <p:spTgt spid="10"/>
                                        </p:tgtEl>
                                        <p:attrNameLst>
                                          <p:attrName>style.visibility</p:attrName>
                                        </p:attrNameLst>
                                      </p:cBhvr>
                                      <p:to>
                                        <p:strVal val="visible"/>
                                      </p:to>
                                    </p:set>
                                    <p:animEffect transition="in" filter="barn(inVertical)">
                                      <p:cBhvr>
                                        <p:cTn id="31" dur="500"/>
                                        <p:tgtEl>
                                          <p:spTgt spid="10"/>
                                        </p:tgtEl>
                                      </p:cBhvr>
                                    </p:animEffect>
                                  </p:childTnLst>
                                </p:cTn>
                              </p:par>
                              <p:par>
                                <p:cTn id="32" presetID="16" presetClass="entr" presetSubtype="21" fill="hold" grpId="0" nodeType="withEffect">
                                  <p:stCondLst>
                                    <p:cond delay="0"/>
                                  </p:stCondLst>
                                  <p:childTnLst>
                                    <p:set>
                                      <p:cBhvr>
                                        <p:cTn id="33" dur="1" fill="hold">
                                          <p:stCondLst>
                                            <p:cond delay="0"/>
                                          </p:stCondLst>
                                        </p:cTn>
                                        <p:tgtEl>
                                          <p:spTgt spid="9"/>
                                        </p:tgtEl>
                                        <p:attrNameLst>
                                          <p:attrName>style.visibility</p:attrName>
                                        </p:attrNameLst>
                                      </p:cBhvr>
                                      <p:to>
                                        <p:strVal val="visible"/>
                                      </p:to>
                                    </p:set>
                                    <p:animEffect transition="in" filter="barn(inVertical)">
                                      <p:cBhvr>
                                        <p:cTn id="34" dur="500"/>
                                        <p:tgtEl>
                                          <p:spTgt spid="9"/>
                                        </p:tgtEl>
                                      </p:cBhvr>
                                    </p:animEffect>
                                  </p:childTnLst>
                                </p:cTn>
                              </p:par>
                              <p:par>
                                <p:cTn id="35" presetID="16" presetClass="entr" presetSubtype="21" fill="hold" grpId="0" nodeType="withEffect">
                                  <p:stCondLst>
                                    <p:cond delay="0"/>
                                  </p:stCondLst>
                                  <p:childTnLst>
                                    <p:set>
                                      <p:cBhvr>
                                        <p:cTn id="36" dur="1" fill="hold">
                                          <p:stCondLst>
                                            <p:cond delay="0"/>
                                          </p:stCondLst>
                                        </p:cTn>
                                        <p:tgtEl>
                                          <p:spTgt spid="11"/>
                                        </p:tgtEl>
                                        <p:attrNameLst>
                                          <p:attrName>style.visibility</p:attrName>
                                        </p:attrNameLst>
                                      </p:cBhvr>
                                      <p:to>
                                        <p:strVal val="visible"/>
                                      </p:to>
                                    </p:set>
                                    <p:animEffect transition="in" filter="barn(inVertical)">
                                      <p:cBhvr>
                                        <p:cTn id="37" dur="500"/>
                                        <p:tgtEl>
                                          <p:spTgt spid="11"/>
                                        </p:tgtEl>
                                      </p:cBhvr>
                                    </p:animEffect>
                                  </p:childTnLst>
                                </p:cTn>
                              </p:par>
                            </p:childTnLst>
                          </p:cTn>
                        </p:par>
                      </p:childTnLst>
                    </p:cTn>
                  </p:par>
                  <p:par>
                    <p:cTn id="38" fill="hold">
                      <p:stCondLst>
                        <p:cond delay="indefinite"/>
                      </p:stCondLst>
                      <p:childTnLst>
                        <p:par>
                          <p:cTn id="39" fill="hold">
                            <p:stCondLst>
                              <p:cond delay="0"/>
                            </p:stCondLst>
                            <p:childTnLst>
                              <p:par>
                                <p:cTn id="40" presetID="16" presetClass="entr" presetSubtype="21" fill="hold" grpId="0" nodeType="clickEffect">
                                  <p:stCondLst>
                                    <p:cond delay="0"/>
                                  </p:stCondLst>
                                  <p:childTnLst>
                                    <p:set>
                                      <p:cBhvr>
                                        <p:cTn id="41" dur="1" fill="hold">
                                          <p:stCondLst>
                                            <p:cond delay="0"/>
                                          </p:stCondLst>
                                        </p:cTn>
                                        <p:tgtEl>
                                          <p:spTgt spid="6"/>
                                        </p:tgtEl>
                                        <p:attrNameLst>
                                          <p:attrName>style.visibility</p:attrName>
                                        </p:attrNameLst>
                                      </p:cBhvr>
                                      <p:to>
                                        <p:strVal val="visible"/>
                                      </p:to>
                                    </p:set>
                                    <p:animEffect transition="in" filter="barn(inVertical)">
                                      <p:cBhvr>
                                        <p:cTn id="42" dur="500"/>
                                        <p:tgtEl>
                                          <p:spTgt spid="6"/>
                                        </p:tgtEl>
                                      </p:cBhvr>
                                    </p:animEffect>
                                  </p:childTnLst>
                                </p:cTn>
                              </p:par>
                              <p:par>
                                <p:cTn id="43" presetID="16" presetClass="entr" presetSubtype="21" fill="hold" grpId="0" nodeType="withEffect">
                                  <p:stCondLst>
                                    <p:cond delay="0"/>
                                  </p:stCondLst>
                                  <p:childTnLst>
                                    <p:set>
                                      <p:cBhvr>
                                        <p:cTn id="44" dur="1" fill="hold">
                                          <p:stCondLst>
                                            <p:cond delay="0"/>
                                          </p:stCondLst>
                                        </p:cTn>
                                        <p:tgtEl>
                                          <p:spTgt spid="54"/>
                                        </p:tgtEl>
                                        <p:attrNameLst>
                                          <p:attrName>style.visibility</p:attrName>
                                        </p:attrNameLst>
                                      </p:cBhvr>
                                      <p:to>
                                        <p:strVal val="visible"/>
                                      </p:to>
                                    </p:set>
                                    <p:animEffect transition="in" filter="barn(inVertical)">
                                      <p:cBhvr>
                                        <p:cTn id="45" dur="500"/>
                                        <p:tgtEl>
                                          <p:spTgt spid="54"/>
                                        </p:tgtEl>
                                      </p:cBhvr>
                                    </p:animEffect>
                                  </p:childTnLst>
                                </p:cTn>
                              </p:par>
                            </p:childTnLst>
                          </p:cTn>
                        </p:par>
                      </p:childTnLst>
                    </p:cTn>
                  </p:par>
                  <p:par>
                    <p:cTn id="46" fill="hold">
                      <p:stCondLst>
                        <p:cond delay="indefinite"/>
                      </p:stCondLst>
                      <p:childTnLst>
                        <p:par>
                          <p:cTn id="47" fill="hold">
                            <p:stCondLst>
                              <p:cond delay="0"/>
                            </p:stCondLst>
                            <p:childTnLst>
                              <p:par>
                                <p:cTn id="48" presetID="16" presetClass="entr" presetSubtype="21" fill="hold" grpId="0" nodeType="clickEffect">
                                  <p:stCondLst>
                                    <p:cond delay="0"/>
                                  </p:stCondLst>
                                  <p:childTnLst>
                                    <p:set>
                                      <p:cBhvr>
                                        <p:cTn id="49" dur="1" fill="hold">
                                          <p:stCondLst>
                                            <p:cond delay="0"/>
                                          </p:stCondLst>
                                        </p:cTn>
                                        <p:tgtEl>
                                          <p:spTgt spid="4"/>
                                        </p:tgtEl>
                                        <p:attrNameLst>
                                          <p:attrName>style.visibility</p:attrName>
                                        </p:attrNameLst>
                                      </p:cBhvr>
                                      <p:to>
                                        <p:strVal val="visible"/>
                                      </p:to>
                                    </p:set>
                                    <p:animEffect transition="in" filter="barn(inVertical)">
                                      <p:cBhvr>
                                        <p:cTn id="50" dur="500"/>
                                        <p:tgtEl>
                                          <p:spTgt spid="4"/>
                                        </p:tgtEl>
                                      </p:cBhvr>
                                    </p:animEffect>
                                  </p:childTnLst>
                                </p:cTn>
                              </p:par>
                            </p:childTnLst>
                          </p:cTn>
                        </p:par>
                      </p:childTnLst>
                    </p:cTn>
                  </p:par>
                  <p:par>
                    <p:cTn id="51" fill="hold">
                      <p:stCondLst>
                        <p:cond delay="indefinite"/>
                      </p:stCondLst>
                      <p:childTnLst>
                        <p:par>
                          <p:cTn id="52" fill="hold">
                            <p:stCondLst>
                              <p:cond delay="0"/>
                            </p:stCondLst>
                            <p:childTnLst>
                              <p:par>
                                <p:cTn id="53" presetID="16" presetClass="entr" presetSubtype="21" fill="hold" grpId="0" nodeType="clickEffect">
                                  <p:stCondLst>
                                    <p:cond delay="0"/>
                                  </p:stCondLst>
                                  <p:childTnLst>
                                    <p:set>
                                      <p:cBhvr>
                                        <p:cTn id="54" dur="1" fill="hold">
                                          <p:stCondLst>
                                            <p:cond delay="0"/>
                                          </p:stCondLst>
                                        </p:cTn>
                                        <p:tgtEl>
                                          <p:spTgt spid="53"/>
                                        </p:tgtEl>
                                        <p:attrNameLst>
                                          <p:attrName>style.visibility</p:attrName>
                                        </p:attrNameLst>
                                      </p:cBhvr>
                                      <p:to>
                                        <p:strVal val="visible"/>
                                      </p:to>
                                    </p:set>
                                    <p:animEffect transition="in" filter="barn(inVertical)">
                                      <p:cBhvr>
                                        <p:cTn id="55" dur="500"/>
                                        <p:tgtEl>
                                          <p:spTgt spid="53"/>
                                        </p:tgtEl>
                                      </p:cBhvr>
                                    </p:animEffect>
                                  </p:childTnLst>
                                </p:cTn>
                              </p:par>
                            </p:childTnLst>
                          </p:cTn>
                        </p:par>
                      </p:childTnLst>
                    </p:cTn>
                  </p:par>
                  <p:par>
                    <p:cTn id="56" fill="hold">
                      <p:stCondLst>
                        <p:cond delay="indefinite"/>
                      </p:stCondLst>
                      <p:childTnLst>
                        <p:par>
                          <p:cTn id="57" fill="hold">
                            <p:stCondLst>
                              <p:cond delay="0"/>
                            </p:stCondLst>
                            <p:childTnLst>
                              <p:par>
                                <p:cTn id="58" presetID="16" presetClass="entr" presetSubtype="21" fill="hold" grpId="0" nodeType="clickEffect">
                                  <p:stCondLst>
                                    <p:cond delay="0"/>
                                  </p:stCondLst>
                                  <p:childTnLst>
                                    <p:set>
                                      <p:cBhvr>
                                        <p:cTn id="59" dur="1" fill="hold">
                                          <p:stCondLst>
                                            <p:cond delay="0"/>
                                          </p:stCondLst>
                                        </p:cTn>
                                        <p:tgtEl>
                                          <p:spTgt spid="58"/>
                                        </p:tgtEl>
                                        <p:attrNameLst>
                                          <p:attrName>style.visibility</p:attrName>
                                        </p:attrNameLst>
                                      </p:cBhvr>
                                      <p:to>
                                        <p:strVal val="visible"/>
                                      </p:to>
                                    </p:set>
                                    <p:animEffect transition="in" filter="barn(inVertical)">
                                      <p:cBhvr>
                                        <p:cTn id="60" dur="1000"/>
                                        <p:tgtEl>
                                          <p:spTgt spid="58"/>
                                        </p:tgtEl>
                                      </p:cBhvr>
                                    </p:animEffect>
                                  </p:childTnLst>
                                </p:cTn>
                              </p:par>
                            </p:childTnLst>
                          </p:cTn>
                        </p:par>
                      </p:childTnLst>
                    </p:cTn>
                  </p:par>
                  <p:par>
                    <p:cTn id="61" fill="hold">
                      <p:stCondLst>
                        <p:cond delay="indefinite"/>
                      </p:stCondLst>
                      <p:childTnLst>
                        <p:par>
                          <p:cTn id="62" fill="hold">
                            <p:stCondLst>
                              <p:cond delay="0"/>
                            </p:stCondLst>
                            <p:childTnLst>
                              <p:par>
                                <p:cTn id="63" presetID="16" presetClass="entr" presetSubtype="21" fill="hold" grpId="0" nodeType="clickEffect">
                                  <p:stCondLst>
                                    <p:cond delay="0"/>
                                  </p:stCondLst>
                                  <p:childTnLst>
                                    <p:set>
                                      <p:cBhvr>
                                        <p:cTn id="64" dur="1" fill="hold">
                                          <p:stCondLst>
                                            <p:cond delay="0"/>
                                          </p:stCondLst>
                                        </p:cTn>
                                        <p:tgtEl>
                                          <p:spTgt spid="57"/>
                                        </p:tgtEl>
                                        <p:attrNameLst>
                                          <p:attrName>style.visibility</p:attrName>
                                        </p:attrNameLst>
                                      </p:cBhvr>
                                      <p:to>
                                        <p:strVal val="visible"/>
                                      </p:to>
                                    </p:set>
                                    <p:animEffect transition="in" filter="barn(inVertical)">
                                      <p:cBhvr>
                                        <p:cTn id="65" dur="1000"/>
                                        <p:tgtEl>
                                          <p:spTgt spid="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p:bldP spid="6" grpId="0" animBg="1"/>
      <p:bldP spid="7" grpId="0" animBg="1"/>
      <p:bldP spid="9" grpId="0" animBg="1"/>
      <p:bldP spid="10" grpId="0" animBg="1"/>
      <p:bldP spid="11" grpId="0"/>
      <p:bldP spid="12" grpId="0" animBg="1"/>
      <p:bldP spid="13" grpId="0" animBg="1"/>
      <p:bldP spid="14" grpId="0"/>
      <p:bldP spid="17" grpId="0"/>
      <p:bldP spid="53" grpId="0" animBg="1"/>
      <p:bldP spid="54" grpId="0"/>
      <p:bldP spid="57" grpId="0" animBg="1"/>
      <p:bldP spid="58" grpId="0" animBg="1"/>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Google Shape;910;p31">
            <a:extLst>
              <a:ext uri="{FF2B5EF4-FFF2-40B4-BE49-F238E27FC236}">
                <a16:creationId xmlns:a16="http://schemas.microsoft.com/office/drawing/2014/main" id="{0E5F62C0-C590-03AF-088B-CF5CFA15F7C8}"/>
              </a:ext>
            </a:extLst>
          </p:cNvPr>
          <p:cNvSpPr txBox="1"/>
          <p:nvPr/>
        </p:nvSpPr>
        <p:spPr>
          <a:xfrm>
            <a:off x="8131637" y="1016269"/>
            <a:ext cx="3624942" cy="435819"/>
          </a:xfrm>
          <a:prstGeom prst="rect">
            <a:avLst/>
          </a:prstGeom>
          <a:solidFill>
            <a:srgbClr val="11C1FF">
              <a:alpha val="55294"/>
            </a:srgbClr>
          </a:solidFill>
          <a:ln w="9525" cap="flat" cmpd="sng">
            <a:solidFill>
              <a:srgbClr val="97A4FF"/>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defTabSz="1219140" rtl="1" eaLnBrk="1" fontAlgn="auto" latinLnBrk="0" hangingPunct="1">
              <a:lnSpc>
                <a:spcPct val="100000"/>
              </a:lnSpc>
              <a:spcBef>
                <a:spcPts val="0"/>
              </a:spcBef>
              <a:spcAft>
                <a:spcPts val="0"/>
              </a:spcAft>
              <a:buClrTx/>
              <a:buSzTx/>
              <a:buFontTx/>
              <a:buNone/>
              <a:tabLst/>
              <a:defRPr/>
            </a:pPr>
            <a:r>
              <a:rPr kumimoji="0" lang="ar-SA" sz="2400" b="1" i="0" u="none" strike="noStrike" kern="1200" cap="none" spc="0" normalizeH="0" baseline="0" noProof="0" dirty="0">
                <a:ln>
                  <a:noFill/>
                </a:ln>
                <a:solidFill>
                  <a:srgbClr val="01083A"/>
                </a:solidFill>
                <a:effectLst/>
                <a:uLnTx/>
                <a:uFillTx/>
                <a:latin typeface="Sakkal Majalla" panose="02000000000000000000" pitchFamily="2" charset="-78"/>
                <a:ea typeface="Samim" panose="020B0603030804020204" pitchFamily="34" charset="0"/>
                <a:cs typeface="Sakkal Majalla" panose="02000000000000000000" pitchFamily="2" charset="-78"/>
                <a:sym typeface="Josefin Sans"/>
              </a:rPr>
              <a:t>مرحلة قبل تطبيق التقويم الذاتي</a:t>
            </a:r>
            <a:endParaRPr kumimoji="0" sz="2400" b="1" i="0" u="none" strike="noStrike" kern="1200" cap="none" spc="0" normalizeH="0" baseline="0" noProof="0" dirty="0">
              <a:ln>
                <a:noFill/>
              </a:ln>
              <a:solidFill>
                <a:srgbClr val="01083A"/>
              </a:solidFill>
              <a:effectLst/>
              <a:uLnTx/>
              <a:uFillTx/>
              <a:latin typeface="Sakkal Majalla" panose="02000000000000000000" pitchFamily="2" charset="-78"/>
              <a:ea typeface="Samim" panose="020B0603030804020204" pitchFamily="34" charset="0"/>
              <a:cs typeface="Sakkal Majalla" panose="02000000000000000000" pitchFamily="2" charset="-78"/>
              <a:sym typeface="Josefin Sans"/>
            </a:endParaRPr>
          </a:p>
        </p:txBody>
      </p:sp>
      <p:sp>
        <p:nvSpPr>
          <p:cNvPr id="3" name="Google Shape;911;p31">
            <a:extLst>
              <a:ext uri="{FF2B5EF4-FFF2-40B4-BE49-F238E27FC236}">
                <a16:creationId xmlns:a16="http://schemas.microsoft.com/office/drawing/2014/main" id="{C6936CC4-C886-0A09-E525-7C3327F3DBB8}"/>
              </a:ext>
            </a:extLst>
          </p:cNvPr>
          <p:cNvSpPr txBox="1"/>
          <p:nvPr/>
        </p:nvSpPr>
        <p:spPr>
          <a:xfrm>
            <a:off x="8131637" y="1505350"/>
            <a:ext cx="3624942" cy="4949879"/>
          </a:xfrm>
          <a:prstGeom prst="rect">
            <a:avLst/>
          </a:prstGeom>
          <a:noFill/>
          <a:ln w="9525" cap="flat" cmpd="sng">
            <a:solidFill>
              <a:srgbClr val="97A4FF"/>
            </a:solidFill>
            <a:prstDash val="solid"/>
            <a:round/>
            <a:headEnd type="none" w="sm" len="sm"/>
            <a:tailEnd type="none" w="sm" len="sm"/>
          </a:ln>
        </p:spPr>
        <p:txBody>
          <a:bodyPr spcFirstLastPara="1" wrap="square" lIns="60933" tIns="60933" rIns="60933" bIns="0" anchor="t" anchorCtr="0">
            <a:noAutofit/>
          </a:bodyPr>
          <a:lstStyle/>
          <a:p>
            <a:pPr marL="174625" marR="0" lvl="0" indent="-174625" algn="justLow" defTabSz="914400" rtl="1" eaLnBrk="1" fontAlgn="auto" latinLnBrk="0" hangingPunct="1">
              <a:lnSpc>
                <a:spcPct val="115000"/>
              </a:lnSpc>
              <a:spcBef>
                <a:spcPts val="0"/>
              </a:spcBef>
              <a:spcAft>
                <a:spcPts val="0"/>
              </a:spcAft>
              <a:buClrTx/>
              <a:buSzTx/>
              <a:buFont typeface="Times New Roman" panose="02020603050405020304" pitchFamily="18" charset="0"/>
              <a:buAutoNum type="arabicPeriod"/>
              <a:tabLst/>
              <a:defRPr/>
            </a:pPr>
            <a:r>
              <a:rPr kumimoji="0" lang="ar-SA" sz="1800" b="1" i="0" u="none" strike="noStrike" kern="1200" cap="none" spc="0" normalizeH="0" baseline="0" noProof="0" dirty="0">
                <a:ln>
                  <a:noFill/>
                </a:ln>
                <a:solidFill>
                  <a:srgbClr val="000000"/>
                </a:solidFill>
                <a:effectLst/>
                <a:uLnTx/>
                <a:uFillTx/>
                <a:latin typeface="Sakkal Majalla" panose="02000000000000000000" pitchFamily="2" charset="-78"/>
                <a:ea typeface="Times New Roman" panose="02020603050405020304" pitchFamily="18" charset="0"/>
                <a:cs typeface="Sakkal Majalla" panose="02000000000000000000" pitchFamily="2" charset="-78"/>
              </a:rPr>
              <a:t>مساندة المدرسة في التأكد من تحقيق المعايير للمجالات الأربعة: الإدارة المدرسية والتعليم والتعلم ونواتج التعلم وكذلك البيئة المدرسية.</a:t>
            </a:r>
            <a:endParaRPr kumimoji="0" lang="en-US" sz="1800" b="1" i="0" u="none" strike="noStrike" kern="1200" cap="none" spc="0" normalizeH="0" baseline="0" noProof="0" dirty="0">
              <a:ln>
                <a:noFill/>
              </a:ln>
              <a:solidFill>
                <a:prstClr val="black"/>
              </a:solidFill>
              <a:effectLst/>
              <a:uLnTx/>
              <a:uFillTx/>
              <a:latin typeface="Sakkal Majalla" panose="02000000000000000000" pitchFamily="2" charset="-78"/>
              <a:ea typeface="Times New Roman" panose="02020603050405020304" pitchFamily="18" charset="0"/>
              <a:cs typeface="Sakkal Majalla" panose="02000000000000000000" pitchFamily="2" charset="-78"/>
            </a:endParaRPr>
          </a:p>
          <a:p>
            <a:pPr marL="174625" marR="0" lvl="0" indent="-174625" algn="justLow" defTabSz="914400" rtl="1" eaLnBrk="1" fontAlgn="auto" latinLnBrk="0" hangingPunct="1">
              <a:lnSpc>
                <a:spcPct val="115000"/>
              </a:lnSpc>
              <a:spcBef>
                <a:spcPts val="0"/>
              </a:spcBef>
              <a:spcAft>
                <a:spcPts val="0"/>
              </a:spcAft>
              <a:buClrTx/>
              <a:buSzTx/>
              <a:buFont typeface="Times New Roman" panose="02020603050405020304" pitchFamily="18" charset="0"/>
              <a:buAutoNum type="arabicPeriod"/>
              <a:tabLst/>
              <a:defRPr/>
            </a:pPr>
            <a:r>
              <a:rPr kumimoji="0" lang="ar-SA" sz="1800" b="1" i="0" u="none" strike="noStrike" kern="1200" cap="none" spc="0" normalizeH="0" baseline="0" noProof="0" dirty="0">
                <a:ln>
                  <a:noFill/>
                </a:ln>
                <a:solidFill>
                  <a:srgbClr val="000000"/>
                </a:solidFill>
                <a:effectLst/>
                <a:uLnTx/>
                <a:uFillTx/>
                <a:latin typeface="Sakkal Majalla" panose="02000000000000000000" pitchFamily="2" charset="-78"/>
                <a:ea typeface="Times New Roman" panose="02020603050405020304" pitchFamily="18" charset="0"/>
                <a:cs typeface="Sakkal Majalla" panose="02000000000000000000" pitchFamily="2" charset="-78"/>
              </a:rPr>
              <a:t>دعم المدرسة في الرفع والإبلاغ عن كل ما يعيق تحقيق المعايير في مجال البيئة المدرسية (شركة تطوير، إدارة التعليم، وزارة التعليم)</a:t>
            </a:r>
            <a:endParaRPr kumimoji="0" lang="en-US" sz="1800" b="1" i="0" u="none" strike="noStrike" kern="1200" cap="none" spc="0" normalizeH="0" baseline="0" noProof="0" dirty="0">
              <a:ln>
                <a:noFill/>
              </a:ln>
              <a:solidFill>
                <a:prstClr val="black"/>
              </a:solidFill>
              <a:effectLst/>
              <a:uLnTx/>
              <a:uFillTx/>
              <a:latin typeface="Sakkal Majalla" panose="02000000000000000000" pitchFamily="2" charset="-78"/>
              <a:ea typeface="Times New Roman" panose="02020603050405020304" pitchFamily="18" charset="0"/>
              <a:cs typeface="Sakkal Majalla" panose="02000000000000000000" pitchFamily="2" charset="-78"/>
            </a:endParaRPr>
          </a:p>
          <a:p>
            <a:pPr marL="174625" marR="0" lvl="0" indent="-174625" algn="justLow" defTabSz="914400" rtl="1" eaLnBrk="1" fontAlgn="auto" latinLnBrk="0" hangingPunct="1">
              <a:lnSpc>
                <a:spcPct val="115000"/>
              </a:lnSpc>
              <a:spcBef>
                <a:spcPts val="0"/>
              </a:spcBef>
              <a:spcAft>
                <a:spcPts val="0"/>
              </a:spcAft>
              <a:buClrTx/>
              <a:buSzTx/>
              <a:buFont typeface="Times New Roman" panose="02020603050405020304" pitchFamily="18" charset="0"/>
              <a:buAutoNum type="arabicPeriod"/>
              <a:tabLst/>
              <a:defRPr/>
            </a:pPr>
            <a:r>
              <a:rPr kumimoji="0" lang="ar-SA" sz="1800" b="1" i="0" u="none" strike="noStrike" kern="1200" cap="none" spc="0" normalizeH="0" baseline="0" noProof="0" dirty="0">
                <a:ln>
                  <a:noFill/>
                </a:ln>
                <a:solidFill>
                  <a:prstClr val="black"/>
                </a:solidFill>
                <a:effectLst/>
                <a:uLnTx/>
                <a:uFillTx/>
                <a:latin typeface="Sakkal Majalla" panose="02000000000000000000" pitchFamily="2" charset="-78"/>
                <a:ea typeface="Times New Roman" panose="02020603050405020304" pitchFamily="18" charset="0"/>
                <a:cs typeface="Sakkal Majalla" panose="02000000000000000000" pitchFamily="2" charset="-78"/>
              </a:rPr>
              <a:t>تعزيز ثقافة التقويم المدرسي المستند إلى المعايير في المدارس المسندة له، وتوفير الشواهد الدالة على التحقق.</a:t>
            </a:r>
            <a:endParaRPr kumimoji="0" lang="en-US" sz="1800" b="1" i="0" u="none" strike="noStrike" kern="1200" cap="none" spc="0" normalizeH="0" baseline="0" noProof="0" dirty="0">
              <a:ln>
                <a:noFill/>
              </a:ln>
              <a:solidFill>
                <a:prstClr val="black"/>
              </a:solidFill>
              <a:effectLst/>
              <a:uLnTx/>
              <a:uFillTx/>
              <a:latin typeface="Sakkal Majalla" panose="02000000000000000000" pitchFamily="2" charset="-78"/>
              <a:ea typeface="Times New Roman" panose="02020603050405020304" pitchFamily="18" charset="0"/>
              <a:cs typeface="Sakkal Majalla" panose="02000000000000000000" pitchFamily="2" charset="-78"/>
            </a:endParaRPr>
          </a:p>
          <a:p>
            <a:pPr marL="174625" marR="0" lvl="0" indent="-174625" algn="justLow" defTabSz="914400" rtl="1" eaLnBrk="1" fontAlgn="auto" latinLnBrk="0" hangingPunct="1">
              <a:lnSpc>
                <a:spcPct val="115000"/>
              </a:lnSpc>
              <a:spcBef>
                <a:spcPts val="0"/>
              </a:spcBef>
              <a:spcAft>
                <a:spcPts val="0"/>
              </a:spcAft>
              <a:buClrTx/>
              <a:buSzTx/>
              <a:buFont typeface="Times New Roman" panose="02020603050405020304" pitchFamily="18" charset="0"/>
              <a:buAutoNum type="arabicPeriod"/>
              <a:tabLst/>
              <a:defRPr/>
            </a:pPr>
            <a:r>
              <a:rPr kumimoji="0" lang="ar-SA" sz="1800" b="1" i="0" u="none" strike="noStrike" kern="1200" cap="none" spc="0" normalizeH="0" baseline="0" noProof="0" dirty="0">
                <a:ln>
                  <a:noFill/>
                </a:ln>
                <a:solidFill>
                  <a:prstClr val="black"/>
                </a:solidFill>
                <a:effectLst/>
                <a:uLnTx/>
                <a:uFillTx/>
                <a:latin typeface="Sakkal Majalla" panose="02000000000000000000" pitchFamily="2" charset="-78"/>
                <a:ea typeface="Times New Roman" panose="02020603050405020304" pitchFamily="18" charset="0"/>
                <a:cs typeface="Sakkal Majalla" panose="02000000000000000000" pitchFamily="2" charset="-78"/>
              </a:rPr>
              <a:t>دعم تدريب الهيئة التعليمية والإدارية بالمدرسة على تطبيق أدوات التقويم المدرسي الذاتي. وتهيئها للتعامل مع التقويم الخارجي بفاعلية.</a:t>
            </a:r>
            <a:endParaRPr kumimoji="0" lang="en-US" sz="1800" b="1" i="0" u="none" strike="noStrike" kern="1200" cap="none" spc="0" normalizeH="0" baseline="0" noProof="0" dirty="0">
              <a:ln>
                <a:noFill/>
              </a:ln>
              <a:solidFill>
                <a:prstClr val="black"/>
              </a:solidFill>
              <a:effectLst/>
              <a:uLnTx/>
              <a:uFillTx/>
              <a:latin typeface="Sakkal Majalla" panose="02000000000000000000" pitchFamily="2" charset="-78"/>
              <a:ea typeface="Times New Roman" panose="02020603050405020304" pitchFamily="18" charset="0"/>
              <a:cs typeface="Sakkal Majalla" panose="02000000000000000000" pitchFamily="2" charset="-78"/>
            </a:endParaRPr>
          </a:p>
          <a:p>
            <a:pPr marL="174625" marR="0" lvl="0" indent="-174625" algn="justLow" defTabSz="914400" rtl="1" eaLnBrk="1" fontAlgn="auto" latinLnBrk="0" hangingPunct="1">
              <a:lnSpc>
                <a:spcPct val="115000"/>
              </a:lnSpc>
              <a:spcBef>
                <a:spcPts val="0"/>
              </a:spcBef>
              <a:spcAft>
                <a:spcPts val="1000"/>
              </a:spcAft>
              <a:buClrTx/>
              <a:buSzTx/>
              <a:buFont typeface="Times New Roman" panose="02020603050405020304" pitchFamily="18" charset="0"/>
              <a:buAutoNum type="arabicPeriod"/>
              <a:tabLst/>
              <a:defRPr/>
            </a:pPr>
            <a:r>
              <a:rPr kumimoji="0" lang="ar-SA" sz="1800" b="1" i="0" u="none" strike="noStrike" kern="1200" cap="none" spc="0" normalizeH="0" baseline="0" noProof="0" dirty="0">
                <a:ln>
                  <a:noFill/>
                </a:ln>
                <a:solidFill>
                  <a:prstClr val="black"/>
                </a:solidFill>
                <a:effectLst/>
                <a:uLnTx/>
                <a:uFillTx/>
                <a:latin typeface="Sakkal Majalla" panose="02000000000000000000" pitchFamily="2" charset="-78"/>
                <a:ea typeface="Times New Roman" panose="02020603050405020304" pitchFamily="18" charset="0"/>
                <a:cs typeface="Sakkal Majalla" panose="02000000000000000000" pitchFamily="2" charset="-78"/>
              </a:rPr>
              <a:t>تمكين المدرسة من إعداد خطة تطبيق التقويم المدرسي الذاتي، والعمل على ضمان جودة إجراءات ما قبل التطبيق.</a:t>
            </a:r>
            <a:endParaRPr kumimoji="0" lang="en-US" sz="1800" b="1" i="0" u="none" strike="noStrike" kern="1200" cap="none" spc="0" normalizeH="0" baseline="0" noProof="0" dirty="0">
              <a:ln>
                <a:noFill/>
              </a:ln>
              <a:solidFill>
                <a:prstClr val="black"/>
              </a:solidFill>
              <a:effectLst/>
              <a:uLnTx/>
              <a:uFillTx/>
              <a:latin typeface="Sakkal Majalla" panose="02000000000000000000" pitchFamily="2" charset="-78"/>
              <a:ea typeface="Times New Roman" panose="02020603050405020304" pitchFamily="18" charset="0"/>
              <a:cs typeface="Sakkal Majalla" panose="02000000000000000000" pitchFamily="2" charset="-78"/>
            </a:endParaRPr>
          </a:p>
          <a:p>
            <a:pPr marL="0" marR="0" lvl="0" indent="0" algn="r" defTabSz="1219140" rtl="1" eaLnBrk="1" fontAlgn="auto" latinLnBrk="0" hangingPunct="1">
              <a:lnSpc>
                <a:spcPct val="100000"/>
              </a:lnSpc>
              <a:spcBef>
                <a:spcPts val="0"/>
              </a:spcBef>
              <a:spcAft>
                <a:spcPts val="0"/>
              </a:spcAft>
              <a:buClrTx/>
              <a:buSzTx/>
              <a:buFontTx/>
              <a:buNone/>
              <a:tabLst/>
              <a:defRPr/>
            </a:pPr>
            <a:endParaRPr kumimoji="0" sz="2400" b="0" i="0" u="none" strike="noStrike" kern="0" cap="none" spc="0" normalizeH="0" baseline="0" noProof="0" dirty="0">
              <a:ln>
                <a:noFill/>
              </a:ln>
              <a:solidFill>
                <a:srgbClr val="01083A"/>
              </a:solidFill>
              <a:effectLst/>
              <a:uLnTx/>
              <a:uFillTx/>
              <a:latin typeface="Sakkal Majalla" panose="02000000000000000000" pitchFamily="2" charset="-78"/>
              <a:ea typeface="Samim" panose="020B0603030804020204" pitchFamily="34" charset="0"/>
              <a:cs typeface="Sakkal Majalla" panose="02000000000000000000" pitchFamily="2" charset="-78"/>
              <a:sym typeface="Quicksand"/>
            </a:endParaRPr>
          </a:p>
        </p:txBody>
      </p:sp>
      <p:sp>
        <p:nvSpPr>
          <p:cNvPr id="5" name="Google Shape;910;p31">
            <a:extLst>
              <a:ext uri="{FF2B5EF4-FFF2-40B4-BE49-F238E27FC236}">
                <a16:creationId xmlns:a16="http://schemas.microsoft.com/office/drawing/2014/main" id="{82AEB0CD-BAE8-DE56-E25F-BC1C0873699C}"/>
              </a:ext>
            </a:extLst>
          </p:cNvPr>
          <p:cNvSpPr txBox="1"/>
          <p:nvPr/>
        </p:nvSpPr>
        <p:spPr>
          <a:xfrm>
            <a:off x="4343410" y="1016269"/>
            <a:ext cx="3624942" cy="435819"/>
          </a:xfrm>
          <a:prstGeom prst="rect">
            <a:avLst/>
          </a:prstGeom>
          <a:solidFill>
            <a:srgbClr val="11C1FF">
              <a:alpha val="55294"/>
            </a:srgbClr>
          </a:solidFill>
          <a:ln w="9525" cap="flat" cmpd="sng">
            <a:solidFill>
              <a:srgbClr val="97A4FF"/>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defTabSz="1219140" rtl="1" eaLnBrk="1" fontAlgn="auto" latinLnBrk="0" hangingPunct="1">
              <a:lnSpc>
                <a:spcPct val="100000"/>
              </a:lnSpc>
              <a:spcBef>
                <a:spcPts val="0"/>
              </a:spcBef>
              <a:spcAft>
                <a:spcPts val="0"/>
              </a:spcAft>
              <a:buClrTx/>
              <a:buSzTx/>
              <a:buFontTx/>
              <a:buNone/>
              <a:tabLst/>
              <a:defRPr/>
            </a:pPr>
            <a:r>
              <a:rPr kumimoji="0" lang="ar-SA" sz="2400" b="1" i="0" u="none" strike="noStrike" kern="1200" cap="none" spc="0" normalizeH="0" baseline="0" noProof="0" dirty="0">
                <a:ln>
                  <a:noFill/>
                </a:ln>
                <a:solidFill>
                  <a:srgbClr val="01083A"/>
                </a:solidFill>
                <a:effectLst/>
                <a:uLnTx/>
                <a:uFillTx/>
                <a:latin typeface="Sakkal Majalla" panose="02000000000000000000" pitchFamily="2" charset="-78"/>
                <a:ea typeface="Samim" panose="020B0603030804020204" pitchFamily="34" charset="0"/>
                <a:cs typeface="Sakkal Majalla" panose="02000000000000000000" pitchFamily="2" charset="-78"/>
                <a:sym typeface="Josefin Sans"/>
              </a:rPr>
              <a:t>أثناء تطبيق المدارس للتقويم الذاتي</a:t>
            </a:r>
            <a:endParaRPr kumimoji="0" sz="2400" b="1" i="0" u="none" strike="noStrike" kern="1200" cap="none" spc="0" normalizeH="0" baseline="0" noProof="0" dirty="0">
              <a:ln>
                <a:noFill/>
              </a:ln>
              <a:solidFill>
                <a:srgbClr val="01083A"/>
              </a:solidFill>
              <a:effectLst/>
              <a:uLnTx/>
              <a:uFillTx/>
              <a:latin typeface="Sakkal Majalla" panose="02000000000000000000" pitchFamily="2" charset="-78"/>
              <a:ea typeface="Samim" panose="020B0603030804020204" pitchFamily="34" charset="0"/>
              <a:cs typeface="Sakkal Majalla" panose="02000000000000000000" pitchFamily="2" charset="-78"/>
              <a:sym typeface="Josefin Sans"/>
            </a:endParaRPr>
          </a:p>
        </p:txBody>
      </p:sp>
      <p:sp>
        <p:nvSpPr>
          <p:cNvPr id="7" name="Google Shape;911;p31">
            <a:extLst>
              <a:ext uri="{FF2B5EF4-FFF2-40B4-BE49-F238E27FC236}">
                <a16:creationId xmlns:a16="http://schemas.microsoft.com/office/drawing/2014/main" id="{DE7A4CED-1D6E-6041-4F75-5F436695F74A}"/>
              </a:ext>
            </a:extLst>
          </p:cNvPr>
          <p:cNvSpPr txBox="1"/>
          <p:nvPr/>
        </p:nvSpPr>
        <p:spPr>
          <a:xfrm>
            <a:off x="4343410" y="1505350"/>
            <a:ext cx="3624943" cy="4949879"/>
          </a:xfrm>
          <a:prstGeom prst="rect">
            <a:avLst/>
          </a:prstGeom>
          <a:noFill/>
          <a:ln w="9525" cap="flat" cmpd="sng">
            <a:solidFill>
              <a:srgbClr val="97A4FF"/>
            </a:solidFill>
            <a:prstDash val="solid"/>
            <a:round/>
            <a:headEnd type="none" w="sm" len="sm"/>
            <a:tailEnd type="none" w="sm" len="sm"/>
          </a:ln>
        </p:spPr>
        <p:txBody>
          <a:bodyPr spcFirstLastPara="1" wrap="square" lIns="60933" tIns="60933" rIns="60933" bIns="0" anchor="t" anchorCtr="0">
            <a:noAutofit/>
          </a:bodyPr>
          <a:lstStyle/>
          <a:p>
            <a:pPr marL="174625" marR="0" lvl="0" indent="-174625" algn="justLow" defTabSz="914400" rtl="1" eaLnBrk="1" fontAlgn="auto" latinLnBrk="0" hangingPunct="1">
              <a:lnSpc>
                <a:spcPct val="115000"/>
              </a:lnSpc>
              <a:spcBef>
                <a:spcPts val="0"/>
              </a:spcBef>
              <a:spcAft>
                <a:spcPts val="0"/>
              </a:spcAft>
              <a:buClrTx/>
              <a:buSzTx/>
              <a:buFont typeface="Times New Roman" panose="02020603050405020304" pitchFamily="18" charset="0"/>
              <a:buAutoNum type="arabicPeriod"/>
              <a:tabLst/>
              <a:defRPr/>
            </a:pPr>
            <a:r>
              <a:rPr kumimoji="0" lang="ar-SA" sz="1800" b="1" i="0" u="none" strike="noStrike" kern="1200" cap="none" spc="0" normalizeH="0" baseline="0" noProof="0" dirty="0">
                <a:ln>
                  <a:noFill/>
                </a:ln>
                <a:solidFill>
                  <a:prstClr val="black"/>
                </a:solidFill>
                <a:effectLst/>
                <a:uLnTx/>
                <a:uFillTx/>
                <a:latin typeface="Sakkal Majalla" panose="02000000000000000000" pitchFamily="2" charset="-78"/>
                <a:ea typeface="Times New Roman" panose="02020603050405020304" pitchFamily="18" charset="0"/>
                <a:cs typeface="Sakkal Majalla" panose="02000000000000000000" pitchFamily="2" charset="-78"/>
              </a:rPr>
              <a:t>العمل مع المدرسة على ضمان سلامة إجراءات تطبيق أدوات التقويم المدرسي الذاتي للمجالات الأربعة، وتوفير شواهد حقيقية.</a:t>
            </a:r>
            <a:endParaRPr kumimoji="0" lang="en-US" sz="1800" b="1" i="0" u="none" strike="noStrike" kern="1200" cap="none" spc="0" normalizeH="0" baseline="0" noProof="0" dirty="0">
              <a:ln>
                <a:noFill/>
              </a:ln>
              <a:solidFill>
                <a:prstClr val="black"/>
              </a:solidFill>
              <a:effectLst/>
              <a:uLnTx/>
              <a:uFillTx/>
              <a:latin typeface="Sakkal Majalla" panose="02000000000000000000" pitchFamily="2" charset="-78"/>
              <a:ea typeface="Times New Roman" panose="02020603050405020304" pitchFamily="18" charset="0"/>
              <a:cs typeface="Sakkal Majalla" panose="02000000000000000000" pitchFamily="2" charset="-78"/>
            </a:endParaRPr>
          </a:p>
          <a:p>
            <a:pPr marL="174625" marR="0" lvl="0" indent="-174625" algn="justLow" defTabSz="914400" rtl="1" eaLnBrk="1" fontAlgn="auto" latinLnBrk="0" hangingPunct="1">
              <a:lnSpc>
                <a:spcPct val="115000"/>
              </a:lnSpc>
              <a:spcBef>
                <a:spcPts val="0"/>
              </a:spcBef>
              <a:spcAft>
                <a:spcPts val="0"/>
              </a:spcAft>
              <a:buClrTx/>
              <a:buSzTx/>
              <a:buFont typeface="Times New Roman" panose="02020603050405020304" pitchFamily="18" charset="0"/>
              <a:buAutoNum type="arabicPeriod"/>
              <a:tabLst/>
              <a:defRPr/>
            </a:pPr>
            <a:r>
              <a:rPr kumimoji="0" lang="ar-SA" sz="1800" b="1" i="0" u="none" strike="noStrike" kern="1200" cap="none" spc="0" normalizeH="0" baseline="0" noProof="0" dirty="0">
                <a:ln>
                  <a:noFill/>
                </a:ln>
                <a:solidFill>
                  <a:prstClr val="black"/>
                </a:solidFill>
                <a:effectLst/>
                <a:uLnTx/>
                <a:uFillTx/>
                <a:latin typeface="Sakkal Majalla" panose="02000000000000000000" pitchFamily="2" charset="-78"/>
                <a:ea typeface="Times New Roman" panose="02020603050405020304" pitchFamily="18" charset="0"/>
                <a:cs typeface="Sakkal Majalla" panose="02000000000000000000" pitchFamily="2" charset="-78"/>
              </a:rPr>
              <a:t>المساندة بالتدريب أو الاستشارات عند تطبيق أدوات التقويم الذاتي.</a:t>
            </a:r>
            <a:endParaRPr kumimoji="0" lang="en-US" sz="1800" b="1" i="0" u="none" strike="noStrike" kern="1200" cap="none" spc="0" normalizeH="0" baseline="0" noProof="0" dirty="0">
              <a:ln>
                <a:noFill/>
              </a:ln>
              <a:solidFill>
                <a:prstClr val="black"/>
              </a:solidFill>
              <a:effectLst/>
              <a:uLnTx/>
              <a:uFillTx/>
              <a:latin typeface="Sakkal Majalla" panose="02000000000000000000" pitchFamily="2" charset="-78"/>
              <a:ea typeface="Times New Roman" panose="02020603050405020304" pitchFamily="18" charset="0"/>
              <a:cs typeface="Sakkal Majalla" panose="02000000000000000000" pitchFamily="2" charset="-78"/>
            </a:endParaRPr>
          </a:p>
          <a:p>
            <a:pPr marL="174625" marR="0" lvl="0" indent="-174625" algn="justLow" defTabSz="914400" rtl="1" eaLnBrk="1" fontAlgn="auto" latinLnBrk="0" hangingPunct="1">
              <a:lnSpc>
                <a:spcPct val="115000"/>
              </a:lnSpc>
              <a:spcBef>
                <a:spcPts val="0"/>
              </a:spcBef>
              <a:spcAft>
                <a:spcPts val="0"/>
              </a:spcAft>
              <a:buClrTx/>
              <a:buSzTx/>
              <a:buFont typeface="Times New Roman" panose="02020603050405020304" pitchFamily="18" charset="0"/>
              <a:buAutoNum type="arabicPeriod"/>
              <a:tabLst/>
              <a:defRPr/>
            </a:pPr>
            <a:r>
              <a:rPr kumimoji="0" lang="ar-SA" sz="1800" b="1" i="0" u="none" strike="noStrike" kern="1200" cap="none" spc="0" normalizeH="0" baseline="0" noProof="0" dirty="0">
                <a:ln>
                  <a:noFill/>
                </a:ln>
                <a:solidFill>
                  <a:prstClr val="black"/>
                </a:solidFill>
                <a:effectLst/>
                <a:uLnTx/>
                <a:uFillTx/>
                <a:latin typeface="Sakkal Majalla" panose="02000000000000000000" pitchFamily="2" charset="-78"/>
                <a:ea typeface="Times New Roman" panose="02020603050405020304" pitchFamily="18" charset="0"/>
                <a:cs typeface="Sakkal Majalla" panose="02000000000000000000" pitchFamily="2" charset="-78"/>
              </a:rPr>
              <a:t>التحقق من سلامة توفير البيئة المدرسية المساعدة للتطبيق الفعال لأدوات التقويم الذاتي.</a:t>
            </a:r>
            <a:endParaRPr kumimoji="0" lang="en-US" sz="1800" b="1" i="0" u="none" strike="noStrike" kern="1200" cap="none" spc="0" normalizeH="0" baseline="0" noProof="0" dirty="0">
              <a:ln>
                <a:noFill/>
              </a:ln>
              <a:solidFill>
                <a:prstClr val="black"/>
              </a:solidFill>
              <a:effectLst/>
              <a:uLnTx/>
              <a:uFillTx/>
              <a:latin typeface="Sakkal Majalla" panose="02000000000000000000" pitchFamily="2" charset="-78"/>
              <a:ea typeface="Times New Roman" panose="02020603050405020304" pitchFamily="18" charset="0"/>
              <a:cs typeface="Sakkal Majalla" panose="02000000000000000000" pitchFamily="2" charset="-78"/>
            </a:endParaRPr>
          </a:p>
          <a:p>
            <a:pPr marL="174625" marR="0" lvl="0" indent="-174625" algn="justLow" defTabSz="914400" rtl="1" eaLnBrk="1" fontAlgn="auto" latinLnBrk="0" hangingPunct="1">
              <a:lnSpc>
                <a:spcPct val="115000"/>
              </a:lnSpc>
              <a:spcBef>
                <a:spcPts val="0"/>
              </a:spcBef>
              <a:spcAft>
                <a:spcPts val="0"/>
              </a:spcAft>
              <a:buClrTx/>
              <a:buSzTx/>
              <a:buFont typeface="Times New Roman" panose="02020603050405020304" pitchFamily="18" charset="0"/>
              <a:buAutoNum type="arabicPeriod"/>
              <a:tabLst/>
              <a:defRPr/>
            </a:pPr>
            <a:r>
              <a:rPr kumimoji="0" lang="ar-SA" sz="1800" b="1" i="0" u="none" strike="noStrike" kern="1200" cap="none" spc="0" normalizeH="0" baseline="0" noProof="0" dirty="0">
                <a:ln>
                  <a:noFill/>
                </a:ln>
                <a:solidFill>
                  <a:prstClr val="black"/>
                </a:solidFill>
                <a:effectLst/>
                <a:uLnTx/>
                <a:uFillTx/>
                <a:latin typeface="Sakkal Majalla" panose="02000000000000000000" pitchFamily="2" charset="-78"/>
                <a:ea typeface="Times New Roman" panose="02020603050405020304" pitchFamily="18" charset="0"/>
                <a:cs typeface="Sakkal Majalla" panose="02000000000000000000" pitchFamily="2" charset="-78"/>
              </a:rPr>
              <a:t>دعم المدرسة في حل المشكلات الفنية والتقنية التي تنشأ عند تطبيق التقويم الذاتي سواءٍ داخل المدرسة أو بالتواصل مع الجهات ذات العلاقة في الإدارة التعليمية.</a:t>
            </a:r>
            <a:endParaRPr kumimoji="0" lang="en-US" sz="1800" b="1" i="0" u="none" strike="noStrike" kern="1200" cap="none" spc="0" normalizeH="0" baseline="0" noProof="0" dirty="0">
              <a:ln>
                <a:noFill/>
              </a:ln>
              <a:solidFill>
                <a:prstClr val="black"/>
              </a:solidFill>
              <a:effectLst/>
              <a:uLnTx/>
              <a:uFillTx/>
              <a:latin typeface="Sakkal Majalla" panose="02000000000000000000" pitchFamily="2" charset="-78"/>
              <a:ea typeface="Times New Roman" panose="02020603050405020304" pitchFamily="18" charset="0"/>
              <a:cs typeface="Sakkal Majalla" panose="02000000000000000000" pitchFamily="2" charset="-78"/>
            </a:endParaRPr>
          </a:p>
          <a:p>
            <a:pPr marL="174625" marR="0" lvl="0" indent="-174625" algn="justLow" defTabSz="914400" rtl="1" eaLnBrk="1" fontAlgn="auto" latinLnBrk="0" hangingPunct="1">
              <a:lnSpc>
                <a:spcPct val="115000"/>
              </a:lnSpc>
              <a:spcBef>
                <a:spcPts val="0"/>
              </a:spcBef>
              <a:spcAft>
                <a:spcPts val="1000"/>
              </a:spcAft>
              <a:buClrTx/>
              <a:buSzTx/>
              <a:buFont typeface="Times New Roman" panose="02020603050405020304" pitchFamily="18" charset="0"/>
              <a:buAutoNum type="arabicPeriod"/>
              <a:tabLst/>
              <a:defRPr/>
            </a:pPr>
            <a:r>
              <a:rPr kumimoji="0" lang="ar-SA" sz="1800" b="1" i="0" u="none" strike="noStrike" kern="1200" cap="none" spc="0" normalizeH="0" baseline="0" noProof="0" dirty="0">
                <a:ln>
                  <a:noFill/>
                </a:ln>
                <a:solidFill>
                  <a:prstClr val="black"/>
                </a:solidFill>
                <a:effectLst/>
                <a:uLnTx/>
                <a:uFillTx/>
                <a:latin typeface="Sakkal Majalla" panose="02000000000000000000" pitchFamily="2" charset="-78"/>
                <a:ea typeface="Times New Roman" panose="02020603050405020304" pitchFamily="18" charset="0"/>
                <a:cs typeface="Sakkal Majalla" panose="02000000000000000000" pitchFamily="2" charset="-78"/>
              </a:rPr>
              <a:t>مساندة المدرسة في تعزيز مشاركة الطلبة وأولياء الأمور في عمليات تحقيق معايير التقويم والاعتماد المدرسي.</a:t>
            </a:r>
            <a:endParaRPr kumimoji="0" lang="en-US" sz="1800" b="1" i="0" u="none" strike="noStrike" kern="1200" cap="none" spc="0" normalizeH="0" baseline="0" noProof="0" dirty="0">
              <a:ln>
                <a:noFill/>
              </a:ln>
              <a:solidFill>
                <a:prstClr val="black"/>
              </a:solidFill>
              <a:effectLst/>
              <a:uLnTx/>
              <a:uFillTx/>
              <a:latin typeface="Sakkal Majalla" panose="02000000000000000000" pitchFamily="2" charset="-78"/>
              <a:ea typeface="Times New Roman" panose="02020603050405020304" pitchFamily="18" charset="0"/>
              <a:cs typeface="Sakkal Majalla" panose="02000000000000000000" pitchFamily="2" charset="-78"/>
            </a:endParaRPr>
          </a:p>
          <a:p>
            <a:pPr marL="0" marR="0" lvl="0" indent="0" algn="r" defTabSz="1219140" rtl="1" eaLnBrk="1" fontAlgn="auto" latinLnBrk="0" hangingPunct="1">
              <a:lnSpc>
                <a:spcPct val="100000"/>
              </a:lnSpc>
              <a:spcBef>
                <a:spcPts val="0"/>
              </a:spcBef>
              <a:spcAft>
                <a:spcPts val="0"/>
              </a:spcAft>
              <a:buClrTx/>
              <a:buSzTx/>
              <a:buFontTx/>
              <a:buNone/>
              <a:tabLst/>
              <a:defRPr/>
            </a:pPr>
            <a:endParaRPr kumimoji="0" sz="2400" b="0" i="0" u="none" strike="noStrike" kern="0" cap="none" spc="0" normalizeH="0" baseline="0" noProof="0" dirty="0">
              <a:ln>
                <a:noFill/>
              </a:ln>
              <a:solidFill>
                <a:srgbClr val="01083A"/>
              </a:solidFill>
              <a:effectLst/>
              <a:uLnTx/>
              <a:uFillTx/>
              <a:latin typeface="Sakkal Majalla" panose="02000000000000000000" pitchFamily="2" charset="-78"/>
              <a:ea typeface="Samim" panose="020B0603030804020204" pitchFamily="34" charset="0"/>
              <a:cs typeface="Sakkal Majalla" panose="02000000000000000000" pitchFamily="2" charset="-78"/>
              <a:sym typeface="Quicksand"/>
            </a:endParaRPr>
          </a:p>
        </p:txBody>
      </p:sp>
      <p:sp>
        <p:nvSpPr>
          <p:cNvPr id="8" name="Google Shape;910;p31">
            <a:extLst>
              <a:ext uri="{FF2B5EF4-FFF2-40B4-BE49-F238E27FC236}">
                <a16:creationId xmlns:a16="http://schemas.microsoft.com/office/drawing/2014/main" id="{7978873C-BCEE-9905-9E46-B2C8A29D68B2}"/>
              </a:ext>
            </a:extLst>
          </p:cNvPr>
          <p:cNvSpPr txBox="1"/>
          <p:nvPr/>
        </p:nvSpPr>
        <p:spPr>
          <a:xfrm>
            <a:off x="555183" y="1009673"/>
            <a:ext cx="3624942" cy="435819"/>
          </a:xfrm>
          <a:prstGeom prst="rect">
            <a:avLst/>
          </a:prstGeom>
          <a:solidFill>
            <a:srgbClr val="11C1FF">
              <a:alpha val="55294"/>
            </a:srgbClr>
          </a:solidFill>
          <a:ln w="9525" cap="flat" cmpd="sng">
            <a:solidFill>
              <a:srgbClr val="97A4FF"/>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defTabSz="1219140" rtl="1" eaLnBrk="1" fontAlgn="auto" latinLnBrk="0" hangingPunct="1">
              <a:lnSpc>
                <a:spcPct val="100000"/>
              </a:lnSpc>
              <a:spcBef>
                <a:spcPts val="0"/>
              </a:spcBef>
              <a:spcAft>
                <a:spcPts val="0"/>
              </a:spcAft>
              <a:buClrTx/>
              <a:buSzTx/>
              <a:buFontTx/>
              <a:buNone/>
              <a:tabLst/>
              <a:defRPr/>
            </a:pPr>
            <a:r>
              <a:rPr kumimoji="0" lang="ar-SA" sz="2400" b="1" i="0" u="none" strike="noStrike" kern="1200" cap="none" spc="0" normalizeH="0" baseline="0" noProof="0" dirty="0">
                <a:ln>
                  <a:noFill/>
                </a:ln>
                <a:solidFill>
                  <a:srgbClr val="01083A"/>
                </a:solidFill>
                <a:effectLst/>
                <a:uLnTx/>
                <a:uFillTx/>
                <a:latin typeface="Sakkal Majalla" panose="02000000000000000000" pitchFamily="2" charset="-78"/>
                <a:ea typeface="Samim" panose="020B0603030804020204" pitchFamily="34" charset="0"/>
                <a:cs typeface="Sakkal Majalla" panose="02000000000000000000" pitchFamily="2" charset="-78"/>
                <a:sym typeface="Josefin Sans"/>
              </a:rPr>
              <a:t>مرحلة ما بعد تطبيق التقويم الذاتي</a:t>
            </a:r>
            <a:endParaRPr kumimoji="0" sz="2400" b="1" i="0" u="none" strike="noStrike" kern="1200" cap="none" spc="0" normalizeH="0" baseline="0" noProof="0" dirty="0">
              <a:ln>
                <a:noFill/>
              </a:ln>
              <a:solidFill>
                <a:srgbClr val="01083A"/>
              </a:solidFill>
              <a:effectLst/>
              <a:uLnTx/>
              <a:uFillTx/>
              <a:latin typeface="Sakkal Majalla" panose="02000000000000000000" pitchFamily="2" charset="-78"/>
              <a:ea typeface="Samim" panose="020B0603030804020204" pitchFamily="34" charset="0"/>
              <a:cs typeface="Sakkal Majalla" panose="02000000000000000000" pitchFamily="2" charset="-78"/>
              <a:sym typeface="Josefin Sans"/>
            </a:endParaRPr>
          </a:p>
        </p:txBody>
      </p:sp>
      <p:sp>
        <p:nvSpPr>
          <p:cNvPr id="9" name="Google Shape;911;p31">
            <a:extLst>
              <a:ext uri="{FF2B5EF4-FFF2-40B4-BE49-F238E27FC236}">
                <a16:creationId xmlns:a16="http://schemas.microsoft.com/office/drawing/2014/main" id="{21B552CE-2D8E-9C75-0653-8C02E509E30F}"/>
              </a:ext>
            </a:extLst>
          </p:cNvPr>
          <p:cNvSpPr txBox="1"/>
          <p:nvPr/>
        </p:nvSpPr>
        <p:spPr>
          <a:xfrm>
            <a:off x="593284" y="1505350"/>
            <a:ext cx="3548739" cy="4949879"/>
          </a:xfrm>
          <a:prstGeom prst="rect">
            <a:avLst/>
          </a:prstGeom>
          <a:noFill/>
          <a:ln w="9525" cap="flat" cmpd="sng">
            <a:solidFill>
              <a:srgbClr val="97A4FF"/>
            </a:solidFill>
            <a:prstDash val="solid"/>
            <a:round/>
            <a:headEnd type="none" w="sm" len="sm"/>
            <a:tailEnd type="none" w="sm" len="sm"/>
          </a:ln>
        </p:spPr>
        <p:txBody>
          <a:bodyPr spcFirstLastPara="1" wrap="square" lIns="60933" tIns="60933" rIns="60933" bIns="0" anchor="t" anchorCtr="0">
            <a:noAutofit/>
          </a:bodyPr>
          <a:lstStyle/>
          <a:p>
            <a:pPr marL="0" marR="0" lvl="0" indent="0" algn="justLow" defTabSz="914400" rtl="1" eaLnBrk="1" fontAlgn="auto" latinLnBrk="0" hangingPunct="1">
              <a:lnSpc>
                <a:spcPct val="115000"/>
              </a:lnSpc>
              <a:spcBef>
                <a:spcPts val="0"/>
              </a:spcBef>
              <a:spcAft>
                <a:spcPts val="0"/>
              </a:spcAft>
              <a:buClrTx/>
              <a:buSzTx/>
              <a:buFontTx/>
              <a:buNone/>
              <a:tabLst/>
              <a:defRPr/>
            </a:pPr>
            <a:r>
              <a:rPr kumimoji="0" lang="ar-SA" sz="2000" b="1" i="0" u="none" strike="noStrike" kern="1200" cap="none" spc="0" normalizeH="0" baseline="0" noProof="0" dirty="0">
                <a:ln>
                  <a:noFill/>
                </a:ln>
                <a:solidFill>
                  <a:srgbClr val="FF0000"/>
                </a:solidFill>
                <a:effectLst/>
                <a:uLnTx/>
                <a:uFillTx/>
                <a:latin typeface="Sakkal Majalla" panose="02000000000000000000" pitchFamily="2" charset="-78"/>
                <a:ea typeface="Times New Roman" panose="02020603050405020304" pitchFamily="18" charset="0"/>
                <a:cs typeface="Sakkal Majalla" panose="02000000000000000000" pitchFamily="2" charset="-78"/>
              </a:rPr>
              <a:t>تشكيل فريق التحليل وحصر المدارس المطبقة:</a:t>
            </a:r>
            <a:endParaRPr kumimoji="0" lang="en-US" sz="2000" b="1" i="0" u="none" strike="noStrike" kern="1200" cap="none" spc="0" normalizeH="0" baseline="0" noProof="0" dirty="0">
              <a:ln>
                <a:noFill/>
              </a:ln>
              <a:solidFill>
                <a:srgbClr val="FF0000"/>
              </a:solidFill>
              <a:effectLst/>
              <a:uLnTx/>
              <a:uFillTx/>
              <a:latin typeface="Sakkal Majalla" panose="02000000000000000000" pitchFamily="2" charset="-78"/>
              <a:ea typeface="Times New Roman" panose="02020603050405020304" pitchFamily="18" charset="0"/>
              <a:cs typeface="Sakkal Majalla" panose="02000000000000000000" pitchFamily="2" charset="-78"/>
            </a:endParaRPr>
          </a:p>
          <a:p>
            <a:pPr marL="0" marR="0" lvl="0" indent="0" algn="justLow" defTabSz="914400" rtl="1" eaLnBrk="1" fontAlgn="auto" latinLnBrk="0" hangingPunct="1">
              <a:lnSpc>
                <a:spcPct val="115000"/>
              </a:lnSpc>
              <a:spcBef>
                <a:spcPts val="0"/>
              </a:spcBef>
              <a:spcAft>
                <a:spcPts val="0"/>
              </a:spcAft>
              <a:buClrTx/>
              <a:buSzTx/>
              <a:buFontTx/>
              <a:buNone/>
              <a:tabLst/>
              <a:defRPr/>
            </a:pPr>
            <a:r>
              <a:rPr kumimoji="0" lang="ar-SA" sz="2000" b="1" i="0" u="none" strike="noStrike" kern="1200" cap="none" spc="0" normalizeH="0" baseline="0" noProof="0" dirty="0">
                <a:ln>
                  <a:noFill/>
                </a:ln>
                <a:solidFill>
                  <a:prstClr val="black"/>
                </a:solidFill>
                <a:effectLst/>
                <a:uLnTx/>
                <a:uFillTx/>
                <a:latin typeface="Sakkal Majalla" panose="02000000000000000000" pitchFamily="2" charset="-78"/>
                <a:ea typeface="Times New Roman" panose="02020603050405020304" pitchFamily="18" charset="0"/>
                <a:cs typeface="Sakkal Majalla" panose="02000000000000000000" pitchFamily="2" charset="-78"/>
              </a:rPr>
              <a:t>يشكل مدير المكتب فريقًا لديه معرفة واستيعاب لكافة معايير التقويم والاعتماد المدرسي، للقيام بالآتي:</a:t>
            </a:r>
            <a:endParaRPr kumimoji="0" lang="en-US" sz="2000" b="1" i="0" u="none" strike="noStrike" kern="1200" cap="none" spc="0" normalizeH="0" baseline="0" noProof="0" dirty="0">
              <a:ln>
                <a:noFill/>
              </a:ln>
              <a:solidFill>
                <a:prstClr val="black"/>
              </a:solidFill>
              <a:effectLst/>
              <a:uLnTx/>
              <a:uFillTx/>
              <a:latin typeface="Sakkal Majalla" panose="02000000000000000000" pitchFamily="2" charset="-78"/>
              <a:ea typeface="Times New Roman" panose="02020603050405020304" pitchFamily="18" charset="0"/>
              <a:cs typeface="Sakkal Majalla" panose="02000000000000000000" pitchFamily="2" charset="-78"/>
            </a:endParaRPr>
          </a:p>
          <a:p>
            <a:pPr marL="174625" marR="0" lvl="0" indent="-174625" algn="justLow" defTabSz="914400" rtl="1" eaLnBrk="1" fontAlgn="auto" latinLnBrk="0" hangingPunct="1">
              <a:lnSpc>
                <a:spcPct val="115000"/>
              </a:lnSpc>
              <a:spcBef>
                <a:spcPts val="0"/>
              </a:spcBef>
              <a:spcAft>
                <a:spcPts val="0"/>
              </a:spcAft>
              <a:buClrTx/>
              <a:buSzPts val="1300"/>
              <a:buFont typeface="Times New Roman" panose="02020603050405020304" pitchFamily="18" charset="0"/>
              <a:buAutoNum type="arabicPeriod"/>
              <a:tabLst/>
              <a:defRPr/>
            </a:pPr>
            <a:r>
              <a:rPr kumimoji="0" lang="ar-SA" sz="1800" b="1" i="0" u="none" strike="noStrike" kern="1200" cap="none" spc="0" normalizeH="0" baseline="0" noProof="0" dirty="0">
                <a:ln>
                  <a:noFill/>
                </a:ln>
                <a:solidFill>
                  <a:prstClr val="black"/>
                </a:solidFill>
                <a:effectLst/>
                <a:uLnTx/>
                <a:uFillTx/>
                <a:latin typeface="Sakkal Majalla" panose="02000000000000000000" pitchFamily="2" charset="-78"/>
                <a:ea typeface="Times New Roman" panose="02020603050405020304" pitchFamily="18" charset="0"/>
                <a:cs typeface="Sakkal Majalla" panose="02000000000000000000" pitchFamily="2" charset="-78"/>
              </a:rPr>
              <a:t>دراسة ومراجعة بيانات المدارس التي أنهت التقويم الذاتي.</a:t>
            </a:r>
            <a:endParaRPr kumimoji="0" lang="en-US" sz="1800" b="1" i="0" u="none" strike="noStrike" kern="1200" cap="none" spc="0" normalizeH="0" baseline="0" noProof="0" dirty="0">
              <a:ln>
                <a:noFill/>
              </a:ln>
              <a:solidFill>
                <a:prstClr val="black"/>
              </a:solidFill>
              <a:effectLst/>
              <a:uLnTx/>
              <a:uFillTx/>
              <a:latin typeface="Sakkal Majalla" panose="02000000000000000000" pitchFamily="2" charset="-78"/>
              <a:ea typeface="Times New Roman" panose="02020603050405020304" pitchFamily="18" charset="0"/>
              <a:cs typeface="Sakkal Majalla" panose="02000000000000000000" pitchFamily="2" charset="-78"/>
            </a:endParaRPr>
          </a:p>
          <a:p>
            <a:pPr marL="174625" marR="0" lvl="0" indent="-174625" algn="justLow" defTabSz="914400" rtl="1" eaLnBrk="1" fontAlgn="auto" latinLnBrk="0" hangingPunct="1">
              <a:lnSpc>
                <a:spcPct val="115000"/>
              </a:lnSpc>
              <a:spcBef>
                <a:spcPts val="0"/>
              </a:spcBef>
              <a:spcAft>
                <a:spcPts val="1000"/>
              </a:spcAft>
              <a:buClrTx/>
              <a:buSzPts val="1300"/>
              <a:buFont typeface="Times New Roman" panose="02020603050405020304" pitchFamily="18" charset="0"/>
              <a:buAutoNum type="arabicPeriod"/>
              <a:tabLst/>
              <a:defRPr/>
            </a:pPr>
            <a:r>
              <a:rPr kumimoji="0" lang="en-US" sz="1800" b="1" i="0" u="none" strike="noStrike" kern="1200" cap="none" spc="0" normalizeH="0" baseline="0" noProof="0" dirty="0">
                <a:ln>
                  <a:noFill/>
                </a:ln>
                <a:solidFill>
                  <a:prstClr val="black"/>
                </a:solidFill>
                <a:effectLst/>
                <a:uLnTx/>
                <a:uFillTx/>
                <a:latin typeface="Sakkal Majalla" panose="02000000000000000000" pitchFamily="2" charset="-78"/>
                <a:ea typeface="Times New Roman" panose="02020603050405020304" pitchFamily="18" charset="0"/>
                <a:cs typeface="Sakkal Majalla" panose="02000000000000000000" pitchFamily="2" charset="-78"/>
              </a:rPr>
              <a:t> </a:t>
            </a:r>
            <a:r>
              <a:rPr kumimoji="0" lang="ar-SA" sz="1800" b="1" i="0" u="none" strike="noStrike" kern="1200" cap="none" spc="0" normalizeH="0" baseline="0" noProof="0" dirty="0">
                <a:ln>
                  <a:noFill/>
                </a:ln>
                <a:solidFill>
                  <a:prstClr val="black"/>
                </a:solidFill>
                <a:effectLst/>
                <a:uLnTx/>
                <a:uFillTx/>
                <a:latin typeface="Sakkal Majalla" panose="02000000000000000000" pitchFamily="2" charset="-78"/>
                <a:ea typeface="Times New Roman" panose="02020603050405020304" pitchFamily="18" charset="0"/>
                <a:cs typeface="Sakkal Majalla" panose="02000000000000000000" pitchFamily="2" charset="-78"/>
              </a:rPr>
              <a:t>تحديد مستوى دعم المدارس في ضوء نتائج التقويم الذاتي سواء في مجال أو معيار محدد أو جميع مجالات برنامج التقويم والاعتماد المدرسي (وفق الدليل التنفيذي لمعايير تقويم المدارس واعتمادها) </a:t>
            </a:r>
            <a:endParaRPr kumimoji="0" lang="en-US" sz="1800" b="1" i="0" u="none" strike="noStrike" kern="1200" cap="none" spc="0" normalizeH="0" baseline="0" noProof="0" dirty="0">
              <a:ln>
                <a:noFill/>
              </a:ln>
              <a:solidFill>
                <a:prstClr val="black"/>
              </a:solidFill>
              <a:effectLst/>
              <a:uLnTx/>
              <a:uFillTx/>
              <a:latin typeface="Sakkal Majalla" panose="02000000000000000000" pitchFamily="2" charset="-78"/>
              <a:ea typeface="Times New Roman" panose="02020603050405020304" pitchFamily="18" charset="0"/>
              <a:cs typeface="Sakkal Majalla" panose="02000000000000000000" pitchFamily="2" charset="-78"/>
            </a:endParaRPr>
          </a:p>
        </p:txBody>
      </p:sp>
    </p:spTree>
    <p:extLst>
      <p:ext uri="{BB962C8B-B14F-4D97-AF65-F5344CB8AC3E}">
        <p14:creationId xmlns:p14="http://schemas.microsoft.com/office/powerpoint/2010/main" val="2961997680"/>
      </p:ext>
    </p:extLst>
  </p:cSld>
  <p:clrMapOvr>
    <a:masterClrMapping/>
  </p:clrMapOvr>
  <mc:AlternateContent xmlns:mc="http://schemas.openxmlformats.org/markup-compatibility/2006" xmlns:p14="http://schemas.microsoft.com/office/powerpoint/2010/main">
    <mc:Choice Requires="p14">
      <p:transition spd="slow" p14:dur="1200">
        <p14:prism dir="r"/>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arn(inVertical)">
                                      <p:cBhvr>
                                        <p:cTn id="7" dur="10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grpId="0"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barn(inVertical)">
                                      <p:cBhvr>
                                        <p:cTn id="12" dur="10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16" presetClass="entr" presetSubtype="21" fill="hold" grpId="0"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barn(inVertical)">
                                      <p:cBhvr>
                                        <p:cTn id="17" dur="1000"/>
                                        <p:tgtEl>
                                          <p:spTgt spid="5"/>
                                        </p:tgtEl>
                                      </p:cBhvr>
                                    </p:animEffect>
                                  </p:childTnLst>
                                </p:cTn>
                              </p:par>
                            </p:childTnLst>
                          </p:cTn>
                        </p:par>
                      </p:childTnLst>
                    </p:cTn>
                  </p:par>
                  <p:par>
                    <p:cTn id="18" fill="hold">
                      <p:stCondLst>
                        <p:cond delay="indefinite"/>
                      </p:stCondLst>
                      <p:childTnLst>
                        <p:par>
                          <p:cTn id="19" fill="hold">
                            <p:stCondLst>
                              <p:cond delay="0"/>
                            </p:stCondLst>
                            <p:childTnLst>
                              <p:par>
                                <p:cTn id="20" presetID="16" presetClass="entr" presetSubtype="21" fill="hold" grpId="0" nodeType="click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barn(inVertical)">
                                      <p:cBhvr>
                                        <p:cTn id="22" dur="1000"/>
                                        <p:tgtEl>
                                          <p:spTgt spid="7"/>
                                        </p:tgtEl>
                                      </p:cBhvr>
                                    </p:animEffect>
                                  </p:childTnLst>
                                </p:cTn>
                              </p:par>
                            </p:childTnLst>
                          </p:cTn>
                        </p:par>
                      </p:childTnLst>
                    </p:cTn>
                  </p:par>
                  <p:par>
                    <p:cTn id="23" fill="hold">
                      <p:stCondLst>
                        <p:cond delay="indefinite"/>
                      </p:stCondLst>
                      <p:childTnLst>
                        <p:par>
                          <p:cTn id="24" fill="hold">
                            <p:stCondLst>
                              <p:cond delay="0"/>
                            </p:stCondLst>
                            <p:childTnLst>
                              <p:par>
                                <p:cTn id="25" presetID="16" presetClass="entr" presetSubtype="21" fill="hold" grpId="0" nodeType="click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barn(inVertical)">
                                      <p:cBhvr>
                                        <p:cTn id="27" dur="1000"/>
                                        <p:tgtEl>
                                          <p:spTgt spid="8"/>
                                        </p:tgtEl>
                                      </p:cBhvr>
                                    </p:animEffect>
                                  </p:childTnLst>
                                </p:cTn>
                              </p:par>
                            </p:childTnLst>
                          </p:cTn>
                        </p:par>
                      </p:childTnLst>
                    </p:cTn>
                  </p:par>
                  <p:par>
                    <p:cTn id="28" fill="hold">
                      <p:stCondLst>
                        <p:cond delay="indefinite"/>
                      </p:stCondLst>
                      <p:childTnLst>
                        <p:par>
                          <p:cTn id="29" fill="hold">
                            <p:stCondLst>
                              <p:cond delay="0"/>
                            </p:stCondLst>
                            <p:childTnLst>
                              <p:par>
                                <p:cTn id="30" presetID="16" presetClass="entr" presetSubtype="21" fill="hold" grpId="0" nodeType="clickEffect">
                                  <p:stCondLst>
                                    <p:cond delay="0"/>
                                  </p:stCondLst>
                                  <p:childTnLst>
                                    <p:set>
                                      <p:cBhvr>
                                        <p:cTn id="31" dur="1" fill="hold">
                                          <p:stCondLst>
                                            <p:cond delay="0"/>
                                          </p:stCondLst>
                                        </p:cTn>
                                        <p:tgtEl>
                                          <p:spTgt spid="9"/>
                                        </p:tgtEl>
                                        <p:attrNameLst>
                                          <p:attrName>style.visibility</p:attrName>
                                        </p:attrNameLst>
                                      </p:cBhvr>
                                      <p:to>
                                        <p:strVal val="visible"/>
                                      </p:to>
                                    </p:set>
                                    <p:animEffect transition="in" filter="barn(inVertical)">
                                      <p:cBhvr>
                                        <p:cTn id="32"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5" grpId="0" animBg="1"/>
      <p:bldP spid="7" grpId="0" animBg="1"/>
      <p:bldP spid="8" grpId="0" animBg="1"/>
      <p:bldP spid="9" grpId="0" animBg="1"/>
    </p:bld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Google Shape;224;p24">
            <a:extLst>
              <a:ext uri="{FF2B5EF4-FFF2-40B4-BE49-F238E27FC236}">
                <a16:creationId xmlns:a16="http://schemas.microsoft.com/office/drawing/2014/main" id="{EC4E891B-6DB6-C89D-58E2-C4437D612643}"/>
              </a:ext>
            </a:extLst>
          </p:cNvPr>
          <p:cNvGraphicFramePr/>
          <p:nvPr/>
        </p:nvGraphicFramePr>
        <p:xfrm>
          <a:off x="706772" y="956521"/>
          <a:ext cx="10778455" cy="5603188"/>
        </p:xfrm>
        <a:graphic>
          <a:graphicData uri="http://schemas.openxmlformats.org/drawingml/2006/table">
            <a:tbl>
              <a:tblPr>
                <a:noFill/>
              </a:tblPr>
              <a:tblGrid>
                <a:gridCol w="3729453">
                  <a:extLst>
                    <a:ext uri="{9D8B030D-6E8A-4147-A177-3AD203B41FA5}">
                      <a16:colId xmlns:a16="http://schemas.microsoft.com/office/drawing/2014/main" val="20000"/>
                    </a:ext>
                  </a:extLst>
                </a:gridCol>
                <a:gridCol w="4925344">
                  <a:extLst>
                    <a:ext uri="{9D8B030D-6E8A-4147-A177-3AD203B41FA5}">
                      <a16:colId xmlns:a16="http://schemas.microsoft.com/office/drawing/2014/main" val="20002"/>
                    </a:ext>
                  </a:extLst>
                </a:gridCol>
                <a:gridCol w="2123658">
                  <a:extLst>
                    <a:ext uri="{9D8B030D-6E8A-4147-A177-3AD203B41FA5}">
                      <a16:colId xmlns:a16="http://schemas.microsoft.com/office/drawing/2014/main" val="2959885291"/>
                    </a:ext>
                  </a:extLst>
                </a:gridCol>
              </a:tblGrid>
              <a:tr h="802620">
                <a:tc>
                  <a:txBody>
                    <a:bodyPr/>
                    <a:lstStyle>
                      <a:lvl1pPr marL="0" algn="r" defTabSz="914400" rtl="1" eaLnBrk="1" latinLnBrk="0" hangingPunct="1">
                        <a:defRPr sz="1800" kern="1200">
                          <a:solidFill>
                            <a:schemeClr val="tx1"/>
                          </a:solidFill>
                          <a:latin typeface="Arial"/>
                          <a:ea typeface="Arial Unicode MS"/>
                        </a:defRPr>
                      </a:lvl1pPr>
                      <a:lvl2pPr marL="457200" algn="r" defTabSz="914400" rtl="1" eaLnBrk="1" latinLnBrk="0" hangingPunct="1">
                        <a:defRPr sz="1800" kern="1200">
                          <a:solidFill>
                            <a:schemeClr val="tx1"/>
                          </a:solidFill>
                          <a:latin typeface="Arial"/>
                          <a:ea typeface="Arial Unicode MS"/>
                        </a:defRPr>
                      </a:lvl2pPr>
                      <a:lvl3pPr marL="914400" algn="r" defTabSz="914400" rtl="1" eaLnBrk="1" latinLnBrk="0" hangingPunct="1">
                        <a:defRPr sz="1800" kern="1200">
                          <a:solidFill>
                            <a:schemeClr val="tx1"/>
                          </a:solidFill>
                          <a:latin typeface="Arial"/>
                          <a:ea typeface="Arial Unicode MS"/>
                        </a:defRPr>
                      </a:lvl3pPr>
                      <a:lvl4pPr marL="1371600" algn="r" defTabSz="914400" rtl="1" eaLnBrk="1" latinLnBrk="0" hangingPunct="1">
                        <a:defRPr sz="1800" kern="1200">
                          <a:solidFill>
                            <a:schemeClr val="tx1"/>
                          </a:solidFill>
                          <a:latin typeface="Arial"/>
                          <a:ea typeface="Arial Unicode MS"/>
                        </a:defRPr>
                      </a:lvl4pPr>
                      <a:lvl5pPr marL="1828800" algn="r" defTabSz="914400" rtl="1" eaLnBrk="1" latinLnBrk="0" hangingPunct="1">
                        <a:defRPr sz="1800" kern="1200">
                          <a:solidFill>
                            <a:schemeClr val="tx1"/>
                          </a:solidFill>
                          <a:latin typeface="Arial"/>
                          <a:ea typeface="Arial Unicode MS"/>
                        </a:defRPr>
                      </a:lvl5pPr>
                      <a:lvl6pPr marL="2286000" algn="r" defTabSz="914400" rtl="1" eaLnBrk="1" latinLnBrk="0" hangingPunct="1">
                        <a:defRPr sz="1800" kern="1200">
                          <a:solidFill>
                            <a:schemeClr val="tx1"/>
                          </a:solidFill>
                          <a:latin typeface="Arial"/>
                          <a:ea typeface="Arial Unicode MS"/>
                        </a:defRPr>
                      </a:lvl6pPr>
                      <a:lvl7pPr marL="2743200" algn="r" defTabSz="914400" rtl="1" eaLnBrk="1" latinLnBrk="0" hangingPunct="1">
                        <a:defRPr sz="1800" kern="1200">
                          <a:solidFill>
                            <a:schemeClr val="tx1"/>
                          </a:solidFill>
                          <a:latin typeface="Arial"/>
                          <a:ea typeface="Arial Unicode MS"/>
                        </a:defRPr>
                      </a:lvl7pPr>
                      <a:lvl8pPr marL="3200400" algn="r" defTabSz="914400" rtl="1" eaLnBrk="1" latinLnBrk="0" hangingPunct="1">
                        <a:defRPr sz="1800" kern="1200">
                          <a:solidFill>
                            <a:schemeClr val="tx1"/>
                          </a:solidFill>
                          <a:latin typeface="Arial"/>
                          <a:ea typeface="Arial Unicode MS"/>
                        </a:defRPr>
                      </a:lvl8pPr>
                      <a:lvl9pPr marL="3657600" algn="r" defTabSz="914400" rtl="1" eaLnBrk="1" latinLnBrk="0" hangingPunct="1">
                        <a:defRPr sz="1800" kern="1200">
                          <a:solidFill>
                            <a:schemeClr val="tx1"/>
                          </a:solidFill>
                          <a:latin typeface="Arial"/>
                          <a:ea typeface="Arial Unicode MS"/>
                        </a:defRPr>
                      </a:lvl9pPr>
                    </a:lstStyle>
                    <a:p>
                      <a:pPr marL="0" lvl="0" indent="0" algn="ctr" rtl="1">
                        <a:spcBef>
                          <a:spcPts val="0"/>
                        </a:spcBef>
                        <a:spcAft>
                          <a:spcPts val="0"/>
                        </a:spcAft>
                        <a:buNone/>
                      </a:pPr>
                      <a:r>
                        <a:rPr lang="ar-SA" sz="2400" b="1" dirty="0">
                          <a:solidFill>
                            <a:schemeClr val="tx1"/>
                          </a:solidFill>
                          <a:latin typeface="Sakkal Majalla" panose="02000000000000000000" pitchFamily="2" charset="-78"/>
                          <a:ea typeface="Samim" panose="020B0603030804020204" pitchFamily="34" charset="0"/>
                          <a:cs typeface="Sakkal Majalla" panose="02000000000000000000" pitchFamily="2" charset="-78"/>
                          <a:sym typeface="Titillium Web"/>
                        </a:rPr>
                        <a:t>دور / أدوار المكتب</a:t>
                      </a:r>
                      <a:endParaRPr sz="2400" b="1" dirty="0">
                        <a:solidFill>
                          <a:schemeClr val="tx1"/>
                        </a:solidFill>
                        <a:latin typeface="Sakkal Majalla" panose="02000000000000000000" pitchFamily="2" charset="-78"/>
                        <a:ea typeface="Samim" panose="020B0603030804020204" pitchFamily="34" charset="0"/>
                        <a:cs typeface="Sakkal Majalla" panose="02000000000000000000" pitchFamily="2" charset="-78"/>
                        <a:sym typeface="Titillium Web"/>
                      </a:endParaRPr>
                    </a:p>
                  </a:txBody>
                  <a:tcPr marL="91425" marR="91425" marT="68575" marB="68575"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71FFE4"/>
                    </a:solidFill>
                  </a:tcPr>
                </a:tc>
                <a:tc>
                  <a:txBody>
                    <a:bodyPr/>
                    <a:lstStyle>
                      <a:lvl1pPr marL="0" algn="l" defTabSz="914298" rtl="0" eaLnBrk="1" latinLnBrk="1" hangingPunct="1">
                        <a:defRPr sz="1800" kern="1200">
                          <a:solidFill>
                            <a:schemeClr val="tx1"/>
                          </a:solidFill>
                          <a:latin typeface="Calibri" panose="020F0502020204030204"/>
                          <a:ea typeface="Arial Unicode MS"/>
                        </a:defRPr>
                      </a:lvl1pPr>
                      <a:lvl2pPr marL="457150" algn="l" defTabSz="914298" rtl="0" eaLnBrk="1" latinLnBrk="1" hangingPunct="1">
                        <a:defRPr sz="1800" kern="1200">
                          <a:solidFill>
                            <a:schemeClr val="tx1"/>
                          </a:solidFill>
                          <a:latin typeface="Calibri" panose="020F0502020204030204"/>
                          <a:ea typeface="Arial Unicode MS"/>
                        </a:defRPr>
                      </a:lvl2pPr>
                      <a:lvl3pPr marL="914298" algn="l" defTabSz="914298" rtl="0" eaLnBrk="1" latinLnBrk="1" hangingPunct="1">
                        <a:defRPr sz="1800" kern="1200">
                          <a:solidFill>
                            <a:schemeClr val="tx1"/>
                          </a:solidFill>
                          <a:latin typeface="Calibri" panose="020F0502020204030204"/>
                          <a:ea typeface="Arial Unicode MS"/>
                        </a:defRPr>
                      </a:lvl3pPr>
                      <a:lvl4pPr marL="1371447" algn="l" defTabSz="914298" rtl="0" eaLnBrk="1" latinLnBrk="1" hangingPunct="1">
                        <a:defRPr sz="1800" kern="1200">
                          <a:solidFill>
                            <a:schemeClr val="tx1"/>
                          </a:solidFill>
                          <a:latin typeface="Calibri" panose="020F0502020204030204"/>
                          <a:ea typeface="Arial Unicode MS"/>
                        </a:defRPr>
                      </a:lvl4pPr>
                      <a:lvl5pPr marL="1828596" algn="l" defTabSz="914298" rtl="0" eaLnBrk="1" latinLnBrk="1" hangingPunct="1">
                        <a:defRPr sz="1800" kern="1200">
                          <a:solidFill>
                            <a:schemeClr val="tx1"/>
                          </a:solidFill>
                          <a:latin typeface="Calibri" panose="020F0502020204030204"/>
                          <a:ea typeface="Arial Unicode MS"/>
                        </a:defRPr>
                      </a:lvl5pPr>
                      <a:lvl6pPr marL="2285744" algn="l" defTabSz="914298" rtl="0" eaLnBrk="1" latinLnBrk="1" hangingPunct="1">
                        <a:defRPr sz="1800" kern="1200">
                          <a:solidFill>
                            <a:schemeClr val="tx1"/>
                          </a:solidFill>
                          <a:latin typeface="Calibri" panose="020F0502020204030204"/>
                          <a:ea typeface="Arial Unicode MS"/>
                        </a:defRPr>
                      </a:lvl6pPr>
                      <a:lvl7pPr marL="2742894" algn="l" defTabSz="914298" rtl="0" eaLnBrk="1" latinLnBrk="1" hangingPunct="1">
                        <a:defRPr sz="1800" kern="1200">
                          <a:solidFill>
                            <a:schemeClr val="tx1"/>
                          </a:solidFill>
                          <a:latin typeface="Calibri" panose="020F0502020204030204"/>
                          <a:ea typeface="Arial Unicode MS"/>
                        </a:defRPr>
                      </a:lvl7pPr>
                      <a:lvl8pPr marL="3200043" algn="l" defTabSz="914298" rtl="0" eaLnBrk="1" latinLnBrk="1" hangingPunct="1">
                        <a:defRPr sz="1800" kern="1200">
                          <a:solidFill>
                            <a:schemeClr val="tx1"/>
                          </a:solidFill>
                          <a:latin typeface="Calibri" panose="020F0502020204030204"/>
                          <a:ea typeface="Arial Unicode MS"/>
                        </a:defRPr>
                      </a:lvl8pPr>
                      <a:lvl9pPr marL="3657191" algn="l" defTabSz="914298" rtl="0" eaLnBrk="1" latinLnBrk="1" hangingPunct="1">
                        <a:defRPr sz="1800" kern="1200">
                          <a:solidFill>
                            <a:schemeClr val="tx1"/>
                          </a:solidFill>
                          <a:latin typeface="Calibri" panose="020F0502020204030204"/>
                          <a:ea typeface="Arial Unicode MS"/>
                        </a:defRPr>
                      </a:lvl9pPr>
                    </a:lstStyle>
                    <a:p>
                      <a:pPr algn="ctr"/>
                      <a:r>
                        <a:rPr kumimoji="0" lang="ar-SA" sz="2400" b="1" i="0" u="none" strike="noStrike" kern="1200" cap="none" spc="0" normalizeH="0" baseline="0" dirty="0">
                          <a:ln>
                            <a:noFill/>
                          </a:ln>
                          <a:solidFill>
                            <a:schemeClr val="tx1"/>
                          </a:solidFill>
                          <a:effectLst/>
                          <a:uLnTx/>
                          <a:uFillTx/>
                          <a:latin typeface="Sakkal Majalla" panose="02000000000000000000" pitchFamily="2" charset="-78"/>
                          <a:ea typeface="Samim" panose="020B0603030804020204" pitchFamily="34" charset="0"/>
                          <a:cs typeface="Sakkal Majalla" panose="02000000000000000000" pitchFamily="2" charset="-78"/>
                        </a:rPr>
                        <a:t>طبيعة الدعم والمساندة</a:t>
                      </a:r>
                    </a:p>
                  </a:txBody>
                  <a:tcPr marL="91425" marR="91425" marT="68575" marB="68575"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71FFE4"/>
                    </a:solidFill>
                  </a:tcPr>
                </a:tc>
                <a:tc>
                  <a:txBody>
                    <a:bodyPr/>
                    <a:lstStyle>
                      <a:lvl1pPr marL="0" algn="l" defTabSz="914298" rtl="0" eaLnBrk="1" latinLnBrk="1" hangingPunct="1">
                        <a:defRPr sz="1800" kern="1200">
                          <a:solidFill>
                            <a:schemeClr val="tx1"/>
                          </a:solidFill>
                          <a:latin typeface="Calibri" panose="020F0502020204030204"/>
                          <a:ea typeface="Arial Unicode MS"/>
                        </a:defRPr>
                      </a:lvl1pPr>
                      <a:lvl2pPr marL="457150" algn="l" defTabSz="914298" rtl="0" eaLnBrk="1" latinLnBrk="1" hangingPunct="1">
                        <a:defRPr sz="1800" kern="1200">
                          <a:solidFill>
                            <a:schemeClr val="tx1"/>
                          </a:solidFill>
                          <a:latin typeface="Calibri" panose="020F0502020204030204"/>
                          <a:ea typeface="Arial Unicode MS"/>
                        </a:defRPr>
                      </a:lvl2pPr>
                      <a:lvl3pPr marL="914298" algn="l" defTabSz="914298" rtl="0" eaLnBrk="1" latinLnBrk="1" hangingPunct="1">
                        <a:defRPr sz="1800" kern="1200">
                          <a:solidFill>
                            <a:schemeClr val="tx1"/>
                          </a:solidFill>
                          <a:latin typeface="Calibri" panose="020F0502020204030204"/>
                          <a:ea typeface="Arial Unicode MS"/>
                        </a:defRPr>
                      </a:lvl3pPr>
                      <a:lvl4pPr marL="1371447" algn="l" defTabSz="914298" rtl="0" eaLnBrk="1" latinLnBrk="1" hangingPunct="1">
                        <a:defRPr sz="1800" kern="1200">
                          <a:solidFill>
                            <a:schemeClr val="tx1"/>
                          </a:solidFill>
                          <a:latin typeface="Calibri" panose="020F0502020204030204"/>
                          <a:ea typeface="Arial Unicode MS"/>
                        </a:defRPr>
                      </a:lvl4pPr>
                      <a:lvl5pPr marL="1828596" algn="l" defTabSz="914298" rtl="0" eaLnBrk="1" latinLnBrk="1" hangingPunct="1">
                        <a:defRPr sz="1800" kern="1200">
                          <a:solidFill>
                            <a:schemeClr val="tx1"/>
                          </a:solidFill>
                          <a:latin typeface="Calibri" panose="020F0502020204030204"/>
                          <a:ea typeface="Arial Unicode MS"/>
                        </a:defRPr>
                      </a:lvl5pPr>
                      <a:lvl6pPr marL="2285744" algn="l" defTabSz="914298" rtl="0" eaLnBrk="1" latinLnBrk="1" hangingPunct="1">
                        <a:defRPr sz="1800" kern="1200">
                          <a:solidFill>
                            <a:schemeClr val="tx1"/>
                          </a:solidFill>
                          <a:latin typeface="Calibri" panose="020F0502020204030204"/>
                          <a:ea typeface="Arial Unicode MS"/>
                        </a:defRPr>
                      </a:lvl6pPr>
                      <a:lvl7pPr marL="2742894" algn="l" defTabSz="914298" rtl="0" eaLnBrk="1" latinLnBrk="1" hangingPunct="1">
                        <a:defRPr sz="1800" kern="1200">
                          <a:solidFill>
                            <a:schemeClr val="tx1"/>
                          </a:solidFill>
                          <a:latin typeface="Calibri" panose="020F0502020204030204"/>
                          <a:ea typeface="Arial Unicode MS"/>
                        </a:defRPr>
                      </a:lvl7pPr>
                      <a:lvl8pPr marL="3200043" algn="l" defTabSz="914298" rtl="0" eaLnBrk="1" latinLnBrk="1" hangingPunct="1">
                        <a:defRPr sz="1800" kern="1200">
                          <a:solidFill>
                            <a:schemeClr val="tx1"/>
                          </a:solidFill>
                          <a:latin typeface="Calibri" panose="020F0502020204030204"/>
                          <a:ea typeface="Arial Unicode MS"/>
                        </a:defRPr>
                      </a:lvl8pPr>
                      <a:lvl9pPr marL="3657191" algn="l" defTabSz="914298" rtl="0" eaLnBrk="1" latinLnBrk="1" hangingPunct="1">
                        <a:defRPr sz="1800" kern="1200">
                          <a:solidFill>
                            <a:schemeClr val="tx1"/>
                          </a:solidFill>
                          <a:latin typeface="Calibri" panose="020F0502020204030204"/>
                          <a:ea typeface="Arial Unicode MS"/>
                        </a:defRPr>
                      </a:lvl9pPr>
                    </a:lstStyle>
                    <a:p>
                      <a:pPr marL="0" lvl="0" indent="0" algn="ctr" rtl="1">
                        <a:spcBef>
                          <a:spcPts val="0"/>
                        </a:spcBef>
                        <a:spcAft>
                          <a:spcPts val="0"/>
                        </a:spcAft>
                        <a:buNone/>
                      </a:pPr>
                      <a:r>
                        <a:rPr lang="ar-SA" sz="2400" b="1" dirty="0">
                          <a:solidFill>
                            <a:schemeClr val="tx1"/>
                          </a:solidFill>
                          <a:latin typeface="Sakkal Majalla" panose="02000000000000000000" pitchFamily="2" charset="-78"/>
                          <a:ea typeface="Samim" panose="020B0603030804020204" pitchFamily="34" charset="0"/>
                          <a:cs typeface="Sakkal Majalla" panose="02000000000000000000" pitchFamily="2" charset="-78"/>
                          <a:sym typeface="Titillium Web"/>
                        </a:rPr>
                        <a:t>تصنيف </a:t>
                      </a:r>
                    </a:p>
                    <a:p>
                      <a:pPr marL="0" lvl="0" indent="0" algn="ctr" rtl="1">
                        <a:spcBef>
                          <a:spcPts val="0"/>
                        </a:spcBef>
                        <a:spcAft>
                          <a:spcPts val="0"/>
                        </a:spcAft>
                        <a:buNone/>
                      </a:pPr>
                      <a:r>
                        <a:rPr lang="ar-SA" sz="2400" b="1" dirty="0">
                          <a:solidFill>
                            <a:schemeClr val="tx1"/>
                          </a:solidFill>
                          <a:latin typeface="Sakkal Majalla" panose="02000000000000000000" pitchFamily="2" charset="-78"/>
                          <a:ea typeface="Samim" panose="020B0603030804020204" pitchFamily="34" charset="0"/>
                          <a:cs typeface="Sakkal Majalla" panose="02000000000000000000" pitchFamily="2" charset="-78"/>
                          <a:sym typeface="Titillium Web"/>
                        </a:rPr>
                        <a:t>المدرسة</a:t>
                      </a:r>
                      <a:endParaRPr sz="2400" b="1" dirty="0">
                        <a:solidFill>
                          <a:schemeClr val="tx1"/>
                        </a:solidFill>
                        <a:latin typeface="Sakkal Majalla" panose="02000000000000000000" pitchFamily="2" charset="-78"/>
                        <a:ea typeface="Samim" panose="020B0603030804020204" pitchFamily="34" charset="0"/>
                        <a:cs typeface="Sakkal Majalla" panose="02000000000000000000" pitchFamily="2" charset="-78"/>
                        <a:sym typeface="Titillium Web"/>
                      </a:endParaRPr>
                    </a:p>
                  </a:txBody>
                  <a:tcPr marL="91425" marR="91425" marT="68575" marB="68575"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solidFill>
                      <a:srgbClr val="4472C4">
                        <a:lumMod val="20000"/>
                        <a:lumOff val="80000"/>
                      </a:srgbClr>
                    </a:solidFill>
                  </a:tcPr>
                </a:tc>
                <a:extLst>
                  <a:ext uri="{0D108BD9-81ED-4DB2-BD59-A6C34878D82A}">
                    <a16:rowId xmlns:a16="http://schemas.microsoft.com/office/drawing/2014/main" val="10000"/>
                  </a:ext>
                </a:extLst>
              </a:tr>
              <a:tr h="706109">
                <a:tc rowSpan="2">
                  <a:txBody>
                    <a:bodyPr/>
                    <a:lstStyle>
                      <a:lvl1pPr marL="0" algn="r" defTabSz="914400" rtl="1" eaLnBrk="1" latinLnBrk="0" hangingPunct="1">
                        <a:defRPr sz="1800" kern="1200">
                          <a:solidFill>
                            <a:schemeClr val="tx1"/>
                          </a:solidFill>
                          <a:latin typeface="Arial"/>
                          <a:ea typeface="Arial Unicode MS"/>
                        </a:defRPr>
                      </a:lvl1pPr>
                      <a:lvl2pPr marL="457200" algn="r" defTabSz="914400" rtl="1" eaLnBrk="1" latinLnBrk="0" hangingPunct="1">
                        <a:defRPr sz="1800" kern="1200">
                          <a:solidFill>
                            <a:schemeClr val="tx1"/>
                          </a:solidFill>
                          <a:latin typeface="Arial"/>
                          <a:ea typeface="Arial Unicode MS"/>
                        </a:defRPr>
                      </a:lvl2pPr>
                      <a:lvl3pPr marL="914400" algn="r" defTabSz="914400" rtl="1" eaLnBrk="1" latinLnBrk="0" hangingPunct="1">
                        <a:defRPr sz="1800" kern="1200">
                          <a:solidFill>
                            <a:schemeClr val="tx1"/>
                          </a:solidFill>
                          <a:latin typeface="Arial"/>
                          <a:ea typeface="Arial Unicode MS"/>
                        </a:defRPr>
                      </a:lvl3pPr>
                      <a:lvl4pPr marL="1371600" algn="r" defTabSz="914400" rtl="1" eaLnBrk="1" latinLnBrk="0" hangingPunct="1">
                        <a:defRPr sz="1800" kern="1200">
                          <a:solidFill>
                            <a:schemeClr val="tx1"/>
                          </a:solidFill>
                          <a:latin typeface="Arial"/>
                          <a:ea typeface="Arial Unicode MS"/>
                        </a:defRPr>
                      </a:lvl4pPr>
                      <a:lvl5pPr marL="1828800" algn="r" defTabSz="914400" rtl="1" eaLnBrk="1" latinLnBrk="0" hangingPunct="1">
                        <a:defRPr sz="1800" kern="1200">
                          <a:solidFill>
                            <a:schemeClr val="tx1"/>
                          </a:solidFill>
                          <a:latin typeface="Arial"/>
                          <a:ea typeface="Arial Unicode MS"/>
                        </a:defRPr>
                      </a:lvl5pPr>
                      <a:lvl6pPr marL="2286000" algn="r" defTabSz="914400" rtl="1" eaLnBrk="1" latinLnBrk="0" hangingPunct="1">
                        <a:defRPr sz="1800" kern="1200">
                          <a:solidFill>
                            <a:schemeClr val="tx1"/>
                          </a:solidFill>
                          <a:latin typeface="Arial"/>
                          <a:ea typeface="Arial Unicode MS"/>
                        </a:defRPr>
                      </a:lvl6pPr>
                      <a:lvl7pPr marL="2743200" algn="r" defTabSz="914400" rtl="1" eaLnBrk="1" latinLnBrk="0" hangingPunct="1">
                        <a:defRPr sz="1800" kern="1200">
                          <a:solidFill>
                            <a:schemeClr val="tx1"/>
                          </a:solidFill>
                          <a:latin typeface="Arial"/>
                          <a:ea typeface="Arial Unicode MS"/>
                        </a:defRPr>
                      </a:lvl7pPr>
                      <a:lvl8pPr marL="3200400" algn="r" defTabSz="914400" rtl="1" eaLnBrk="1" latinLnBrk="0" hangingPunct="1">
                        <a:defRPr sz="1800" kern="1200">
                          <a:solidFill>
                            <a:schemeClr val="tx1"/>
                          </a:solidFill>
                          <a:latin typeface="Arial"/>
                          <a:ea typeface="Arial Unicode MS"/>
                        </a:defRPr>
                      </a:lvl8pPr>
                      <a:lvl9pPr marL="3657600" algn="r" defTabSz="914400" rtl="1" eaLnBrk="1" latinLnBrk="0" hangingPunct="1">
                        <a:defRPr sz="1800" kern="1200">
                          <a:solidFill>
                            <a:schemeClr val="tx1"/>
                          </a:solidFill>
                          <a:latin typeface="Arial"/>
                          <a:ea typeface="Arial Unicode MS"/>
                        </a:defRPr>
                      </a:lvl9pPr>
                    </a:lstStyle>
                    <a:p>
                      <a:pPr marL="0" marR="0" lvl="0" indent="0" algn="ctr" defTabSz="914400" rtl="1" eaLnBrk="1" fontAlgn="auto" latinLnBrk="0" hangingPunct="1">
                        <a:lnSpc>
                          <a:spcPct val="100000"/>
                        </a:lnSpc>
                        <a:spcBef>
                          <a:spcPts val="0"/>
                        </a:spcBef>
                        <a:spcAft>
                          <a:spcPts val="0"/>
                        </a:spcAft>
                        <a:buClr>
                          <a:srgbClr val="CB1B4A"/>
                        </a:buClr>
                        <a:buSzTx/>
                        <a:buFont typeface="Wingdings" panose="05000000000000000000" pitchFamily="2" charset="2"/>
                        <a:buNone/>
                        <a:tabLst/>
                        <a:defRPr/>
                      </a:pPr>
                      <a:r>
                        <a:rPr kumimoji="0" lang="ar-SA" sz="2000" b="1" i="0" u="none" strike="noStrike" kern="1200" cap="none" spc="0" normalizeH="0" baseline="0" noProof="0" dirty="0">
                          <a:ln>
                            <a:noFill/>
                          </a:ln>
                          <a:solidFill>
                            <a:prstClr val="black"/>
                          </a:solidFill>
                          <a:effectLst/>
                          <a:uLnTx/>
                          <a:uFillTx/>
                          <a:latin typeface="Sakkal Majalla" panose="02000000000000000000" pitchFamily="2" charset="-78"/>
                          <a:ea typeface="Samim" panose="020B0603030804020204" pitchFamily="34" charset="0"/>
                          <a:cs typeface="Sakkal Majalla" panose="02000000000000000000" pitchFamily="2" charset="-78"/>
                          <a:sym typeface="Titillium Web"/>
                        </a:rPr>
                        <a:t>مشرف دعم ومساندة</a:t>
                      </a:r>
                    </a:p>
                  </a:txBody>
                  <a:tcPr marL="91425" marR="91425" marT="68575" marB="68575"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EBF1EE"/>
                    </a:solidFill>
                  </a:tcPr>
                </a:tc>
                <a:tc rowSpan="2">
                  <a:txBody>
                    <a:bodyPr/>
                    <a:lstStyle>
                      <a:lvl1pPr marL="0" algn="r" defTabSz="914400" rtl="1" eaLnBrk="1" latinLnBrk="0" hangingPunct="1">
                        <a:defRPr sz="1800" kern="1200">
                          <a:solidFill>
                            <a:schemeClr val="tx1"/>
                          </a:solidFill>
                          <a:latin typeface="Arial"/>
                          <a:ea typeface="Arial Unicode MS"/>
                        </a:defRPr>
                      </a:lvl1pPr>
                      <a:lvl2pPr marL="457200" algn="r" defTabSz="914400" rtl="1" eaLnBrk="1" latinLnBrk="0" hangingPunct="1">
                        <a:defRPr sz="1800" kern="1200">
                          <a:solidFill>
                            <a:schemeClr val="tx1"/>
                          </a:solidFill>
                          <a:latin typeface="Arial"/>
                          <a:ea typeface="Arial Unicode MS"/>
                        </a:defRPr>
                      </a:lvl2pPr>
                      <a:lvl3pPr marL="914400" algn="r" defTabSz="914400" rtl="1" eaLnBrk="1" latinLnBrk="0" hangingPunct="1">
                        <a:defRPr sz="1800" kern="1200">
                          <a:solidFill>
                            <a:schemeClr val="tx1"/>
                          </a:solidFill>
                          <a:latin typeface="Arial"/>
                          <a:ea typeface="Arial Unicode MS"/>
                        </a:defRPr>
                      </a:lvl3pPr>
                      <a:lvl4pPr marL="1371600" algn="r" defTabSz="914400" rtl="1" eaLnBrk="1" latinLnBrk="0" hangingPunct="1">
                        <a:defRPr sz="1800" kern="1200">
                          <a:solidFill>
                            <a:schemeClr val="tx1"/>
                          </a:solidFill>
                          <a:latin typeface="Arial"/>
                          <a:ea typeface="Arial Unicode MS"/>
                        </a:defRPr>
                      </a:lvl4pPr>
                      <a:lvl5pPr marL="1828800" algn="r" defTabSz="914400" rtl="1" eaLnBrk="1" latinLnBrk="0" hangingPunct="1">
                        <a:defRPr sz="1800" kern="1200">
                          <a:solidFill>
                            <a:schemeClr val="tx1"/>
                          </a:solidFill>
                          <a:latin typeface="Arial"/>
                          <a:ea typeface="Arial Unicode MS"/>
                        </a:defRPr>
                      </a:lvl5pPr>
                      <a:lvl6pPr marL="2286000" algn="r" defTabSz="914400" rtl="1" eaLnBrk="1" latinLnBrk="0" hangingPunct="1">
                        <a:defRPr sz="1800" kern="1200">
                          <a:solidFill>
                            <a:schemeClr val="tx1"/>
                          </a:solidFill>
                          <a:latin typeface="Arial"/>
                          <a:ea typeface="Arial Unicode MS"/>
                        </a:defRPr>
                      </a:lvl6pPr>
                      <a:lvl7pPr marL="2743200" algn="r" defTabSz="914400" rtl="1" eaLnBrk="1" latinLnBrk="0" hangingPunct="1">
                        <a:defRPr sz="1800" kern="1200">
                          <a:solidFill>
                            <a:schemeClr val="tx1"/>
                          </a:solidFill>
                          <a:latin typeface="Arial"/>
                          <a:ea typeface="Arial Unicode MS"/>
                        </a:defRPr>
                      </a:lvl7pPr>
                      <a:lvl8pPr marL="3200400" algn="r" defTabSz="914400" rtl="1" eaLnBrk="1" latinLnBrk="0" hangingPunct="1">
                        <a:defRPr sz="1800" kern="1200">
                          <a:solidFill>
                            <a:schemeClr val="tx1"/>
                          </a:solidFill>
                          <a:latin typeface="Arial"/>
                          <a:ea typeface="Arial Unicode MS"/>
                        </a:defRPr>
                      </a:lvl8pPr>
                      <a:lvl9pPr marL="3657600" algn="r" defTabSz="914400" rtl="1" eaLnBrk="1" latinLnBrk="0" hangingPunct="1">
                        <a:defRPr sz="1800" kern="1200">
                          <a:solidFill>
                            <a:schemeClr val="tx1"/>
                          </a:solidFill>
                          <a:latin typeface="Arial"/>
                          <a:ea typeface="Arial Unicode MS"/>
                        </a:defRPr>
                      </a:lvl9pPr>
                    </a:lstStyle>
                    <a:p>
                      <a:pPr marL="174625" lvl="0" indent="-174625" algn="justLow" rtl="1">
                        <a:spcBef>
                          <a:spcPts val="0"/>
                        </a:spcBef>
                        <a:spcAft>
                          <a:spcPts val="0"/>
                        </a:spcAft>
                        <a:buClr>
                          <a:srgbClr val="CB1B4A"/>
                        </a:buClr>
                        <a:buFont typeface="Wingdings" panose="05000000000000000000" pitchFamily="2" charset="2"/>
                        <a:buChar char="§"/>
                      </a:pPr>
                      <a:r>
                        <a:rPr kumimoji="0" lang="ar-SA" sz="2000" b="1" i="0" u="none" strike="noStrike" kern="1200" cap="none" spc="0" normalizeH="0" baseline="0" noProof="0" dirty="0">
                          <a:ln>
                            <a:noFill/>
                          </a:ln>
                          <a:solidFill>
                            <a:schemeClr val="tx1"/>
                          </a:solidFill>
                          <a:effectLst/>
                          <a:uLnTx/>
                          <a:uFillTx/>
                          <a:latin typeface="Sakkal Majalla" panose="02000000000000000000" pitchFamily="2" charset="-78"/>
                          <a:ea typeface="Samim" panose="020B0603030804020204" pitchFamily="34" charset="0"/>
                          <a:cs typeface="Sakkal Majalla" panose="02000000000000000000" pitchFamily="2" charset="-78"/>
                          <a:sym typeface="Titillium Web"/>
                        </a:rPr>
                        <a:t>الاستمرار على الخطة الحالية والمحافظة على مستوى التقدم الحالي.</a:t>
                      </a:r>
                    </a:p>
                    <a:p>
                      <a:pPr marL="174625" lvl="0" indent="-174625" algn="justLow" rtl="1">
                        <a:spcBef>
                          <a:spcPts val="0"/>
                        </a:spcBef>
                        <a:spcAft>
                          <a:spcPts val="0"/>
                        </a:spcAft>
                        <a:buClr>
                          <a:srgbClr val="CB1B4A"/>
                        </a:buClr>
                        <a:buFont typeface="Wingdings" panose="05000000000000000000" pitchFamily="2" charset="2"/>
                        <a:buChar char="§"/>
                      </a:pPr>
                      <a:r>
                        <a:rPr kumimoji="0" lang="ar-SA" sz="2000" b="1" i="0" u="none" strike="noStrike" kern="1200" cap="none" spc="0" normalizeH="0" baseline="0" noProof="0" dirty="0">
                          <a:ln>
                            <a:noFill/>
                          </a:ln>
                          <a:solidFill>
                            <a:schemeClr val="tx1"/>
                          </a:solidFill>
                          <a:effectLst/>
                          <a:uLnTx/>
                          <a:uFillTx/>
                          <a:latin typeface="Sakkal Majalla" panose="02000000000000000000" pitchFamily="2" charset="-78"/>
                          <a:ea typeface="Samim" panose="020B0603030804020204" pitchFamily="34" charset="0"/>
                          <a:cs typeface="Sakkal Majalla" panose="02000000000000000000" pitchFamily="2" charset="-78"/>
                          <a:sym typeface="Titillium Web"/>
                        </a:rPr>
                        <a:t>نشر الخبرات وكيفية التغلب على المشكلات للإفادة منها.</a:t>
                      </a:r>
                    </a:p>
                    <a:p>
                      <a:pPr marL="174625" lvl="0" indent="-174625" algn="justLow" rtl="1">
                        <a:spcBef>
                          <a:spcPts val="0"/>
                        </a:spcBef>
                        <a:spcAft>
                          <a:spcPts val="0"/>
                        </a:spcAft>
                        <a:buClr>
                          <a:srgbClr val="CB1B4A"/>
                        </a:buClr>
                        <a:buFont typeface="Wingdings" panose="05000000000000000000" pitchFamily="2" charset="2"/>
                        <a:buChar char="§"/>
                      </a:pPr>
                      <a:r>
                        <a:rPr kumimoji="0" lang="ar-SA" sz="2000" b="1" i="0" u="none" strike="noStrike" kern="1200" cap="none" spc="0" normalizeH="0" baseline="0" noProof="0" dirty="0">
                          <a:ln>
                            <a:noFill/>
                          </a:ln>
                          <a:solidFill>
                            <a:schemeClr val="tx1"/>
                          </a:solidFill>
                          <a:effectLst/>
                          <a:uLnTx/>
                          <a:uFillTx/>
                          <a:latin typeface="Sakkal Majalla" panose="02000000000000000000" pitchFamily="2" charset="-78"/>
                          <a:ea typeface="Samim" panose="020B0603030804020204" pitchFamily="34" charset="0"/>
                          <a:cs typeface="Sakkal Majalla" panose="02000000000000000000" pitchFamily="2" charset="-78"/>
                          <a:sym typeface="Titillium Web"/>
                        </a:rPr>
                        <a:t>تحفيز المتميزين في تحقيق أعلى المستويات في المجالات الأربعة.</a:t>
                      </a:r>
                    </a:p>
                  </a:txBody>
                  <a:tcPr marL="91425" marR="91425" marT="68575" marB="68575">
                    <a:lnL w="12700" cap="flat" cmpd="sng" algn="ctr">
                      <a:solidFill>
                        <a:sysClr val="windowText" lastClr="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EBF1EE"/>
                    </a:solidFill>
                  </a:tcPr>
                </a:tc>
                <a:tc>
                  <a:txBody>
                    <a:bodyPr/>
                    <a:lstStyle>
                      <a:lvl1pPr marL="0" algn="l" defTabSz="914298" rtl="0" eaLnBrk="1" latinLnBrk="1" hangingPunct="1">
                        <a:defRPr sz="1800" kern="1200">
                          <a:solidFill>
                            <a:schemeClr val="tx1"/>
                          </a:solidFill>
                          <a:latin typeface="Calibri" panose="020F0502020204030204"/>
                          <a:ea typeface="Arial Unicode MS"/>
                        </a:defRPr>
                      </a:lvl1pPr>
                      <a:lvl2pPr marL="457150" algn="l" defTabSz="914298" rtl="0" eaLnBrk="1" latinLnBrk="1" hangingPunct="1">
                        <a:defRPr sz="1800" kern="1200">
                          <a:solidFill>
                            <a:schemeClr val="tx1"/>
                          </a:solidFill>
                          <a:latin typeface="Calibri" panose="020F0502020204030204"/>
                          <a:ea typeface="Arial Unicode MS"/>
                        </a:defRPr>
                      </a:lvl2pPr>
                      <a:lvl3pPr marL="914298" algn="l" defTabSz="914298" rtl="0" eaLnBrk="1" latinLnBrk="1" hangingPunct="1">
                        <a:defRPr sz="1800" kern="1200">
                          <a:solidFill>
                            <a:schemeClr val="tx1"/>
                          </a:solidFill>
                          <a:latin typeface="Calibri" panose="020F0502020204030204"/>
                          <a:ea typeface="Arial Unicode MS"/>
                        </a:defRPr>
                      </a:lvl3pPr>
                      <a:lvl4pPr marL="1371447" algn="l" defTabSz="914298" rtl="0" eaLnBrk="1" latinLnBrk="1" hangingPunct="1">
                        <a:defRPr sz="1800" kern="1200">
                          <a:solidFill>
                            <a:schemeClr val="tx1"/>
                          </a:solidFill>
                          <a:latin typeface="Calibri" panose="020F0502020204030204"/>
                          <a:ea typeface="Arial Unicode MS"/>
                        </a:defRPr>
                      </a:lvl4pPr>
                      <a:lvl5pPr marL="1828596" algn="l" defTabSz="914298" rtl="0" eaLnBrk="1" latinLnBrk="1" hangingPunct="1">
                        <a:defRPr sz="1800" kern="1200">
                          <a:solidFill>
                            <a:schemeClr val="tx1"/>
                          </a:solidFill>
                          <a:latin typeface="Calibri" panose="020F0502020204030204"/>
                          <a:ea typeface="Arial Unicode MS"/>
                        </a:defRPr>
                      </a:lvl5pPr>
                      <a:lvl6pPr marL="2285744" algn="l" defTabSz="914298" rtl="0" eaLnBrk="1" latinLnBrk="1" hangingPunct="1">
                        <a:defRPr sz="1800" kern="1200">
                          <a:solidFill>
                            <a:schemeClr val="tx1"/>
                          </a:solidFill>
                          <a:latin typeface="Calibri" panose="020F0502020204030204"/>
                          <a:ea typeface="Arial Unicode MS"/>
                        </a:defRPr>
                      </a:lvl6pPr>
                      <a:lvl7pPr marL="2742894" algn="l" defTabSz="914298" rtl="0" eaLnBrk="1" latinLnBrk="1" hangingPunct="1">
                        <a:defRPr sz="1800" kern="1200">
                          <a:solidFill>
                            <a:schemeClr val="tx1"/>
                          </a:solidFill>
                          <a:latin typeface="Calibri" panose="020F0502020204030204"/>
                          <a:ea typeface="Arial Unicode MS"/>
                        </a:defRPr>
                      </a:lvl7pPr>
                      <a:lvl8pPr marL="3200043" algn="l" defTabSz="914298" rtl="0" eaLnBrk="1" latinLnBrk="1" hangingPunct="1">
                        <a:defRPr sz="1800" kern="1200">
                          <a:solidFill>
                            <a:schemeClr val="tx1"/>
                          </a:solidFill>
                          <a:latin typeface="Calibri" panose="020F0502020204030204"/>
                          <a:ea typeface="Arial Unicode MS"/>
                        </a:defRPr>
                      </a:lvl8pPr>
                      <a:lvl9pPr marL="3657191" algn="l" defTabSz="914298" rtl="0" eaLnBrk="1" latinLnBrk="1" hangingPunct="1">
                        <a:defRPr sz="1800" kern="1200">
                          <a:solidFill>
                            <a:schemeClr val="tx1"/>
                          </a:solidFill>
                          <a:latin typeface="Calibri" panose="020F0502020204030204"/>
                          <a:ea typeface="Arial Unicode MS"/>
                        </a:defRPr>
                      </a:lvl9pPr>
                    </a:lstStyle>
                    <a:p>
                      <a:pPr marL="0" lvl="0" indent="0" algn="ctr" rtl="1">
                        <a:spcBef>
                          <a:spcPts val="0"/>
                        </a:spcBef>
                        <a:spcAft>
                          <a:spcPts val="0"/>
                        </a:spcAft>
                        <a:buNone/>
                      </a:pPr>
                      <a:r>
                        <a:rPr lang="ar-SA" sz="2800" b="1" dirty="0">
                          <a:solidFill>
                            <a:schemeClr val="tx1"/>
                          </a:solidFill>
                          <a:latin typeface="Sakkal Majalla" panose="02000000000000000000" pitchFamily="2" charset="-78"/>
                          <a:ea typeface="Samim" panose="020B0603030804020204" pitchFamily="34" charset="0"/>
                          <a:cs typeface="Sakkal Majalla" panose="02000000000000000000" pitchFamily="2" charset="-78"/>
                          <a:sym typeface="Titillium Web"/>
                        </a:rPr>
                        <a:t>التميز </a:t>
                      </a:r>
                      <a:endParaRPr sz="2800" b="1" dirty="0">
                        <a:solidFill>
                          <a:schemeClr val="tx1"/>
                        </a:solidFill>
                        <a:latin typeface="Sakkal Majalla" panose="02000000000000000000" pitchFamily="2" charset="-78"/>
                        <a:ea typeface="Samim" panose="020B0603030804020204" pitchFamily="34" charset="0"/>
                        <a:cs typeface="Sakkal Majalla" panose="02000000000000000000" pitchFamily="2" charset="-78"/>
                        <a:sym typeface="Titillium Web"/>
                      </a:endParaRPr>
                    </a:p>
                  </a:txBody>
                  <a:tcPr marL="91425" marR="91425" marT="68575" marB="68575" anchor="ctr">
                    <a:lnL w="12700" cap="flat" cmpd="sng" algn="ctr">
                      <a:solidFill>
                        <a:schemeClr val="tx1"/>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prstClr val="black"/>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69E781"/>
                    </a:solidFill>
                  </a:tcPr>
                </a:tc>
                <a:extLst>
                  <a:ext uri="{0D108BD9-81ED-4DB2-BD59-A6C34878D82A}">
                    <a16:rowId xmlns:a16="http://schemas.microsoft.com/office/drawing/2014/main" val="10001"/>
                  </a:ext>
                </a:extLst>
              </a:tr>
              <a:tr h="706109">
                <a:tc vMerge="1">
                  <a:txBody>
                    <a:bodyPr/>
                    <a:lstStyle>
                      <a:lvl1pPr marL="0" algn="r" defTabSz="914400" rtl="1" eaLnBrk="1" latinLnBrk="0" hangingPunct="1">
                        <a:defRPr sz="1800" kern="1200">
                          <a:solidFill>
                            <a:schemeClr val="tx1"/>
                          </a:solidFill>
                          <a:latin typeface="Arial"/>
                          <a:ea typeface="Arial Unicode MS"/>
                        </a:defRPr>
                      </a:lvl1pPr>
                      <a:lvl2pPr marL="457200" algn="r" defTabSz="914400" rtl="1" eaLnBrk="1" latinLnBrk="0" hangingPunct="1">
                        <a:defRPr sz="1800" kern="1200">
                          <a:solidFill>
                            <a:schemeClr val="tx1"/>
                          </a:solidFill>
                          <a:latin typeface="Arial"/>
                          <a:ea typeface="Arial Unicode MS"/>
                        </a:defRPr>
                      </a:lvl2pPr>
                      <a:lvl3pPr marL="914400" algn="r" defTabSz="914400" rtl="1" eaLnBrk="1" latinLnBrk="0" hangingPunct="1">
                        <a:defRPr sz="1800" kern="1200">
                          <a:solidFill>
                            <a:schemeClr val="tx1"/>
                          </a:solidFill>
                          <a:latin typeface="Arial"/>
                          <a:ea typeface="Arial Unicode MS"/>
                        </a:defRPr>
                      </a:lvl3pPr>
                      <a:lvl4pPr marL="1371600" algn="r" defTabSz="914400" rtl="1" eaLnBrk="1" latinLnBrk="0" hangingPunct="1">
                        <a:defRPr sz="1800" kern="1200">
                          <a:solidFill>
                            <a:schemeClr val="tx1"/>
                          </a:solidFill>
                          <a:latin typeface="Arial"/>
                          <a:ea typeface="Arial Unicode MS"/>
                        </a:defRPr>
                      </a:lvl4pPr>
                      <a:lvl5pPr marL="1828800" algn="r" defTabSz="914400" rtl="1" eaLnBrk="1" latinLnBrk="0" hangingPunct="1">
                        <a:defRPr sz="1800" kern="1200">
                          <a:solidFill>
                            <a:schemeClr val="tx1"/>
                          </a:solidFill>
                          <a:latin typeface="Arial"/>
                          <a:ea typeface="Arial Unicode MS"/>
                        </a:defRPr>
                      </a:lvl5pPr>
                      <a:lvl6pPr marL="2286000" algn="r" defTabSz="914400" rtl="1" eaLnBrk="1" latinLnBrk="0" hangingPunct="1">
                        <a:defRPr sz="1800" kern="1200">
                          <a:solidFill>
                            <a:schemeClr val="tx1"/>
                          </a:solidFill>
                          <a:latin typeface="Arial"/>
                          <a:ea typeface="Arial Unicode MS"/>
                        </a:defRPr>
                      </a:lvl6pPr>
                      <a:lvl7pPr marL="2743200" algn="r" defTabSz="914400" rtl="1" eaLnBrk="1" latinLnBrk="0" hangingPunct="1">
                        <a:defRPr sz="1800" kern="1200">
                          <a:solidFill>
                            <a:schemeClr val="tx1"/>
                          </a:solidFill>
                          <a:latin typeface="Arial"/>
                          <a:ea typeface="Arial Unicode MS"/>
                        </a:defRPr>
                      </a:lvl7pPr>
                      <a:lvl8pPr marL="3200400" algn="r" defTabSz="914400" rtl="1" eaLnBrk="1" latinLnBrk="0" hangingPunct="1">
                        <a:defRPr sz="1800" kern="1200">
                          <a:solidFill>
                            <a:schemeClr val="tx1"/>
                          </a:solidFill>
                          <a:latin typeface="Arial"/>
                          <a:ea typeface="Arial Unicode MS"/>
                        </a:defRPr>
                      </a:lvl8pPr>
                      <a:lvl9pPr marL="3657600" algn="r" defTabSz="914400" rtl="1" eaLnBrk="1" latinLnBrk="0" hangingPunct="1">
                        <a:defRPr sz="1800" kern="1200">
                          <a:solidFill>
                            <a:schemeClr val="tx1"/>
                          </a:solidFill>
                          <a:latin typeface="Arial"/>
                          <a:ea typeface="Arial Unicode MS"/>
                        </a:defRPr>
                      </a:lvl9pPr>
                    </a:lstStyle>
                    <a:p>
                      <a:pPr marL="0" marR="0" lvl="0" indent="0" algn="ctr" defTabSz="914400" rtl="1" eaLnBrk="1" fontAlgn="auto" latinLnBrk="0" hangingPunct="1">
                        <a:lnSpc>
                          <a:spcPct val="100000"/>
                        </a:lnSpc>
                        <a:spcBef>
                          <a:spcPts val="0"/>
                        </a:spcBef>
                        <a:spcAft>
                          <a:spcPts val="0"/>
                        </a:spcAft>
                        <a:buClr>
                          <a:srgbClr val="CB1B4A"/>
                        </a:buClr>
                        <a:buSzTx/>
                        <a:buFont typeface="Wingdings" panose="05000000000000000000" pitchFamily="2" charset="2"/>
                        <a:buNone/>
                        <a:tabLst/>
                        <a:defRPr/>
                      </a:pPr>
                      <a:r>
                        <a:rPr kumimoji="0" lang="ar-SA" sz="1600" b="1" i="0" u="none" strike="noStrike" kern="1200" cap="none" spc="0" normalizeH="0" baseline="0" noProof="0" dirty="0">
                          <a:ln>
                            <a:noFill/>
                          </a:ln>
                          <a:solidFill>
                            <a:prstClr val="black"/>
                          </a:solidFill>
                          <a:effectLst/>
                          <a:uLnTx/>
                          <a:uFillTx/>
                          <a:latin typeface="Sakkal Majalla" panose="02000000000000000000" pitchFamily="2" charset="-78"/>
                          <a:ea typeface="Samim" panose="020B0603030804020204" pitchFamily="34" charset="0"/>
                          <a:cs typeface="Sakkal Majalla" panose="02000000000000000000" pitchFamily="2" charset="-78"/>
                          <a:sym typeface="Titillium Web"/>
                        </a:rPr>
                        <a:t>بحاجة إلى استمر التحسين والتطوير للوصول لمرحلة التميز</a:t>
                      </a:r>
                    </a:p>
                  </a:txBody>
                  <a:tcPr marL="91425" marR="91425" marT="68575" marB="68575"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lvl1pPr marL="0" algn="r" defTabSz="914400" rtl="1" eaLnBrk="1" latinLnBrk="0" hangingPunct="1">
                        <a:defRPr sz="1800" kern="1200">
                          <a:solidFill>
                            <a:schemeClr val="tx1"/>
                          </a:solidFill>
                          <a:latin typeface="Arial"/>
                          <a:ea typeface="Arial Unicode MS"/>
                        </a:defRPr>
                      </a:lvl1pPr>
                      <a:lvl2pPr marL="457200" algn="r" defTabSz="914400" rtl="1" eaLnBrk="1" latinLnBrk="0" hangingPunct="1">
                        <a:defRPr sz="1800" kern="1200">
                          <a:solidFill>
                            <a:schemeClr val="tx1"/>
                          </a:solidFill>
                          <a:latin typeface="Arial"/>
                          <a:ea typeface="Arial Unicode MS"/>
                        </a:defRPr>
                      </a:lvl2pPr>
                      <a:lvl3pPr marL="914400" algn="r" defTabSz="914400" rtl="1" eaLnBrk="1" latinLnBrk="0" hangingPunct="1">
                        <a:defRPr sz="1800" kern="1200">
                          <a:solidFill>
                            <a:schemeClr val="tx1"/>
                          </a:solidFill>
                          <a:latin typeface="Arial"/>
                          <a:ea typeface="Arial Unicode MS"/>
                        </a:defRPr>
                      </a:lvl3pPr>
                      <a:lvl4pPr marL="1371600" algn="r" defTabSz="914400" rtl="1" eaLnBrk="1" latinLnBrk="0" hangingPunct="1">
                        <a:defRPr sz="1800" kern="1200">
                          <a:solidFill>
                            <a:schemeClr val="tx1"/>
                          </a:solidFill>
                          <a:latin typeface="Arial"/>
                          <a:ea typeface="Arial Unicode MS"/>
                        </a:defRPr>
                      </a:lvl4pPr>
                      <a:lvl5pPr marL="1828800" algn="r" defTabSz="914400" rtl="1" eaLnBrk="1" latinLnBrk="0" hangingPunct="1">
                        <a:defRPr sz="1800" kern="1200">
                          <a:solidFill>
                            <a:schemeClr val="tx1"/>
                          </a:solidFill>
                          <a:latin typeface="Arial"/>
                          <a:ea typeface="Arial Unicode MS"/>
                        </a:defRPr>
                      </a:lvl5pPr>
                      <a:lvl6pPr marL="2286000" algn="r" defTabSz="914400" rtl="1" eaLnBrk="1" latinLnBrk="0" hangingPunct="1">
                        <a:defRPr sz="1800" kern="1200">
                          <a:solidFill>
                            <a:schemeClr val="tx1"/>
                          </a:solidFill>
                          <a:latin typeface="Arial"/>
                          <a:ea typeface="Arial Unicode MS"/>
                        </a:defRPr>
                      </a:lvl6pPr>
                      <a:lvl7pPr marL="2743200" algn="r" defTabSz="914400" rtl="1" eaLnBrk="1" latinLnBrk="0" hangingPunct="1">
                        <a:defRPr sz="1800" kern="1200">
                          <a:solidFill>
                            <a:schemeClr val="tx1"/>
                          </a:solidFill>
                          <a:latin typeface="Arial"/>
                          <a:ea typeface="Arial Unicode MS"/>
                        </a:defRPr>
                      </a:lvl7pPr>
                      <a:lvl8pPr marL="3200400" algn="r" defTabSz="914400" rtl="1" eaLnBrk="1" latinLnBrk="0" hangingPunct="1">
                        <a:defRPr sz="1800" kern="1200">
                          <a:solidFill>
                            <a:schemeClr val="tx1"/>
                          </a:solidFill>
                          <a:latin typeface="Arial"/>
                          <a:ea typeface="Arial Unicode MS"/>
                        </a:defRPr>
                      </a:lvl8pPr>
                      <a:lvl9pPr marL="3657600" algn="r" defTabSz="914400" rtl="1" eaLnBrk="1" latinLnBrk="0" hangingPunct="1">
                        <a:defRPr sz="1800" kern="1200">
                          <a:solidFill>
                            <a:schemeClr val="tx1"/>
                          </a:solidFill>
                          <a:latin typeface="Arial"/>
                          <a:ea typeface="Arial Unicode MS"/>
                        </a:defRPr>
                      </a:lvl9pPr>
                    </a:lstStyle>
                    <a:p>
                      <a:pPr marL="0" marR="0" lvl="0" indent="0" algn="ctr" defTabSz="914400" rtl="1" eaLnBrk="1" fontAlgn="auto" latinLnBrk="0" hangingPunct="1">
                        <a:lnSpc>
                          <a:spcPct val="100000"/>
                        </a:lnSpc>
                        <a:spcBef>
                          <a:spcPts val="0"/>
                        </a:spcBef>
                        <a:spcAft>
                          <a:spcPts val="0"/>
                        </a:spcAft>
                        <a:buClr>
                          <a:srgbClr val="CB1B4A"/>
                        </a:buClr>
                        <a:buSzTx/>
                        <a:buFont typeface="Wingdings" panose="05000000000000000000" pitchFamily="2" charset="2"/>
                        <a:buNone/>
                        <a:tabLst/>
                        <a:defRPr/>
                      </a:pPr>
                      <a:r>
                        <a:rPr kumimoji="0" lang="ar-SA" sz="1900" b="1" i="0" u="none" strike="noStrike" kern="1200" cap="none" spc="0" normalizeH="0" baseline="0" noProof="0" dirty="0">
                          <a:ln>
                            <a:noFill/>
                          </a:ln>
                          <a:solidFill>
                            <a:schemeClr val="tx1"/>
                          </a:solidFill>
                          <a:effectLst/>
                          <a:uLnTx/>
                          <a:uFillTx/>
                          <a:latin typeface="Sakkal Majalla" panose="02000000000000000000" pitchFamily="2" charset="-78"/>
                          <a:ea typeface="Samim" panose="020B0603030804020204" pitchFamily="34" charset="0"/>
                          <a:cs typeface="Sakkal Majalla" panose="02000000000000000000" pitchFamily="2" charset="-78"/>
                          <a:sym typeface="Titillium Web"/>
                        </a:rPr>
                        <a:t>بين 75% - أقل من 90%</a:t>
                      </a:r>
                      <a:endParaRPr kumimoji="0" lang="en-US" sz="1900" b="1" i="0" u="none" strike="noStrike" kern="1200" cap="none" spc="0" normalizeH="0" baseline="0" noProof="0" dirty="0">
                        <a:ln>
                          <a:noFill/>
                        </a:ln>
                        <a:solidFill>
                          <a:schemeClr val="tx1"/>
                        </a:solidFill>
                        <a:effectLst/>
                        <a:uLnTx/>
                        <a:uFillTx/>
                        <a:latin typeface="Sakkal Majalla" panose="02000000000000000000" pitchFamily="2" charset="-78"/>
                        <a:ea typeface="Samim" panose="020B0603030804020204" pitchFamily="34" charset="0"/>
                        <a:cs typeface="Sakkal Majalla" panose="02000000000000000000" pitchFamily="2" charset="-78"/>
                        <a:sym typeface="Titillium Web"/>
                      </a:endParaRPr>
                    </a:p>
                    <a:p>
                      <a:pPr marL="0" marR="0" lvl="0" indent="0" algn="ctr" defTabSz="914400" rtl="1" eaLnBrk="1" fontAlgn="auto" latinLnBrk="0" hangingPunct="1">
                        <a:lnSpc>
                          <a:spcPct val="100000"/>
                        </a:lnSpc>
                        <a:spcBef>
                          <a:spcPts val="0"/>
                        </a:spcBef>
                        <a:spcAft>
                          <a:spcPts val="0"/>
                        </a:spcAft>
                        <a:buClr>
                          <a:srgbClr val="CB1B4A"/>
                        </a:buClr>
                        <a:buSzTx/>
                        <a:buFont typeface="Wingdings" panose="05000000000000000000" pitchFamily="2" charset="2"/>
                        <a:buNone/>
                        <a:tabLst/>
                        <a:defRPr/>
                      </a:pPr>
                      <a:r>
                        <a:rPr kumimoji="0" lang="ar-SA" sz="1900" b="1" i="0" u="none" strike="noStrike" kern="1200" cap="none" spc="0" normalizeH="0" baseline="0" noProof="0" dirty="0">
                          <a:ln>
                            <a:noFill/>
                          </a:ln>
                          <a:solidFill>
                            <a:schemeClr val="tx1"/>
                          </a:solidFill>
                          <a:effectLst/>
                          <a:uLnTx/>
                          <a:uFillTx/>
                          <a:latin typeface="Sakkal Majalla" panose="02000000000000000000" pitchFamily="2" charset="-78"/>
                          <a:ea typeface="Samim" panose="020B0603030804020204" pitchFamily="34" charset="0"/>
                          <a:cs typeface="Sakkal Majalla" panose="02000000000000000000" pitchFamily="2" charset="-78"/>
                          <a:sym typeface="Titillium Web"/>
                        </a:rPr>
                        <a:t>مستوى</a:t>
                      </a:r>
                      <a:r>
                        <a:rPr kumimoji="0" lang="en-US" sz="1900" b="1" i="0" u="none" strike="noStrike" kern="1200" cap="none" spc="0" normalizeH="0" baseline="0" noProof="0" dirty="0">
                          <a:ln>
                            <a:noFill/>
                          </a:ln>
                          <a:solidFill>
                            <a:schemeClr val="tx1"/>
                          </a:solidFill>
                          <a:effectLst/>
                          <a:uLnTx/>
                          <a:uFillTx/>
                          <a:latin typeface="Sakkal Majalla" panose="02000000000000000000" pitchFamily="2" charset="-78"/>
                          <a:ea typeface="Samim" panose="020B0603030804020204" pitchFamily="34" charset="0"/>
                          <a:cs typeface="Sakkal Majalla" panose="02000000000000000000" pitchFamily="2" charset="-78"/>
                          <a:sym typeface="Titillium Web"/>
                        </a:rPr>
                        <a:t> </a:t>
                      </a:r>
                      <a:r>
                        <a:rPr kumimoji="0" lang="ar-SA" sz="1900" b="1" i="0" u="none" strike="noStrike" kern="1200" cap="none" spc="0" normalizeH="0" baseline="0" noProof="0" dirty="0">
                          <a:ln>
                            <a:noFill/>
                          </a:ln>
                          <a:solidFill>
                            <a:schemeClr val="tx1"/>
                          </a:solidFill>
                          <a:effectLst/>
                          <a:uLnTx/>
                          <a:uFillTx/>
                          <a:latin typeface="Sakkal Majalla" panose="02000000000000000000" pitchFamily="2" charset="-78"/>
                          <a:ea typeface="Samim" panose="020B0603030804020204" pitchFamily="34" charset="0"/>
                          <a:cs typeface="Sakkal Majalla" panose="02000000000000000000" pitchFamily="2" charset="-78"/>
                          <a:sym typeface="Titillium Web"/>
                        </a:rPr>
                        <a:t> أداء المدرسة مرتفع</a:t>
                      </a:r>
                    </a:p>
                  </a:txBody>
                  <a:tcPr marL="91425" marR="91425" marT="68575" marB="68575"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298" rtl="0" eaLnBrk="1" latinLnBrk="1" hangingPunct="1">
                        <a:defRPr sz="1800" kern="1200">
                          <a:solidFill>
                            <a:schemeClr val="tx1"/>
                          </a:solidFill>
                          <a:latin typeface="Calibri" panose="020F0502020204030204"/>
                          <a:ea typeface="Arial Unicode MS"/>
                        </a:defRPr>
                      </a:lvl1pPr>
                      <a:lvl2pPr marL="457150" algn="l" defTabSz="914298" rtl="0" eaLnBrk="1" latinLnBrk="1" hangingPunct="1">
                        <a:defRPr sz="1800" kern="1200">
                          <a:solidFill>
                            <a:schemeClr val="tx1"/>
                          </a:solidFill>
                          <a:latin typeface="Calibri" panose="020F0502020204030204"/>
                          <a:ea typeface="Arial Unicode MS"/>
                        </a:defRPr>
                      </a:lvl2pPr>
                      <a:lvl3pPr marL="914298" algn="l" defTabSz="914298" rtl="0" eaLnBrk="1" latinLnBrk="1" hangingPunct="1">
                        <a:defRPr sz="1800" kern="1200">
                          <a:solidFill>
                            <a:schemeClr val="tx1"/>
                          </a:solidFill>
                          <a:latin typeface="Calibri" panose="020F0502020204030204"/>
                          <a:ea typeface="Arial Unicode MS"/>
                        </a:defRPr>
                      </a:lvl3pPr>
                      <a:lvl4pPr marL="1371447" algn="l" defTabSz="914298" rtl="0" eaLnBrk="1" latinLnBrk="1" hangingPunct="1">
                        <a:defRPr sz="1800" kern="1200">
                          <a:solidFill>
                            <a:schemeClr val="tx1"/>
                          </a:solidFill>
                          <a:latin typeface="Calibri" panose="020F0502020204030204"/>
                          <a:ea typeface="Arial Unicode MS"/>
                        </a:defRPr>
                      </a:lvl4pPr>
                      <a:lvl5pPr marL="1828596" algn="l" defTabSz="914298" rtl="0" eaLnBrk="1" latinLnBrk="1" hangingPunct="1">
                        <a:defRPr sz="1800" kern="1200">
                          <a:solidFill>
                            <a:schemeClr val="tx1"/>
                          </a:solidFill>
                          <a:latin typeface="Calibri" panose="020F0502020204030204"/>
                          <a:ea typeface="Arial Unicode MS"/>
                        </a:defRPr>
                      </a:lvl5pPr>
                      <a:lvl6pPr marL="2285744" algn="l" defTabSz="914298" rtl="0" eaLnBrk="1" latinLnBrk="1" hangingPunct="1">
                        <a:defRPr sz="1800" kern="1200">
                          <a:solidFill>
                            <a:schemeClr val="tx1"/>
                          </a:solidFill>
                          <a:latin typeface="Calibri" panose="020F0502020204030204"/>
                          <a:ea typeface="Arial Unicode MS"/>
                        </a:defRPr>
                      </a:lvl6pPr>
                      <a:lvl7pPr marL="2742894" algn="l" defTabSz="914298" rtl="0" eaLnBrk="1" latinLnBrk="1" hangingPunct="1">
                        <a:defRPr sz="1800" kern="1200">
                          <a:solidFill>
                            <a:schemeClr val="tx1"/>
                          </a:solidFill>
                          <a:latin typeface="Calibri" panose="020F0502020204030204"/>
                          <a:ea typeface="Arial Unicode MS"/>
                        </a:defRPr>
                      </a:lvl7pPr>
                      <a:lvl8pPr marL="3200043" algn="l" defTabSz="914298" rtl="0" eaLnBrk="1" latinLnBrk="1" hangingPunct="1">
                        <a:defRPr sz="1800" kern="1200">
                          <a:solidFill>
                            <a:schemeClr val="tx1"/>
                          </a:solidFill>
                          <a:latin typeface="Calibri" panose="020F0502020204030204"/>
                          <a:ea typeface="Arial Unicode MS"/>
                        </a:defRPr>
                      </a:lvl8pPr>
                      <a:lvl9pPr marL="3657191" algn="l" defTabSz="914298" rtl="0" eaLnBrk="1" latinLnBrk="1" hangingPunct="1">
                        <a:defRPr sz="1800" kern="1200">
                          <a:solidFill>
                            <a:schemeClr val="tx1"/>
                          </a:solidFill>
                          <a:latin typeface="Calibri" panose="020F0502020204030204"/>
                          <a:ea typeface="Arial Unicode MS"/>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SA" sz="2800" b="1" kern="1200" noProof="0" dirty="0">
                          <a:solidFill>
                            <a:schemeClr val="tx1"/>
                          </a:solidFill>
                          <a:latin typeface="Sakkal Majalla" panose="02000000000000000000" pitchFamily="2" charset="-78"/>
                          <a:ea typeface="Samim" panose="020B0603030804020204" pitchFamily="34" charset="0"/>
                          <a:cs typeface="Sakkal Majalla" panose="02000000000000000000" pitchFamily="2" charset="-78"/>
                          <a:sym typeface="Titillium Web"/>
                        </a:rPr>
                        <a:t>التقدم</a:t>
                      </a:r>
                    </a:p>
                  </a:txBody>
                  <a:tcPr marL="91425" marR="91425" marT="68575" marB="68575"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B0F0"/>
                    </a:solidFill>
                  </a:tcPr>
                </a:tc>
                <a:extLst>
                  <a:ext uri="{0D108BD9-81ED-4DB2-BD59-A6C34878D82A}">
                    <a16:rowId xmlns:a16="http://schemas.microsoft.com/office/drawing/2014/main" val="10002"/>
                  </a:ext>
                </a:extLst>
              </a:tr>
              <a:tr h="706109">
                <a:tc>
                  <a:txBody>
                    <a:bodyPr/>
                    <a:lstStyle>
                      <a:lvl1pPr marL="0" algn="r" defTabSz="914400" rtl="1" eaLnBrk="1" latinLnBrk="0" hangingPunct="1">
                        <a:defRPr sz="1800" kern="1200">
                          <a:solidFill>
                            <a:schemeClr val="tx1"/>
                          </a:solidFill>
                          <a:latin typeface="Arial"/>
                          <a:ea typeface="Arial Unicode MS"/>
                        </a:defRPr>
                      </a:lvl1pPr>
                      <a:lvl2pPr marL="457200" algn="r" defTabSz="914400" rtl="1" eaLnBrk="1" latinLnBrk="0" hangingPunct="1">
                        <a:defRPr sz="1800" kern="1200">
                          <a:solidFill>
                            <a:schemeClr val="tx1"/>
                          </a:solidFill>
                          <a:latin typeface="Arial"/>
                          <a:ea typeface="Arial Unicode MS"/>
                        </a:defRPr>
                      </a:lvl2pPr>
                      <a:lvl3pPr marL="914400" algn="r" defTabSz="914400" rtl="1" eaLnBrk="1" latinLnBrk="0" hangingPunct="1">
                        <a:defRPr sz="1800" kern="1200">
                          <a:solidFill>
                            <a:schemeClr val="tx1"/>
                          </a:solidFill>
                          <a:latin typeface="Arial"/>
                          <a:ea typeface="Arial Unicode MS"/>
                        </a:defRPr>
                      </a:lvl3pPr>
                      <a:lvl4pPr marL="1371600" algn="r" defTabSz="914400" rtl="1" eaLnBrk="1" latinLnBrk="0" hangingPunct="1">
                        <a:defRPr sz="1800" kern="1200">
                          <a:solidFill>
                            <a:schemeClr val="tx1"/>
                          </a:solidFill>
                          <a:latin typeface="Arial"/>
                          <a:ea typeface="Arial Unicode MS"/>
                        </a:defRPr>
                      </a:lvl4pPr>
                      <a:lvl5pPr marL="1828800" algn="r" defTabSz="914400" rtl="1" eaLnBrk="1" latinLnBrk="0" hangingPunct="1">
                        <a:defRPr sz="1800" kern="1200">
                          <a:solidFill>
                            <a:schemeClr val="tx1"/>
                          </a:solidFill>
                          <a:latin typeface="Arial"/>
                          <a:ea typeface="Arial Unicode MS"/>
                        </a:defRPr>
                      </a:lvl5pPr>
                      <a:lvl6pPr marL="2286000" algn="r" defTabSz="914400" rtl="1" eaLnBrk="1" latinLnBrk="0" hangingPunct="1">
                        <a:defRPr sz="1800" kern="1200">
                          <a:solidFill>
                            <a:schemeClr val="tx1"/>
                          </a:solidFill>
                          <a:latin typeface="Arial"/>
                          <a:ea typeface="Arial Unicode MS"/>
                        </a:defRPr>
                      </a:lvl6pPr>
                      <a:lvl7pPr marL="2743200" algn="r" defTabSz="914400" rtl="1" eaLnBrk="1" latinLnBrk="0" hangingPunct="1">
                        <a:defRPr sz="1800" kern="1200">
                          <a:solidFill>
                            <a:schemeClr val="tx1"/>
                          </a:solidFill>
                          <a:latin typeface="Arial"/>
                          <a:ea typeface="Arial Unicode MS"/>
                        </a:defRPr>
                      </a:lvl7pPr>
                      <a:lvl8pPr marL="3200400" algn="r" defTabSz="914400" rtl="1" eaLnBrk="1" latinLnBrk="0" hangingPunct="1">
                        <a:defRPr sz="1800" kern="1200">
                          <a:solidFill>
                            <a:schemeClr val="tx1"/>
                          </a:solidFill>
                          <a:latin typeface="Arial"/>
                          <a:ea typeface="Arial Unicode MS"/>
                        </a:defRPr>
                      </a:lvl8pPr>
                      <a:lvl9pPr marL="3657600" algn="r" defTabSz="914400" rtl="1" eaLnBrk="1" latinLnBrk="0" hangingPunct="1">
                        <a:defRPr sz="1800" kern="1200">
                          <a:solidFill>
                            <a:schemeClr val="tx1"/>
                          </a:solidFill>
                          <a:latin typeface="Arial"/>
                          <a:ea typeface="Arial Unicode MS"/>
                        </a:defRPr>
                      </a:lvl9pPr>
                    </a:lstStyle>
                    <a:p>
                      <a:pPr marL="0" marR="0" lvl="0" indent="0" algn="ctr" defTabSz="914400" rtl="1" eaLnBrk="1" fontAlgn="auto" latinLnBrk="0" hangingPunct="1">
                        <a:lnSpc>
                          <a:spcPct val="100000"/>
                        </a:lnSpc>
                        <a:spcBef>
                          <a:spcPts val="0"/>
                        </a:spcBef>
                        <a:spcAft>
                          <a:spcPts val="0"/>
                        </a:spcAft>
                        <a:buClr>
                          <a:srgbClr val="CB1B4A"/>
                        </a:buClr>
                        <a:buSzTx/>
                        <a:buFont typeface="Wingdings" panose="05000000000000000000" pitchFamily="2" charset="2"/>
                        <a:buNone/>
                        <a:tabLst/>
                        <a:defRPr/>
                      </a:pPr>
                      <a:r>
                        <a:rPr kumimoji="0" lang="ar-SA" sz="2000" b="1" i="0" u="none" strike="noStrike" kern="1200" cap="none" spc="0" normalizeH="0" baseline="0" noProof="0" dirty="0">
                          <a:ln>
                            <a:noFill/>
                          </a:ln>
                          <a:solidFill>
                            <a:prstClr val="black"/>
                          </a:solidFill>
                          <a:effectLst/>
                          <a:uLnTx/>
                          <a:uFillTx/>
                          <a:latin typeface="Sakkal Majalla" panose="02000000000000000000" pitchFamily="2" charset="-78"/>
                          <a:ea typeface="Samim" panose="020B0603030804020204" pitchFamily="34" charset="0"/>
                          <a:cs typeface="Sakkal Majalla" panose="02000000000000000000" pitchFamily="2" charset="-78"/>
                          <a:sym typeface="Titillium Web"/>
                        </a:rPr>
                        <a:t>فريق تحسين وتطوير ( فريق دعم ومساندة )</a:t>
                      </a:r>
                    </a:p>
                  </a:txBody>
                  <a:tcPr marL="91425" marR="91425" marT="68575" marB="68575"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EBF1EE"/>
                    </a:solidFill>
                  </a:tcPr>
                </a:tc>
                <a:tc>
                  <a:txBody>
                    <a:bodyPr/>
                    <a:lstStyle>
                      <a:lvl1pPr marL="0" algn="r" defTabSz="914400" rtl="1" eaLnBrk="1" latinLnBrk="0" hangingPunct="1">
                        <a:defRPr sz="1800" kern="1200">
                          <a:solidFill>
                            <a:schemeClr val="tx1"/>
                          </a:solidFill>
                          <a:latin typeface="Arial"/>
                          <a:ea typeface="Arial Unicode MS"/>
                        </a:defRPr>
                      </a:lvl1pPr>
                      <a:lvl2pPr marL="457200" algn="r" defTabSz="914400" rtl="1" eaLnBrk="1" latinLnBrk="0" hangingPunct="1">
                        <a:defRPr sz="1800" kern="1200">
                          <a:solidFill>
                            <a:schemeClr val="tx1"/>
                          </a:solidFill>
                          <a:latin typeface="Arial"/>
                          <a:ea typeface="Arial Unicode MS"/>
                        </a:defRPr>
                      </a:lvl2pPr>
                      <a:lvl3pPr marL="914400" algn="r" defTabSz="914400" rtl="1" eaLnBrk="1" latinLnBrk="0" hangingPunct="1">
                        <a:defRPr sz="1800" kern="1200">
                          <a:solidFill>
                            <a:schemeClr val="tx1"/>
                          </a:solidFill>
                          <a:latin typeface="Arial"/>
                          <a:ea typeface="Arial Unicode MS"/>
                        </a:defRPr>
                      </a:lvl3pPr>
                      <a:lvl4pPr marL="1371600" algn="r" defTabSz="914400" rtl="1" eaLnBrk="1" latinLnBrk="0" hangingPunct="1">
                        <a:defRPr sz="1800" kern="1200">
                          <a:solidFill>
                            <a:schemeClr val="tx1"/>
                          </a:solidFill>
                          <a:latin typeface="Arial"/>
                          <a:ea typeface="Arial Unicode MS"/>
                        </a:defRPr>
                      </a:lvl4pPr>
                      <a:lvl5pPr marL="1828800" algn="r" defTabSz="914400" rtl="1" eaLnBrk="1" latinLnBrk="0" hangingPunct="1">
                        <a:defRPr sz="1800" kern="1200">
                          <a:solidFill>
                            <a:schemeClr val="tx1"/>
                          </a:solidFill>
                          <a:latin typeface="Arial"/>
                          <a:ea typeface="Arial Unicode MS"/>
                        </a:defRPr>
                      </a:lvl5pPr>
                      <a:lvl6pPr marL="2286000" algn="r" defTabSz="914400" rtl="1" eaLnBrk="1" latinLnBrk="0" hangingPunct="1">
                        <a:defRPr sz="1800" kern="1200">
                          <a:solidFill>
                            <a:schemeClr val="tx1"/>
                          </a:solidFill>
                          <a:latin typeface="Arial"/>
                          <a:ea typeface="Arial Unicode MS"/>
                        </a:defRPr>
                      </a:lvl6pPr>
                      <a:lvl7pPr marL="2743200" algn="r" defTabSz="914400" rtl="1" eaLnBrk="1" latinLnBrk="0" hangingPunct="1">
                        <a:defRPr sz="1800" kern="1200">
                          <a:solidFill>
                            <a:schemeClr val="tx1"/>
                          </a:solidFill>
                          <a:latin typeface="Arial"/>
                          <a:ea typeface="Arial Unicode MS"/>
                        </a:defRPr>
                      </a:lvl7pPr>
                      <a:lvl8pPr marL="3200400" algn="r" defTabSz="914400" rtl="1" eaLnBrk="1" latinLnBrk="0" hangingPunct="1">
                        <a:defRPr sz="1800" kern="1200">
                          <a:solidFill>
                            <a:schemeClr val="tx1"/>
                          </a:solidFill>
                          <a:latin typeface="Arial"/>
                          <a:ea typeface="Arial Unicode MS"/>
                        </a:defRPr>
                      </a:lvl8pPr>
                      <a:lvl9pPr marL="3657600" algn="r" defTabSz="914400" rtl="1" eaLnBrk="1" latinLnBrk="0" hangingPunct="1">
                        <a:defRPr sz="1800" kern="1200">
                          <a:solidFill>
                            <a:schemeClr val="tx1"/>
                          </a:solidFill>
                          <a:latin typeface="Arial"/>
                          <a:ea typeface="Arial Unicode MS"/>
                        </a:defRPr>
                      </a:lvl9pPr>
                    </a:lstStyle>
                    <a:p>
                      <a:pPr marL="174625" marR="0" lvl="0" indent="-174625" algn="justLow" defTabSz="914400" rtl="1" eaLnBrk="1" fontAlgn="auto" latinLnBrk="0" hangingPunct="1">
                        <a:lnSpc>
                          <a:spcPct val="100000"/>
                        </a:lnSpc>
                        <a:spcBef>
                          <a:spcPts val="0"/>
                        </a:spcBef>
                        <a:spcAft>
                          <a:spcPts val="0"/>
                        </a:spcAft>
                        <a:buClr>
                          <a:srgbClr val="CB1B4A"/>
                        </a:buClr>
                        <a:buSzTx/>
                        <a:buFont typeface="Wingdings" panose="05000000000000000000" pitchFamily="2" charset="2"/>
                        <a:buChar char="§"/>
                        <a:tabLst/>
                        <a:defRPr/>
                      </a:pPr>
                      <a:r>
                        <a:rPr kumimoji="0" lang="ar-SA" sz="2000" b="1" i="0" u="none" strike="noStrike" kern="1200" cap="none" spc="0" normalizeH="0" baseline="0" noProof="0" dirty="0">
                          <a:ln>
                            <a:noFill/>
                          </a:ln>
                          <a:solidFill>
                            <a:schemeClr val="tx1"/>
                          </a:solidFill>
                          <a:effectLst/>
                          <a:uLnTx/>
                          <a:uFillTx/>
                          <a:latin typeface="Sakkal Majalla" panose="02000000000000000000" pitchFamily="2" charset="-78"/>
                          <a:ea typeface="Samim" panose="020B0603030804020204" pitchFamily="34" charset="0"/>
                          <a:cs typeface="Sakkal Majalla" panose="02000000000000000000" pitchFamily="2" charset="-78"/>
                          <a:sym typeface="Titillium Web"/>
                        </a:rPr>
                        <a:t>تحديد نقاط القوة وتعزيزها، ووضع خطط التعزيز.</a:t>
                      </a:r>
                    </a:p>
                    <a:p>
                      <a:pPr marL="174625" marR="0" lvl="0" indent="-174625" algn="justLow" defTabSz="914400" rtl="1" eaLnBrk="1" fontAlgn="auto" latinLnBrk="0" hangingPunct="1">
                        <a:lnSpc>
                          <a:spcPct val="100000"/>
                        </a:lnSpc>
                        <a:spcBef>
                          <a:spcPts val="0"/>
                        </a:spcBef>
                        <a:spcAft>
                          <a:spcPts val="0"/>
                        </a:spcAft>
                        <a:buClr>
                          <a:srgbClr val="CB1B4A"/>
                        </a:buClr>
                        <a:buSzTx/>
                        <a:buFont typeface="Wingdings" panose="05000000000000000000" pitchFamily="2" charset="2"/>
                        <a:buChar char="§"/>
                        <a:tabLst/>
                        <a:defRPr/>
                      </a:pPr>
                      <a:r>
                        <a:rPr kumimoji="0" lang="ar-SA" sz="2000" b="1" i="0" u="none" strike="noStrike" kern="1200" cap="none" spc="0" normalizeH="0" baseline="0" noProof="0" dirty="0">
                          <a:ln>
                            <a:noFill/>
                          </a:ln>
                          <a:solidFill>
                            <a:schemeClr val="tx1"/>
                          </a:solidFill>
                          <a:effectLst/>
                          <a:uLnTx/>
                          <a:uFillTx/>
                          <a:latin typeface="Sakkal Majalla" panose="02000000000000000000" pitchFamily="2" charset="-78"/>
                          <a:ea typeface="Samim" panose="020B0603030804020204" pitchFamily="34" charset="0"/>
                          <a:cs typeface="Sakkal Majalla" panose="02000000000000000000" pitchFamily="2" charset="-78"/>
                          <a:sym typeface="Titillium Web"/>
                        </a:rPr>
                        <a:t>تحديد نقاط الضعف، ورسم الخطط العلاجية للتحسين.</a:t>
                      </a:r>
                    </a:p>
                    <a:p>
                      <a:pPr marL="174625" marR="0" lvl="0" indent="-174625" algn="justLow" defTabSz="914400" rtl="1" eaLnBrk="1" fontAlgn="auto" latinLnBrk="0" hangingPunct="1">
                        <a:lnSpc>
                          <a:spcPct val="100000"/>
                        </a:lnSpc>
                        <a:spcBef>
                          <a:spcPts val="0"/>
                        </a:spcBef>
                        <a:spcAft>
                          <a:spcPts val="0"/>
                        </a:spcAft>
                        <a:buClr>
                          <a:srgbClr val="CB1B4A"/>
                        </a:buClr>
                        <a:buSzTx/>
                        <a:buFont typeface="Wingdings" panose="05000000000000000000" pitchFamily="2" charset="2"/>
                        <a:buChar char="§"/>
                        <a:tabLst/>
                        <a:defRPr/>
                      </a:pPr>
                      <a:r>
                        <a:rPr kumimoji="0" lang="ar-SA" sz="2000" b="1" i="0" u="none" strike="noStrike" kern="1200" cap="none" spc="0" normalizeH="0" baseline="0" noProof="0" dirty="0">
                          <a:ln>
                            <a:noFill/>
                          </a:ln>
                          <a:solidFill>
                            <a:schemeClr val="tx1"/>
                          </a:solidFill>
                          <a:effectLst/>
                          <a:uLnTx/>
                          <a:uFillTx/>
                          <a:latin typeface="Sakkal Majalla" panose="02000000000000000000" pitchFamily="2" charset="-78"/>
                          <a:ea typeface="Samim" panose="020B0603030804020204" pitchFamily="34" charset="0"/>
                          <a:cs typeface="Sakkal Majalla" panose="02000000000000000000" pitchFamily="2" charset="-78"/>
                          <a:sym typeface="Titillium Web"/>
                        </a:rPr>
                        <a:t>كيفية رسم خطوات الانطلاق للمستوى الأعلى.</a:t>
                      </a:r>
                    </a:p>
                  </a:txBody>
                  <a:tcPr marL="91425" marR="91425" marT="68575" marB="68575"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EBF1EE"/>
                    </a:solidFill>
                  </a:tcPr>
                </a:tc>
                <a:tc>
                  <a:txBody>
                    <a:bodyPr/>
                    <a:lstStyle>
                      <a:lvl1pPr marL="0" algn="l" defTabSz="914298" rtl="0" eaLnBrk="1" latinLnBrk="1" hangingPunct="1">
                        <a:defRPr sz="1800" kern="1200">
                          <a:solidFill>
                            <a:schemeClr val="tx1"/>
                          </a:solidFill>
                          <a:latin typeface="Calibri" panose="020F0502020204030204"/>
                          <a:ea typeface="Arial Unicode MS"/>
                        </a:defRPr>
                      </a:lvl1pPr>
                      <a:lvl2pPr marL="457150" algn="l" defTabSz="914298" rtl="0" eaLnBrk="1" latinLnBrk="1" hangingPunct="1">
                        <a:defRPr sz="1800" kern="1200">
                          <a:solidFill>
                            <a:schemeClr val="tx1"/>
                          </a:solidFill>
                          <a:latin typeface="Calibri" panose="020F0502020204030204"/>
                          <a:ea typeface="Arial Unicode MS"/>
                        </a:defRPr>
                      </a:lvl2pPr>
                      <a:lvl3pPr marL="914298" algn="l" defTabSz="914298" rtl="0" eaLnBrk="1" latinLnBrk="1" hangingPunct="1">
                        <a:defRPr sz="1800" kern="1200">
                          <a:solidFill>
                            <a:schemeClr val="tx1"/>
                          </a:solidFill>
                          <a:latin typeface="Calibri" panose="020F0502020204030204"/>
                          <a:ea typeface="Arial Unicode MS"/>
                        </a:defRPr>
                      </a:lvl3pPr>
                      <a:lvl4pPr marL="1371447" algn="l" defTabSz="914298" rtl="0" eaLnBrk="1" latinLnBrk="1" hangingPunct="1">
                        <a:defRPr sz="1800" kern="1200">
                          <a:solidFill>
                            <a:schemeClr val="tx1"/>
                          </a:solidFill>
                          <a:latin typeface="Calibri" panose="020F0502020204030204"/>
                          <a:ea typeface="Arial Unicode MS"/>
                        </a:defRPr>
                      </a:lvl4pPr>
                      <a:lvl5pPr marL="1828596" algn="l" defTabSz="914298" rtl="0" eaLnBrk="1" latinLnBrk="1" hangingPunct="1">
                        <a:defRPr sz="1800" kern="1200">
                          <a:solidFill>
                            <a:schemeClr val="tx1"/>
                          </a:solidFill>
                          <a:latin typeface="Calibri" panose="020F0502020204030204"/>
                          <a:ea typeface="Arial Unicode MS"/>
                        </a:defRPr>
                      </a:lvl5pPr>
                      <a:lvl6pPr marL="2285744" algn="l" defTabSz="914298" rtl="0" eaLnBrk="1" latinLnBrk="1" hangingPunct="1">
                        <a:defRPr sz="1800" kern="1200">
                          <a:solidFill>
                            <a:schemeClr val="tx1"/>
                          </a:solidFill>
                          <a:latin typeface="Calibri" panose="020F0502020204030204"/>
                          <a:ea typeface="Arial Unicode MS"/>
                        </a:defRPr>
                      </a:lvl6pPr>
                      <a:lvl7pPr marL="2742894" algn="l" defTabSz="914298" rtl="0" eaLnBrk="1" latinLnBrk="1" hangingPunct="1">
                        <a:defRPr sz="1800" kern="1200">
                          <a:solidFill>
                            <a:schemeClr val="tx1"/>
                          </a:solidFill>
                          <a:latin typeface="Calibri" panose="020F0502020204030204"/>
                          <a:ea typeface="Arial Unicode MS"/>
                        </a:defRPr>
                      </a:lvl7pPr>
                      <a:lvl8pPr marL="3200043" algn="l" defTabSz="914298" rtl="0" eaLnBrk="1" latinLnBrk="1" hangingPunct="1">
                        <a:defRPr sz="1800" kern="1200">
                          <a:solidFill>
                            <a:schemeClr val="tx1"/>
                          </a:solidFill>
                          <a:latin typeface="Calibri" panose="020F0502020204030204"/>
                          <a:ea typeface="Arial Unicode MS"/>
                        </a:defRPr>
                      </a:lvl8pPr>
                      <a:lvl9pPr marL="3657191" algn="l" defTabSz="914298" rtl="0" eaLnBrk="1" latinLnBrk="1" hangingPunct="1">
                        <a:defRPr sz="1800" kern="1200">
                          <a:solidFill>
                            <a:schemeClr val="tx1"/>
                          </a:solidFill>
                          <a:latin typeface="Calibri" panose="020F0502020204030204"/>
                          <a:ea typeface="Arial Unicode MS"/>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SA" sz="2800" b="1" kern="1200" noProof="0" dirty="0">
                          <a:solidFill>
                            <a:schemeClr val="tx1"/>
                          </a:solidFill>
                          <a:latin typeface="Sakkal Majalla" panose="02000000000000000000" pitchFamily="2" charset="-78"/>
                          <a:ea typeface="Samim" panose="020B0603030804020204" pitchFamily="34" charset="0"/>
                          <a:cs typeface="Sakkal Majalla" panose="02000000000000000000" pitchFamily="2" charset="-78"/>
                          <a:sym typeface="Titillium Web"/>
                        </a:rPr>
                        <a:t>الانطلاق</a:t>
                      </a:r>
                    </a:p>
                  </a:txBody>
                  <a:tcPr marL="91425" marR="91425" marT="68575" marB="68575"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10003"/>
                  </a:ext>
                </a:extLst>
              </a:tr>
              <a:tr h="602364">
                <a:tc>
                  <a:txBody>
                    <a:bodyPr/>
                    <a:lstStyle>
                      <a:lvl1pPr marL="0" algn="l" defTabSz="914298" rtl="0" eaLnBrk="1" latinLnBrk="1" hangingPunct="1">
                        <a:defRPr sz="1800" kern="1200">
                          <a:solidFill>
                            <a:schemeClr val="tx1"/>
                          </a:solidFill>
                          <a:latin typeface="Calibri" panose="020F0502020204030204"/>
                          <a:ea typeface="Arial Unicode MS"/>
                        </a:defRPr>
                      </a:lvl1pPr>
                      <a:lvl2pPr marL="457150" algn="l" defTabSz="914298" rtl="0" eaLnBrk="1" latinLnBrk="1" hangingPunct="1">
                        <a:defRPr sz="1800" kern="1200">
                          <a:solidFill>
                            <a:schemeClr val="tx1"/>
                          </a:solidFill>
                          <a:latin typeface="Calibri" panose="020F0502020204030204"/>
                          <a:ea typeface="Arial Unicode MS"/>
                        </a:defRPr>
                      </a:lvl2pPr>
                      <a:lvl3pPr marL="914298" algn="l" defTabSz="914298" rtl="0" eaLnBrk="1" latinLnBrk="1" hangingPunct="1">
                        <a:defRPr sz="1800" kern="1200">
                          <a:solidFill>
                            <a:schemeClr val="tx1"/>
                          </a:solidFill>
                          <a:latin typeface="Calibri" panose="020F0502020204030204"/>
                          <a:ea typeface="Arial Unicode MS"/>
                        </a:defRPr>
                      </a:lvl3pPr>
                      <a:lvl4pPr marL="1371447" algn="l" defTabSz="914298" rtl="0" eaLnBrk="1" latinLnBrk="1" hangingPunct="1">
                        <a:defRPr sz="1800" kern="1200">
                          <a:solidFill>
                            <a:schemeClr val="tx1"/>
                          </a:solidFill>
                          <a:latin typeface="Calibri" panose="020F0502020204030204"/>
                          <a:ea typeface="Arial Unicode MS"/>
                        </a:defRPr>
                      </a:lvl4pPr>
                      <a:lvl5pPr marL="1828596" algn="l" defTabSz="914298" rtl="0" eaLnBrk="1" latinLnBrk="1" hangingPunct="1">
                        <a:defRPr sz="1800" kern="1200">
                          <a:solidFill>
                            <a:schemeClr val="tx1"/>
                          </a:solidFill>
                          <a:latin typeface="Calibri" panose="020F0502020204030204"/>
                          <a:ea typeface="Arial Unicode MS"/>
                        </a:defRPr>
                      </a:lvl5pPr>
                      <a:lvl6pPr marL="2285744" algn="l" defTabSz="914298" rtl="0" eaLnBrk="1" latinLnBrk="1" hangingPunct="1">
                        <a:defRPr sz="1800" kern="1200">
                          <a:solidFill>
                            <a:schemeClr val="tx1"/>
                          </a:solidFill>
                          <a:latin typeface="Calibri" panose="020F0502020204030204"/>
                          <a:ea typeface="Arial Unicode MS"/>
                        </a:defRPr>
                      </a:lvl6pPr>
                      <a:lvl7pPr marL="2742894" algn="l" defTabSz="914298" rtl="0" eaLnBrk="1" latinLnBrk="1" hangingPunct="1">
                        <a:defRPr sz="1800" kern="1200">
                          <a:solidFill>
                            <a:schemeClr val="tx1"/>
                          </a:solidFill>
                          <a:latin typeface="Calibri" panose="020F0502020204030204"/>
                          <a:ea typeface="Arial Unicode MS"/>
                        </a:defRPr>
                      </a:lvl7pPr>
                      <a:lvl8pPr marL="3200043" algn="l" defTabSz="914298" rtl="0" eaLnBrk="1" latinLnBrk="1" hangingPunct="1">
                        <a:defRPr sz="1800" kern="1200">
                          <a:solidFill>
                            <a:schemeClr val="tx1"/>
                          </a:solidFill>
                          <a:latin typeface="Calibri" panose="020F0502020204030204"/>
                          <a:ea typeface="Arial Unicode MS"/>
                        </a:defRPr>
                      </a:lvl8pPr>
                      <a:lvl9pPr marL="3657191" algn="l" defTabSz="914298" rtl="0" eaLnBrk="1" latinLnBrk="1" hangingPunct="1">
                        <a:defRPr sz="1800" kern="1200">
                          <a:solidFill>
                            <a:schemeClr val="tx1"/>
                          </a:solidFill>
                          <a:latin typeface="Calibri" panose="020F0502020204030204"/>
                          <a:ea typeface="Arial Unicode MS"/>
                        </a:defRPr>
                      </a:lvl9pPr>
                    </a:lstStyle>
                    <a:p>
                      <a:pPr marL="0" marR="0" lvl="0" indent="0" algn="ctr" defTabSz="914400" rtl="1" eaLnBrk="1" fontAlgn="auto" latinLnBrk="0" hangingPunct="1">
                        <a:lnSpc>
                          <a:spcPct val="100000"/>
                        </a:lnSpc>
                        <a:spcBef>
                          <a:spcPts val="0"/>
                        </a:spcBef>
                        <a:spcAft>
                          <a:spcPts val="0"/>
                        </a:spcAft>
                        <a:buClr>
                          <a:srgbClr val="CB1B4A"/>
                        </a:buClr>
                        <a:buSzTx/>
                        <a:buFont typeface="Wingdings" panose="05000000000000000000" pitchFamily="2" charset="2"/>
                        <a:buNone/>
                        <a:tabLst/>
                        <a:defRPr/>
                      </a:pPr>
                      <a:r>
                        <a:rPr kumimoji="0" lang="ar-SA" sz="2000" b="1" i="0" u="none" strike="noStrike" kern="1200" cap="none" spc="0" normalizeH="0" baseline="0" noProof="0" dirty="0">
                          <a:ln>
                            <a:noFill/>
                          </a:ln>
                          <a:solidFill>
                            <a:prstClr val="black"/>
                          </a:solidFill>
                          <a:effectLst/>
                          <a:uLnTx/>
                          <a:uFillTx/>
                          <a:latin typeface="Sakkal Majalla" panose="02000000000000000000" pitchFamily="2" charset="-78"/>
                          <a:ea typeface="Samim" panose="020B0603030804020204" pitchFamily="34" charset="0"/>
                          <a:cs typeface="Sakkal Majalla" panose="02000000000000000000" pitchFamily="2" charset="-78"/>
                          <a:sym typeface="Titillium Web"/>
                        </a:rPr>
                        <a:t>فريق تحسين وتطوير ( فريق دعم ومساندة )</a:t>
                      </a:r>
                    </a:p>
                    <a:p>
                      <a:pPr marL="0" marR="0" lvl="0" indent="0" algn="ctr" defTabSz="914400" rtl="1" eaLnBrk="1" fontAlgn="auto" latinLnBrk="0" hangingPunct="1">
                        <a:lnSpc>
                          <a:spcPct val="100000"/>
                        </a:lnSpc>
                        <a:spcBef>
                          <a:spcPts val="0"/>
                        </a:spcBef>
                        <a:spcAft>
                          <a:spcPts val="0"/>
                        </a:spcAft>
                        <a:buClr>
                          <a:srgbClr val="CB1B4A"/>
                        </a:buClr>
                        <a:buSzTx/>
                        <a:buFont typeface="Wingdings" panose="05000000000000000000" pitchFamily="2" charset="2"/>
                        <a:buNone/>
                        <a:tabLst/>
                        <a:defRPr/>
                      </a:pPr>
                      <a:r>
                        <a:rPr kumimoji="0" lang="ar-SA" sz="2000" b="1" i="0" u="none" strike="noStrike" kern="1200" cap="none" spc="0" normalizeH="0" baseline="0" noProof="0" dirty="0">
                          <a:ln>
                            <a:noFill/>
                          </a:ln>
                          <a:solidFill>
                            <a:srgbClr val="FF0000"/>
                          </a:solidFill>
                          <a:effectLst/>
                          <a:uLnTx/>
                          <a:uFillTx/>
                          <a:latin typeface="Sakkal Majalla" panose="02000000000000000000" pitchFamily="2" charset="-78"/>
                          <a:ea typeface="Samim" panose="020B0603030804020204" pitchFamily="34" charset="0"/>
                          <a:cs typeface="Sakkal Majalla" panose="02000000000000000000" pitchFamily="2" charset="-78"/>
                          <a:sym typeface="Titillium Web"/>
                        </a:rPr>
                        <a:t>( ذات أولوية )</a:t>
                      </a:r>
                    </a:p>
                  </a:txBody>
                  <a:tcPr marL="91425" marR="91425" marT="68575" marB="68575"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298" rtl="0" eaLnBrk="1" latinLnBrk="1" hangingPunct="1">
                        <a:defRPr sz="1800" kern="1200">
                          <a:solidFill>
                            <a:schemeClr val="tx1"/>
                          </a:solidFill>
                          <a:latin typeface="Calibri" panose="020F0502020204030204"/>
                          <a:ea typeface="Arial Unicode MS"/>
                        </a:defRPr>
                      </a:lvl1pPr>
                      <a:lvl2pPr marL="457150" algn="l" defTabSz="914298" rtl="0" eaLnBrk="1" latinLnBrk="1" hangingPunct="1">
                        <a:defRPr sz="1800" kern="1200">
                          <a:solidFill>
                            <a:schemeClr val="tx1"/>
                          </a:solidFill>
                          <a:latin typeface="Calibri" panose="020F0502020204030204"/>
                          <a:ea typeface="Arial Unicode MS"/>
                        </a:defRPr>
                      </a:lvl2pPr>
                      <a:lvl3pPr marL="914298" algn="l" defTabSz="914298" rtl="0" eaLnBrk="1" latinLnBrk="1" hangingPunct="1">
                        <a:defRPr sz="1800" kern="1200">
                          <a:solidFill>
                            <a:schemeClr val="tx1"/>
                          </a:solidFill>
                          <a:latin typeface="Calibri" panose="020F0502020204030204"/>
                          <a:ea typeface="Arial Unicode MS"/>
                        </a:defRPr>
                      </a:lvl3pPr>
                      <a:lvl4pPr marL="1371447" algn="l" defTabSz="914298" rtl="0" eaLnBrk="1" latinLnBrk="1" hangingPunct="1">
                        <a:defRPr sz="1800" kern="1200">
                          <a:solidFill>
                            <a:schemeClr val="tx1"/>
                          </a:solidFill>
                          <a:latin typeface="Calibri" panose="020F0502020204030204"/>
                          <a:ea typeface="Arial Unicode MS"/>
                        </a:defRPr>
                      </a:lvl4pPr>
                      <a:lvl5pPr marL="1828596" algn="l" defTabSz="914298" rtl="0" eaLnBrk="1" latinLnBrk="1" hangingPunct="1">
                        <a:defRPr sz="1800" kern="1200">
                          <a:solidFill>
                            <a:schemeClr val="tx1"/>
                          </a:solidFill>
                          <a:latin typeface="Calibri" panose="020F0502020204030204"/>
                          <a:ea typeface="Arial Unicode MS"/>
                        </a:defRPr>
                      </a:lvl5pPr>
                      <a:lvl6pPr marL="2285744" algn="l" defTabSz="914298" rtl="0" eaLnBrk="1" latinLnBrk="1" hangingPunct="1">
                        <a:defRPr sz="1800" kern="1200">
                          <a:solidFill>
                            <a:schemeClr val="tx1"/>
                          </a:solidFill>
                          <a:latin typeface="Calibri" panose="020F0502020204030204"/>
                          <a:ea typeface="Arial Unicode MS"/>
                        </a:defRPr>
                      </a:lvl6pPr>
                      <a:lvl7pPr marL="2742894" algn="l" defTabSz="914298" rtl="0" eaLnBrk="1" latinLnBrk="1" hangingPunct="1">
                        <a:defRPr sz="1800" kern="1200">
                          <a:solidFill>
                            <a:schemeClr val="tx1"/>
                          </a:solidFill>
                          <a:latin typeface="Calibri" panose="020F0502020204030204"/>
                          <a:ea typeface="Arial Unicode MS"/>
                        </a:defRPr>
                      </a:lvl7pPr>
                      <a:lvl8pPr marL="3200043" algn="l" defTabSz="914298" rtl="0" eaLnBrk="1" latinLnBrk="1" hangingPunct="1">
                        <a:defRPr sz="1800" kern="1200">
                          <a:solidFill>
                            <a:schemeClr val="tx1"/>
                          </a:solidFill>
                          <a:latin typeface="Calibri" panose="020F0502020204030204"/>
                          <a:ea typeface="Arial Unicode MS"/>
                        </a:defRPr>
                      </a:lvl8pPr>
                      <a:lvl9pPr marL="3657191" algn="l" defTabSz="914298" rtl="0" eaLnBrk="1" latinLnBrk="1" hangingPunct="1">
                        <a:defRPr sz="1800" kern="1200">
                          <a:solidFill>
                            <a:schemeClr val="tx1"/>
                          </a:solidFill>
                          <a:latin typeface="Calibri" panose="020F0502020204030204"/>
                          <a:ea typeface="Arial Unicode MS"/>
                        </a:defRPr>
                      </a:lvl9pPr>
                    </a:lstStyle>
                    <a:p>
                      <a:pPr marL="174625" marR="0" lvl="0" indent="-174625" algn="justLow" defTabSz="914400" rtl="1" eaLnBrk="1" fontAlgn="auto" latinLnBrk="0" hangingPunct="1">
                        <a:lnSpc>
                          <a:spcPct val="100000"/>
                        </a:lnSpc>
                        <a:spcBef>
                          <a:spcPts val="0"/>
                        </a:spcBef>
                        <a:spcAft>
                          <a:spcPts val="0"/>
                        </a:spcAft>
                        <a:buClr>
                          <a:srgbClr val="CB1B4A"/>
                        </a:buClr>
                        <a:buSzTx/>
                        <a:buFont typeface="Wingdings" panose="05000000000000000000" pitchFamily="2" charset="2"/>
                        <a:buChar char="§"/>
                        <a:tabLst/>
                        <a:defRPr/>
                      </a:pPr>
                      <a:r>
                        <a:rPr kumimoji="0" lang="ar-SA" sz="2000" b="1" i="0" u="none" strike="noStrike" kern="1200" cap="none" spc="0" normalizeH="0" baseline="0" noProof="0" dirty="0">
                          <a:ln>
                            <a:noFill/>
                          </a:ln>
                          <a:solidFill>
                            <a:schemeClr val="tx1"/>
                          </a:solidFill>
                          <a:effectLst/>
                          <a:uLnTx/>
                          <a:uFillTx/>
                          <a:latin typeface="Sakkal Majalla" panose="02000000000000000000" pitchFamily="2" charset="-78"/>
                          <a:ea typeface="Samim" panose="020B0603030804020204" pitchFamily="34" charset="0"/>
                          <a:cs typeface="Sakkal Majalla" panose="02000000000000000000" pitchFamily="2" charset="-78"/>
                          <a:sym typeface="Titillium Web"/>
                        </a:rPr>
                        <a:t>إعداد خطط التطوير والتحسين وفق معايير المجالات الأربعة.</a:t>
                      </a:r>
                    </a:p>
                    <a:p>
                      <a:pPr marL="174625" marR="0" lvl="0" indent="-174625" algn="justLow" defTabSz="914400" rtl="1" eaLnBrk="1" fontAlgn="auto" latinLnBrk="0" hangingPunct="1">
                        <a:lnSpc>
                          <a:spcPct val="100000"/>
                        </a:lnSpc>
                        <a:spcBef>
                          <a:spcPts val="0"/>
                        </a:spcBef>
                        <a:spcAft>
                          <a:spcPts val="0"/>
                        </a:spcAft>
                        <a:buClr>
                          <a:srgbClr val="CB1B4A"/>
                        </a:buClr>
                        <a:buSzTx/>
                        <a:buFont typeface="Wingdings" panose="05000000000000000000" pitchFamily="2" charset="2"/>
                        <a:buChar char="§"/>
                        <a:tabLst/>
                        <a:defRPr/>
                      </a:pPr>
                      <a:r>
                        <a:rPr kumimoji="0" lang="ar-SA" sz="2000" b="1" i="0" u="none" strike="noStrike" kern="1200" cap="none" spc="0" normalizeH="0" baseline="0" noProof="0" dirty="0">
                          <a:ln>
                            <a:noFill/>
                          </a:ln>
                          <a:solidFill>
                            <a:schemeClr val="tx1"/>
                          </a:solidFill>
                          <a:effectLst/>
                          <a:uLnTx/>
                          <a:uFillTx/>
                          <a:latin typeface="Sakkal Majalla" panose="02000000000000000000" pitchFamily="2" charset="-78"/>
                          <a:ea typeface="Samim" panose="020B0603030804020204" pitchFamily="34" charset="0"/>
                          <a:cs typeface="Sakkal Majalla" panose="02000000000000000000" pitchFamily="2" charset="-78"/>
                          <a:sym typeface="Titillium Web"/>
                        </a:rPr>
                        <a:t>ابتكار الحلول للمشكلات التي تسببت في الانخفاض، ومناقشة سبل تحسين نواتج التعلم</a:t>
                      </a:r>
                    </a:p>
                    <a:p>
                      <a:pPr marL="174625" marR="0" lvl="0" indent="-174625" algn="justLow" defTabSz="914400" rtl="1" eaLnBrk="1" fontAlgn="auto" latinLnBrk="0" hangingPunct="1">
                        <a:lnSpc>
                          <a:spcPct val="100000"/>
                        </a:lnSpc>
                        <a:spcBef>
                          <a:spcPts val="0"/>
                        </a:spcBef>
                        <a:spcAft>
                          <a:spcPts val="0"/>
                        </a:spcAft>
                        <a:buClr>
                          <a:srgbClr val="CB1B4A"/>
                        </a:buClr>
                        <a:buSzTx/>
                        <a:buFont typeface="Wingdings" panose="05000000000000000000" pitchFamily="2" charset="2"/>
                        <a:buChar char="§"/>
                        <a:tabLst/>
                        <a:defRPr/>
                      </a:pPr>
                      <a:r>
                        <a:rPr kumimoji="0" lang="ar-SA" sz="2000" b="1" i="0" u="none" strike="noStrike" kern="1200" cap="none" spc="0" normalizeH="0" baseline="0" noProof="0" dirty="0">
                          <a:ln>
                            <a:noFill/>
                          </a:ln>
                          <a:solidFill>
                            <a:schemeClr val="tx1"/>
                          </a:solidFill>
                          <a:effectLst/>
                          <a:uLnTx/>
                          <a:uFillTx/>
                          <a:latin typeface="Sakkal Majalla" panose="02000000000000000000" pitchFamily="2" charset="-78"/>
                          <a:ea typeface="Samim" panose="020B0603030804020204" pitchFamily="34" charset="0"/>
                          <a:cs typeface="Sakkal Majalla" panose="02000000000000000000" pitchFamily="2" charset="-78"/>
                          <a:sym typeface="Titillium Web"/>
                        </a:rPr>
                        <a:t>التطوير المهني للمعلمين.</a:t>
                      </a:r>
                    </a:p>
                    <a:p>
                      <a:pPr marL="174625" marR="0" lvl="0" indent="-174625" algn="justLow" defTabSz="914400" rtl="1" eaLnBrk="1" fontAlgn="auto" latinLnBrk="0" hangingPunct="1">
                        <a:lnSpc>
                          <a:spcPct val="100000"/>
                        </a:lnSpc>
                        <a:spcBef>
                          <a:spcPts val="0"/>
                        </a:spcBef>
                        <a:spcAft>
                          <a:spcPts val="0"/>
                        </a:spcAft>
                        <a:buClr>
                          <a:srgbClr val="CB1B4A"/>
                        </a:buClr>
                        <a:buSzTx/>
                        <a:buFont typeface="Wingdings" panose="05000000000000000000" pitchFamily="2" charset="2"/>
                        <a:buChar char="§"/>
                        <a:tabLst/>
                        <a:defRPr/>
                      </a:pPr>
                      <a:r>
                        <a:rPr kumimoji="0" lang="ar-SA" sz="2000" b="1" i="0" u="none" strike="noStrike" kern="1200" cap="none" spc="0" normalizeH="0" baseline="0" noProof="0" dirty="0">
                          <a:ln>
                            <a:noFill/>
                          </a:ln>
                          <a:solidFill>
                            <a:schemeClr val="tx1"/>
                          </a:solidFill>
                          <a:effectLst/>
                          <a:uLnTx/>
                          <a:uFillTx/>
                          <a:latin typeface="Sakkal Majalla" panose="02000000000000000000" pitchFamily="2" charset="-78"/>
                          <a:ea typeface="Samim" panose="020B0603030804020204" pitchFamily="34" charset="0"/>
                          <a:cs typeface="Sakkal Majalla" panose="02000000000000000000" pitchFamily="2" charset="-78"/>
                          <a:sym typeface="Titillium Web"/>
                        </a:rPr>
                        <a:t>تنفيذ الأساليب الإشرافية المتنوعة.</a:t>
                      </a:r>
                    </a:p>
                    <a:p>
                      <a:pPr marL="174625" marR="0" lvl="0" indent="-174625" algn="justLow" defTabSz="914400" rtl="1" eaLnBrk="1" fontAlgn="auto" latinLnBrk="0" hangingPunct="1">
                        <a:lnSpc>
                          <a:spcPct val="100000"/>
                        </a:lnSpc>
                        <a:spcBef>
                          <a:spcPts val="0"/>
                        </a:spcBef>
                        <a:spcAft>
                          <a:spcPts val="0"/>
                        </a:spcAft>
                        <a:buClr>
                          <a:srgbClr val="CB1B4A"/>
                        </a:buClr>
                        <a:buSzTx/>
                        <a:buFont typeface="Wingdings" panose="05000000000000000000" pitchFamily="2" charset="2"/>
                        <a:buChar char="§"/>
                        <a:tabLst/>
                        <a:defRPr/>
                      </a:pPr>
                      <a:r>
                        <a:rPr kumimoji="0" lang="ar-SA" sz="2000" b="1" i="0" u="none" strike="noStrike" kern="1200" cap="none" spc="0" normalizeH="0" baseline="0" noProof="0" dirty="0">
                          <a:ln>
                            <a:noFill/>
                          </a:ln>
                          <a:solidFill>
                            <a:schemeClr val="tx1"/>
                          </a:solidFill>
                          <a:effectLst/>
                          <a:uLnTx/>
                          <a:uFillTx/>
                          <a:latin typeface="Sakkal Majalla" panose="02000000000000000000" pitchFamily="2" charset="-78"/>
                          <a:ea typeface="Samim" panose="020B0603030804020204" pitchFamily="34" charset="0"/>
                          <a:cs typeface="Sakkal Majalla" panose="02000000000000000000" pitchFamily="2" charset="-78"/>
                          <a:sym typeface="Titillium Web"/>
                        </a:rPr>
                        <a:t>الرفع إلى شركة تطوير والجهات ذات العلاقة بكل ما يخص المعوقات العالقة التابعة للبيئة المدرسية. ومناقشة الحلول</a:t>
                      </a:r>
                    </a:p>
                  </a:txBody>
                  <a:tcPr marL="91425" marR="91425" marT="68575" marB="68575"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298" rtl="0" eaLnBrk="1" latinLnBrk="1" hangingPunct="1">
                        <a:defRPr sz="1800" kern="1200">
                          <a:solidFill>
                            <a:schemeClr val="tx1"/>
                          </a:solidFill>
                          <a:latin typeface="Calibri" panose="020F0502020204030204"/>
                          <a:ea typeface="Arial Unicode MS"/>
                        </a:defRPr>
                      </a:lvl1pPr>
                      <a:lvl2pPr marL="457150" algn="l" defTabSz="914298" rtl="0" eaLnBrk="1" latinLnBrk="1" hangingPunct="1">
                        <a:defRPr sz="1800" kern="1200">
                          <a:solidFill>
                            <a:schemeClr val="tx1"/>
                          </a:solidFill>
                          <a:latin typeface="Calibri" panose="020F0502020204030204"/>
                          <a:ea typeface="Arial Unicode MS"/>
                        </a:defRPr>
                      </a:lvl2pPr>
                      <a:lvl3pPr marL="914298" algn="l" defTabSz="914298" rtl="0" eaLnBrk="1" latinLnBrk="1" hangingPunct="1">
                        <a:defRPr sz="1800" kern="1200">
                          <a:solidFill>
                            <a:schemeClr val="tx1"/>
                          </a:solidFill>
                          <a:latin typeface="Calibri" panose="020F0502020204030204"/>
                          <a:ea typeface="Arial Unicode MS"/>
                        </a:defRPr>
                      </a:lvl3pPr>
                      <a:lvl4pPr marL="1371447" algn="l" defTabSz="914298" rtl="0" eaLnBrk="1" latinLnBrk="1" hangingPunct="1">
                        <a:defRPr sz="1800" kern="1200">
                          <a:solidFill>
                            <a:schemeClr val="tx1"/>
                          </a:solidFill>
                          <a:latin typeface="Calibri" panose="020F0502020204030204"/>
                          <a:ea typeface="Arial Unicode MS"/>
                        </a:defRPr>
                      </a:lvl4pPr>
                      <a:lvl5pPr marL="1828596" algn="l" defTabSz="914298" rtl="0" eaLnBrk="1" latinLnBrk="1" hangingPunct="1">
                        <a:defRPr sz="1800" kern="1200">
                          <a:solidFill>
                            <a:schemeClr val="tx1"/>
                          </a:solidFill>
                          <a:latin typeface="Calibri" panose="020F0502020204030204"/>
                          <a:ea typeface="Arial Unicode MS"/>
                        </a:defRPr>
                      </a:lvl5pPr>
                      <a:lvl6pPr marL="2285744" algn="l" defTabSz="914298" rtl="0" eaLnBrk="1" latinLnBrk="1" hangingPunct="1">
                        <a:defRPr sz="1800" kern="1200">
                          <a:solidFill>
                            <a:schemeClr val="tx1"/>
                          </a:solidFill>
                          <a:latin typeface="Calibri" panose="020F0502020204030204"/>
                          <a:ea typeface="Arial Unicode MS"/>
                        </a:defRPr>
                      </a:lvl6pPr>
                      <a:lvl7pPr marL="2742894" algn="l" defTabSz="914298" rtl="0" eaLnBrk="1" latinLnBrk="1" hangingPunct="1">
                        <a:defRPr sz="1800" kern="1200">
                          <a:solidFill>
                            <a:schemeClr val="tx1"/>
                          </a:solidFill>
                          <a:latin typeface="Calibri" panose="020F0502020204030204"/>
                          <a:ea typeface="Arial Unicode MS"/>
                        </a:defRPr>
                      </a:lvl7pPr>
                      <a:lvl8pPr marL="3200043" algn="l" defTabSz="914298" rtl="0" eaLnBrk="1" latinLnBrk="1" hangingPunct="1">
                        <a:defRPr sz="1800" kern="1200">
                          <a:solidFill>
                            <a:schemeClr val="tx1"/>
                          </a:solidFill>
                          <a:latin typeface="Calibri" panose="020F0502020204030204"/>
                          <a:ea typeface="Arial Unicode MS"/>
                        </a:defRPr>
                      </a:lvl8pPr>
                      <a:lvl9pPr marL="3657191" algn="l" defTabSz="914298" rtl="0" eaLnBrk="1" latinLnBrk="1" hangingPunct="1">
                        <a:defRPr sz="1800" kern="1200">
                          <a:solidFill>
                            <a:schemeClr val="tx1"/>
                          </a:solidFill>
                          <a:latin typeface="Calibri" panose="020F0502020204030204"/>
                          <a:ea typeface="Arial Unicode MS"/>
                        </a:defRPr>
                      </a:lvl9p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SA" sz="2800" b="1" kern="1200" noProof="0" dirty="0">
                          <a:solidFill>
                            <a:schemeClr val="tx1"/>
                          </a:solidFill>
                          <a:latin typeface="Sakkal Majalla" panose="02000000000000000000" pitchFamily="2" charset="-78"/>
                          <a:ea typeface="Samim" panose="020B0603030804020204" pitchFamily="34" charset="0"/>
                          <a:cs typeface="Sakkal Majalla" panose="02000000000000000000" pitchFamily="2" charset="-78"/>
                          <a:sym typeface="Titillium Web"/>
                        </a:rPr>
                        <a:t>التهيئة</a:t>
                      </a:r>
                    </a:p>
                  </a:txBody>
                  <a:tcPr marL="91425" marR="91425" marT="68575" marB="68575"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0066"/>
                    </a:solidFill>
                  </a:tcPr>
                </a:tc>
                <a:extLst>
                  <a:ext uri="{0D108BD9-81ED-4DB2-BD59-A6C34878D82A}">
                    <a16:rowId xmlns:a16="http://schemas.microsoft.com/office/drawing/2014/main" val="2248236010"/>
                  </a:ext>
                </a:extLst>
              </a:tr>
            </a:tbl>
          </a:graphicData>
        </a:graphic>
      </p:graphicFrame>
      <p:sp>
        <p:nvSpPr>
          <p:cNvPr id="3" name="Google Shape;3976;p29">
            <a:extLst>
              <a:ext uri="{FF2B5EF4-FFF2-40B4-BE49-F238E27FC236}">
                <a16:creationId xmlns:a16="http://schemas.microsoft.com/office/drawing/2014/main" id="{F3950F7D-800A-8F0D-29BF-E5B8D39FAA5C}"/>
              </a:ext>
            </a:extLst>
          </p:cNvPr>
          <p:cNvSpPr txBox="1">
            <a:spLocks/>
          </p:cNvSpPr>
          <p:nvPr/>
        </p:nvSpPr>
        <p:spPr>
          <a:xfrm>
            <a:off x="2585619" y="298291"/>
            <a:ext cx="6761100" cy="523476"/>
          </a:xfrm>
          <a:prstGeom prst="rect">
            <a:avLst/>
          </a:prstGeom>
        </p:spPr>
        <p:txBody>
          <a:bodyPr spcFirstLastPara="1" wrap="square" lIns="91425" tIns="91425" rIns="91425" bIns="91425" anchor="b" anchorCtr="0">
            <a:noAutofit/>
          </a:bodyPr>
          <a:lstStyle>
            <a:lvl1pPr algn="r" defTabSz="914400" rtl="1"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ar-SA" sz="2800" b="1" i="0" u="none" strike="noStrike" kern="1200" cap="none" spc="0" normalizeH="0" baseline="0" noProof="0" dirty="0">
                <a:ln>
                  <a:noFill/>
                </a:ln>
                <a:solidFill>
                  <a:srgbClr val="002060"/>
                </a:solidFill>
                <a:effectLst/>
                <a:uLnTx/>
                <a:uFillTx/>
                <a:latin typeface="Sakkal Majalla" panose="02000000000000000000" pitchFamily="2" charset="-78"/>
                <a:ea typeface="Samim" panose="020B0603030804020204" pitchFamily="34" charset="0"/>
                <a:cs typeface="Sakkal Majalla" panose="02000000000000000000" pitchFamily="2" charset="-78"/>
              </a:rPr>
              <a:t>دور فرق التطوير والتحسين</a:t>
            </a:r>
            <a:endParaRPr kumimoji="0" lang="en-US" sz="2800" b="1" i="0" u="none" strike="noStrike" kern="1200" cap="none" spc="0" normalizeH="0" baseline="0" noProof="0" dirty="0">
              <a:ln>
                <a:noFill/>
              </a:ln>
              <a:solidFill>
                <a:srgbClr val="002060"/>
              </a:solidFill>
              <a:effectLst/>
              <a:uLnTx/>
              <a:uFillTx/>
              <a:latin typeface="Sakkal Majalla" panose="02000000000000000000" pitchFamily="2" charset="-78"/>
              <a:ea typeface="Samim" panose="020B0603030804020204" pitchFamily="34" charset="0"/>
              <a:cs typeface="Sakkal Majalla" panose="02000000000000000000" pitchFamily="2" charset="-78"/>
            </a:endParaRPr>
          </a:p>
        </p:txBody>
      </p:sp>
    </p:spTree>
    <p:extLst>
      <p:ext uri="{BB962C8B-B14F-4D97-AF65-F5344CB8AC3E}">
        <p14:creationId xmlns:p14="http://schemas.microsoft.com/office/powerpoint/2010/main" val="20275015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barn(inVertical)">
                                      <p:cBhvr>
                                        <p:cTn id="7" dur="10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barn(inVertical)">
                                      <p:cBhvr>
                                        <p:cTn id="12" dur="175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oogle Shape;1265;p40">
            <a:extLst>
              <a:ext uri="{FF2B5EF4-FFF2-40B4-BE49-F238E27FC236}">
                <a16:creationId xmlns:a16="http://schemas.microsoft.com/office/drawing/2014/main" id="{24CD3DF9-1E18-6C34-80FF-721E25AD2C8B}"/>
              </a:ext>
            </a:extLst>
          </p:cNvPr>
          <p:cNvGrpSpPr/>
          <p:nvPr/>
        </p:nvGrpSpPr>
        <p:grpSpPr>
          <a:xfrm>
            <a:off x="9630490" y="2732497"/>
            <a:ext cx="1828800" cy="3783998"/>
            <a:chOff x="7054700" y="3145676"/>
            <a:chExt cx="1371600" cy="1462799"/>
          </a:xfrm>
        </p:grpSpPr>
        <p:sp>
          <p:nvSpPr>
            <p:cNvPr id="16" name="Google Shape;1266;p40">
              <a:extLst>
                <a:ext uri="{FF2B5EF4-FFF2-40B4-BE49-F238E27FC236}">
                  <a16:creationId xmlns:a16="http://schemas.microsoft.com/office/drawing/2014/main" id="{6D4DE6B1-9CFC-8709-455D-B294FEC122C5}"/>
                </a:ext>
              </a:extLst>
            </p:cNvPr>
            <p:cNvSpPr txBox="1"/>
            <p:nvPr/>
          </p:nvSpPr>
          <p:spPr>
            <a:xfrm>
              <a:off x="7054700" y="3145676"/>
              <a:ext cx="1371600" cy="320221"/>
            </a:xfrm>
            <a:prstGeom prst="rect">
              <a:avLst/>
            </a:prstGeom>
            <a:solidFill>
              <a:srgbClr val="E5E8FF"/>
            </a:solidFill>
            <a:ln w="9525" cap="flat" cmpd="sng">
              <a:solidFill>
                <a:srgbClr val="97A4FF"/>
              </a:solidFill>
              <a:prstDash val="solid"/>
              <a:round/>
              <a:headEnd type="none" w="sm" len="sm"/>
              <a:tailEnd type="none" w="sm" len="sm"/>
            </a:ln>
          </p:spPr>
          <p:txBody>
            <a:bodyPr spcFirstLastPara="1" wrap="square" lIns="121900" tIns="121900" rIns="121900" bIns="121900" anchor="b"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ar-SA" sz="1800" b="1" i="0" u="none" strike="noStrike" kern="0" cap="none" spc="0" normalizeH="0" baseline="0" noProof="0" dirty="0">
                  <a:ln>
                    <a:noFill/>
                  </a:ln>
                  <a:solidFill>
                    <a:srgbClr val="0070C0"/>
                  </a:solidFill>
                  <a:effectLst/>
                  <a:uLnTx/>
                  <a:uFillTx/>
                  <a:latin typeface="Samim" panose="020B0603030804020204" pitchFamily="34" charset="0"/>
                  <a:ea typeface="Samim" panose="020B0603030804020204" pitchFamily="34" charset="0"/>
                  <a:cs typeface="Samim" panose="020B0603030804020204" pitchFamily="34" charset="0"/>
                  <a:sym typeface="Arial"/>
                </a:rPr>
                <a:t>دعم ومساندة المدرسة :</a:t>
              </a:r>
              <a:endParaRPr kumimoji="0" lang="ar-SA" sz="1800" b="1" i="0" u="none" strike="noStrike" kern="0" cap="none" spc="0" normalizeH="0" baseline="0" noProof="0" dirty="0">
                <a:ln>
                  <a:noFill/>
                </a:ln>
                <a:solidFill>
                  <a:srgbClr val="0070C0"/>
                </a:solidFill>
                <a:effectLst/>
                <a:uLnTx/>
                <a:uFillTx/>
                <a:latin typeface="Samim" panose="020B0603030804020204" pitchFamily="34" charset="0"/>
                <a:ea typeface="Samim" panose="020B0603030804020204" pitchFamily="34" charset="0"/>
                <a:cs typeface="Samim" panose="020B0603030804020204" pitchFamily="34" charset="0"/>
                <a:sym typeface="Quicksand"/>
              </a:endParaRPr>
            </a:p>
          </p:txBody>
        </p:sp>
        <p:sp>
          <p:nvSpPr>
            <p:cNvPr id="17" name="Google Shape;1267;p40">
              <a:extLst>
                <a:ext uri="{FF2B5EF4-FFF2-40B4-BE49-F238E27FC236}">
                  <a16:creationId xmlns:a16="http://schemas.microsoft.com/office/drawing/2014/main" id="{E242C883-D0CE-5F19-0B68-1992372D184E}"/>
                </a:ext>
              </a:extLst>
            </p:cNvPr>
            <p:cNvSpPr txBox="1"/>
            <p:nvPr/>
          </p:nvSpPr>
          <p:spPr>
            <a:xfrm>
              <a:off x="7054700" y="3469029"/>
              <a:ext cx="1371600" cy="1139446"/>
            </a:xfrm>
            <a:prstGeom prst="rect">
              <a:avLst/>
            </a:prstGeom>
            <a:noFill/>
            <a:ln w="9525" cap="flat" cmpd="sng">
              <a:solidFill>
                <a:srgbClr val="97A4FF"/>
              </a:solidFill>
              <a:prstDash val="solid"/>
              <a:round/>
              <a:headEnd type="none" w="sm" len="sm"/>
              <a:tailEnd type="none" w="sm" len="sm"/>
            </a:ln>
          </p:spPr>
          <p:txBody>
            <a:bodyPr spcFirstLastPara="1" wrap="square" lIns="73133" tIns="60933" rIns="73133" bIns="0" anchor="t" anchorCtr="0">
              <a:noAutofit/>
            </a:bodyPr>
            <a:lstStyle/>
            <a:p>
              <a:pPr marL="0" marR="0" lvl="0" indent="0" algn="justLow" defTabSz="1219170" rtl="1" eaLnBrk="1" fontAlgn="auto" latinLnBrk="0" hangingPunct="1">
                <a:lnSpc>
                  <a:spcPct val="100000"/>
                </a:lnSpc>
                <a:spcBef>
                  <a:spcPts val="0"/>
                </a:spcBef>
                <a:spcAft>
                  <a:spcPts val="0"/>
                </a:spcAft>
                <a:buClrTx/>
                <a:buSzTx/>
                <a:buFontTx/>
                <a:buNone/>
                <a:tabLst/>
                <a:defRPr/>
              </a:pPr>
              <a:r>
                <a:rPr kumimoji="0" lang="ar-SA" sz="2000" b="1" i="0" u="none" strike="noStrike" kern="1200" cap="none" spc="0" normalizeH="0" baseline="0" noProof="0" dirty="0">
                  <a:ln>
                    <a:noFill/>
                  </a:ln>
                  <a:solidFill>
                    <a:prstClr val="black"/>
                  </a:solidFill>
                  <a:effectLst/>
                  <a:uLnTx/>
                  <a:uFillTx/>
                  <a:latin typeface="Sakkal Majalla" panose="02000000000000000000" pitchFamily="2" charset="-78"/>
                  <a:ea typeface="Times New Roman" panose="02020603050405020304" pitchFamily="18" charset="0"/>
                  <a:cs typeface="Sakkal Majalla" panose="02000000000000000000" pitchFamily="2" charset="-78"/>
                </a:rPr>
                <a:t>العمل مع فريق المدرسة في دراسة نتائج التقويم الذاتي.</a:t>
              </a:r>
              <a:endParaRPr kumimoji="0" sz="2000" b="1" i="0" u="none" strike="noStrike" kern="0" cap="none" spc="0" normalizeH="0" baseline="0" noProof="0" dirty="0">
                <a:ln>
                  <a:noFill/>
                </a:ln>
                <a:solidFill>
                  <a:srgbClr val="01083A"/>
                </a:solidFill>
                <a:effectLst/>
                <a:uLnTx/>
                <a:uFillTx/>
                <a:latin typeface="Samim" panose="020B0603030804020204" pitchFamily="34" charset="0"/>
                <a:ea typeface="Samim" panose="020B0603030804020204" pitchFamily="34" charset="0"/>
                <a:cs typeface="Samim" panose="020B0603030804020204" pitchFamily="34" charset="0"/>
                <a:sym typeface="Quicksand"/>
              </a:endParaRPr>
            </a:p>
          </p:txBody>
        </p:sp>
      </p:grpSp>
      <p:grpSp>
        <p:nvGrpSpPr>
          <p:cNvPr id="18" name="Google Shape;1268;p40">
            <a:extLst>
              <a:ext uri="{FF2B5EF4-FFF2-40B4-BE49-F238E27FC236}">
                <a16:creationId xmlns:a16="http://schemas.microsoft.com/office/drawing/2014/main" id="{45305D8A-1F32-BFC4-7A49-93848032F3CC}"/>
              </a:ext>
            </a:extLst>
          </p:cNvPr>
          <p:cNvGrpSpPr/>
          <p:nvPr/>
        </p:nvGrpSpPr>
        <p:grpSpPr>
          <a:xfrm>
            <a:off x="3290862" y="439788"/>
            <a:ext cx="6055231" cy="1038052"/>
            <a:chOff x="2299978" y="1115900"/>
            <a:chExt cx="4541423" cy="1142099"/>
          </a:xfrm>
        </p:grpSpPr>
        <p:sp>
          <p:nvSpPr>
            <p:cNvPr id="19" name="Google Shape;1269;p40">
              <a:extLst>
                <a:ext uri="{FF2B5EF4-FFF2-40B4-BE49-F238E27FC236}">
                  <a16:creationId xmlns:a16="http://schemas.microsoft.com/office/drawing/2014/main" id="{730F3D50-B39D-86BF-8B96-C0BD69058735}"/>
                </a:ext>
              </a:extLst>
            </p:cNvPr>
            <p:cNvSpPr txBox="1"/>
            <p:nvPr/>
          </p:nvSpPr>
          <p:spPr>
            <a:xfrm flipH="1">
              <a:off x="2299978" y="1115900"/>
              <a:ext cx="4541400" cy="501900"/>
            </a:xfrm>
            <a:prstGeom prst="rect">
              <a:avLst/>
            </a:prstGeom>
            <a:solidFill>
              <a:srgbClr val="E5E8FF"/>
            </a:solidFill>
            <a:ln w="9525" cap="flat" cmpd="sng">
              <a:solidFill>
                <a:srgbClr val="97A4FF"/>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ar-SA" sz="2400" b="1" i="0" u="none" strike="noStrike" kern="0" cap="none" spc="0" normalizeH="0" baseline="0" noProof="0" dirty="0">
                  <a:ln>
                    <a:noFill/>
                  </a:ln>
                  <a:solidFill>
                    <a:srgbClr val="01083A"/>
                  </a:solidFill>
                  <a:effectLst/>
                  <a:uLnTx/>
                  <a:uFillTx/>
                  <a:latin typeface="Sakkal Majalla" panose="02000000000000000000" pitchFamily="2" charset="-78"/>
                  <a:ea typeface="Samim" panose="020B0603030804020204" pitchFamily="34" charset="0"/>
                  <a:cs typeface="Sakkal Majalla" panose="02000000000000000000" pitchFamily="2" charset="-78"/>
                  <a:sym typeface="Josefin Sans"/>
                </a:rPr>
                <a:t>أدوار فريق التحسين والتطوير </a:t>
              </a:r>
            </a:p>
          </p:txBody>
        </p:sp>
        <p:sp>
          <p:nvSpPr>
            <p:cNvPr id="20" name="Google Shape;1270;p40">
              <a:extLst>
                <a:ext uri="{FF2B5EF4-FFF2-40B4-BE49-F238E27FC236}">
                  <a16:creationId xmlns:a16="http://schemas.microsoft.com/office/drawing/2014/main" id="{BE68E7FD-B5C7-9C97-CF13-DBD698C539C3}"/>
                </a:ext>
              </a:extLst>
            </p:cNvPr>
            <p:cNvSpPr txBox="1"/>
            <p:nvPr/>
          </p:nvSpPr>
          <p:spPr>
            <a:xfrm flipH="1">
              <a:off x="2300001" y="1617799"/>
              <a:ext cx="4541400" cy="640200"/>
            </a:xfrm>
            <a:prstGeom prst="rect">
              <a:avLst/>
            </a:prstGeom>
            <a:noFill/>
            <a:ln w="9525" cap="flat" cmpd="sng">
              <a:solidFill>
                <a:srgbClr val="97A4FF"/>
              </a:solidFill>
              <a:prstDash val="solid"/>
              <a:round/>
              <a:headEnd type="none" w="sm" len="sm"/>
              <a:tailEnd type="none" w="sm" len="sm"/>
            </a:ln>
          </p:spPr>
          <p:txBody>
            <a:bodyPr spcFirstLastPara="1" wrap="square" lIns="121900" tIns="121900" rIns="121900" bIns="121900" anchor="t" anchorCtr="0">
              <a:noAutofit/>
            </a:bodyPr>
            <a:lstStyle/>
            <a:p>
              <a:pPr marL="0" marR="0" lvl="0" indent="0" algn="ctr" defTabSz="1219170" rtl="1" eaLnBrk="1" fontAlgn="auto" latinLnBrk="0" hangingPunct="1">
                <a:lnSpc>
                  <a:spcPct val="100000"/>
                </a:lnSpc>
                <a:spcBef>
                  <a:spcPts val="0"/>
                </a:spcBef>
                <a:spcAft>
                  <a:spcPts val="0"/>
                </a:spcAft>
                <a:buClrTx/>
                <a:buSzTx/>
                <a:buFontTx/>
                <a:buNone/>
                <a:tabLst/>
                <a:defRPr/>
              </a:pPr>
              <a:r>
                <a:rPr kumimoji="0" lang="ar-SA" sz="2400" b="1" i="0" u="none" strike="noStrike" kern="0" cap="none" spc="0" normalizeH="0" baseline="0" noProof="0" dirty="0">
                  <a:ln>
                    <a:noFill/>
                  </a:ln>
                  <a:solidFill>
                    <a:srgbClr val="000000"/>
                  </a:solidFill>
                  <a:effectLst/>
                  <a:uLnTx/>
                  <a:uFillTx/>
                  <a:latin typeface="Sakkal Majalla" panose="02000000000000000000" pitchFamily="2" charset="-78"/>
                  <a:ea typeface="Samim" panose="020B0603030804020204" pitchFamily="34" charset="0"/>
                  <a:cs typeface="Sakkal Majalla" panose="02000000000000000000" pitchFamily="2" charset="-78"/>
                  <a:sym typeface="Arial"/>
                </a:rPr>
                <a:t>يقوم فريق التحسين والتطوير بالمكتب بالأدوار التالية:</a:t>
              </a:r>
            </a:p>
          </p:txBody>
        </p:sp>
      </p:grpSp>
      <p:sp>
        <p:nvSpPr>
          <p:cNvPr id="25" name="Google Shape;1275;p40">
            <a:extLst>
              <a:ext uri="{FF2B5EF4-FFF2-40B4-BE49-F238E27FC236}">
                <a16:creationId xmlns:a16="http://schemas.microsoft.com/office/drawing/2014/main" id="{A0E14A58-FD4D-F177-7FD2-5CEE9B7E6AA0}"/>
              </a:ext>
            </a:extLst>
          </p:cNvPr>
          <p:cNvSpPr/>
          <p:nvPr/>
        </p:nvSpPr>
        <p:spPr>
          <a:xfrm>
            <a:off x="10106899" y="2038303"/>
            <a:ext cx="847996" cy="832405"/>
          </a:xfrm>
          <a:prstGeom prst="ellipse">
            <a:avLst/>
          </a:prstGeom>
          <a:solidFill>
            <a:srgbClr val="FFFFFF"/>
          </a:solidFill>
          <a:ln w="9525" cap="flat" cmpd="sng">
            <a:solidFill>
              <a:srgbClr val="97A4FF"/>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defTabSz="1219170" rtl="1"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ysClr val="windowText" lastClr="000000"/>
                </a:solidFill>
                <a:effectLst/>
                <a:uLnTx/>
                <a:uFillTx/>
                <a:latin typeface="Samim" panose="020B0603030804020204" pitchFamily="34" charset="0"/>
                <a:ea typeface="Samim" panose="020B0603030804020204" pitchFamily="34" charset="0"/>
                <a:cs typeface="Samim" panose="020B0603030804020204" pitchFamily="34" charset="0"/>
              </a:rPr>
              <a:t>1</a:t>
            </a:r>
            <a:endParaRPr kumimoji="0" sz="1800" b="1" i="0" u="none" strike="noStrike" kern="0" cap="none" spc="0" normalizeH="0" baseline="0" noProof="0" dirty="0">
              <a:ln>
                <a:noFill/>
              </a:ln>
              <a:solidFill>
                <a:sysClr val="windowText" lastClr="000000"/>
              </a:solidFill>
              <a:effectLst/>
              <a:uLnTx/>
              <a:uFillTx/>
              <a:latin typeface="Samim" panose="020B0603030804020204" pitchFamily="34" charset="0"/>
              <a:ea typeface="Samim" panose="020B0603030804020204" pitchFamily="34" charset="0"/>
              <a:cs typeface="Samim" panose="020B0603030804020204" pitchFamily="34" charset="0"/>
            </a:endParaRPr>
          </a:p>
        </p:txBody>
      </p:sp>
      <p:cxnSp>
        <p:nvCxnSpPr>
          <p:cNvPr id="51" name="Google Shape;1301;p40">
            <a:extLst>
              <a:ext uri="{FF2B5EF4-FFF2-40B4-BE49-F238E27FC236}">
                <a16:creationId xmlns:a16="http://schemas.microsoft.com/office/drawing/2014/main" id="{EBFF35A9-BAAA-3BFF-5F0F-30D8F8417341}"/>
              </a:ext>
            </a:extLst>
          </p:cNvPr>
          <p:cNvCxnSpPr>
            <a:cxnSpLocks/>
            <a:endCxn id="20" idx="2"/>
          </p:cNvCxnSpPr>
          <p:nvPr/>
        </p:nvCxnSpPr>
        <p:spPr>
          <a:xfrm flipV="1">
            <a:off x="2092024" y="1477840"/>
            <a:ext cx="4226469" cy="560463"/>
          </a:xfrm>
          <a:prstGeom prst="bentConnector2">
            <a:avLst/>
          </a:prstGeom>
          <a:noFill/>
          <a:ln w="9525" cap="flat" cmpd="sng">
            <a:solidFill>
              <a:srgbClr val="97A4FF"/>
            </a:solidFill>
            <a:prstDash val="solid"/>
            <a:round/>
            <a:headEnd type="none" w="med" len="med"/>
            <a:tailEnd type="none" w="med" len="med"/>
          </a:ln>
        </p:spPr>
      </p:cxnSp>
      <p:cxnSp>
        <p:nvCxnSpPr>
          <p:cNvPr id="52" name="Google Shape;1302;p40">
            <a:extLst>
              <a:ext uri="{FF2B5EF4-FFF2-40B4-BE49-F238E27FC236}">
                <a16:creationId xmlns:a16="http://schemas.microsoft.com/office/drawing/2014/main" id="{307C2FFB-0B0F-AF93-0A24-96A934467D29}"/>
              </a:ext>
            </a:extLst>
          </p:cNvPr>
          <p:cNvCxnSpPr>
            <a:cxnSpLocks/>
            <a:endCxn id="20" idx="2"/>
          </p:cNvCxnSpPr>
          <p:nvPr/>
        </p:nvCxnSpPr>
        <p:spPr>
          <a:xfrm flipV="1">
            <a:off x="4206141" y="1477840"/>
            <a:ext cx="2112352" cy="560463"/>
          </a:xfrm>
          <a:prstGeom prst="bentConnector2">
            <a:avLst/>
          </a:prstGeom>
          <a:noFill/>
          <a:ln w="9525" cap="flat" cmpd="sng">
            <a:solidFill>
              <a:srgbClr val="97A4FF"/>
            </a:solidFill>
            <a:prstDash val="solid"/>
            <a:round/>
            <a:headEnd type="none" w="med" len="med"/>
            <a:tailEnd type="none" w="med" len="med"/>
          </a:ln>
        </p:spPr>
      </p:cxnSp>
      <p:cxnSp>
        <p:nvCxnSpPr>
          <p:cNvPr id="53" name="Google Shape;1303;p40">
            <a:extLst>
              <a:ext uri="{FF2B5EF4-FFF2-40B4-BE49-F238E27FC236}">
                <a16:creationId xmlns:a16="http://schemas.microsoft.com/office/drawing/2014/main" id="{4ADE0247-F661-9FAD-4774-0FBC3B6FB6E9}"/>
              </a:ext>
            </a:extLst>
          </p:cNvPr>
          <p:cNvCxnSpPr>
            <a:cxnSpLocks/>
            <a:endCxn id="20" idx="2"/>
          </p:cNvCxnSpPr>
          <p:nvPr/>
        </p:nvCxnSpPr>
        <p:spPr>
          <a:xfrm rot="10800000">
            <a:off x="6318494" y="1477840"/>
            <a:ext cx="2122409" cy="548654"/>
          </a:xfrm>
          <a:prstGeom prst="bentConnector2">
            <a:avLst/>
          </a:prstGeom>
          <a:noFill/>
          <a:ln w="9525" cap="flat" cmpd="sng">
            <a:solidFill>
              <a:srgbClr val="97A4FF"/>
            </a:solidFill>
            <a:prstDash val="solid"/>
            <a:round/>
            <a:headEnd type="none" w="med" len="med"/>
            <a:tailEnd type="none" w="med" len="med"/>
          </a:ln>
        </p:spPr>
      </p:cxnSp>
      <p:cxnSp>
        <p:nvCxnSpPr>
          <p:cNvPr id="54" name="Google Shape;1304;p40">
            <a:extLst>
              <a:ext uri="{FF2B5EF4-FFF2-40B4-BE49-F238E27FC236}">
                <a16:creationId xmlns:a16="http://schemas.microsoft.com/office/drawing/2014/main" id="{8137C3F2-94B0-86BF-345A-F70EF55EBFD0}"/>
              </a:ext>
            </a:extLst>
          </p:cNvPr>
          <p:cNvCxnSpPr>
            <a:cxnSpLocks/>
            <a:stCxn id="25" idx="0"/>
            <a:endCxn id="76" idx="0"/>
          </p:cNvCxnSpPr>
          <p:nvPr/>
        </p:nvCxnSpPr>
        <p:spPr>
          <a:xfrm rot="16200000" flipH="1" flipV="1">
            <a:off x="8418935" y="-69608"/>
            <a:ext cx="4051" cy="4219872"/>
          </a:xfrm>
          <a:prstGeom prst="bentConnector3">
            <a:avLst>
              <a:gd name="adj1" fmla="val 0"/>
            </a:avLst>
          </a:prstGeom>
          <a:noFill/>
          <a:ln w="9525" cap="flat" cmpd="sng">
            <a:solidFill>
              <a:srgbClr val="97A4FF"/>
            </a:solidFill>
            <a:prstDash val="solid"/>
            <a:round/>
            <a:headEnd type="none" w="med" len="med"/>
            <a:tailEnd type="none" w="med" len="med"/>
          </a:ln>
        </p:spPr>
      </p:cxnSp>
      <p:cxnSp>
        <p:nvCxnSpPr>
          <p:cNvPr id="55" name="Google Shape;1305;p40">
            <a:extLst>
              <a:ext uri="{FF2B5EF4-FFF2-40B4-BE49-F238E27FC236}">
                <a16:creationId xmlns:a16="http://schemas.microsoft.com/office/drawing/2014/main" id="{BB702A97-B80E-E871-FB99-C513EFE1B13B}"/>
              </a:ext>
            </a:extLst>
          </p:cNvPr>
          <p:cNvCxnSpPr>
            <a:cxnSpLocks/>
            <a:endCxn id="20" idx="2"/>
          </p:cNvCxnSpPr>
          <p:nvPr/>
        </p:nvCxnSpPr>
        <p:spPr>
          <a:xfrm flipH="1" flipV="1">
            <a:off x="6318493" y="1477840"/>
            <a:ext cx="0" cy="360000"/>
          </a:xfrm>
          <a:prstGeom prst="straightConnector1">
            <a:avLst/>
          </a:prstGeom>
          <a:noFill/>
          <a:ln w="9525" cap="flat" cmpd="sng">
            <a:solidFill>
              <a:srgbClr val="97A4FF"/>
            </a:solidFill>
            <a:prstDash val="solid"/>
            <a:round/>
            <a:headEnd type="none" w="med" len="med"/>
            <a:tailEnd type="none" w="med" len="med"/>
          </a:ln>
        </p:spPr>
      </p:cxnSp>
      <p:grpSp>
        <p:nvGrpSpPr>
          <p:cNvPr id="69" name="Google Shape;1265;p40">
            <a:extLst>
              <a:ext uri="{FF2B5EF4-FFF2-40B4-BE49-F238E27FC236}">
                <a16:creationId xmlns:a16="http://schemas.microsoft.com/office/drawing/2014/main" id="{50C4AF71-919F-CEF3-F778-ACFCBE0ED643}"/>
              </a:ext>
            </a:extLst>
          </p:cNvPr>
          <p:cNvGrpSpPr/>
          <p:nvPr/>
        </p:nvGrpSpPr>
        <p:grpSpPr>
          <a:xfrm>
            <a:off x="7522853" y="2736548"/>
            <a:ext cx="1828800" cy="3779947"/>
            <a:chOff x="7054700" y="3145676"/>
            <a:chExt cx="1371600" cy="1462799"/>
          </a:xfrm>
        </p:grpSpPr>
        <p:sp>
          <p:nvSpPr>
            <p:cNvPr id="70" name="Google Shape;1266;p40">
              <a:extLst>
                <a:ext uri="{FF2B5EF4-FFF2-40B4-BE49-F238E27FC236}">
                  <a16:creationId xmlns:a16="http://schemas.microsoft.com/office/drawing/2014/main" id="{CBFE7ADA-E055-C1C6-3702-171C146160EE}"/>
                </a:ext>
              </a:extLst>
            </p:cNvPr>
            <p:cNvSpPr txBox="1"/>
            <p:nvPr/>
          </p:nvSpPr>
          <p:spPr>
            <a:xfrm>
              <a:off x="7054700" y="3145676"/>
              <a:ext cx="1371600" cy="322132"/>
            </a:xfrm>
            <a:prstGeom prst="rect">
              <a:avLst/>
            </a:prstGeom>
            <a:solidFill>
              <a:srgbClr val="E5E8FF"/>
            </a:solidFill>
            <a:ln w="9525" cap="flat" cmpd="sng">
              <a:solidFill>
                <a:srgbClr val="97A4FF"/>
              </a:solidFill>
              <a:prstDash val="solid"/>
              <a:round/>
              <a:headEnd type="none" w="sm" len="sm"/>
              <a:tailEnd type="none" w="sm" len="sm"/>
            </a:ln>
          </p:spPr>
          <p:txBody>
            <a:bodyPr spcFirstLastPara="1" wrap="square" lIns="121900" tIns="121900" rIns="121900" bIns="121900" anchor="b"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ar-SA" sz="1800" b="1" i="0" u="none" strike="noStrike" kern="0" cap="none" spc="0" normalizeH="0" baseline="0" noProof="0" dirty="0">
                  <a:ln>
                    <a:noFill/>
                  </a:ln>
                  <a:solidFill>
                    <a:srgbClr val="0070C0"/>
                  </a:solidFill>
                  <a:effectLst/>
                  <a:uLnTx/>
                  <a:uFillTx/>
                  <a:latin typeface="Samim" panose="020B0603030804020204" pitchFamily="34" charset="0"/>
                  <a:ea typeface="Samim" panose="020B0603030804020204" pitchFamily="34" charset="0"/>
                  <a:cs typeface="Samim" panose="020B0603030804020204" pitchFamily="34" charset="0"/>
                  <a:sym typeface="Arial"/>
                </a:rPr>
                <a:t>دعم ومساندة المدرسة في:</a:t>
              </a:r>
              <a:endParaRPr kumimoji="0" lang="ar-SA" sz="1800" b="1" i="0" u="none" strike="noStrike" kern="0" cap="none" spc="0" normalizeH="0" baseline="0" noProof="0" dirty="0">
                <a:ln>
                  <a:noFill/>
                </a:ln>
                <a:solidFill>
                  <a:srgbClr val="0070C0"/>
                </a:solidFill>
                <a:effectLst/>
                <a:uLnTx/>
                <a:uFillTx/>
                <a:latin typeface="Samim" panose="020B0603030804020204" pitchFamily="34" charset="0"/>
                <a:ea typeface="Samim" panose="020B0603030804020204" pitchFamily="34" charset="0"/>
                <a:cs typeface="Samim" panose="020B0603030804020204" pitchFamily="34" charset="0"/>
                <a:sym typeface="Quicksand"/>
              </a:endParaRPr>
            </a:p>
          </p:txBody>
        </p:sp>
        <p:sp>
          <p:nvSpPr>
            <p:cNvPr id="71" name="Google Shape;1267;p40">
              <a:extLst>
                <a:ext uri="{FF2B5EF4-FFF2-40B4-BE49-F238E27FC236}">
                  <a16:creationId xmlns:a16="http://schemas.microsoft.com/office/drawing/2014/main" id="{E056FC60-984F-5ED4-92EE-063E319577A9}"/>
                </a:ext>
              </a:extLst>
            </p:cNvPr>
            <p:cNvSpPr txBox="1"/>
            <p:nvPr/>
          </p:nvSpPr>
          <p:spPr>
            <a:xfrm>
              <a:off x="7054700" y="3467808"/>
              <a:ext cx="1371600" cy="1140667"/>
            </a:xfrm>
            <a:prstGeom prst="rect">
              <a:avLst/>
            </a:prstGeom>
            <a:noFill/>
            <a:ln w="9525" cap="flat" cmpd="sng">
              <a:solidFill>
                <a:srgbClr val="97A4FF"/>
              </a:solidFill>
              <a:prstDash val="solid"/>
              <a:round/>
              <a:headEnd type="none" w="sm" len="sm"/>
              <a:tailEnd type="none" w="sm" len="sm"/>
            </a:ln>
          </p:spPr>
          <p:txBody>
            <a:bodyPr spcFirstLastPara="1" wrap="square" lIns="73133" tIns="60933" rIns="73133" bIns="0" anchor="t" anchorCtr="0">
              <a:noAutofit/>
            </a:bodyPr>
            <a:lstStyle/>
            <a:p>
              <a:pPr marL="0" marR="0" lvl="0" indent="0" algn="justLow" defTabSz="1219170" rtl="1" eaLnBrk="1" fontAlgn="auto" latinLnBrk="0" hangingPunct="1">
                <a:lnSpc>
                  <a:spcPct val="100000"/>
                </a:lnSpc>
                <a:spcBef>
                  <a:spcPts val="0"/>
                </a:spcBef>
                <a:spcAft>
                  <a:spcPts val="0"/>
                </a:spcAft>
                <a:buClrTx/>
                <a:buSzTx/>
                <a:buFontTx/>
                <a:buNone/>
                <a:tabLst/>
                <a:defRPr/>
              </a:pPr>
              <a:r>
                <a:rPr kumimoji="0" lang="ar-SA" sz="2000" b="1" i="0" u="none" strike="noStrike" kern="1200" cap="none" spc="0" normalizeH="0" baseline="0" noProof="0" dirty="0">
                  <a:ln>
                    <a:noFill/>
                  </a:ln>
                  <a:solidFill>
                    <a:prstClr val="black"/>
                  </a:solidFill>
                  <a:effectLst/>
                  <a:uLnTx/>
                  <a:uFillTx/>
                  <a:latin typeface="Sakkal Majalla" panose="02000000000000000000" pitchFamily="2" charset="-78"/>
                  <a:ea typeface="Times New Roman" panose="02020603050405020304" pitchFamily="18" charset="0"/>
                  <a:cs typeface="Sakkal Majalla" panose="02000000000000000000" pitchFamily="2" charset="-78"/>
                </a:rPr>
                <a:t>في إعداد خطط التحسين والتطوير في ضوء نتائج التقويم الذاتي</a:t>
              </a:r>
              <a:endParaRPr kumimoji="0" sz="2000" b="1" i="0" u="none" strike="noStrike" kern="0" cap="none" spc="0" normalizeH="0" baseline="0" noProof="0" dirty="0">
                <a:ln>
                  <a:noFill/>
                </a:ln>
                <a:solidFill>
                  <a:srgbClr val="01083A"/>
                </a:solidFill>
                <a:effectLst/>
                <a:uLnTx/>
                <a:uFillTx/>
                <a:latin typeface="Samim" panose="020B0603030804020204" pitchFamily="34" charset="0"/>
                <a:ea typeface="Samim" panose="020B0603030804020204" pitchFamily="34" charset="0"/>
                <a:cs typeface="Samim" panose="020B0603030804020204" pitchFamily="34" charset="0"/>
                <a:sym typeface="Quicksand"/>
              </a:endParaRPr>
            </a:p>
          </p:txBody>
        </p:sp>
      </p:grpSp>
      <p:sp>
        <p:nvSpPr>
          <p:cNvPr id="72" name="Google Shape;1275;p40">
            <a:extLst>
              <a:ext uri="{FF2B5EF4-FFF2-40B4-BE49-F238E27FC236}">
                <a16:creationId xmlns:a16="http://schemas.microsoft.com/office/drawing/2014/main" id="{7A23F873-FC6A-6EC9-F5BD-835EB6743CBE}"/>
              </a:ext>
            </a:extLst>
          </p:cNvPr>
          <p:cNvSpPr/>
          <p:nvPr/>
        </p:nvSpPr>
        <p:spPr>
          <a:xfrm>
            <a:off x="7999262" y="2042354"/>
            <a:ext cx="847996" cy="832405"/>
          </a:xfrm>
          <a:prstGeom prst="ellipse">
            <a:avLst/>
          </a:prstGeom>
          <a:solidFill>
            <a:srgbClr val="FFFFFF"/>
          </a:solidFill>
          <a:ln w="9525" cap="flat" cmpd="sng">
            <a:solidFill>
              <a:srgbClr val="97A4FF"/>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defTabSz="1219170" rtl="1"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ysClr val="windowText" lastClr="000000"/>
                </a:solidFill>
                <a:effectLst/>
                <a:uLnTx/>
                <a:uFillTx/>
                <a:latin typeface="Samim" panose="020B0603030804020204" pitchFamily="34" charset="0"/>
                <a:ea typeface="Samim" panose="020B0603030804020204" pitchFamily="34" charset="0"/>
                <a:cs typeface="Samim" panose="020B0603030804020204" pitchFamily="34" charset="0"/>
              </a:rPr>
              <a:t>2</a:t>
            </a:r>
            <a:endParaRPr kumimoji="0" sz="1800" b="1" i="0" u="none" strike="noStrike" kern="0" cap="none" spc="0" normalizeH="0" baseline="0" noProof="0" dirty="0">
              <a:ln>
                <a:noFill/>
              </a:ln>
              <a:solidFill>
                <a:sysClr val="windowText" lastClr="000000"/>
              </a:solidFill>
              <a:effectLst/>
              <a:uLnTx/>
              <a:uFillTx/>
              <a:latin typeface="Samim" panose="020B0603030804020204" pitchFamily="34" charset="0"/>
              <a:ea typeface="Samim" panose="020B0603030804020204" pitchFamily="34" charset="0"/>
              <a:cs typeface="Samim" panose="020B0603030804020204" pitchFamily="34" charset="0"/>
            </a:endParaRPr>
          </a:p>
        </p:txBody>
      </p:sp>
      <p:grpSp>
        <p:nvGrpSpPr>
          <p:cNvPr id="73" name="Google Shape;1265;p40">
            <a:extLst>
              <a:ext uri="{FF2B5EF4-FFF2-40B4-BE49-F238E27FC236}">
                <a16:creationId xmlns:a16="http://schemas.microsoft.com/office/drawing/2014/main" id="{7A8E8611-2061-C3CD-6AC5-79B78FC30D20}"/>
              </a:ext>
            </a:extLst>
          </p:cNvPr>
          <p:cNvGrpSpPr/>
          <p:nvPr/>
        </p:nvGrpSpPr>
        <p:grpSpPr>
          <a:xfrm>
            <a:off x="5410618" y="2736549"/>
            <a:ext cx="1828800" cy="3779946"/>
            <a:chOff x="7054700" y="3145676"/>
            <a:chExt cx="1371600" cy="1462800"/>
          </a:xfrm>
        </p:grpSpPr>
        <p:sp>
          <p:nvSpPr>
            <p:cNvPr id="74" name="Google Shape;1266;p40">
              <a:extLst>
                <a:ext uri="{FF2B5EF4-FFF2-40B4-BE49-F238E27FC236}">
                  <a16:creationId xmlns:a16="http://schemas.microsoft.com/office/drawing/2014/main" id="{62A4DBCA-3E2C-9DC5-78EA-BDD8E5358A45}"/>
                </a:ext>
              </a:extLst>
            </p:cNvPr>
            <p:cNvSpPr txBox="1"/>
            <p:nvPr/>
          </p:nvSpPr>
          <p:spPr>
            <a:xfrm>
              <a:off x="7054700" y="3145676"/>
              <a:ext cx="1371600" cy="318996"/>
            </a:xfrm>
            <a:prstGeom prst="rect">
              <a:avLst/>
            </a:prstGeom>
            <a:solidFill>
              <a:srgbClr val="E5E8FF"/>
            </a:solidFill>
            <a:ln w="9525" cap="flat" cmpd="sng">
              <a:solidFill>
                <a:srgbClr val="97A4FF"/>
              </a:solidFill>
              <a:prstDash val="solid"/>
              <a:round/>
              <a:headEnd type="none" w="sm" len="sm"/>
              <a:tailEnd type="none" w="sm" len="sm"/>
            </a:ln>
          </p:spPr>
          <p:txBody>
            <a:bodyPr spcFirstLastPara="1" wrap="square" lIns="121900" tIns="121900" rIns="121900" bIns="121900" anchor="b"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ar-SA" sz="1800" b="1" i="0" u="none" strike="noStrike" kern="0" cap="none" spc="0" normalizeH="0" baseline="0" noProof="0" dirty="0">
                  <a:ln>
                    <a:noFill/>
                  </a:ln>
                  <a:solidFill>
                    <a:srgbClr val="0070C0"/>
                  </a:solidFill>
                  <a:effectLst/>
                  <a:uLnTx/>
                  <a:uFillTx/>
                  <a:latin typeface="Samim" panose="020B0603030804020204" pitchFamily="34" charset="0"/>
                  <a:ea typeface="Samim" panose="020B0603030804020204" pitchFamily="34" charset="0"/>
                  <a:cs typeface="Samim" panose="020B0603030804020204" pitchFamily="34" charset="0"/>
                  <a:sym typeface="Arial"/>
                </a:rPr>
                <a:t>دعم ومساندة المدرسة في:</a:t>
              </a:r>
              <a:endParaRPr kumimoji="0" lang="ar-SA" sz="1800" b="1" i="0" u="none" strike="noStrike" kern="0" cap="none" spc="0" normalizeH="0" baseline="0" noProof="0" dirty="0">
                <a:ln>
                  <a:noFill/>
                </a:ln>
                <a:solidFill>
                  <a:srgbClr val="0070C0"/>
                </a:solidFill>
                <a:effectLst/>
                <a:uLnTx/>
                <a:uFillTx/>
                <a:latin typeface="Samim" panose="020B0603030804020204" pitchFamily="34" charset="0"/>
                <a:ea typeface="Samim" panose="020B0603030804020204" pitchFamily="34" charset="0"/>
                <a:cs typeface="Samim" panose="020B0603030804020204" pitchFamily="34" charset="0"/>
                <a:sym typeface="Quicksand"/>
              </a:endParaRPr>
            </a:p>
          </p:txBody>
        </p:sp>
        <p:sp>
          <p:nvSpPr>
            <p:cNvPr id="75" name="Google Shape;1267;p40">
              <a:extLst>
                <a:ext uri="{FF2B5EF4-FFF2-40B4-BE49-F238E27FC236}">
                  <a16:creationId xmlns:a16="http://schemas.microsoft.com/office/drawing/2014/main" id="{8D244E9D-63F3-DBC1-4D5A-92AA2D5F9082}"/>
                </a:ext>
              </a:extLst>
            </p:cNvPr>
            <p:cNvSpPr txBox="1"/>
            <p:nvPr/>
          </p:nvSpPr>
          <p:spPr>
            <a:xfrm>
              <a:off x="7054700" y="3467809"/>
              <a:ext cx="1371600" cy="1140667"/>
            </a:xfrm>
            <a:prstGeom prst="rect">
              <a:avLst/>
            </a:prstGeom>
            <a:noFill/>
            <a:ln w="9525" cap="flat" cmpd="sng">
              <a:solidFill>
                <a:srgbClr val="97A4FF"/>
              </a:solidFill>
              <a:prstDash val="solid"/>
              <a:round/>
              <a:headEnd type="none" w="sm" len="sm"/>
              <a:tailEnd type="none" w="sm" len="sm"/>
            </a:ln>
          </p:spPr>
          <p:txBody>
            <a:bodyPr spcFirstLastPara="1" wrap="square" lIns="73133" tIns="60933" rIns="73133" bIns="0" anchor="t" anchorCtr="0">
              <a:noAutofit/>
            </a:bodyPr>
            <a:lstStyle/>
            <a:p>
              <a:pPr marL="0" marR="0" lvl="0" indent="0" algn="justLow" defTabSz="1219170" rtl="1" eaLnBrk="1" fontAlgn="auto" latinLnBrk="0" hangingPunct="1">
                <a:lnSpc>
                  <a:spcPct val="100000"/>
                </a:lnSpc>
                <a:spcBef>
                  <a:spcPts val="0"/>
                </a:spcBef>
                <a:spcAft>
                  <a:spcPts val="0"/>
                </a:spcAft>
                <a:buClrTx/>
                <a:buSzTx/>
                <a:buFontTx/>
                <a:buNone/>
                <a:tabLst/>
                <a:defRPr/>
              </a:pPr>
              <a:r>
                <a:rPr kumimoji="0" lang="ar-SA" sz="2000" b="1"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في ابتكار حلول لتحفيز أداء الطلاب، وجودة تحصيلهم العلمي من خلال قرارات مبنية على بيانات وإحصائيات المدرسة</a:t>
              </a:r>
              <a:endParaRPr kumimoji="0" sz="2000" b="1"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sym typeface="Quicksand"/>
              </a:endParaRPr>
            </a:p>
          </p:txBody>
        </p:sp>
      </p:grpSp>
      <p:sp>
        <p:nvSpPr>
          <p:cNvPr id="76" name="Google Shape;1275;p40">
            <a:extLst>
              <a:ext uri="{FF2B5EF4-FFF2-40B4-BE49-F238E27FC236}">
                <a16:creationId xmlns:a16="http://schemas.microsoft.com/office/drawing/2014/main" id="{FCE806C4-60BE-E379-D901-61DE9DACF1E1}"/>
              </a:ext>
            </a:extLst>
          </p:cNvPr>
          <p:cNvSpPr/>
          <p:nvPr/>
        </p:nvSpPr>
        <p:spPr>
          <a:xfrm>
            <a:off x="5887027" y="2042354"/>
            <a:ext cx="847996" cy="832405"/>
          </a:xfrm>
          <a:prstGeom prst="ellipse">
            <a:avLst/>
          </a:prstGeom>
          <a:solidFill>
            <a:srgbClr val="FFFFFF"/>
          </a:solidFill>
          <a:ln w="9525" cap="flat" cmpd="sng">
            <a:solidFill>
              <a:srgbClr val="97A4FF"/>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defTabSz="1219170" rtl="1"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ysClr val="windowText" lastClr="000000"/>
                </a:solidFill>
                <a:effectLst/>
                <a:uLnTx/>
                <a:uFillTx/>
                <a:latin typeface="Samim" panose="020B0603030804020204" pitchFamily="34" charset="0"/>
                <a:ea typeface="Samim" panose="020B0603030804020204" pitchFamily="34" charset="0"/>
                <a:cs typeface="Samim" panose="020B0603030804020204" pitchFamily="34" charset="0"/>
              </a:rPr>
              <a:t>3</a:t>
            </a:r>
            <a:endParaRPr kumimoji="0" sz="1800" b="1" i="0" u="none" strike="noStrike" kern="0" cap="none" spc="0" normalizeH="0" baseline="0" noProof="0" dirty="0">
              <a:ln>
                <a:noFill/>
              </a:ln>
              <a:solidFill>
                <a:sysClr val="windowText" lastClr="000000"/>
              </a:solidFill>
              <a:effectLst/>
              <a:uLnTx/>
              <a:uFillTx/>
              <a:latin typeface="Samim" panose="020B0603030804020204" pitchFamily="34" charset="0"/>
              <a:ea typeface="Samim" panose="020B0603030804020204" pitchFamily="34" charset="0"/>
              <a:cs typeface="Samim" panose="020B0603030804020204" pitchFamily="34" charset="0"/>
            </a:endParaRPr>
          </a:p>
        </p:txBody>
      </p:sp>
      <p:grpSp>
        <p:nvGrpSpPr>
          <p:cNvPr id="77" name="Google Shape;1265;p40">
            <a:extLst>
              <a:ext uri="{FF2B5EF4-FFF2-40B4-BE49-F238E27FC236}">
                <a16:creationId xmlns:a16="http://schemas.microsoft.com/office/drawing/2014/main" id="{69A83578-00A3-508B-9979-451D5723BD46}"/>
              </a:ext>
            </a:extLst>
          </p:cNvPr>
          <p:cNvGrpSpPr/>
          <p:nvPr/>
        </p:nvGrpSpPr>
        <p:grpSpPr>
          <a:xfrm>
            <a:off x="3298384" y="2736548"/>
            <a:ext cx="1828800" cy="3779947"/>
            <a:chOff x="7054700" y="3145676"/>
            <a:chExt cx="1371600" cy="1462799"/>
          </a:xfrm>
        </p:grpSpPr>
        <p:sp>
          <p:nvSpPr>
            <p:cNvPr id="78" name="Google Shape;1266;p40">
              <a:extLst>
                <a:ext uri="{FF2B5EF4-FFF2-40B4-BE49-F238E27FC236}">
                  <a16:creationId xmlns:a16="http://schemas.microsoft.com/office/drawing/2014/main" id="{1E297A7A-F0A3-549B-E7B9-103FD80F6CE1}"/>
                </a:ext>
              </a:extLst>
            </p:cNvPr>
            <p:cNvSpPr txBox="1"/>
            <p:nvPr/>
          </p:nvSpPr>
          <p:spPr>
            <a:xfrm>
              <a:off x="7054700" y="3145676"/>
              <a:ext cx="1371600" cy="322132"/>
            </a:xfrm>
            <a:prstGeom prst="rect">
              <a:avLst/>
            </a:prstGeom>
            <a:solidFill>
              <a:srgbClr val="E5E8FF"/>
            </a:solidFill>
            <a:ln w="9525" cap="flat" cmpd="sng">
              <a:solidFill>
                <a:srgbClr val="97A4FF"/>
              </a:solidFill>
              <a:prstDash val="solid"/>
              <a:round/>
              <a:headEnd type="none" w="sm" len="sm"/>
              <a:tailEnd type="none" w="sm" len="sm"/>
            </a:ln>
          </p:spPr>
          <p:txBody>
            <a:bodyPr spcFirstLastPara="1" wrap="square" lIns="121900" tIns="121900" rIns="121900" bIns="121900" anchor="b"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ar-SA" sz="1800" b="1" i="0" u="none" strike="noStrike" kern="0" cap="none" spc="0" normalizeH="0" baseline="0" noProof="0" dirty="0">
                  <a:ln>
                    <a:noFill/>
                  </a:ln>
                  <a:solidFill>
                    <a:srgbClr val="0070C0"/>
                  </a:solidFill>
                  <a:effectLst/>
                  <a:uLnTx/>
                  <a:uFillTx/>
                  <a:latin typeface="Samim" panose="020B0603030804020204" pitchFamily="34" charset="0"/>
                  <a:ea typeface="Samim" panose="020B0603030804020204" pitchFamily="34" charset="0"/>
                  <a:cs typeface="Samim" panose="020B0603030804020204" pitchFamily="34" charset="0"/>
                  <a:sym typeface="Arial"/>
                </a:rPr>
                <a:t>دعم ومساندة المدرسة في:</a:t>
              </a:r>
              <a:endParaRPr kumimoji="0" lang="ar-SA" sz="1800" b="1" i="0" u="none" strike="noStrike" kern="0" cap="none" spc="0" normalizeH="0" baseline="0" noProof="0" dirty="0">
                <a:ln>
                  <a:noFill/>
                </a:ln>
                <a:solidFill>
                  <a:srgbClr val="0070C0"/>
                </a:solidFill>
                <a:effectLst/>
                <a:uLnTx/>
                <a:uFillTx/>
                <a:latin typeface="Samim" panose="020B0603030804020204" pitchFamily="34" charset="0"/>
                <a:ea typeface="Samim" panose="020B0603030804020204" pitchFamily="34" charset="0"/>
                <a:cs typeface="Samim" panose="020B0603030804020204" pitchFamily="34" charset="0"/>
                <a:sym typeface="Quicksand"/>
              </a:endParaRPr>
            </a:p>
          </p:txBody>
        </p:sp>
        <p:sp>
          <p:nvSpPr>
            <p:cNvPr id="79" name="Google Shape;1267;p40">
              <a:extLst>
                <a:ext uri="{FF2B5EF4-FFF2-40B4-BE49-F238E27FC236}">
                  <a16:creationId xmlns:a16="http://schemas.microsoft.com/office/drawing/2014/main" id="{8C421383-72CA-75CB-216D-AA1161CB0048}"/>
                </a:ext>
              </a:extLst>
            </p:cNvPr>
            <p:cNvSpPr txBox="1"/>
            <p:nvPr/>
          </p:nvSpPr>
          <p:spPr>
            <a:xfrm>
              <a:off x="7054700" y="3467808"/>
              <a:ext cx="1371600" cy="1140667"/>
            </a:xfrm>
            <a:prstGeom prst="rect">
              <a:avLst/>
            </a:prstGeom>
            <a:noFill/>
            <a:ln w="9525" cap="flat" cmpd="sng">
              <a:solidFill>
                <a:srgbClr val="97A4FF"/>
              </a:solidFill>
              <a:prstDash val="solid"/>
              <a:round/>
              <a:headEnd type="none" w="sm" len="sm"/>
              <a:tailEnd type="none" w="sm" len="sm"/>
            </a:ln>
          </p:spPr>
          <p:txBody>
            <a:bodyPr spcFirstLastPara="1" wrap="square" lIns="73133" tIns="60933" rIns="73133" bIns="0" anchor="t" anchorCtr="0">
              <a:noAutofit/>
            </a:bodyPr>
            <a:lstStyle/>
            <a:p>
              <a:pPr marL="0" marR="0" lvl="0" indent="0" algn="justLow" defTabSz="914400" rtl="1" eaLnBrk="1" fontAlgn="auto" latinLnBrk="0" hangingPunct="1">
                <a:lnSpc>
                  <a:spcPct val="115000"/>
                </a:lnSpc>
                <a:spcBef>
                  <a:spcPts val="0"/>
                </a:spcBef>
                <a:spcAft>
                  <a:spcPts val="0"/>
                </a:spcAft>
                <a:buClrTx/>
                <a:buSzTx/>
                <a:buFontTx/>
                <a:buNone/>
                <a:tabLst/>
                <a:defRPr/>
              </a:pPr>
              <a:r>
                <a:rPr kumimoji="0" lang="ar-SA" sz="2000" b="1"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في الرفع والإبلاغ عن كل ما يعيق تحقيق المعايير في مجال البيئة المدرسية (شركة تطوير، إدارة التعليم، وزارة التعليم)</a:t>
              </a:r>
              <a:endParaRPr kumimoji="0" lang="en-US" sz="2000" b="1"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grpSp>
      <p:sp>
        <p:nvSpPr>
          <p:cNvPr id="80" name="Google Shape;1275;p40">
            <a:extLst>
              <a:ext uri="{FF2B5EF4-FFF2-40B4-BE49-F238E27FC236}">
                <a16:creationId xmlns:a16="http://schemas.microsoft.com/office/drawing/2014/main" id="{16F0BC6A-BB5A-6090-1C94-ACB2A4E6DC6F}"/>
              </a:ext>
            </a:extLst>
          </p:cNvPr>
          <p:cNvSpPr/>
          <p:nvPr/>
        </p:nvSpPr>
        <p:spPr>
          <a:xfrm>
            <a:off x="3774792" y="2042354"/>
            <a:ext cx="847996" cy="832405"/>
          </a:xfrm>
          <a:prstGeom prst="ellipse">
            <a:avLst/>
          </a:prstGeom>
          <a:solidFill>
            <a:srgbClr val="FFFFFF"/>
          </a:solidFill>
          <a:ln w="9525" cap="flat" cmpd="sng">
            <a:solidFill>
              <a:srgbClr val="97A4FF"/>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defTabSz="1219170" rtl="1"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ysClr val="windowText" lastClr="000000"/>
                </a:solidFill>
                <a:effectLst/>
                <a:uLnTx/>
                <a:uFillTx/>
                <a:latin typeface="Samim" panose="020B0603030804020204" pitchFamily="34" charset="0"/>
                <a:ea typeface="Samim" panose="020B0603030804020204" pitchFamily="34" charset="0"/>
                <a:cs typeface="Samim" panose="020B0603030804020204" pitchFamily="34" charset="0"/>
              </a:rPr>
              <a:t>4</a:t>
            </a:r>
            <a:endParaRPr kumimoji="0" sz="1800" b="1" i="0" u="none" strike="noStrike" kern="0" cap="none" spc="0" normalizeH="0" baseline="0" noProof="0" dirty="0">
              <a:ln>
                <a:noFill/>
              </a:ln>
              <a:solidFill>
                <a:sysClr val="windowText" lastClr="000000"/>
              </a:solidFill>
              <a:effectLst/>
              <a:uLnTx/>
              <a:uFillTx/>
              <a:latin typeface="Samim" panose="020B0603030804020204" pitchFamily="34" charset="0"/>
              <a:ea typeface="Samim" panose="020B0603030804020204" pitchFamily="34" charset="0"/>
              <a:cs typeface="Samim" panose="020B0603030804020204" pitchFamily="34" charset="0"/>
            </a:endParaRPr>
          </a:p>
        </p:txBody>
      </p:sp>
      <p:grpSp>
        <p:nvGrpSpPr>
          <p:cNvPr id="85" name="Google Shape;1265;p40">
            <a:extLst>
              <a:ext uri="{FF2B5EF4-FFF2-40B4-BE49-F238E27FC236}">
                <a16:creationId xmlns:a16="http://schemas.microsoft.com/office/drawing/2014/main" id="{D6F3AEA1-A55E-15A4-4D3F-AE7A4640C04A}"/>
              </a:ext>
            </a:extLst>
          </p:cNvPr>
          <p:cNvGrpSpPr/>
          <p:nvPr/>
        </p:nvGrpSpPr>
        <p:grpSpPr>
          <a:xfrm>
            <a:off x="1186149" y="2736548"/>
            <a:ext cx="1828800" cy="3779947"/>
            <a:chOff x="7054700" y="3145676"/>
            <a:chExt cx="1371600" cy="1462799"/>
          </a:xfrm>
        </p:grpSpPr>
        <p:sp>
          <p:nvSpPr>
            <p:cNvPr id="86" name="Google Shape;1266;p40">
              <a:extLst>
                <a:ext uri="{FF2B5EF4-FFF2-40B4-BE49-F238E27FC236}">
                  <a16:creationId xmlns:a16="http://schemas.microsoft.com/office/drawing/2014/main" id="{8812F253-0CB1-1A62-5A3F-D36E68BAEB96}"/>
                </a:ext>
              </a:extLst>
            </p:cNvPr>
            <p:cNvSpPr txBox="1"/>
            <p:nvPr/>
          </p:nvSpPr>
          <p:spPr>
            <a:xfrm>
              <a:off x="7054700" y="3145676"/>
              <a:ext cx="1371600" cy="322132"/>
            </a:xfrm>
            <a:prstGeom prst="rect">
              <a:avLst/>
            </a:prstGeom>
            <a:solidFill>
              <a:srgbClr val="E5E8FF"/>
            </a:solidFill>
            <a:ln w="9525" cap="flat" cmpd="sng">
              <a:solidFill>
                <a:srgbClr val="97A4FF"/>
              </a:solidFill>
              <a:prstDash val="solid"/>
              <a:round/>
              <a:headEnd type="none" w="sm" len="sm"/>
              <a:tailEnd type="none" w="sm" len="sm"/>
            </a:ln>
          </p:spPr>
          <p:txBody>
            <a:bodyPr spcFirstLastPara="1" wrap="square" lIns="121900" tIns="121900" rIns="121900" bIns="121900" anchor="b"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ar-SA" sz="1800" b="1" i="0" u="none" strike="noStrike" kern="0" cap="none" spc="0" normalizeH="0" baseline="0" noProof="0" dirty="0">
                  <a:ln>
                    <a:noFill/>
                  </a:ln>
                  <a:solidFill>
                    <a:srgbClr val="0070C0"/>
                  </a:solidFill>
                  <a:effectLst/>
                  <a:uLnTx/>
                  <a:uFillTx/>
                  <a:latin typeface="Samim" panose="020B0603030804020204" pitchFamily="34" charset="0"/>
                  <a:ea typeface="Samim" panose="020B0603030804020204" pitchFamily="34" charset="0"/>
                  <a:cs typeface="Samim" panose="020B0603030804020204" pitchFamily="34" charset="0"/>
                  <a:sym typeface="Arial"/>
                </a:rPr>
                <a:t>دعم ومساندة المدرسة في:</a:t>
              </a:r>
              <a:endParaRPr kumimoji="0" lang="ar-SA" sz="1800" b="1" i="0" u="none" strike="noStrike" kern="0" cap="none" spc="0" normalizeH="0" baseline="0" noProof="0" dirty="0">
                <a:ln>
                  <a:noFill/>
                </a:ln>
                <a:solidFill>
                  <a:srgbClr val="0070C0"/>
                </a:solidFill>
                <a:effectLst/>
                <a:uLnTx/>
                <a:uFillTx/>
                <a:latin typeface="Samim" panose="020B0603030804020204" pitchFamily="34" charset="0"/>
                <a:ea typeface="Samim" panose="020B0603030804020204" pitchFamily="34" charset="0"/>
                <a:cs typeface="Samim" panose="020B0603030804020204" pitchFamily="34" charset="0"/>
                <a:sym typeface="Quicksand"/>
              </a:endParaRPr>
            </a:p>
          </p:txBody>
        </p:sp>
        <p:sp>
          <p:nvSpPr>
            <p:cNvPr id="87" name="Google Shape;1267;p40">
              <a:extLst>
                <a:ext uri="{FF2B5EF4-FFF2-40B4-BE49-F238E27FC236}">
                  <a16:creationId xmlns:a16="http://schemas.microsoft.com/office/drawing/2014/main" id="{24FF7738-5F7D-B07A-E420-52B55CA1BDA7}"/>
                </a:ext>
              </a:extLst>
            </p:cNvPr>
            <p:cNvSpPr txBox="1"/>
            <p:nvPr/>
          </p:nvSpPr>
          <p:spPr>
            <a:xfrm>
              <a:off x="7054700" y="3467808"/>
              <a:ext cx="1371600" cy="1140667"/>
            </a:xfrm>
            <a:prstGeom prst="rect">
              <a:avLst/>
            </a:prstGeom>
            <a:noFill/>
            <a:ln w="9525" cap="flat" cmpd="sng">
              <a:solidFill>
                <a:srgbClr val="97A4FF"/>
              </a:solidFill>
              <a:prstDash val="solid"/>
              <a:round/>
              <a:headEnd type="none" w="sm" len="sm"/>
              <a:tailEnd type="none" w="sm" len="sm"/>
            </a:ln>
          </p:spPr>
          <p:txBody>
            <a:bodyPr spcFirstLastPara="1" wrap="square" lIns="73133" tIns="60933" rIns="73133" bIns="0" anchor="t" anchorCtr="0">
              <a:noAutofit/>
            </a:bodyPr>
            <a:lstStyle/>
            <a:p>
              <a:pPr marL="0" marR="0" lvl="0" indent="0" algn="justLow" defTabSz="914400" rtl="1" eaLnBrk="1" fontAlgn="auto" latinLnBrk="0" hangingPunct="1">
                <a:lnSpc>
                  <a:spcPct val="115000"/>
                </a:lnSpc>
                <a:spcBef>
                  <a:spcPts val="0"/>
                </a:spcBef>
                <a:spcAft>
                  <a:spcPts val="0"/>
                </a:spcAft>
                <a:buClrTx/>
                <a:buSzTx/>
                <a:buFontTx/>
                <a:buNone/>
                <a:tabLst/>
                <a:defRPr/>
              </a:pPr>
              <a:r>
                <a:rPr kumimoji="0" lang="ar-SA" sz="2000" b="1"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البحث عن حلول ومعالجات مع الجهات ذات العلاقة فيما يخص معوقات التطبيق في مجال البيئة المدرسية.</a:t>
              </a:r>
              <a:endParaRPr kumimoji="0" lang="en-US" sz="2000" b="1"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grpSp>
      <p:sp>
        <p:nvSpPr>
          <p:cNvPr id="88" name="Google Shape;1275;p40">
            <a:extLst>
              <a:ext uri="{FF2B5EF4-FFF2-40B4-BE49-F238E27FC236}">
                <a16:creationId xmlns:a16="http://schemas.microsoft.com/office/drawing/2014/main" id="{2EBF4DD4-0ECA-D30E-FB25-F9CC6F411A09}"/>
              </a:ext>
            </a:extLst>
          </p:cNvPr>
          <p:cNvSpPr/>
          <p:nvPr/>
        </p:nvSpPr>
        <p:spPr>
          <a:xfrm>
            <a:off x="1662558" y="2042354"/>
            <a:ext cx="847996" cy="832405"/>
          </a:xfrm>
          <a:prstGeom prst="ellipse">
            <a:avLst/>
          </a:prstGeom>
          <a:solidFill>
            <a:srgbClr val="FFFFFF"/>
          </a:solidFill>
          <a:ln w="9525" cap="flat" cmpd="sng">
            <a:solidFill>
              <a:srgbClr val="97A4FF"/>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defTabSz="1219170" rtl="1"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ysClr val="windowText" lastClr="000000"/>
                </a:solidFill>
                <a:effectLst/>
                <a:uLnTx/>
                <a:uFillTx/>
                <a:latin typeface="Samim" panose="020B0603030804020204" pitchFamily="34" charset="0"/>
                <a:ea typeface="Samim" panose="020B0603030804020204" pitchFamily="34" charset="0"/>
                <a:cs typeface="Samim" panose="020B0603030804020204" pitchFamily="34" charset="0"/>
              </a:rPr>
              <a:t>5</a:t>
            </a:r>
            <a:endParaRPr kumimoji="0" sz="1800" b="1" i="0" u="none" strike="noStrike" kern="0" cap="none" spc="0" normalizeH="0" baseline="0" noProof="0" dirty="0">
              <a:ln>
                <a:noFill/>
              </a:ln>
              <a:solidFill>
                <a:sysClr val="windowText" lastClr="000000"/>
              </a:solidFill>
              <a:effectLst/>
              <a:uLnTx/>
              <a:uFillTx/>
              <a:latin typeface="Samim" panose="020B0603030804020204" pitchFamily="34" charset="0"/>
              <a:ea typeface="Samim" panose="020B0603030804020204" pitchFamily="34" charset="0"/>
              <a:cs typeface="Samim" panose="020B0603030804020204" pitchFamily="34" charset="0"/>
            </a:endParaRPr>
          </a:p>
        </p:txBody>
      </p:sp>
    </p:spTree>
    <p:extLst>
      <p:ext uri="{BB962C8B-B14F-4D97-AF65-F5344CB8AC3E}">
        <p14:creationId xmlns:p14="http://schemas.microsoft.com/office/powerpoint/2010/main" val="682165120"/>
      </p:ext>
    </p:extLst>
  </p:cSld>
  <p:clrMapOvr>
    <a:masterClrMapping/>
  </p:clrMapOvr>
  <mc:AlternateContent xmlns:mc="http://schemas.openxmlformats.org/markup-compatibility/2006" xmlns:p14="http://schemas.microsoft.com/office/powerpoint/2010/main">
    <mc:Choice Requires="p14">
      <p:transition spd="slow" p14:dur="1200">
        <p14:prism dir="r"/>
      </p:transition>
    </mc:Choice>
    <mc:Fallback xmlns="">
      <p:transition spd="slow">
        <p:fade/>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oogle Shape;1265;p40">
            <a:extLst>
              <a:ext uri="{FF2B5EF4-FFF2-40B4-BE49-F238E27FC236}">
                <a16:creationId xmlns:a16="http://schemas.microsoft.com/office/drawing/2014/main" id="{24CD3DF9-1E18-6C34-80FF-721E25AD2C8B}"/>
              </a:ext>
            </a:extLst>
          </p:cNvPr>
          <p:cNvGrpSpPr/>
          <p:nvPr/>
        </p:nvGrpSpPr>
        <p:grpSpPr>
          <a:xfrm>
            <a:off x="9630490" y="2732497"/>
            <a:ext cx="1828800" cy="3783998"/>
            <a:chOff x="7054700" y="3145676"/>
            <a:chExt cx="1371600" cy="1462799"/>
          </a:xfrm>
        </p:grpSpPr>
        <p:sp>
          <p:nvSpPr>
            <p:cNvPr id="16" name="Google Shape;1266;p40">
              <a:extLst>
                <a:ext uri="{FF2B5EF4-FFF2-40B4-BE49-F238E27FC236}">
                  <a16:creationId xmlns:a16="http://schemas.microsoft.com/office/drawing/2014/main" id="{6D4DE6B1-9CFC-8709-455D-B294FEC122C5}"/>
                </a:ext>
              </a:extLst>
            </p:cNvPr>
            <p:cNvSpPr txBox="1"/>
            <p:nvPr/>
          </p:nvSpPr>
          <p:spPr>
            <a:xfrm>
              <a:off x="7054700" y="3145676"/>
              <a:ext cx="1371600" cy="320221"/>
            </a:xfrm>
            <a:prstGeom prst="rect">
              <a:avLst/>
            </a:prstGeom>
            <a:solidFill>
              <a:srgbClr val="E5E8FF"/>
            </a:solidFill>
            <a:ln w="9525" cap="flat" cmpd="sng">
              <a:solidFill>
                <a:srgbClr val="97A4FF"/>
              </a:solidFill>
              <a:prstDash val="solid"/>
              <a:round/>
              <a:headEnd type="none" w="sm" len="sm"/>
              <a:tailEnd type="none" w="sm" len="sm"/>
            </a:ln>
          </p:spPr>
          <p:txBody>
            <a:bodyPr spcFirstLastPara="1" wrap="square" lIns="121900" tIns="121900" rIns="121900" bIns="121900" anchor="b"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ar-SA" sz="1800" b="1" i="0" u="none" strike="noStrike" kern="0" cap="none" spc="0" normalizeH="0" baseline="0" noProof="0" dirty="0">
                  <a:ln>
                    <a:noFill/>
                  </a:ln>
                  <a:solidFill>
                    <a:srgbClr val="0070C0"/>
                  </a:solidFill>
                  <a:effectLst/>
                  <a:uLnTx/>
                  <a:uFillTx/>
                  <a:latin typeface="Samim" panose="020B0603030804020204" pitchFamily="34" charset="0"/>
                  <a:ea typeface="Samim" panose="020B0603030804020204" pitchFamily="34" charset="0"/>
                  <a:cs typeface="Samim" panose="020B0603030804020204" pitchFamily="34" charset="0"/>
                  <a:sym typeface="Arial"/>
                </a:rPr>
                <a:t>دعم ومساندة المدرسة :</a:t>
              </a:r>
              <a:endParaRPr kumimoji="0" lang="ar-SA" sz="1800" b="1" i="0" u="none" strike="noStrike" kern="0" cap="none" spc="0" normalizeH="0" baseline="0" noProof="0" dirty="0">
                <a:ln>
                  <a:noFill/>
                </a:ln>
                <a:solidFill>
                  <a:srgbClr val="0070C0"/>
                </a:solidFill>
                <a:effectLst/>
                <a:uLnTx/>
                <a:uFillTx/>
                <a:latin typeface="Samim" panose="020B0603030804020204" pitchFamily="34" charset="0"/>
                <a:ea typeface="Samim" panose="020B0603030804020204" pitchFamily="34" charset="0"/>
                <a:cs typeface="Samim" panose="020B0603030804020204" pitchFamily="34" charset="0"/>
                <a:sym typeface="Quicksand"/>
              </a:endParaRPr>
            </a:p>
          </p:txBody>
        </p:sp>
        <p:sp>
          <p:nvSpPr>
            <p:cNvPr id="17" name="Google Shape;1267;p40">
              <a:extLst>
                <a:ext uri="{FF2B5EF4-FFF2-40B4-BE49-F238E27FC236}">
                  <a16:creationId xmlns:a16="http://schemas.microsoft.com/office/drawing/2014/main" id="{E242C883-D0CE-5F19-0B68-1992372D184E}"/>
                </a:ext>
              </a:extLst>
            </p:cNvPr>
            <p:cNvSpPr txBox="1"/>
            <p:nvPr/>
          </p:nvSpPr>
          <p:spPr>
            <a:xfrm>
              <a:off x="7054700" y="3469029"/>
              <a:ext cx="1371600" cy="1139446"/>
            </a:xfrm>
            <a:prstGeom prst="rect">
              <a:avLst/>
            </a:prstGeom>
            <a:noFill/>
            <a:ln w="9525" cap="flat" cmpd="sng">
              <a:solidFill>
                <a:srgbClr val="97A4FF"/>
              </a:solidFill>
              <a:prstDash val="solid"/>
              <a:round/>
              <a:headEnd type="none" w="sm" len="sm"/>
              <a:tailEnd type="none" w="sm" len="sm"/>
            </a:ln>
          </p:spPr>
          <p:txBody>
            <a:bodyPr spcFirstLastPara="1" wrap="square" lIns="73133" tIns="60933" rIns="73133" bIns="0" anchor="t" anchorCtr="0">
              <a:noAutofit/>
            </a:bodyPr>
            <a:lstStyle/>
            <a:p>
              <a:pPr marL="0" marR="0" lvl="0" indent="0" algn="justLow" defTabSz="1219170" rtl="1" eaLnBrk="1" fontAlgn="auto" latinLnBrk="0" hangingPunct="1">
                <a:lnSpc>
                  <a:spcPct val="100000"/>
                </a:lnSpc>
                <a:spcBef>
                  <a:spcPts val="0"/>
                </a:spcBef>
                <a:spcAft>
                  <a:spcPts val="0"/>
                </a:spcAft>
                <a:buClrTx/>
                <a:buSzTx/>
                <a:buFontTx/>
                <a:buNone/>
                <a:tabLst/>
                <a:defRPr/>
              </a:pPr>
              <a:r>
                <a:rPr kumimoji="0" lang="ar-SA" sz="2000" b="1" i="0" u="none" strike="noStrike" kern="1200" cap="none" spc="0" normalizeH="0" baseline="0" noProof="0" dirty="0">
                  <a:ln>
                    <a:noFill/>
                  </a:ln>
                  <a:solidFill>
                    <a:prstClr val="black"/>
                  </a:solidFill>
                  <a:effectLst/>
                  <a:uLnTx/>
                  <a:uFillTx/>
                  <a:latin typeface="Sakkal Majalla" panose="02000000000000000000" pitchFamily="2" charset="-78"/>
                  <a:ea typeface="Times New Roman" panose="02020603050405020304" pitchFamily="18" charset="0"/>
                  <a:cs typeface="Sakkal Majalla" panose="02000000000000000000" pitchFamily="2" charset="-78"/>
                </a:rPr>
                <a:t>لتطوير أدوار قيادية مدرسية جديدة تحت إشراف مدير المدرسة بالاستفادة من المعلمين المتميزين لإثراء زملائهم المعلمين وتشجيع التطوير المهني.</a:t>
              </a:r>
            </a:p>
          </p:txBody>
        </p:sp>
      </p:grpSp>
      <p:grpSp>
        <p:nvGrpSpPr>
          <p:cNvPr id="18" name="Google Shape;1268;p40">
            <a:extLst>
              <a:ext uri="{FF2B5EF4-FFF2-40B4-BE49-F238E27FC236}">
                <a16:creationId xmlns:a16="http://schemas.microsoft.com/office/drawing/2014/main" id="{45305D8A-1F32-BFC4-7A49-93848032F3CC}"/>
              </a:ext>
            </a:extLst>
          </p:cNvPr>
          <p:cNvGrpSpPr/>
          <p:nvPr/>
        </p:nvGrpSpPr>
        <p:grpSpPr>
          <a:xfrm>
            <a:off x="3290862" y="439788"/>
            <a:ext cx="6055231" cy="1038052"/>
            <a:chOff x="2299978" y="1115900"/>
            <a:chExt cx="4541423" cy="1142099"/>
          </a:xfrm>
        </p:grpSpPr>
        <p:sp>
          <p:nvSpPr>
            <p:cNvPr id="19" name="Google Shape;1269;p40">
              <a:extLst>
                <a:ext uri="{FF2B5EF4-FFF2-40B4-BE49-F238E27FC236}">
                  <a16:creationId xmlns:a16="http://schemas.microsoft.com/office/drawing/2014/main" id="{730F3D50-B39D-86BF-8B96-C0BD69058735}"/>
                </a:ext>
              </a:extLst>
            </p:cNvPr>
            <p:cNvSpPr txBox="1"/>
            <p:nvPr/>
          </p:nvSpPr>
          <p:spPr>
            <a:xfrm flipH="1">
              <a:off x="2299978" y="1115900"/>
              <a:ext cx="4541400" cy="501900"/>
            </a:xfrm>
            <a:prstGeom prst="rect">
              <a:avLst/>
            </a:prstGeom>
            <a:solidFill>
              <a:srgbClr val="E5E8FF"/>
            </a:solidFill>
            <a:ln w="9525" cap="flat" cmpd="sng">
              <a:solidFill>
                <a:srgbClr val="97A4FF"/>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ar-SA" sz="2400" b="1" i="0" u="none" strike="noStrike" kern="0" cap="none" spc="0" normalizeH="0" baseline="0" noProof="0" dirty="0">
                  <a:ln>
                    <a:noFill/>
                  </a:ln>
                  <a:solidFill>
                    <a:srgbClr val="01083A"/>
                  </a:solidFill>
                  <a:effectLst/>
                  <a:uLnTx/>
                  <a:uFillTx/>
                  <a:latin typeface="Sakkal Majalla" panose="02000000000000000000" pitchFamily="2" charset="-78"/>
                  <a:ea typeface="Samim" panose="020B0603030804020204" pitchFamily="34" charset="0"/>
                  <a:cs typeface="Sakkal Majalla" panose="02000000000000000000" pitchFamily="2" charset="-78"/>
                  <a:sym typeface="Josefin Sans"/>
                </a:rPr>
                <a:t>أدوار فريق التحسين والتطوير </a:t>
              </a:r>
            </a:p>
          </p:txBody>
        </p:sp>
        <p:sp>
          <p:nvSpPr>
            <p:cNvPr id="20" name="Google Shape;1270;p40">
              <a:extLst>
                <a:ext uri="{FF2B5EF4-FFF2-40B4-BE49-F238E27FC236}">
                  <a16:creationId xmlns:a16="http://schemas.microsoft.com/office/drawing/2014/main" id="{BE68E7FD-B5C7-9C97-CF13-DBD698C539C3}"/>
                </a:ext>
              </a:extLst>
            </p:cNvPr>
            <p:cNvSpPr txBox="1"/>
            <p:nvPr/>
          </p:nvSpPr>
          <p:spPr>
            <a:xfrm flipH="1">
              <a:off x="2300001" y="1617799"/>
              <a:ext cx="4541400" cy="640200"/>
            </a:xfrm>
            <a:prstGeom prst="rect">
              <a:avLst/>
            </a:prstGeom>
            <a:noFill/>
            <a:ln w="9525" cap="flat" cmpd="sng">
              <a:solidFill>
                <a:srgbClr val="97A4FF"/>
              </a:solidFill>
              <a:prstDash val="solid"/>
              <a:round/>
              <a:headEnd type="none" w="sm" len="sm"/>
              <a:tailEnd type="none" w="sm" len="sm"/>
            </a:ln>
          </p:spPr>
          <p:txBody>
            <a:bodyPr spcFirstLastPara="1" wrap="square" lIns="121900" tIns="121900" rIns="121900" bIns="121900" anchor="t" anchorCtr="0">
              <a:noAutofit/>
            </a:bodyPr>
            <a:lstStyle/>
            <a:p>
              <a:pPr marL="0" marR="0" lvl="0" indent="0" algn="ctr" defTabSz="1219170" rtl="1" eaLnBrk="1" fontAlgn="auto" latinLnBrk="0" hangingPunct="1">
                <a:lnSpc>
                  <a:spcPct val="100000"/>
                </a:lnSpc>
                <a:spcBef>
                  <a:spcPts val="0"/>
                </a:spcBef>
                <a:spcAft>
                  <a:spcPts val="0"/>
                </a:spcAft>
                <a:buClrTx/>
                <a:buSzTx/>
                <a:buFontTx/>
                <a:buNone/>
                <a:tabLst/>
                <a:defRPr/>
              </a:pPr>
              <a:r>
                <a:rPr kumimoji="0" lang="ar-SA" sz="2400" b="1" i="0" u="none" strike="noStrike" kern="0" cap="none" spc="0" normalizeH="0" baseline="0" noProof="0" dirty="0">
                  <a:ln>
                    <a:noFill/>
                  </a:ln>
                  <a:solidFill>
                    <a:srgbClr val="000000"/>
                  </a:solidFill>
                  <a:effectLst/>
                  <a:uLnTx/>
                  <a:uFillTx/>
                  <a:latin typeface="Sakkal Majalla" panose="02000000000000000000" pitchFamily="2" charset="-78"/>
                  <a:ea typeface="Samim" panose="020B0603030804020204" pitchFamily="34" charset="0"/>
                  <a:cs typeface="Sakkal Majalla" panose="02000000000000000000" pitchFamily="2" charset="-78"/>
                  <a:sym typeface="Arial"/>
                </a:rPr>
                <a:t>يقوم فريق التحسين والتطوير بالمكتب بالأدوار التالية:</a:t>
              </a:r>
            </a:p>
          </p:txBody>
        </p:sp>
      </p:grpSp>
      <p:sp>
        <p:nvSpPr>
          <p:cNvPr id="25" name="Google Shape;1275;p40">
            <a:extLst>
              <a:ext uri="{FF2B5EF4-FFF2-40B4-BE49-F238E27FC236}">
                <a16:creationId xmlns:a16="http://schemas.microsoft.com/office/drawing/2014/main" id="{A0E14A58-FD4D-F177-7FD2-5CEE9B7E6AA0}"/>
              </a:ext>
            </a:extLst>
          </p:cNvPr>
          <p:cNvSpPr/>
          <p:nvPr/>
        </p:nvSpPr>
        <p:spPr>
          <a:xfrm>
            <a:off x="10106899" y="2038303"/>
            <a:ext cx="847996" cy="832405"/>
          </a:xfrm>
          <a:prstGeom prst="ellipse">
            <a:avLst/>
          </a:prstGeom>
          <a:solidFill>
            <a:srgbClr val="FFFFFF"/>
          </a:solidFill>
          <a:ln w="9525" cap="flat" cmpd="sng">
            <a:solidFill>
              <a:srgbClr val="97A4FF"/>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defTabSz="1219170" rtl="1"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ysClr val="windowText" lastClr="000000"/>
                </a:solidFill>
                <a:effectLst/>
                <a:uLnTx/>
                <a:uFillTx/>
                <a:latin typeface="Samim" panose="020B0603030804020204" pitchFamily="34" charset="0"/>
                <a:ea typeface="Samim" panose="020B0603030804020204" pitchFamily="34" charset="0"/>
                <a:cs typeface="Samim" panose="020B0603030804020204" pitchFamily="34" charset="0"/>
              </a:rPr>
              <a:t>6</a:t>
            </a:r>
            <a:endParaRPr kumimoji="0" sz="1800" b="1" i="0" u="none" strike="noStrike" kern="0" cap="none" spc="0" normalizeH="0" baseline="0" noProof="0" dirty="0">
              <a:ln>
                <a:noFill/>
              </a:ln>
              <a:solidFill>
                <a:sysClr val="windowText" lastClr="000000"/>
              </a:solidFill>
              <a:effectLst/>
              <a:uLnTx/>
              <a:uFillTx/>
              <a:latin typeface="Samim" panose="020B0603030804020204" pitchFamily="34" charset="0"/>
              <a:ea typeface="Samim" panose="020B0603030804020204" pitchFamily="34" charset="0"/>
              <a:cs typeface="Samim" panose="020B0603030804020204" pitchFamily="34" charset="0"/>
            </a:endParaRPr>
          </a:p>
        </p:txBody>
      </p:sp>
      <p:cxnSp>
        <p:nvCxnSpPr>
          <p:cNvPr id="51" name="Google Shape;1301;p40">
            <a:extLst>
              <a:ext uri="{FF2B5EF4-FFF2-40B4-BE49-F238E27FC236}">
                <a16:creationId xmlns:a16="http://schemas.microsoft.com/office/drawing/2014/main" id="{EBFF35A9-BAAA-3BFF-5F0F-30D8F8417341}"/>
              </a:ext>
            </a:extLst>
          </p:cNvPr>
          <p:cNvCxnSpPr>
            <a:cxnSpLocks/>
            <a:endCxn id="20" idx="2"/>
          </p:cNvCxnSpPr>
          <p:nvPr/>
        </p:nvCxnSpPr>
        <p:spPr>
          <a:xfrm flipV="1">
            <a:off x="2092024" y="1477840"/>
            <a:ext cx="4226469" cy="560463"/>
          </a:xfrm>
          <a:prstGeom prst="bentConnector2">
            <a:avLst/>
          </a:prstGeom>
          <a:noFill/>
          <a:ln w="9525" cap="flat" cmpd="sng">
            <a:solidFill>
              <a:srgbClr val="97A4FF"/>
            </a:solidFill>
            <a:prstDash val="solid"/>
            <a:round/>
            <a:headEnd type="none" w="med" len="med"/>
            <a:tailEnd type="none" w="med" len="med"/>
          </a:ln>
        </p:spPr>
      </p:cxnSp>
      <p:cxnSp>
        <p:nvCxnSpPr>
          <p:cNvPr id="52" name="Google Shape;1302;p40">
            <a:extLst>
              <a:ext uri="{FF2B5EF4-FFF2-40B4-BE49-F238E27FC236}">
                <a16:creationId xmlns:a16="http://schemas.microsoft.com/office/drawing/2014/main" id="{307C2FFB-0B0F-AF93-0A24-96A934467D29}"/>
              </a:ext>
            </a:extLst>
          </p:cNvPr>
          <p:cNvCxnSpPr>
            <a:cxnSpLocks/>
            <a:endCxn id="20" idx="2"/>
          </p:cNvCxnSpPr>
          <p:nvPr/>
        </p:nvCxnSpPr>
        <p:spPr>
          <a:xfrm flipV="1">
            <a:off x="4206141" y="1477840"/>
            <a:ext cx="2112352" cy="560463"/>
          </a:xfrm>
          <a:prstGeom prst="bentConnector2">
            <a:avLst/>
          </a:prstGeom>
          <a:noFill/>
          <a:ln w="9525" cap="flat" cmpd="sng">
            <a:solidFill>
              <a:srgbClr val="97A4FF"/>
            </a:solidFill>
            <a:prstDash val="solid"/>
            <a:round/>
            <a:headEnd type="none" w="med" len="med"/>
            <a:tailEnd type="none" w="med" len="med"/>
          </a:ln>
        </p:spPr>
      </p:cxnSp>
      <p:cxnSp>
        <p:nvCxnSpPr>
          <p:cNvPr id="53" name="Google Shape;1303;p40">
            <a:extLst>
              <a:ext uri="{FF2B5EF4-FFF2-40B4-BE49-F238E27FC236}">
                <a16:creationId xmlns:a16="http://schemas.microsoft.com/office/drawing/2014/main" id="{4ADE0247-F661-9FAD-4774-0FBC3B6FB6E9}"/>
              </a:ext>
            </a:extLst>
          </p:cNvPr>
          <p:cNvCxnSpPr>
            <a:cxnSpLocks/>
            <a:endCxn id="20" idx="2"/>
          </p:cNvCxnSpPr>
          <p:nvPr/>
        </p:nvCxnSpPr>
        <p:spPr>
          <a:xfrm rot="10800000">
            <a:off x="6318494" y="1477840"/>
            <a:ext cx="2122409" cy="548654"/>
          </a:xfrm>
          <a:prstGeom prst="bentConnector2">
            <a:avLst/>
          </a:prstGeom>
          <a:noFill/>
          <a:ln w="9525" cap="flat" cmpd="sng">
            <a:solidFill>
              <a:srgbClr val="97A4FF"/>
            </a:solidFill>
            <a:prstDash val="solid"/>
            <a:round/>
            <a:headEnd type="none" w="med" len="med"/>
            <a:tailEnd type="none" w="med" len="med"/>
          </a:ln>
        </p:spPr>
      </p:cxnSp>
      <p:cxnSp>
        <p:nvCxnSpPr>
          <p:cNvPr id="54" name="Google Shape;1304;p40">
            <a:extLst>
              <a:ext uri="{FF2B5EF4-FFF2-40B4-BE49-F238E27FC236}">
                <a16:creationId xmlns:a16="http://schemas.microsoft.com/office/drawing/2014/main" id="{8137C3F2-94B0-86BF-345A-F70EF55EBFD0}"/>
              </a:ext>
            </a:extLst>
          </p:cNvPr>
          <p:cNvCxnSpPr>
            <a:cxnSpLocks/>
            <a:stCxn id="25" idx="0"/>
            <a:endCxn id="76" idx="0"/>
          </p:cNvCxnSpPr>
          <p:nvPr/>
        </p:nvCxnSpPr>
        <p:spPr>
          <a:xfrm rot="16200000" flipH="1" flipV="1">
            <a:off x="8418935" y="-69608"/>
            <a:ext cx="4051" cy="4219872"/>
          </a:xfrm>
          <a:prstGeom prst="bentConnector3">
            <a:avLst>
              <a:gd name="adj1" fmla="val 0"/>
            </a:avLst>
          </a:prstGeom>
          <a:noFill/>
          <a:ln w="9525" cap="flat" cmpd="sng">
            <a:solidFill>
              <a:srgbClr val="97A4FF"/>
            </a:solidFill>
            <a:prstDash val="solid"/>
            <a:round/>
            <a:headEnd type="none" w="med" len="med"/>
            <a:tailEnd type="none" w="med" len="med"/>
          </a:ln>
        </p:spPr>
      </p:cxnSp>
      <p:cxnSp>
        <p:nvCxnSpPr>
          <p:cNvPr id="55" name="Google Shape;1305;p40">
            <a:extLst>
              <a:ext uri="{FF2B5EF4-FFF2-40B4-BE49-F238E27FC236}">
                <a16:creationId xmlns:a16="http://schemas.microsoft.com/office/drawing/2014/main" id="{BB702A97-B80E-E871-FB99-C513EFE1B13B}"/>
              </a:ext>
            </a:extLst>
          </p:cNvPr>
          <p:cNvCxnSpPr>
            <a:cxnSpLocks/>
            <a:endCxn id="20" idx="2"/>
          </p:cNvCxnSpPr>
          <p:nvPr/>
        </p:nvCxnSpPr>
        <p:spPr>
          <a:xfrm flipH="1" flipV="1">
            <a:off x="6318493" y="1477840"/>
            <a:ext cx="0" cy="360000"/>
          </a:xfrm>
          <a:prstGeom prst="straightConnector1">
            <a:avLst/>
          </a:prstGeom>
          <a:noFill/>
          <a:ln w="9525" cap="flat" cmpd="sng">
            <a:solidFill>
              <a:srgbClr val="97A4FF"/>
            </a:solidFill>
            <a:prstDash val="solid"/>
            <a:round/>
            <a:headEnd type="none" w="med" len="med"/>
            <a:tailEnd type="none" w="med" len="med"/>
          </a:ln>
        </p:spPr>
      </p:cxnSp>
      <p:grpSp>
        <p:nvGrpSpPr>
          <p:cNvPr id="69" name="Google Shape;1265;p40">
            <a:extLst>
              <a:ext uri="{FF2B5EF4-FFF2-40B4-BE49-F238E27FC236}">
                <a16:creationId xmlns:a16="http://schemas.microsoft.com/office/drawing/2014/main" id="{50C4AF71-919F-CEF3-F778-ACFCBE0ED643}"/>
              </a:ext>
            </a:extLst>
          </p:cNvPr>
          <p:cNvGrpSpPr/>
          <p:nvPr/>
        </p:nvGrpSpPr>
        <p:grpSpPr>
          <a:xfrm>
            <a:off x="7522853" y="2736548"/>
            <a:ext cx="1828800" cy="3779947"/>
            <a:chOff x="7054700" y="3145676"/>
            <a:chExt cx="1371600" cy="1462799"/>
          </a:xfrm>
        </p:grpSpPr>
        <p:sp>
          <p:nvSpPr>
            <p:cNvPr id="70" name="Google Shape;1266;p40">
              <a:extLst>
                <a:ext uri="{FF2B5EF4-FFF2-40B4-BE49-F238E27FC236}">
                  <a16:creationId xmlns:a16="http://schemas.microsoft.com/office/drawing/2014/main" id="{CBFE7ADA-E055-C1C6-3702-171C146160EE}"/>
                </a:ext>
              </a:extLst>
            </p:cNvPr>
            <p:cNvSpPr txBox="1"/>
            <p:nvPr/>
          </p:nvSpPr>
          <p:spPr>
            <a:xfrm>
              <a:off x="7054700" y="3145676"/>
              <a:ext cx="1371600" cy="322132"/>
            </a:xfrm>
            <a:prstGeom prst="rect">
              <a:avLst/>
            </a:prstGeom>
            <a:solidFill>
              <a:srgbClr val="E5E8FF"/>
            </a:solidFill>
            <a:ln w="9525" cap="flat" cmpd="sng">
              <a:solidFill>
                <a:srgbClr val="97A4FF"/>
              </a:solidFill>
              <a:prstDash val="solid"/>
              <a:round/>
              <a:headEnd type="none" w="sm" len="sm"/>
              <a:tailEnd type="none" w="sm" len="sm"/>
            </a:ln>
          </p:spPr>
          <p:txBody>
            <a:bodyPr spcFirstLastPara="1" wrap="square" lIns="121900" tIns="121900" rIns="121900" bIns="121900" anchor="b"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ar-SA" sz="1800" b="1" i="0" u="none" strike="noStrike" kern="0" cap="none" spc="0" normalizeH="0" baseline="0" noProof="0" dirty="0">
                  <a:ln>
                    <a:noFill/>
                  </a:ln>
                  <a:solidFill>
                    <a:srgbClr val="0070C0"/>
                  </a:solidFill>
                  <a:effectLst/>
                  <a:uLnTx/>
                  <a:uFillTx/>
                  <a:latin typeface="Samim" panose="020B0603030804020204" pitchFamily="34" charset="0"/>
                  <a:ea typeface="Samim" panose="020B0603030804020204" pitchFamily="34" charset="0"/>
                  <a:cs typeface="Samim" panose="020B0603030804020204" pitchFamily="34" charset="0"/>
                  <a:sym typeface="Arial"/>
                </a:rPr>
                <a:t>دعم ومساندة المدرسة :</a:t>
              </a:r>
              <a:endParaRPr kumimoji="0" lang="ar-SA" sz="1800" b="1" i="0" u="none" strike="noStrike" kern="0" cap="none" spc="0" normalizeH="0" baseline="0" noProof="0" dirty="0">
                <a:ln>
                  <a:noFill/>
                </a:ln>
                <a:solidFill>
                  <a:srgbClr val="0070C0"/>
                </a:solidFill>
                <a:effectLst/>
                <a:uLnTx/>
                <a:uFillTx/>
                <a:latin typeface="Samim" panose="020B0603030804020204" pitchFamily="34" charset="0"/>
                <a:ea typeface="Samim" panose="020B0603030804020204" pitchFamily="34" charset="0"/>
                <a:cs typeface="Samim" panose="020B0603030804020204" pitchFamily="34" charset="0"/>
                <a:sym typeface="Quicksand"/>
              </a:endParaRPr>
            </a:p>
          </p:txBody>
        </p:sp>
        <p:sp>
          <p:nvSpPr>
            <p:cNvPr id="71" name="Google Shape;1267;p40">
              <a:extLst>
                <a:ext uri="{FF2B5EF4-FFF2-40B4-BE49-F238E27FC236}">
                  <a16:creationId xmlns:a16="http://schemas.microsoft.com/office/drawing/2014/main" id="{E056FC60-984F-5ED4-92EE-063E319577A9}"/>
                </a:ext>
              </a:extLst>
            </p:cNvPr>
            <p:cNvSpPr txBox="1"/>
            <p:nvPr/>
          </p:nvSpPr>
          <p:spPr>
            <a:xfrm>
              <a:off x="7054700" y="3467808"/>
              <a:ext cx="1371600" cy="1140667"/>
            </a:xfrm>
            <a:prstGeom prst="rect">
              <a:avLst/>
            </a:prstGeom>
            <a:noFill/>
            <a:ln w="9525" cap="flat" cmpd="sng">
              <a:solidFill>
                <a:srgbClr val="97A4FF"/>
              </a:solidFill>
              <a:prstDash val="solid"/>
              <a:round/>
              <a:headEnd type="none" w="sm" len="sm"/>
              <a:tailEnd type="none" w="sm" len="sm"/>
            </a:ln>
          </p:spPr>
          <p:txBody>
            <a:bodyPr spcFirstLastPara="1" wrap="square" lIns="73133" tIns="60933" rIns="73133" bIns="0" anchor="t" anchorCtr="0">
              <a:noAutofit/>
            </a:bodyPr>
            <a:lstStyle/>
            <a:p>
              <a:pPr marL="0" marR="0" lvl="0" indent="0" algn="justLow" defTabSz="1219170" rtl="1" eaLnBrk="1" fontAlgn="auto" latinLnBrk="0" hangingPunct="1">
                <a:lnSpc>
                  <a:spcPct val="100000"/>
                </a:lnSpc>
                <a:spcBef>
                  <a:spcPts val="0"/>
                </a:spcBef>
                <a:spcAft>
                  <a:spcPts val="0"/>
                </a:spcAft>
                <a:buClrTx/>
                <a:buSzTx/>
                <a:buFontTx/>
                <a:buNone/>
                <a:tabLst/>
                <a:defRPr/>
              </a:pPr>
              <a:r>
                <a:rPr kumimoji="0" lang="ar-SA" sz="2000" b="1" i="0" u="none" strike="noStrike" kern="1200" cap="none" spc="0" normalizeH="0" baseline="0" noProof="0" dirty="0">
                  <a:ln>
                    <a:noFill/>
                  </a:ln>
                  <a:solidFill>
                    <a:prstClr val="black"/>
                  </a:solidFill>
                  <a:effectLst/>
                  <a:uLnTx/>
                  <a:uFillTx/>
                  <a:latin typeface="Sakkal Majalla" panose="02000000000000000000" pitchFamily="2" charset="-78"/>
                  <a:ea typeface="Times New Roman" panose="02020603050405020304" pitchFamily="18" charset="0"/>
                  <a:cs typeface="Sakkal Majalla" panose="02000000000000000000" pitchFamily="2" charset="-78"/>
                </a:rPr>
                <a:t>في توثيق الخبرات والتجارب المدرسية المتميزة ونشرها.</a:t>
              </a:r>
            </a:p>
          </p:txBody>
        </p:sp>
      </p:grpSp>
      <p:sp>
        <p:nvSpPr>
          <p:cNvPr id="72" name="Google Shape;1275;p40">
            <a:extLst>
              <a:ext uri="{FF2B5EF4-FFF2-40B4-BE49-F238E27FC236}">
                <a16:creationId xmlns:a16="http://schemas.microsoft.com/office/drawing/2014/main" id="{7A23F873-FC6A-6EC9-F5BD-835EB6743CBE}"/>
              </a:ext>
            </a:extLst>
          </p:cNvPr>
          <p:cNvSpPr/>
          <p:nvPr/>
        </p:nvSpPr>
        <p:spPr>
          <a:xfrm>
            <a:off x="7999262" y="2042354"/>
            <a:ext cx="847996" cy="832405"/>
          </a:xfrm>
          <a:prstGeom prst="ellipse">
            <a:avLst/>
          </a:prstGeom>
          <a:solidFill>
            <a:srgbClr val="FFFFFF"/>
          </a:solidFill>
          <a:ln w="9525" cap="flat" cmpd="sng">
            <a:solidFill>
              <a:srgbClr val="97A4FF"/>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defTabSz="1219170" rtl="1"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ysClr val="windowText" lastClr="000000"/>
                </a:solidFill>
                <a:effectLst/>
                <a:uLnTx/>
                <a:uFillTx/>
                <a:latin typeface="Samim" panose="020B0603030804020204" pitchFamily="34" charset="0"/>
                <a:ea typeface="Samim" panose="020B0603030804020204" pitchFamily="34" charset="0"/>
                <a:cs typeface="Samim" panose="020B0603030804020204" pitchFamily="34" charset="0"/>
              </a:rPr>
              <a:t>7</a:t>
            </a:r>
            <a:endParaRPr kumimoji="0" sz="1800" b="1" i="0" u="none" strike="noStrike" kern="0" cap="none" spc="0" normalizeH="0" baseline="0" noProof="0" dirty="0">
              <a:ln>
                <a:noFill/>
              </a:ln>
              <a:solidFill>
                <a:sysClr val="windowText" lastClr="000000"/>
              </a:solidFill>
              <a:effectLst/>
              <a:uLnTx/>
              <a:uFillTx/>
              <a:latin typeface="Samim" panose="020B0603030804020204" pitchFamily="34" charset="0"/>
              <a:ea typeface="Samim" panose="020B0603030804020204" pitchFamily="34" charset="0"/>
              <a:cs typeface="Samim" panose="020B0603030804020204" pitchFamily="34" charset="0"/>
            </a:endParaRPr>
          </a:p>
        </p:txBody>
      </p:sp>
      <p:grpSp>
        <p:nvGrpSpPr>
          <p:cNvPr id="73" name="Google Shape;1265;p40">
            <a:extLst>
              <a:ext uri="{FF2B5EF4-FFF2-40B4-BE49-F238E27FC236}">
                <a16:creationId xmlns:a16="http://schemas.microsoft.com/office/drawing/2014/main" id="{7A8E8611-2061-C3CD-6AC5-79B78FC30D20}"/>
              </a:ext>
            </a:extLst>
          </p:cNvPr>
          <p:cNvGrpSpPr/>
          <p:nvPr/>
        </p:nvGrpSpPr>
        <p:grpSpPr>
          <a:xfrm>
            <a:off x="5410618" y="2736549"/>
            <a:ext cx="1828800" cy="3779946"/>
            <a:chOff x="7054700" y="3145676"/>
            <a:chExt cx="1371600" cy="1462800"/>
          </a:xfrm>
        </p:grpSpPr>
        <p:sp>
          <p:nvSpPr>
            <p:cNvPr id="74" name="Google Shape;1266;p40">
              <a:extLst>
                <a:ext uri="{FF2B5EF4-FFF2-40B4-BE49-F238E27FC236}">
                  <a16:creationId xmlns:a16="http://schemas.microsoft.com/office/drawing/2014/main" id="{62A4DBCA-3E2C-9DC5-78EA-BDD8E5358A45}"/>
                </a:ext>
              </a:extLst>
            </p:cNvPr>
            <p:cNvSpPr txBox="1"/>
            <p:nvPr/>
          </p:nvSpPr>
          <p:spPr>
            <a:xfrm>
              <a:off x="7054700" y="3145676"/>
              <a:ext cx="1371600" cy="318996"/>
            </a:xfrm>
            <a:prstGeom prst="rect">
              <a:avLst/>
            </a:prstGeom>
            <a:solidFill>
              <a:srgbClr val="E5E8FF"/>
            </a:solidFill>
            <a:ln w="9525" cap="flat" cmpd="sng">
              <a:solidFill>
                <a:srgbClr val="97A4FF"/>
              </a:solidFill>
              <a:prstDash val="solid"/>
              <a:round/>
              <a:headEnd type="none" w="sm" len="sm"/>
              <a:tailEnd type="none" w="sm" len="sm"/>
            </a:ln>
          </p:spPr>
          <p:txBody>
            <a:bodyPr spcFirstLastPara="1" wrap="square" lIns="121900" tIns="121900" rIns="121900" bIns="121900" anchor="b"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ar-SA" sz="1800" b="1" i="0" u="none" strike="noStrike" kern="0" cap="none" spc="0" normalizeH="0" baseline="0" noProof="0" dirty="0">
                  <a:ln>
                    <a:noFill/>
                  </a:ln>
                  <a:solidFill>
                    <a:srgbClr val="0070C0"/>
                  </a:solidFill>
                  <a:effectLst/>
                  <a:uLnTx/>
                  <a:uFillTx/>
                  <a:latin typeface="Samim" panose="020B0603030804020204" pitchFamily="34" charset="0"/>
                  <a:ea typeface="Samim" panose="020B0603030804020204" pitchFamily="34" charset="0"/>
                  <a:cs typeface="Samim" panose="020B0603030804020204" pitchFamily="34" charset="0"/>
                  <a:sym typeface="Arial"/>
                </a:rPr>
                <a:t>دعم ومساندة المدرسة :</a:t>
              </a:r>
              <a:endParaRPr kumimoji="0" lang="ar-SA" sz="1800" b="1" i="0" u="none" strike="noStrike" kern="0" cap="none" spc="0" normalizeH="0" baseline="0" noProof="0" dirty="0">
                <a:ln>
                  <a:noFill/>
                </a:ln>
                <a:solidFill>
                  <a:srgbClr val="0070C0"/>
                </a:solidFill>
                <a:effectLst/>
                <a:uLnTx/>
                <a:uFillTx/>
                <a:latin typeface="Samim" panose="020B0603030804020204" pitchFamily="34" charset="0"/>
                <a:ea typeface="Samim" panose="020B0603030804020204" pitchFamily="34" charset="0"/>
                <a:cs typeface="Samim" panose="020B0603030804020204" pitchFamily="34" charset="0"/>
                <a:sym typeface="Quicksand"/>
              </a:endParaRPr>
            </a:p>
          </p:txBody>
        </p:sp>
        <p:sp>
          <p:nvSpPr>
            <p:cNvPr id="75" name="Google Shape;1267;p40">
              <a:extLst>
                <a:ext uri="{FF2B5EF4-FFF2-40B4-BE49-F238E27FC236}">
                  <a16:creationId xmlns:a16="http://schemas.microsoft.com/office/drawing/2014/main" id="{8D244E9D-63F3-DBC1-4D5A-92AA2D5F9082}"/>
                </a:ext>
              </a:extLst>
            </p:cNvPr>
            <p:cNvSpPr txBox="1"/>
            <p:nvPr/>
          </p:nvSpPr>
          <p:spPr>
            <a:xfrm>
              <a:off x="7054700" y="3467809"/>
              <a:ext cx="1371600" cy="1140667"/>
            </a:xfrm>
            <a:prstGeom prst="rect">
              <a:avLst/>
            </a:prstGeom>
            <a:noFill/>
            <a:ln w="9525" cap="flat" cmpd="sng">
              <a:solidFill>
                <a:srgbClr val="97A4FF"/>
              </a:solidFill>
              <a:prstDash val="solid"/>
              <a:round/>
              <a:headEnd type="none" w="sm" len="sm"/>
              <a:tailEnd type="none" w="sm" len="sm"/>
            </a:ln>
          </p:spPr>
          <p:txBody>
            <a:bodyPr spcFirstLastPara="1" wrap="square" lIns="73133" tIns="60933" rIns="73133" bIns="0" anchor="t" anchorCtr="0">
              <a:noAutofit/>
            </a:bodyPr>
            <a:lstStyle/>
            <a:p>
              <a:pPr marL="0" marR="0" lvl="0" indent="0" algn="justLow" defTabSz="1219170" rtl="1" eaLnBrk="1" fontAlgn="auto" latinLnBrk="0" hangingPunct="1">
                <a:lnSpc>
                  <a:spcPct val="100000"/>
                </a:lnSpc>
                <a:spcBef>
                  <a:spcPts val="0"/>
                </a:spcBef>
                <a:spcAft>
                  <a:spcPts val="0"/>
                </a:spcAft>
                <a:buClrTx/>
                <a:buSzTx/>
                <a:buFontTx/>
                <a:buNone/>
                <a:tabLst/>
                <a:defRPr/>
              </a:pPr>
              <a:r>
                <a:rPr kumimoji="0" lang="ar-SA" sz="2000" b="1"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تمكين المعلمين من تطوير احتياجاتهم التخصصية ودعمهم من خلال التنسيق مع (منسقي المجتمعات المهنية للمواد العلمية والنظرية داخل المدرسة) .</a:t>
              </a:r>
            </a:p>
          </p:txBody>
        </p:sp>
      </p:grpSp>
      <p:sp>
        <p:nvSpPr>
          <p:cNvPr id="76" name="Google Shape;1275;p40">
            <a:extLst>
              <a:ext uri="{FF2B5EF4-FFF2-40B4-BE49-F238E27FC236}">
                <a16:creationId xmlns:a16="http://schemas.microsoft.com/office/drawing/2014/main" id="{FCE806C4-60BE-E379-D901-61DE9DACF1E1}"/>
              </a:ext>
            </a:extLst>
          </p:cNvPr>
          <p:cNvSpPr/>
          <p:nvPr/>
        </p:nvSpPr>
        <p:spPr>
          <a:xfrm>
            <a:off x="5887027" y="2042354"/>
            <a:ext cx="847996" cy="832405"/>
          </a:xfrm>
          <a:prstGeom prst="ellipse">
            <a:avLst/>
          </a:prstGeom>
          <a:solidFill>
            <a:srgbClr val="FFFFFF"/>
          </a:solidFill>
          <a:ln w="9525" cap="flat" cmpd="sng">
            <a:solidFill>
              <a:srgbClr val="97A4FF"/>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defTabSz="1219170" rtl="1"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ysClr val="windowText" lastClr="000000"/>
                </a:solidFill>
                <a:effectLst/>
                <a:uLnTx/>
                <a:uFillTx/>
                <a:latin typeface="Samim" panose="020B0603030804020204" pitchFamily="34" charset="0"/>
                <a:ea typeface="Samim" panose="020B0603030804020204" pitchFamily="34" charset="0"/>
                <a:cs typeface="Samim" panose="020B0603030804020204" pitchFamily="34" charset="0"/>
              </a:rPr>
              <a:t>8</a:t>
            </a:r>
            <a:endParaRPr kumimoji="0" sz="1800" b="1" i="0" u="none" strike="noStrike" kern="0" cap="none" spc="0" normalizeH="0" baseline="0" noProof="0" dirty="0">
              <a:ln>
                <a:noFill/>
              </a:ln>
              <a:solidFill>
                <a:sysClr val="windowText" lastClr="000000"/>
              </a:solidFill>
              <a:effectLst/>
              <a:uLnTx/>
              <a:uFillTx/>
              <a:latin typeface="Samim" panose="020B0603030804020204" pitchFamily="34" charset="0"/>
              <a:ea typeface="Samim" panose="020B0603030804020204" pitchFamily="34" charset="0"/>
              <a:cs typeface="Samim" panose="020B0603030804020204" pitchFamily="34" charset="0"/>
            </a:endParaRPr>
          </a:p>
        </p:txBody>
      </p:sp>
      <p:grpSp>
        <p:nvGrpSpPr>
          <p:cNvPr id="77" name="Google Shape;1265;p40">
            <a:extLst>
              <a:ext uri="{FF2B5EF4-FFF2-40B4-BE49-F238E27FC236}">
                <a16:creationId xmlns:a16="http://schemas.microsoft.com/office/drawing/2014/main" id="{69A83578-00A3-508B-9979-451D5723BD46}"/>
              </a:ext>
            </a:extLst>
          </p:cNvPr>
          <p:cNvGrpSpPr/>
          <p:nvPr/>
        </p:nvGrpSpPr>
        <p:grpSpPr>
          <a:xfrm>
            <a:off x="3298384" y="2736548"/>
            <a:ext cx="1828800" cy="3779947"/>
            <a:chOff x="7054700" y="3145676"/>
            <a:chExt cx="1371600" cy="1462799"/>
          </a:xfrm>
        </p:grpSpPr>
        <p:sp>
          <p:nvSpPr>
            <p:cNvPr id="78" name="Google Shape;1266;p40">
              <a:extLst>
                <a:ext uri="{FF2B5EF4-FFF2-40B4-BE49-F238E27FC236}">
                  <a16:creationId xmlns:a16="http://schemas.microsoft.com/office/drawing/2014/main" id="{1E297A7A-F0A3-549B-E7B9-103FD80F6CE1}"/>
                </a:ext>
              </a:extLst>
            </p:cNvPr>
            <p:cNvSpPr txBox="1"/>
            <p:nvPr/>
          </p:nvSpPr>
          <p:spPr>
            <a:xfrm>
              <a:off x="7054700" y="3145676"/>
              <a:ext cx="1371600" cy="322132"/>
            </a:xfrm>
            <a:prstGeom prst="rect">
              <a:avLst/>
            </a:prstGeom>
            <a:solidFill>
              <a:srgbClr val="E5E8FF"/>
            </a:solidFill>
            <a:ln w="9525" cap="flat" cmpd="sng">
              <a:solidFill>
                <a:srgbClr val="97A4FF"/>
              </a:solidFill>
              <a:prstDash val="solid"/>
              <a:round/>
              <a:headEnd type="none" w="sm" len="sm"/>
              <a:tailEnd type="none" w="sm" len="sm"/>
            </a:ln>
          </p:spPr>
          <p:txBody>
            <a:bodyPr spcFirstLastPara="1" wrap="square" lIns="121900" tIns="121900" rIns="121900" bIns="121900" anchor="b"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ar-SA" sz="1800" b="1" i="0" u="none" strike="noStrike" kern="0" cap="none" spc="0" normalizeH="0" baseline="0" noProof="0" dirty="0">
                  <a:ln>
                    <a:noFill/>
                  </a:ln>
                  <a:solidFill>
                    <a:srgbClr val="0070C0"/>
                  </a:solidFill>
                  <a:effectLst/>
                  <a:uLnTx/>
                  <a:uFillTx/>
                  <a:latin typeface="Samim" panose="020B0603030804020204" pitchFamily="34" charset="0"/>
                  <a:ea typeface="Samim" panose="020B0603030804020204" pitchFamily="34" charset="0"/>
                  <a:cs typeface="Samim" panose="020B0603030804020204" pitchFamily="34" charset="0"/>
                  <a:sym typeface="Arial"/>
                </a:rPr>
                <a:t>دعم ومساندة المدرسة :</a:t>
              </a:r>
              <a:endParaRPr kumimoji="0" lang="ar-SA" sz="1800" b="1" i="0" u="none" strike="noStrike" kern="0" cap="none" spc="0" normalizeH="0" baseline="0" noProof="0" dirty="0">
                <a:ln>
                  <a:noFill/>
                </a:ln>
                <a:solidFill>
                  <a:srgbClr val="0070C0"/>
                </a:solidFill>
                <a:effectLst/>
                <a:uLnTx/>
                <a:uFillTx/>
                <a:latin typeface="Samim" panose="020B0603030804020204" pitchFamily="34" charset="0"/>
                <a:ea typeface="Samim" panose="020B0603030804020204" pitchFamily="34" charset="0"/>
                <a:cs typeface="Samim" panose="020B0603030804020204" pitchFamily="34" charset="0"/>
                <a:sym typeface="Quicksand"/>
              </a:endParaRPr>
            </a:p>
          </p:txBody>
        </p:sp>
        <p:sp>
          <p:nvSpPr>
            <p:cNvPr id="79" name="Google Shape;1267;p40">
              <a:extLst>
                <a:ext uri="{FF2B5EF4-FFF2-40B4-BE49-F238E27FC236}">
                  <a16:creationId xmlns:a16="http://schemas.microsoft.com/office/drawing/2014/main" id="{8C421383-72CA-75CB-216D-AA1161CB0048}"/>
                </a:ext>
              </a:extLst>
            </p:cNvPr>
            <p:cNvSpPr txBox="1"/>
            <p:nvPr/>
          </p:nvSpPr>
          <p:spPr>
            <a:xfrm>
              <a:off x="7054700" y="3467808"/>
              <a:ext cx="1371600" cy="1140667"/>
            </a:xfrm>
            <a:prstGeom prst="rect">
              <a:avLst/>
            </a:prstGeom>
            <a:noFill/>
            <a:ln w="9525" cap="flat" cmpd="sng">
              <a:solidFill>
                <a:srgbClr val="97A4FF"/>
              </a:solidFill>
              <a:prstDash val="solid"/>
              <a:round/>
              <a:headEnd type="none" w="sm" len="sm"/>
              <a:tailEnd type="none" w="sm" len="sm"/>
            </a:ln>
          </p:spPr>
          <p:txBody>
            <a:bodyPr spcFirstLastPara="1" wrap="square" lIns="73133" tIns="60933" rIns="73133" bIns="0" anchor="t" anchorCtr="0">
              <a:noAutofit/>
            </a:bodyPr>
            <a:lstStyle/>
            <a:p>
              <a:pPr marL="0" marR="0" lvl="0" indent="0" algn="justLow" defTabSz="914400" rtl="1" eaLnBrk="1" fontAlgn="auto" latinLnBrk="0" hangingPunct="1">
                <a:lnSpc>
                  <a:spcPct val="115000"/>
                </a:lnSpc>
                <a:spcBef>
                  <a:spcPts val="0"/>
                </a:spcBef>
                <a:spcAft>
                  <a:spcPts val="0"/>
                </a:spcAft>
                <a:buClrTx/>
                <a:buSzTx/>
                <a:buFontTx/>
                <a:buNone/>
                <a:tabLst/>
                <a:defRPr/>
              </a:pPr>
              <a:r>
                <a:rPr kumimoji="0" lang="ar-SA" sz="2000" b="1"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العمل مع المدرسة في كيفية العناية بالطلاب منخفضي التحصيل ووضع البرامج المناسبة لخصائصهم وأنماط تعلمهم بالتعاون مع معلميهم.</a:t>
              </a:r>
            </a:p>
          </p:txBody>
        </p:sp>
      </p:grpSp>
      <p:sp>
        <p:nvSpPr>
          <p:cNvPr id="80" name="Google Shape;1275;p40">
            <a:extLst>
              <a:ext uri="{FF2B5EF4-FFF2-40B4-BE49-F238E27FC236}">
                <a16:creationId xmlns:a16="http://schemas.microsoft.com/office/drawing/2014/main" id="{16F0BC6A-BB5A-6090-1C94-ACB2A4E6DC6F}"/>
              </a:ext>
            </a:extLst>
          </p:cNvPr>
          <p:cNvSpPr/>
          <p:nvPr/>
        </p:nvSpPr>
        <p:spPr>
          <a:xfrm>
            <a:off x="3774792" y="2042354"/>
            <a:ext cx="847996" cy="832405"/>
          </a:xfrm>
          <a:prstGeom prst="ellipse">
            <a:avLst/>
          </a:prstGeom>
          <a:solidFill>
            <a:srgbClr val="FFFFFF"/>
          </a:solidFill>
          <a:ln w="9525" cap="flat" cmpd="sng">
            <a:solidFill>
              <a:srgbClr val="97A4FF"/>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defTabSz="1219170" rtl="1"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ysClr val="windowText" lastClr="000000"/>
                </a:solidFill>
                <a:effectLst/>
                <a:uLnTx/>
                <a:uFillTx/>
                <a:latin typeface="Samim" panose="020B0603030804020204" pitchFamily="34" charset="0"/>
                <a:ea typeface="Samim" panose="020B0603030804020204" pitchFamily="34" charset="0"/>
                <a:cs typeface="Samim" panose="020B0603030804020204" pitchFamily="34" charset="0"/>
              </a:rPr>
              <a:t>9</a:t>
            </a:r>
            <a:endParaRPr kumimoji="0" sz="1800" b="1" i="0" u="none" strike="noStrike" kern="0" cap="none" spc="0" normalizeH="0" baseline="0" noProof="0" dirty="0">
              <a:ln>
                <a:noFill/>
              </a:ln>
              <a:solidFill>
                <a:sysClr val="windowText" lastClr="000000"/>
              </a:solidFill>
              <a:effectLst/>
              <a:uLnTx/>
              <a:uFillTx/>
              <a:latin typeface="Samim" panose="020B0603030804020204" pitchFamily="34" charset="0"/>
              <a:ea typeface="Samim" panose="020B0603030804020204" pitchFamily="34" charset="0"/>
              <a:cs typeface="Samim" panose="020B0603030804020204" pitchFamily="34" charset="0"/>
            </a:endParaRPr>
          </a:p>
        </p:txBody>
      </p:sp>
      <p:grpSp>
        <p:nvGrpSpPr>
          <p:cNvPr id="85" name="Google Shape;1265;p40">
            <a:extLst>
              <a:ext uri="{FF2B5EF4-FFF2-40B4-BE49-F238E27FC236}">
                <a16:creationId xmlns:a16="http://schemas.microsoft.com/office/drawing/2014/main" id="{D6F3AEA1-A55E-15A4-4D3F-AE7A4640C04A}"/>
              </a:ext>
            </a:extLst>
          </p:cNvPr>
          <p:cNvGrpSpPr/>
          <p:nvPr/>
        </p:nvGrpSpPr>
        <p:grpSpPr>
          <a:xfrm>
            <a:off x="304799" y="2736548"/>
            <a:ext cx="2965597" cy="3779947"/>
            <a:chOff x="6393688" y="3145676"/>
            <a:chExt cx="2032612" cy="1462799"/>
          </a:xfrm>
        </p:grpSpPr>
        <p:sp>
          <p:nvSpPr>
            <p:cNvPr id="86" name="Google Shape;1266;p40">
              <a:extLst>
                <a:ext uri="{FF2B5EF4-FFF2-40B4-BE49-F238E27FC236}">
                  <a16:creationId xmlns:a16="http://schemas.microsoft.com/office/drawing/2014/main" id="{8812F253-0CB1-1A62-5A3F-D36E68BAEB96}"/>
                </a:ext>
              </a:extLst>
            </p:cNvPr>
            <p:cNvSpPr txBox="1"/>
            <p:nvPr/>
          </p:nvSpPr>
          <p:spPr>
            <a:xfrm>
              <a:off x="6393688" y="3145676"/>
              <a:ext cx="2032612" cy="216894"/>
            </a:xfrm>
            <a:prstGeom prst="rect">
              <a:avLst/>
            </a:prstGeom>
            <a:solidFill>
              <a:srgbClr val="E5E8FF"/>
            </a:solidFill>
            <a:ln w="9525" cap="flat" cmpd="sng">
              <a:solidFill>
                <a:srgbClr val="97A4FF"/>
              </a:solidFill>
              <a:prstDash val="solid"/>
              <a:round/>
              <a:headEnd type="none" w="sm" len="sm"/>
              <a:tailEnd type="none" w="sm" len="sm"/>
            </a:ln>
          </p:spPr>
          <p:txBody>
            <a:bodyPr spcFirstLastPara="1" wrap="square" lIns="121900" tIns="121900" rIns="121900" bIns="121900" anchor="b"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ar-SA" sz="1800" b="1" i="0" u="none" strike="noStrike" kern="0" cap="none" spc="0" normalizeH="0" baseline="0" noProof="0" dirty="0">
                  <a:ln>
                    <a:noFill/>
                  </a:ln>
                  <a:solidFill>
                    <a:srgbClr val="0070C0"/>
                  </a:solidFill>
                  <a:effectLst/>
                  <a:uLnTx/>
                  <a:uFillTx/>
                  <a:latin typeface="Samim" panose="020B0603030804020204" pitchFamily="34" charset="0"/>
                  <a:ea typeface="Samim" panose="020B0603030804020204" pitchFamily="34" charset="0"/>
                  <a:cs typeface="Samim" panose="020B0603030804020204" pitchFamily="34" charset="0"/>
                  <a:sym typeface="Arial"/>
                </a:rPr>
                <a:t>دعم ومساندة المدرسة :</a:t>
              </a:r>
              <a:endParaRPr kumimoji="0" lang="ar-SA" sz="1800" b="1" i="0" u="none" strike="noStrike" kern="0" cap="none" spc="0" normalizeH="0" baseline="0" noProof="0" dirty="0">
                <a:ln>
                  <a:noFill/>
                </a:ln>
                <a:solidFill>
                  <a:srgbClr val="0070C0"/>
                </a:solidFill>
                <a:effectLst/>
                <a:uLnTx/>
                <a:uFillTx/>
                <a:latin typeface="Samim" panose="020B0603030804020204" pitchFamily="34" charset="0"/>
                <a:ea typeface="Samim" panose="020B0603030804020204" pitchFamily="34" charset="0"/>
                <a:cs typeface="Samim" panose="020B0603030804020204" pitchFamily="34" charset="0"/>
                <a:sym typeface="Quicksand"/>
              </a:endParaRPr>
            </a:p>
          </p:txBody>
        </p:sp>
        <p:sp>
          <p:nvSpPr>
            <p:cNvPr id="87" name="Google Shape;1267;p40">
              <a:extLst>
                <a:ext uri="{FF2B5EF4-FFF2-40B4-BE49-F238E27FC236}">
                  <a16:creationId xmlns:a16="http://schemas.microsoft.com/office/drawing/2014/main" id="{24FF7738-5F7D-B07A-E420-52B55CA1BDA7}"/>
                </a:ext>
              </a:extLst>
            </p:cNvPr>
            <p:cNvSpPr txBox="1"/>
            <p:nvPr/>
          </p:nvSpPr>
          <p:spPr>
            <a:xfrm>
              <a:off x="6393688" y="3362570"/>
              <a:ext cx="2032612" cy="1245905"/>
            </a:xfrm>
            <a:prstGeom prst="rect">
              <a:avLst/>
            </a:prstGeom>
            <a:noFill/>
            <a:ln w="9525" cap="flat" cmpd="sng">
              <a:solidFill>
                <a:srgbClr val="97A4FF"/>
              </a:solidFill>
              <a:prstDash val="solid"/>
              <a:round/>
              <a:headEnd type="none" w="sm" len="sm"/>
              <a:tailEnd type="none" w="sm" len="sm"/>
            </a:ln>
          </p:spPr>
          <p:txBody>
            <a:bodyPr spcFirstLastPara="1" wrap="square" lIns="73133" tIns="60933" rIns="73133" bIns="0" anchor="t" anchorCtr="0">
              <a:noAutofit/>
            </a:bodyPr>
            <a:lstStyle/>
            <a:p>
              <a:pPr marL="0" marR="0" lvl="0" indent="0" algn="justLow" defTabSz="914400" rtl="1" eaLnBrk="1" fontAlgn="auto" latinLnBrk="0" hangingPunct="1">
                <a:lnSpc>
                  <a:spcPct val="115000"/>
                </a:lnSpc>
                <a:spcBef>
                  <a:spcPts val="0"/>
                </a:spcBef>
                <a:spcAft>
                  <a:spcPts val="0"/>
                </a:spcAft>
                <a:buClrTx/>
                <a:buSzTx/>
                <a:buFontTx/>
                <a:buNone/>
                <a:tabLst/>
                <a:defRPr/>
              </a:pPr>
              <a:r>
                <a:rPr kumimoji="0" lang="ar-SA" sz="2000" b="1" i="0" u="none" strike="noStrike" kern="1200" cap="none" spc="0" normalizeH="0" baseline="0" noProof="0" dirty="0">
                  <a:ln>
                    <a:noFill/>
                  </a:ln>
                  <a:solidFill>
                    <a:prstClr val="black"/>
                  </a:solidFill>
                  <a:effectLst/>
                  <a:uLnTx/>
                  <a:uFillTx/>
                  <a:latin typeface="Sakkal Majalla" panose="02000000000000000000" pitchFamily="2" charset="-78"/>
                  <a:ea typeface="+mn-ea"/>
                  <a:cs typeface="Sakkal Majalla" panose="02000000000000000000" pitchFamily="2" charset="-78"/>
                </a:rPr>
                <a:t>تنفيذ الأساليب الاشرافية المتنوعة بتشجيع المعلمين على تبادل الخبرة التدريسية من خلال أساليب متنوعة (التعليم المصغر، الدروس التطبيقية، الزيارات المتبادلة، ومجتمعات التعلم المهنية.. ) متعاونًا مع مدير المدرسة، ومنسقي المجتمعات المهنية من أجل تحقيق معايير التقويم والاعتماد المدرسي.</a:t>
              </a:r>
            </a:p>
          </p:txBody>
        </p:sp>
      </p:grpSp>
      <p:sp>
        <p:nvSpPr>
          <p:cNvPr id="88" name="Google Shape;1275;p40">
            <a:extLst>
              <a:ext uri="{FF2B5EF4-FFF2-40B4-BE49-F238E27FC236}">
                <a16:creationId xmlns:a16="http://schemas.microsoft.com/office/drawing/2014/main" id="{2EBF4DD4-0ECA-D30E-FB25-F9CC6F411A09}"/>
              </a:ext>
            </a:extLst>
          </p:cNvPr>
          <p:cNvSpPr/>
          <p:nvPr/>
        </p:nvSpPr>
        <p:spPr>
          <a:xfrm>
            <a:off x="1662558" y="2042354"/>
            <a:ext cx="847996" cy="832405"/>
          </a:xfrm>
          <a:prstGeom prst="ellipse">
            <a:avLst/>
          </a:prstGeom>
          <a:solidFill>
            <a:srgbClr val="FFFFFF"/>
          </a:solidFill>
          <a:ln w="9525" cap="flat" cmpd="sng">
            <a:solidFill>
              <a:srgbClr val="97A4FF"/>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defTabSz="1219170" rtl="1"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ysClr val="windowText" lastClr="000000"/>
                </a:solidFill>
                <a:effectLst/>
                <a:uLnTx/>
                <a:uFillTx/>
                <a:latin typeface="Samim" panose="020B0603030804020204" pitchFamily="34" charset="0"/>
                <a:ea typeface="Samim" panose="020B0603030804020204" pitchFamily="34" charset="0"/>
                <a:cs typeface="Samim" panose="020B0603030804020204" pitchFamily="34" charset="0"/>
              </a:rPr>
              <a:t>10</a:t>
            </a:r>
            <a:endParaRPr kumimoji="0" sz="1800" b="1" i="0" u="none" strike="noStrike" kern="0" cap="none" spc="0" normalizeH="0" baseline="0" noProof="0" dirty="0">
              <a:ln>
                <a:noFill/>
              </a:ln>
              <a:solidFill>
                <a:sysClr val="windowText" lastClr="000000"/>
              </a:solidFill>
              <a:effectLst/>
              <a:uLnTx/>
              <a:uFillTx/>
              <a:latin typeface="Samim" panose="020B0603030804020204" pitchFamily="34" charset="0"/>
              <a:ea typeface="Samim" panose="020B0603030804020204" pitchFamily="34" charset="0"/>
              <a:cs typeface="Samim" panose="020B0603030804020204" pitchFamily="34" charset="0"/>
            </a:endParaRPr>
          </a:p>
        </p:txBody>
      </p:sp>
    </p:spTree>
    <p:extLst>
      <p:ext uri="{BB962C8B-B14F-4D97-AF65-F5344CB8AC3E}">
        <p14:creationId xmlns:p14="http://schemas.microsoft.com/office/powerpoint/2010/main" val="1834255971"/>
      </p:ext>
    </p:extLst>
  </p:cSld>
  <p:clrMapOvr>
    <a:masterClrMapping/>
  </p:clrMapOvr>
  <mc:AlternateContent xmlns:mc="http://schemas.openxmlformats.org/markup-compatibility/2006" xmlns:p14="http://schemas.microsoft.com/office/powerpoint/2010/main">
    <mc:Choice Requires="p14">
      <p:transition spd="slow" p14:dur="1200">
        <p14:prism dir="r"/>
      </p:transition>
    </mc:Choice>
    <mc:Fallback xmlns="">
      <p:transition spd="slow">
        <p:fade/>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جدول 1">
            <a:extLst>
              <a:ext uri="{FF2B5EF4-FFF2-40B4-BE49-F238E27FC236}">
                <a16:creationId xmlns:a16="http://schemas.microsoft.com/office/drawing/2014/main" id="{36E09725-CBD7-0753-714A-2525BF5DD494}"/>
              </a:ext>
            </a:extLst>
          </p:cNvPr>
          <p:cNvGraphicFramePr>
            <a:graphicFrameLocks noGrp="1"/>
          </p:cNvGraphicFramePr>
          <p:nvPr/>
        </p:nvGraphicFramePr>
        <p:xfrm>
          <a:off x="870857" y="2016829"/>
          <a:ext cx="10689771" cy="1682496"/>
        </p:xfrm>
        <a:graphic>
          <a:graphicData uri="http://schemas.openxmlformats.org/drawingml/2006/table">
            <a:tbl>
              <a:tblPr rtl="1" firstRow="1" firstCol="1" bandRow="1"/>
              <a:tblGrid>
                <a:gridCol w="2335976">
                  <a:extLst>
                    <a:ext uri="{9D8B030D-6E8A-4147-A177-3AD203B41FA5}">
                      <a16:colId xmlns:a16="http://schemas.microsoft.com/office/drawing/2014/main" val="826863500"/>
                    </a:ext>
                  </a:extLst>
                </a:gridCol>
                <a:gridCol w="8353795">
                  <a:extLst>
                    <a:ext uri="{9D8B030D-6E8A-4147-A177-3AD203B41FA5}">
                      <a16:colId xmlns:a16="http://schemas.microsoft.com/office/drawing/2014/main" val="935880319"/>
                    </a:ext>
                  </a:extLst>
                </a:gridCol>
              </a:tblGrid>
              <a:tr h="0">
                <a:tc>
                  <a:txBody>
                    <a:bodyPr/>
                    <a:lstStyle/>
                    <a:p>
                      <a:pPr algn="ctr" rtl="1">
                        <a:lnSpc>
                          <a:spcPct val="115000"/>
                        </a:lnSpc>
                        <a:spcAft>
                          <a:spcPts val="1000"/>
                        </a:spcAft>
                      </a:pPr>
                      <a:r>
                        <a:rPr lang="ar-SA" sz="2400" b="1" dirty="0">
                          <a:solidFill>
                            <a:srgbClr val="000000"/>
                          </a:solidFill>
                          <a:effectLst/>
                          <a:latin typeface="Sakkal Majalla" panose="02000000000000000000" pitchFamily="2" charset="-78"/>
                          <a:ea typeface="Calibri" panose="020F0502020204030204" pitchFamily="34" charset="0"/>
                          <a:cs typeface="Sakkal Majalla" panose="02000000000000000000" pitchFamily="2" charset="-78"/>
                        </a:rPr>
                        <a:t>العنصر الاستراتيجي</a:t>
                      </a:r>
                      <a:endParaRPr lang="en-US" sz="2400" dirty="0">
                        <a:effectLst/>
                        <a:latin typeface="Sakkal Majalla" panose="02000000000000000000" pitchFamily="2" charset="-78"/>
                        <a:ea typeface="Calibri" panose="020F0502020204030204" pitchFamily="34" charset="0"/>
                        <a:cs typeface="Sakkal Majalla" panose="02000000000000000000" pitchFamily="2" charset="-7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rtl="1">
                        <a:lnSpc>
                          <a:spcPct val="115000"/>
                        </a:lnSpc>
                        <a:spcAft>
                          <a:spcPts val="1000"/>
                        </a:spcAft>
                      </a:pPr>
                      <a:r>
                        <a:rPr lang="ar-SA" sz="2400" b="1" dirty="0">
                          <a:solidFill>
                            <a:srgbClr val="000000"/>
                          </a:solidFill>
                          <a:effectLst/>
                          <a:latin typeface="Sakkal Majalla" panose="02000000000000000000" pitchFamily="2" charset="-78"/>
                          <a:ea typeface="Calibri" panose="020F0502020204030204" pitchFamily="34" charset="0"/>
                          <a:cs typeface="Sakkal Majalla" panose="02000000000000000000" pitchFamily="2" charset="-78"/>
                        </a:rPr>
                        <a:t>المؤشرات</a:t>
                      </a:r>
                      <a:endParaRPr lang="en-US" sz="2400" dirty="0">
                        <a:effectLst/>
                        <a:latin typeface="Sakkal Majalla" panose="02000000000000000000" pitchFamily="2" charset="-78"/>
                        <a:ea typeface="Calibri" panose="020F0502020204030204" pitchFamily="34" charset="0"/>
                        <a:cs typeface="Sakkal Majalla" panose="02000000000000000000" pitchFamily="2" charset="-7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3278892735"/>
                  </a:ext>
                </a:extLst>
              </a:tr>
              <a:tr h="0">
                <a:tc rowSpan="2">
                  <a:txBody>
                    <a:bodyPr/>
                    <a:lstStyle/>
                    <a:p>
                      <a:pPr algn="ctr" rtl="1">
                        <a:lnSpc>
                          <a:spcPct val="115000"/>
                        </a:lnSpc>
                        <a:spcAft>
                          <a:spcPts val="1000"/>
                        </a:spcAft>
                      </a:pPr>
                      <a:r>
                        <a:rPr lang="ar-SA" sz="2400" b="1" dirty="0">
                          <a:effectLst/>
                          <a:latin typeface="Sakkal Majalla" panose="02000000000000000000" pitchFamily="2" charset="-78"/>
                          <a:ea typeface="Calibri" panose="020F0502020204030204" pitchFamily="34" charset="0"/>
                          <a:cs typeface="Sakkal Majalla" panose="02000000000000000000" pitchFamily="2" charset="-78"/>
                        </a:rPr>
                        <a:t>جودة التعليم</a:t>
                      </a:r>
                      <a:endParaRPr lang="en-US" sz="2400" dirty="0">
                        <a:effectLst/>
                        <a:latin typeface="Sakkal Majalla" panose="02000000000000000000" pitchFamily="2" charset="-78"/>
                        <a:ea typeface="Calibri" panose="020F0502020204030204" pitchFamily="34" charset="0"/>
                        <a:cs typeface="Sakkal Majalla" panose="02000000000000000000" pitchFamily="2" charset="-7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r" rtl="1">
                        <a:lnSpc>
                          <a:spcPct val="115000"/>
                        </a:lnSpc>
                        <a:spcAft>
                          <a:spcPts val="1000"/>
                        </a:spcAft>
                      </a:pPr>
                      <a:r>
                        <a:rPr lang="ar-SA" sz="2400" dirty="0">
                          <a:effectLst/>
                          <a:latin typeface="Sakkal Majalla" panose="02000000000000000000" pitchFamily="2" charset="-78"/>
                          <a:ea typeface="Calibri" panose="020F0502020204030204" pitchFamily="34" charset="0"/>
                          <a:cs typeface="Sakkal Majalla" panose="02000000000000000000" pitchFamily="2" charset="-78"/>
                        </a:rPr>
                        <a:t>مستوى مدارس المكتب في  ضوء نتائج معايير التقويم والاعتماد المدرسي.</a:t>
                      </a:r>
                      <a:endParaRPr lang="en-US" sz="2400" dirty="0">
                        <a:effectLst/>
                        <a:latin typeface="Sakkal Majalla" panose="02000000000000000000" pitchFamily="2" charset="-78"/>
                        <a:ea typeface="Calibri" panose="020F0502020204030204" pitchFamily="34" charset="0"/>
                        <a:cs typeface="Sakkal Majalla" panose="02000000000000000000" pitchFamily="2" charset="-7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22808793"/>
                  </a:ext>
                </a:extLst>
              </a:tr>
              <a:tr h="0">
                <a:tc vMerge="1">
                  <a:txBody>
                    <a:bodyPr/>
                    <a:lstStyle/>
                    <a:p>
                      <a:pPr rtl="1"/>
                      <a:endParaRPr lang="ar-SA"/>
                    </a:p>
                  </a:txBody>
                  <a:tcPr/>
                </a:tc>
                <a:tc>
                  <a:txBody>
                    <a:bodyPr/>
                    <a:lstStyle/>
                    <a:p>
                      <a:pPr algn="r" rtl="1">
                        <a:lnSpc>
                          <a:spcPct val="115000"/>
                        </a:lnSpc>
                        <a:spcAft>
                          <a:spcPts val="1000"/>
                        </a:spcAft>
                      </a:pPr>
                      <a:r>
                        <a:rPr lang="ar-SA" sz="2400" dirty="0">
                          <a:effectLst/>
                          <a:latin typeface="Sakkal Majalla" panose="02000000000000000000" pitchFamily="2" charset="-78"/>
                          <a:ea typeface="Calibri" panose="020F0502020204030204" pitchFamily="34" charset="0"/>
                          <a:cs typeface="Sakkal Majalla" panose="02000000000000000000" pitchFamily="2" charset="-78"/>
                        </a:rPr>
                        <a:t>مستوى أداء الطلبة في الاختبارات الوطنية للصفوف الثالث والسادس والثالث متوسط في مجالات القراءة والرياضيات والعلوم.</a:t>
                      </a:r>
                      <a:endParaRPr lang="en-US" sz="2400" dirty="0">
                        <a:effectLst/>
                        <a:latin typeface="Sakkal Majalla" panose="02000000000000000000" pitchFamily="2" charset="-78"/>
                        <a:ea typeface="Calibri" panose="020F0502020204030204" pitchFamily="34" charset="0"/>
                        <a:cs typeface="Sakkal Majalla" panose="02000000000000000000" pitchFamily="2" charset="-7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00849952"/>
                  </a:ext>
                </a:extLst>
              </a:tr>
            </a:tbl>
          </a:graphicData>
        </a:graphic>
      </p:graphicFrame>
      <p:sp>
        <p:nvSpPr>
          <p:cNvPr id="5" name="مربع نص 4">
            <a:extLst>
              <a:ext uri="{FF2B5EF4-FFF2-40B4-BE49-F238E27FC236}">
                <a16:creationId xmlns:a16="http://schemas.microsoft.com/office/drawing/2014/main" id="{EA80B1E4-89CA-3752-E461-E93108992024}"/>
              </a:ext>
            </a:extLst>
          </p:cNvPr>
          <p:cNvSpPr txBox="1"/>
          <p:nvPr/>
        </p:nvSpPr>
        <p:spPr>
          <a:xfrm>
            <a:off x="1796143" y="397483"/>
            <a:ext cx="8251372" cy="1146981"/>
          </a:xfrm>
          <a:prstGeom prst="rect">
            <a:avLst/>
          </a:prstGeom>
          <a:noFill/>
        </p:spPr>
        <p:txBody>
          <a:bodyPr wrap="square">
            <a:spAutoFit/>
          </a:bodyPr>
          <a:lstStyle/>
          <a:p>
            <a:pPr marL="0" marR="0" lvl="0" indent="0" algn="just" defTabSz="914400" rtl="1" eaLnBrk="1" fontAlgn="auto" latinLnBrk="0" hangingPunct="1">
              <a:lnSpc>
                <a:spcPct val="115000"/>
              </a:lnSpc>
              <a:spcBef>
                <a:spcPts val="0"/>
              </a:spcBef>
              <a:spcAft>
                <a:spcPts val="1000"/>
              </a:spcAft>
              <a:buClrTx/>
              <a:buSzTx/>
              <a:buFontTx/>
              <a:buNone/>
              <a:tabLst/>
              <a:defRPr/>
            </a:pPr>
            <a:r>
              <a:rPr kumimoji="0" lang="ar-SA" sz="2800" b="1" i="0" u="none" strike="noStrike" kern="1200" cap="none" spc="0" normalizeH="0" baseline="0" noProof="0" dirty="0">
                <a:ln>
                  <a:noFill/>
                </a:ln>
                <a:solidFill>
                  <a:srgbClr val="FF0000"/>
                </a:solidFill>
                <a:effectLst/>
                <a:uLnTx/>
                <a:uFillTx/>
                <a:latin typeface="Sakkal Majalla" panose="02000000000000000000" pitchFamily="2" charset="-78"/>
                <a:ea typeface="Calibri" panose="020F0502020204030204" pitchFamily="34" charset="0"/>
                <a:cs typeface="Sakkal Majalla" panose="02000000000000000000" pitchFamily="2" charset="-78"/>
              </a:rPr>
              <a:t>مؤشرات منظومة التعليم على مستوى مكتب التعليم:</a:t>
            </a:r>
            <a:endParaRPr kumimoji="0" lang="en-US" sz="2800" b="0" i="0" u="none" strike="noStrike" kern="1200" cap="none" spc="0" normalizeH="0" baseline="0" noProof="0" dirty="0">
              <a:ln>
                <a:noFill/>
              </a:ln>
              <a:solidFill>
                <a:srgbClr val="FF0000"/>
              </a:solidFill>
              <a:effectLst/>
              <a:uLnTx/>
              <a:uFillTx/>
              <a:latin typeface="Sakkal Majalla" panose="02000000000000000000" pitchFamily="2" charset="-78"/>
              <a:ea typeface="Calibri" panose="020F0502020204030204" pitchFamily="34" charset="0"/>
              <a:cs typeface="Sakkal Majalla" panose="02000000000000000000" pitchFamily="2" charset="-78"/>
            </a:endParaRPr>
          </a:p>
          <a:p>
            <a:pPr marL="0" marR="0" lvl="0" indent="0" algn="r" defTabSz="914400" rtl="1" eaLnBrk="1" fontAlgn="auto" latinLnBrk="0" hangingPunct="1">
              <a:lnSpc>
                <a:spcPct val="100000"/>
              </a:lnSpc>
              <a:spcBef>
                <a:spcPts val="0"/>
              </a:spcBef>
              <a:spcAft>
                <a:spcPts val="0"/>
              </a:spcAft>
              <a:buClrTx/>
              <a:buSzTx/>
              <a:buFontTx/>
              <a:buNone/>
              <a:tabLst/>
              <a:defRPr/>
            </a:pPr>
            <a:r>
              <a:rPr kumimoji="0" lang="ar-SA" sz="2800" b="0" i="0" u="none" strike="noStrike" kern="1200" cap="none" spc="0" normalizeH="0" baseline="0" noProof="0" dirty="0">
                <a:ln>
                  <a:noFill/>
                </a:ln>
                <a:solidFill>
                  <a:srgbClr val="002060"/>
                </a:solidFill>
                <a:effectLst/>
                <a:uLnTx/>
                <a:uFillTx/>
                <a:latin typeface="Sakkal Majalla" panose="02000000000000000000" pitchFamily="2" charset="-78"/>
                <a:ea typeface="Calibri" panose="020F0502020204030204" pitchFamily="34" charset="0"/>
                <a:cs typeface="Sakkal Majalla" panose="02000000000000000000" pitchFamily="2" charset="-78"/>
              </a:rPr>
              <a:t>يُقاس أداء المكتب والمشرفين العاملين فيه بشكل دوري في ضوء المؤشرات الآتية</a:t>
            </a:r>
            <a:endParaRPr kumimoji="0" lang="ar-SA" sz="2800" b="0" i="0" u="none" strike="noStrike" kern="1200" cap="none" spc="0" normalizeH="0" baseline="0" noProof="0" dirty="0">
              <a:ln>
                <a:noFill/>
              </a:ln>
              <a:solidFill>
                <a:srgbClr val="002060"/>
              </a:solidFill>
              <a:effectLst/>
              <a:uLnTx/>
              <a:uFillTx/>
              <a:latin typeface="Sakkal Majalla" panose="02000000000000000000" pitchFamily="2" charset="-78"/>
              <a:ea typeface="+mn-ea"/>
              <a:cs typeface="Sakkal Majalla" panose="02000000000000000000" pitchFamily="2" charset="-78"/>
            </a:endParaRPr>
          </a:p>
        </p:txBody>
      </p:sp>
    </p:spTree>
    <p:extLst>
      <p:ext uri="{BB962C8B-B14F-4D97-AF65-F5344CB8AC3E}">
        <p14:creationId xmlns:p14="http://schemas.microsoft.com/office/powerpoint/2010/main" val="10289553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arn(inVertical)">
                                      <p:cBhvr>
                                        <p:cTn id="7" dur="10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barn(inVertical)">
                                      <p:cBhvr>
                                        <p:cTn id="12" dur="125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10862" y="0"/>
            <a:ext cx="12302862" cy="6858000"/>
          </a:xfrm>
          <a:prstGeom prst="rect">
            <a:avLst/>
          </a:prstGeom>
          <a:gradFill flip="none" rotWithShape="1">
            <a:gsLst>
              <a:gs pos="0">
                <a:schemeClr val="accent5">
                  <a:lumMod val="67000"/>
                </a:schemeClr>
              </a:gs>
              <a:gs pos="48000">
                <a:schemeClr val="accent3"/>
              </a:gs>
              <a:gs pos="100000">
                <a:schemeClr val="accent6"/>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entury Gothic" panose="020B0502020202020204"/>
              <a:ea typeface="+mn-ea"/>
              <a:cs typeface="+mn-cs"/>
            </a:endParaRPr>
          </a:p>
        </p:txBody>
      </p:sp>
      <p:grpSp>
        <p:nvGrpSpPr>
          <p:cNvPr id="11" name="Group 10"/>
          <p:cNvGrpSpPr/>
          <p:nvPr/>
        </p:nvGrpSpPr>
        <p:grpSpPr>
          <a:xfrm>
            <a:off x="110861" y="-1179016"/>
            <a:ext cx="11645629" cy="13686523"/>
            <a:chOff x="1216957" y="-77012"/>
            <a:chExt cx="15391595" cy="13686523"/>
          </a:xfrm>
        </p:grpSpPr>
        <p:grpSp>
          <p:nvGrpSpPr>
            <p:cNvPr id="3" name="Group 84"/>
            <p:cNvGrpSpPr>
              <a:grpSpLocks noChangeAspect="1"/>
            </p:cNvGrpSpPr>
            <p:nvPr/>
          </p:nvGrpSpPr>
          <p:grpSpPr bwMode="auto">
            <a:xfrm>
              <a:off x="4341933" y="3604190"/>
              <a:ext cx="10827068" cy="10005321"/>
              <a:chOff x="3677" y="1524"/>
              <a:chExt cx="975" cy="901"/>
            </a:xfrm>
            <a:solidFill>
              <a:schemeClr val="bg1">
                <a:alpha val="3000"/>
              </a:schemeClr>
            </a:solidFill>
          </p:grpSpPr>
          <p:sp>
            <p:nvSpPr>
              <p:cNvPr id="4" name="Freeform 85"/>
              <p:cNvSpPr>
                <a:spLocks noEditPoints="1"/>
              </p:cNvSpPr>
              <p:nvPr/>
            </p:nvSpPr>
            <p:spPr bwMode="auto">
              <a:xfrm>
                <a:off x="3677" y="1571"/>
                <a:ext cx="910" cy="838"/>
              </a:xfrm>
              <a:custGeom>
                <a:avLst/>
                <a:gdLst>
                  <a:gd name="T0" fmla="*/ 233 w 383"/>
                  <a:gd name="T1" fmla="*/ 49 h 352"/>
                  <a:gd name="T2" fmla="*/ 212 w 383"/>
                  <a:gd name="T3" fmla="*/ 51 h 352"/>
                  <a:gd name="T4" fmla="*/ 151 w 383"/>
                  <a:gd name="T5" fmla="*/ 70 h 352"/>
                  <a:gd name="T6" fmla="*/ 187 w 383"/>
                  <a:gd name="T7" fmla="*/ 66 h 352"/>
                  <a:gd name="T8" fmla="*/ 189 w 383"/>
                  <a:gd name="T9" fmla="*/ 66 h 352"/>
                  <a:gd name="T10" fmla="*/ 198 w 383"/>
                  <a:gd name="T11" fmla="*/ 67 h 352"/>
                  <a:gd name="T12" fmla="*/ 225 w 383"/>
                  <a:gd name="T13" fmla="*/ 74 h 352"/>
                  <a:gd name="T14" fmla="*/ 270 w 383"/>
                  <a:gd name="T15" fmla="*/ 102 h 352"/>
                  <a:gd name="T16" fmla="*/ 319 w 383"/>
                  <a:gd name="T17" fmla="*/ 164 h 352"/>
                  <a:gd name="T18" fmla="*/ 328 w 383"/>
                  <a:gd name="T19" fmla="*/ 202 h 352"/>
                  <a:gd name="T20" fmla="*/ 328 w 383"/>
                  <a:gd name="T21" fmla="*/ 201 h 352"/>
                  <a:gd name="T22" fmla="*/ 303 w 383"/>
                  <a:gd name="T23" fmla="*/ 278 h 352"/>
                  <a:gd name="T24" fmla="*/ 245 w 383"/>
                  <a:gd name="T25" fmla="*/ 333 h 352"/>
                  <a:gd name="T26" fmla="*/ 192 w 383"/>
                  <a:gd name="T27" fmla="*/ 350 h 352"/>
                  <a:gd name="T28" fmla="*/ 199 w 383"/>
                  <a:gd name="T29" fmla="*/ 351 h 352"/>
                  <a:gd name="T30" fmla="*/ 199 w 383"/>
                  <a:gd name="T31" fmla="*/ 351 h 352"/>
                  <a:gd name="T32" fmla="*/ 215 w 383"/>
                  <a:gd name="T33" fmla="*/ 352 h 352"/>
                  <a:gd name="T34" fmla="*/ 253 w 383"/>
                  <a:gd name="T35" fmla="*/ 347 h 352"/>
                  <a:gd name="T36" fmla="*/ 306 w 383"/>
                  <a:gd name="T37" fmla="*/ 322 h 352"/>
                  <a:gd name="T38" fmla="*/ 371 w 383"/>
                  <a:gd name="T39" fmla="*/ 241 h 352"/>
                  <a:gd name="T40" fmla="*/ 382 w 383"/>
                  <a:gd name="T41" fmla="*/ 183 h 352"/>
                  <a:gd name="T42" fmla="*/ 382 w 383"/>
                  <a:gd name="T43" fmla="*/ 183 h 352"/>
                  <a:gd name="T44" fmla="*/ 382 w 383"/>
                  <a:gd name="T45" fmla="*/ 183 h 352"/>
                  <a:gd name="T46" fmla="*/ 382 w 383"/>
                  <a:gd name="T47" fmla="*/ 183 h 352"/>
                  <a:gd name="T48" fmla="*/ 382 w 383"/>
                  <a:gd name="T49" fmla="*/ 183 h 352"/>
                  <a:gd name="T50" fmla="*/ 332 w 383"/>
                  <a:gd name="T51" fmla="*/ 82 h 352"/>
                  <a:gd name="T52" fmla="*/ 233 w 383"/>
                  <a:gd name="T53" fmla="*/ 49 h 352"/>
                  <a:gd name="T54" fmla="*/ 382 w 383"/>
                  <a:gd name="T55" fmla="*/ 180 h 352"/>
                  <a:gd name="T56" fmla="*/ 382 w 383"/>
                  <a:gd name="T57" fmla="*/ 183 h 352"/>
                  <a:gd name="T58" fmla="*/ 382 w 383"/>
                  <a:gd name="T59" fmla="*/ 183 h 352"/>
                  <a:gd name="T60" fmla="*/ 382 w 383"/>
                  <a:gd name="T61" fmla="*/ 183 h 352"/>
                  <a:gd name="T62" fmla="*/ 382 w 383"/>
                  <a:gd name="T63" fmla="*/ 184 h 352"/>
                  <a:gd name="T64" fmla="*/ 382 w 383"/>
                  <a:gd name="T65" fmla="*/ 182 h 352"/>
                  <a:gd name="T66" fmla="*/ 382 w 383"/>
                  <a:gd name="T67" fmla="*/ 180 h 352"/>
                  <a:gd name="T68" fmla="*/ 207 w 383"/>
                  <a:gd name="T69" fmla="*/ 0 h 352"/>
                  <a:gd name="T70" fmla="*/ 200 w 383"/>
                  <a:gd name="T71" fmla="*/ 0 h 352"/>
                  <a:gd name="T72" fmla="*/ 200 w 383"/>
                  <a:gd name="T73" fmla="*/ 0 h 352"/>
                  <a:gd name="T74" fmla="*/ 200 w 383"/>
                  <a:gd name="T75" fmla="*/ 0 h 352"/>
                  <a:gd name="T76" fmla="*/ 199 w 383"/>
                  <a:gd name="T77" fmla="*/ 0 h 352"/>
                  <a:gd name="T78" fmla="*/ 30 w 383"/>
                  <a:gd name="T79" fmla="*/ 80 h 352"/>
                  <a:gd name="T80" fmla="*/ 0 w 383"/>
                  <a:gd name="T81" fmla="*/ 115 h 352"/>
                  <a:gd name="T82" fmla="*/ 59 w 383"/>
                  <a:gd name="T83" fmla="*/ 60 h 352"/>
                  <a:gd name="T84" fmla="*/ 143 w 383"/>
                  <a:gd name="T85" fmla="*/ 14 h 352"/>
                  <a:gd name="T86" fmla="*/ 207 w 383"/>
                  <a:gd name="T87" fmla="*/ 0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83" h="352">
                    <a:moveTo>
                      <a:pt x="233" y="49"/>
                    </a:moveTo>
                    <a:cubicBezTo>
                      <a:pt x="226" y="49"/>
                      <a:pt x="219" y="50"/>
                      <a:pt x="212" y="51"/>
                    </a:cubicBezTo>
                    <a:cubicBezTo>
                      <a:pt x="191" y="53"/>
                      <a:pt x="170" y="60"/>
                      <a:pt x="151" y="70"/>
                    </a:cubicBezTo>
                    <a:cubicBezTo>
                      <a:pt x="163" y="67"/>
                      <a:pt x="175" y="66"/>
                      <a:pt x="187" y="66"/>
                    </a:cubicBezTo>
                    <a:cubicBezTo>
                      <a:pt x="185" y="66"/>
                      <a:pt x="188" y="66"/>
                      <a:pt x="189" y="66"/>
                    </a:cubicBezTo>
                    <a:cubicBezTo>
                      <a:pt x="192" y="66"/>
                      <a:pt x="195" y="67"/>
                      <a:pt x="198" y="67"/>
                    </a:cubicBezTo>
                    <a:cubicBezTo>
                      <a:pt x="207" y="68"/>
                      <a:pt x="216" y="71"/>
                      <a:pt x="225" y="74"/>
                    </a:cubicBezTo>
                    <a:cubicBezTo>
                      <a:pt x="242" y="81"/>
                      <a:pt x="257" y="91"/>
                      <a:pt x="270" y="102"/>
                    </a:cubicBezTo>
                    <a:cubicBezTo>
                      <a:pt x="291" y="119"/>
                      <a:pt x="309" y="139"/>
                      <a:pt x="319" y="164"/>
                    </a:cubicBezTo>
                    <a:cubicBezTo>
                      <a:pt x="325" y="176"/>
                      <a:pt x="327" y="189"/>
                      <a:pt x="328" y="202"/>
                    </a:cubicBezTo>
                    <a:cubicBezTo>
                      <a:pt x="328" y="201"/>
                      <a:pt x="328" y="201"/>
                      <a:pt x="328" y="201"/>
                    </a:cubicBezTo>
                    <a:cubicBezTo>
                      <a:pt x="328" y="229"/>
                      <a:pt x="318" y="255"/>
                      <a:pt x="303" y="278"/>
                    </a:cubicBezTo>
                    <a:cubicBezTo>
                      <a:pt x="287" y="300"/>
                      <a:pt x="268" y="319"/>
                      <a:pt x="245" y="333"/>
                    </a:cubicBezTo>
                    <a:cubicBezTo>
                      <a:pt x="229" y="342"/>
                      <a:pt x="211" y="348"/>
                      <a:pt x="192" y="350"/>
                    </a:cubicBezTo>
                    <a:cubicBezTo>
                      <a:pt x="194" y="351"/>
                      <a:pt x="197" y="351"/>
                      <a:pt x="199" y="351"/>
                    </a:cubicBezTo>
                    <a:cubicBezTo>
                      <a:pt x="199" y="351"/>
                      <a:pt x="199" y="351"/>
                      <a:pt x="199" y="351"/>
                    </a:cubicBezTo>
                    <a:cubicBezTo>
                      <a:pt x="204" y="352"/>
                      <a:pt x="210" y="352"/>
                      <a:pt x="215" y="352"/>
                    </a:cubicBezTo>
                    <a:cubicBezTo>
                      <a:pt x="227" y="352"/>
                      <a:pt x="240" y="351"/>
                      <a:pt x="253" y="347"/>
                    </a:cubicBezTo>
                    <a:cubicBezTo>
                      <a:pt x="272" y="342"/>
                      <a:pt x="290" y="333"/>
                      <a:pt x="306" y="322"/>
                    </a:cubicBezTo>
                    <a:cubicBezTo>
                      <a:pt x="335" y="302"/>
                      <a:pt x="358" y="273"/>
                      <a:pt x="371" y="241"/>
                    </a:cubicBezTo>
                    <a:cubicBezTo>
                      <a:pt x="378" y="223"/>
                      <a:pt x="383" y="202"/>
                      <a:pt x="382" y="183"/>
                    </a:cubicBezTo>
                    <a:cubicBezTo>
                      <a:pt x="382" y="183"/>
                      <a:pt x="382" y="183"/>
                      <a:pt x="382" y="183"/>
                    </a:cubicBezTo>
                    <a:cubicBezTo>
                      <a:pt x="382" y="183"/>
                      <a:pt x="382" y="183"/>
                      <a:pt x="382" y="183"/>
                    </a:cubicBezTo>
                    <a:cubicBezTo>
                      <a:pt x="382" y="183"/>
                      <a:pt x="382" y="183"/>
                      <a:pt x="382" y="183"/>
                    </a:cubicBezTo>
                    <a:cubicBezTo>
                      <a:pt x="382" y="183"/>
                      <a:pt x="382" y="183"/>
                      <a:pt x="382" y="183"/>
                    </a:cubicBezTo>
                    <a:cubicBezTo>
                      <a:pt x="383" y="143"/>
                      <a:pt x="362" y="106"/>
                      <a:pt x="332" y="82"/>
                    </a:cubicBezTo>
                    <a:cubicBezTo>
                      <a:pt x="304" y="60"/>
                      <a:pt x="268" y="49"/>
                      <a:pt x="233" y="49"/>
                    </a:cubicBezTo>
                    <a:moveTo>
                      <a:pt x="382" y="180"/>
                    </a:moveTo>
                    <a:cubicBezTo>
                      <a:pt x="382" y="180"/>
                      <a:pt x="382" y="181"/>
                      <a:pt x="382" y="183"/>
                    </a:cubicBezTo>
                    <a:cubicBezTo>
                      <a:pt x="382" y="183"/>
                      <a:pt x="382" y="183"/>
                      <a:pt x="382" y="183"/>
                    </a:cubicBezTo>
                    <a:cubicBezTo>
                      <a:pt x="382" y="183"/>
                      <a:pt x="382" y="183"/>
                      <a:pt x="382" y="183"/>
                    </a:cubicBezTo>
                    <a:cubicBezTo>
                      <a:pt x="382" y="183"/>
                      <a:pt x="382" y="184"/>
                      <a:pt x="382" y="184"/>
                    </a:cubicBezTo>
                    <a:cubicBezTo>
                      <a:pt x="382" y="184"/>
                      <a:pt x="382" y="183"/>
                      <a:pt x="382" y="182"/>
                    </a:cubicBezTo>
                    <a:cubicBezTo>
                      <a:pt x="382" y="181"/>
                      <a:pt x="382" y="180"/>
                      <a:pt x="382" y="180"/>
                    </a:cubicBezTo>
                    <a:moveTo>
                      <a:pt x="207" y="0"/>
                    </a:moveTo>
                    <a:cubicBezTo>
                      <a:pt x="204" y="0"/>
                      <a:pt x="202" y="0"/>
                      <a:pt x="200" y="0"/>
                    </a:cubicBezTo>
                    <a:cubicBezTo>
                      <a:pt x="200" y="0"/>
                      <a:pt x="200" y="0"/>
                      <a:pt x="200" y="0"/>
                    </a:cubicBezTo>
                    <a:cubicBezTo>
                      <a:pt x="200" y="0"/>
                      <a:pt x="200" y="0"/>
                      <a:pt x="200" y="0"/>
                    </a:cubicBezTo>
                    <a:cubicBezTo>
                      <a:pt x="200" y="0"/>
                      <a:pt x="199" y="0"/>
                      <a:pt x="199" y="0"/>
                    </a:cubicBezTo>
                    <a:cubicBezTo>
                      <a:pt x="136" y="6"/>
                      <a:pt x="75" y="36"/>
                      <a:pt x="30" y="80"/>
                    </a:cubicBezTo>
                    <a:cubicBezTo>
                      <a:pt x="19" y="91"/>
                      <a:pt x="9" y="102"/>
                      <a:pt x="0" y="115"/>
                    </a:cubicBezTo>
                    <a:cubicBezTo>
                      <a:pt x="17" y="94"/>
                      <a:pt x="37" y="76"/>
                      <a:pt x="59" y="60"/>
                    </a:cubicBezTo>
                    <a:cubicBezTo>
                      <a:pt x="85" y="41"/>
                      <a:pt x="113" y="24"/>
                      <a:pt x="143" y="14"/>
                    </a:cubicBezTo>
                    <a:cubicBezTo>
                      <a:pt x="164" y="6"/>
                      <a:pt x="185" y="1"/>
                      <a:pt x="20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5" name="Freeform 86"/>
              <p:cNvSpPr>
                <a:spLocks noEditPoints="1"/>
              </p:cNvSpPr>
              <p:nvPr/>
            </p:nvSpPr>
            <p:spPr bwMode="auto">
              <a:xfrm>
                <a:off x="4147" y="2425"/>
                <a:ext cx="0" cy="0"/>
              </a:xfrm>
              <a:custGeom>
                <a:avLst/>
                <a:gdLst/>
                <a:ahLst/>
                <a:cxnLst>
                  <a:cxn ang="0">
                    <a:pos x="0" y="0"/>
                  </a:cxn>
                  <a:cxn ang="0">
                    <a:pos x="0" y="0"/>
                  </a:cxn>
                  <a:cxn ang="0">
                    <a:pos x="0" y="0"/>
                  </a:cxn>
                  <a:cxn ang="0">
                    <a:pos x="0" y="0"/>
                  </a:cxn>
                </a:cxnLst>
                <a:rect l="0" t="0" r="r" b="b"/>
                <a:pathLst>
                  <a:path>
                    <a:moveTo>
                      <a:pt x="0" y="0"/>
                    </a:moveTo>
                    <a:lnTo>
                      <a:pt x="0" y="0"/>
                    </a:lnTo>
                    <a:close/>
                    <a:moveTo>
                      <a:pt x="0" y="0"/>
                    </a:move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6" name="Freeform 87"/>
              <p:cNvSpPr>
                <a:spLocks noEditPoints="1"/>
              </p:cNvSpPr>
              <p:nvPr/>
            </p:nvSpPr>
            <p:spPr bwMode="auto">
              <a:xfrm>
                <a:off x="4147" y="2425"/>
                <a:ext cx="0" cy="0"/>
              </a:xfrm>
              <a:custGeom>
                <a:avLst/>
                <a:gdLst/>
                <a:ahLst/>
                <a:cxnLst>
                  <a:cxn ang="0">
                    <a:pos x="0" y="0"/>
                  </a:cxn>
                  <a:cxn ang="0">
                    <a:pos x="0" y="0"/>
                  </a:cxn>
                  <a:cxn ang="0">
                    <a:pos x="0" y="0"/>
                  </a:cxn>
                  <a:cxn ang="0">
                    <a:pos x="0" y="0"/>
                  </a:cxn>
                </a:cxnLst>
                <a:rect l="0" t="0" r="r" b="b"/>
                <a:pathLst>
                  <a:path>
                    <a:moveTo>
                      <a:pt x="0" y="0"/>
                    </a:moveTo>
                    <a:lnTo>
                      <a:pt x="0" y="0"/>
                    </a:lnTo>
                    <a:moveTo>
                      <a:pt x="0" y="0"/>
                    </a:move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7" name="Freeform 88"/>
              <p:cNvSpPr>
                <a:spLocks noEditPoints="1"/>
              </p:cNvSpPr>
              <p:nvPr/>
            </p:nvSpPr>
            <p:spPr bwMode="auto">
              <a:xfrm>
                <a:off x="3742" y="1524"/>
                <a:ext cx="910" cy="885"/>
              </a:xfrm>
              <a:custGeom>
                <a:avLst/>
                <a:gdLst>
                  <a:gd name="T0" fmla="*/ 456 w 460"/>
                  <a:gd name="T1" fmla="*/ 144 h 405"/>
                  <a:gd name="T2" fmla="*/ 389 w 460"/>
                  <a:gd name="T3" fmla="*/ 39 h 405"/>
                  <a:gd name="T4" fmla="*/ 253 w 460"/>
                  <a:gd name="T5" fmla="*/ 3 h 405"/>
                  <a:gd name="T6" fmla="*/ 175 w 460"/>
                  <a:gd name="T7" fmla="*/ 21 h 405"/>
                  <a:gd name="T8" fmla="*/ 107 w 460"/>
                  <a:gd name="T9" fmla="*/ 59 h 405"/>
                  <a:gd name="T10" fmla="*/ 28 w 460"/>
                  <a:gd name="T11" fmla="*/ 137 h 405"/>
                  <a:gd name="T12" fmla="*/ 12 w 460"/>
                  <a:gd name="T13" fmla="*/ 248 h 405"/>
                  <a:gd name="T14" fmla="*/ 76 w 460"/>
                  <a:gd name="T15" fmla="*/ 340 h 405"/>
                  <a:gd name="T16" fmla="*/ 186 w 460"/>
                  <a:gd name="T17" fmla="*/ 398 h 405"/>
                  <a:gd name="T18" fmla="*/ 243 w 460"/>
                  <a:gd name="T19" fmla="*/ 404 h 405"/>
                  <a:gd name="T20" fmla="*/ 306 w 460"/>
                  <a:gd name="T21" fmla="*/ 390 h 405"/>
                  <a:gd name="T22" fmla="*/ 416 w 460"/>
                  <a:gd name="T23" fmla="*/ 307 h 405"/>
                  <a:gd name="T24" fmla="*/ 460 w 460"/>
                  <a:gd name="T25" fmla="*/ 179 h 405"/>
                  <a:gd name="T26" fmla="*/ 456 w 460"/>
                  <a:gd name="T27" fmla="*/ 144 h 405"/>
                  <a:gd name="T28" fmla="*/ 456 w 460"/>
                  <a:gd name="T29" fmla="*/ 144 h 405"/>
                  <a:gd name="T30" fmla="*/ 423 w 460"/>
                  <a:gd name="T31" fmla="*/ 195 h 405"/>
                  <a:gd name="T32" fmla="*/ 380 w 460"/>
                  <a:gd name="T33" fmla="*/ 297 h 405"/>
                  <a:gd name="T34" fmla="*/ 299 w 460"/>
                  <a:gd name="T35" fmla="*/ 350 h 405"/>
                  <a:gd name="T36" fmla="*/ 240 w 460"/>
                  <a:gd name="T37" fmla="*/ 355 h 405"/>
                  <a:gd name="T38" fmla="*/ 240 w 460"/>
                  <a:gd name="T39" fmla="*/ 355 h 405"/>
                  <a:gd name="T40" fmla="*/ 127 w 460"/>
                  <a:gd name="T41" fmla="*/ 281 h 405"/>
                  <a:gd name="T42" fmla="*/ 95 w 460"/>
                  <a:gd name="T43" fmla="*/ 212 h 405"/>
                  <a:gd name="T44" fmla="*/ 103 w 460"/>
                  <a:gd name="T45" fmla="*/ 167 h 405"/>
                  <a:gd name="T46" fmla="*/ 143 w 460"/>
                  <a:gd name="T47" fmla="*/ 112 h 405"/>
                  <a:gd name="T48" fmla="*/ 186 w 460"/>
                  <a:gd name="T49" fmla="*/ 78 h 405"/>
                  <a:gd name="T50" fmla="*/ 339 w 460"/>
                  <a:gd name="T51" fmla="*/ 66 h 405"/>
                  <a:gd name="T52" fmla="*/ 423 w 460"/>
                  <a:gd name="T53" fmla="*/ 180 h 405"/>
                  <a:gd name="T54" fmla="*/ 423 w 460"/>
                  <a:gd name="T55" fmla="*/ 195 h 405"/>
                  <a:gd name="T56" fmla="*/ 423 w 460"/>
                  <a:gd name="T57" fmla="*/ 195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60" h="405">
                    <a:moveTo>
                      <a:pt x="456" y="144"/>
                    </a:moveTo>
                    <a:cubicBezTo>
                      <a:pt x="447" y="102"/>
                      <a:pt x="423" y="64"/>
                      <a:pt x="389" y="39"/>
                    </a:cubicBezTo>
                    <a:cubicBezTo>
                      <a:pt x="350" y="11"/>
                      <a:pt x="299" y="0"/>
                      <a:pt x="253" y="3"/>
                    </a:cubicBezTo>
                    <a:cubicBezTo>
                      <a:pt x="226" y="5"/>
                      <a:pt x="200" y="11"/>
                      <a:pt x="175" y="21"/>
                    </a:cubicBezTo>
                    <a:cubicBezTo>
                      <a:pt x="151" y="31"/>
                      <a:pt x="129" y="44"/>
                      <a:pt x="107" y="59"/>
                    </a:cubicBezTo>
                    <a:cubicBezTo>
                      <a:pt x="77" y="80"/>
                      <a:pt x="48" y="106"/>
                      <a:pt x="28" y="137"/>
                    </a:cubicBezTo>
                    <a:cubicBezTo>
                      <a:pt x="7" y="171"/>
                      <a:pt x="0" y="210"/>
                      <a:pt x="12" y="248"/>
                    </a:cubicBezTo>
                    <a:cubicBezTo>
                      <a:pt x="23" y="284"/>
                      <a:pt x="48" y="316"/>
                      <a:pt x="76" y="340"/>
                    </a:cubicBezTo>
                    <a:cubicBezTo>
                      <a:pt x="108" y="367"/>
                      <a:pt x="145" y="389"/>
                      <a:pt x="186" y="398"/>
                    </a:cubicBezTo>
                    <a:cubicBezTo>
                      <a:pt x="205" y="403"/>
                      <a:pt x="224" y="405"/>
                      <a:pt x="243" y="404"/>
                    </a:cubicBezTo>
                    <a:cubicBezTo>
                      <a:pt x="264" y="402"/>
                      <a:pt x="286" y="398"/>
                      <a:pt x="306" y="390"/>
                    </a:cubicBezTo>
                    <a:cubicBezTo>
                      <a:pt x="350" y="374"/>
                      <a:pt x="388" y="344"/>
                      <a:pt x="416" y="307"/>
                    </a:cubicBezTo>
                    <a:cubicBezTo>
                      <a:pt x="444" y="270"/>
                      <a:pt x="460" y="225"/>
                      <a:pt x="460" y="179"/>
                    </a:cubicBezTo>
                    <a:cubicBezTo>
                      <a:pt x="460" y="167"/>
                      <a:pt x="459" y="155"/>
                      <a:pt x="456" y="144"/>
                    </a:cubicBezTo>
                    <a:cubicBezTo>
                      <a:pt x="453" y="127"/>
                      <a:pt x="460" y="160"/>
                      <a:pt x="456" y="144"/>
                    </a:cubicBezTo>
                    <a:close/>
                    <a:moveTo>
                      <a:pt x="423" y="195"/>
                    </a:moveTo>
                    <a:cubicBezTo>
                      <a:pt x="422" y="232"/>
                      <a:pt x="404" y="270"/>
                      <a:pt x="380" y="297"/>
                    </a:cubicBezTo>
                    <a:cubicBezTo>
                      <a:pt x="358" y="322"/>
                      <a:pt x="330" y="340"/>
                      <a:pt x="299" y="350"/>
                    </a:cubicBezTo>
                    <a:cubicBezTo>
                      <a:pt x="280" y="356"/>
                      <a:pt x="260" y="357"/>
                      <a:pt x="240" y="355"/>
                    </a:cubicBezTo>
                    <a:cubicBezTo>
                      <a:pt x="240" y="355"/>
                      <a:pt x="240" y="355"/>
                      <a:pt x="240" y="355"/>
                    </a:cubicBezTo>
                    <a:cubicBezTo>
                      <a:pt x="193" y="349"/>
                      <a:pt x="156" y="317"/>
                      <a:pt x="127" y="281"/>
                    </a:cubicBezTo>
                    <a:cubicBezTo>
                      <a:pt x="111" y="262"/>
                      <a:pt x="98" y="238"/>
                      <a:pt x="95" y="212"/>
                    </a:cubicBezTo>
                    <a:cubicBezTo>
                      <a:pt x="94" y="197"/>
                      <a:pt x="97" y="181"/>
                      <a:pt x="103" y="167"/>
                    </a:cubicBezTo>
                    <a:cubicBezTo>
                      <a:pt x="112" y="146"/>
                      <a:pt x="127" y="128"/>
                      <a:pt x="143" y="112"/>
                    </a:cubicBezTo>
                    <a:cubicBezTo>
                      <a:pt x="156" y="99"/>
                      <a:pt x="170" y="87"/>
                      <a:pt x="186" y="78"/>
                    </a:cubicBezTo>
                    <a:cubicBezTo>
                      <a:pt x="232" y="51"/>
                      <a:pt x="289" y="46"/>
                      <a:pt x="339" y="66"/>
                    </a:cubicBezTo>
                    <a:cubicBezTo>
                      <a:pt x="385" y="85"/>
                      <a:pt x="421" y="129"/>
                      <a:pt x="423" y="180"/>
                    </a:cubicBezTo>
                    <a:cubicBezTo>
                      <a:pt x="423" y="185"/>
                      <a:pt x="423" y="190"/>
                      <a:pt x="423" y="195"/>
                    </a:cubicBezTo>
                    <a:cubicBezTo>
                      <a:pt x="423" y="197"/>
                      <a:pt x="423" y="194"/>
                      <a:pt x="423" y="1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grpSp>
        <p:sp>
          <p:nvSpPr>
            <p:cNvPr id="8" name="Freeform 88"/>
            <p:cNvSpPr>
              <a:spLocks noEditPoints="1"/>
            </p:cNvSpPr>
            <p:nvPr/>
          </p:nvSpPr>
          <p:spPr bwMode="auto">
            <a:xfrm>
              <a:off x="2497757" y="1749749"/>
              <a:ext cx="13815818" cy="10500295"/>
            </a:xfrm>
            <a:custGeom>
              <a:avLst/>
              <a:gdLst>
                <a:gd name="T0" fmla="*/ 456 w 460"/>
                <a:gd name="T1" fmla="*/ 144 h 405"/>
                <a:gd name="T2" fmla="*/ 389 w 460"/>
                <a:gd name="T3" fmla="*/ 39 h 405"/>
                <a:gd name="T4" fmla="*/ 253 w 460"/>
                <a:gd name="T5" fmla="*/ 3 h 405"/>
                <a:gd name="T6" fmla="*/ 175 w 460"/>
                <a:gd name="T7" fmla="*/ 21 h 405"/>
                <a:gd name="T8" fmla="*/ 107 w 460"/>
                <a:gd name="T9" fmla="*/ 59 h 405"/>
                <a:gd name="T10" fmla="*/ 28 w 460"/>
                <a:gd name="T11" fmla="*/ 137 h 405"/>
                <a:gd name="T12" fmla="*/ 12 w 460"/>
                <a:gd name="T13" fmla="*/ 248 h 405"/>
                <a:gd name="T14" fmla="*/ 76 w 460"/>
                <a:gd name="T15" fmla="*/ 340 h 405"/>
                <a:gd name="T16" fmla="*/ 186 w 460"/>
                <a:gd name="T17" fmla="*/ 398 h 405"/>
                <a:gd name="T18" fmla="*/ 243 w 460"/>
                <a:gd name="T19" fmla="*/ 404 h 405"/>
                <a:gd name="T20" fmla="*/ 306 w 460"/>
                <a:gd name="T21" fmla="*/ 390 h 405"/>
                <a:gd name="T22" fmla="*/ 416 w 460"/>
                <a:gd name="T23" fmla="*/ 307 h 405"/>
                <a:gd name="T24" fmla="*/ 460 w 460"/>
                <a:gd name="T25" fmla="*/ 179 h 405"/>
                <a:gd name="T26" fmla="*/ 456 w 460"/>
                <a:gd name="T27" fmla="*/ 144 h 405"/>
                <a:gd name="T28" fmla="*/ 456 w 460"/>
                <a:gd name="T29" fmla="*/ 144 h 405"/>
                <a:gd name="T30" fmla="*/ 423 w 460"/>
                <a:gd name="T31" fmla="*/ 195 h 405"/>
                <a:gd name="T32" fmla="*/ 380 w 460"/>
                <a:gd name="T33" fmla="*/ 297 h 405"/>
                <a:gd name="T34" fmla="*/ 299 w 460"/>
                <a:gd name="T35" fmla="*/ 350 h 405"/>
                <a:gd name="T36" fmla="*/ 240 w 460"/>
                <a:gd name="T37" fmla="*/ 355 h 405"/>
                <a:gd name="T38" fmla="*/ 240 w 460"/>
                <a:gd name="T39" fmla="*/ 355 h 405"/>
                <a:gd name="T40" fmla="*/ 127 w 460"/>
                <a:gd name="T41" fmla="*/ 281 h 405"/>
                <a:gd name="T42" fmla="*/ 95 w 460"/>
                <a:gd name="T43" fmla="*/ 212 h 405"/>
                <a:gd name="T44" fmla="*/ 103 w 460"/>
                <a:gd name="T45" fmla="*/ 167 h 405"/>
                <a:gd name="T46" fmla="*/ 143 w 460"/>
                <a:gd name="T47" fmla="*/ 112 h 405"/>
                <a:gd name="T48" fmla="*/ 186 w 460"/>
                <a:gd name="T49" fmla="*/ 78 h 405"/>
                <a:gd name="T50" fmla="*/ 339 w 460"/>
                <a:gd name="T51" fmla="*/ 66 h 405"/>
                <a:gd name="T52" fmla="*/ 423 w 460"/>
                <a:gd name="T53" fmla="*/ 180 h 405"/>
                <a:gd name="T54" fmla="*/ 423 w 460"/>
                <a:gd name="T55" fmla="*/ 195 h 405"/>
                <a:gd name="T56" fmla="*/ 423 w 460"/>
                <a:gd name="T57" fmla="*/ 195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60" h="405">
                  <a:moveTo>
                    <a:pt x="456" y="144"/>
                  </a:moveTo>
                  <a:cubicBezTo>
                    <a:pt x="447" y="102"/>
                    <a:pt x="423" y="64"/>
                    <a:pt x="389" y="39"/>
                  </a:cubicBezTo>
                  <a:cubicBezTo>
                    <a:pt x="350" y="11"/>
                    <a:pt x="299" y="0"/>
                    <a:pt x="253" y="3"/>
                  </a:cubicBezTo>
                  <a:cubicBezTo>
                    <a:pt x="226" y="5"/>
                    <a:pt x="200" y="11"/>
                    <a:pt x="175" y="21"/>
                  </a:cubicBezTo>
                  <a:cubicBezTo>
                    <a:pt x="151" y="31"/>
                    <a:pt x="129" y="44"/>
                    <a:pt x="107" y="59"/>
                  </a:cubicBezTo>
                  <a:cubicBezTo>
                    <a:pt x="77" y="80"/>
                    <a:pt x="48" y="106"/>
                    <a:pt x="28" y="137"/>
                  </a:cubicBezTo>
                  <a:cubicBezTo>
                    <a:pt x="7" y="171"/>
                    <a:pt x="0" y="210"/>
                    <a:pt x="12" y="248"/>
                  </a:cubicBezTo>
                  <a:cubicBezTo>
                    <a:pt x="23" y="284"/>
                    <a:pt x="48" y="316"/>
                    <a:pt x="76" y="340"/>
                  </a:cubicBezTo>
                  <a:cubicBezTo>
                    <a:pt x="108" y="367"/>
                    <a:pt x="145" y="389"/>
                    <a:pt x="186" y="398"/>
                  </a:cubicBezTo>
                  <a:cubicBezTo>
                    <a:pt x="205" y="403"/>
                    <a:pt x="224" y="405"/>
                    <a:pt x="243" y="404"/>
                  </a:cubicBezTo>
                  <a:cubicBezTo>
                    <a:pt x="264" y="402"/>
                    <a:pt x="286" y="398"/>
                    <a:pt x="306" y="390"/>
                  </a:cubicBezTo>
                  <a:cubicBezTo>
                    <a:pt x="350" y="374"/>
                    <a:pt x="388" y="344"/>
                    <a:pt x="416" y="307"/>
                  </a:cubicBezTo>
                  <a:cubicBezTo>
                    <a:pt x="444" y="270"/>
                    <a:pt x="460" y="225"/>
                    <a:pt x="460" y="179"/>
                  </a:cubicBezTo>
                  <a:cubicBezTo>
                    <a:pt x="460" y="167"/>
                    <a:pt x="459" y="155"/>
                    <a:pt x="456" y="144"/>
                  </a:cubicBezTo>
                  <a:cubicBezTo>
                    <a:pt x="453" y="127"/>
                    <a:pt x="460" y="160"/>
                    <a:pt x="456" y="144"/>
                  </a:cubicBezTo>
                  <a:close/>
                  <a:moveTo>
                    <a:pt x="423" y="195"/>
                  </a:moveTo>
                  <a:cubicBezTo>
                    <a:pt x="422" y="232"/>
                    <a:pt x="404" y="270"/>
                    <a:pt x="380" y="297"/>
                  </a:cubicBezTo>
                  <a:cubicBezTo>
                    <a:pt x="358" y="322"/>
                    <a:pt x="330" y="340"/>
                    <a:pt x="299" y="350"/>
                  </a:cubicBezTo>
                  <a:cubicBezTo>
                    <a:pt x="280" y="356"/>
                    <a:pt x="260" y="357"/>
                    <a:pt x="240" y="355"/>
                  </a:cubicBezTo>
                  <a:cubicBezTo>
                    <a:pt x="240" y="355"/>
                    <a:pt x="240" y="355"/>
                    <a:pt x="240" y="355"/>
                  </a:cubicBezTo>
                  <a:cubicBezTo>
                    <a:pt x="193" y="349"/>
                    <a:pt x="156" y="317"/>
                    <a:pt x="127" y="281"/>
                  </a:cubicBezTo>
                  <a:cubicBezTo>
                    <a:pt x="111" y="262"/>
                    <a:pt x="98" y="238"/>
                    <a:pt x="95" y="212"/>
                  </a:cubicBezTo>
                  <a:cubicBezTo>
                    <a:pt x="94" y="197"/>
                    <a:pt x="97" y="181"/>
                    <a:pt x="103" y="167"/>
                  </a:cubicBezTo>
                  <a:cubicBezTo>
                    <a:pt x="112" y="146"/>
                    <a:pt x="127" y="128"/>
                    <a:pt x="143" y="112"/>
                  </a:cubicBezTo>
                  <a:cubicBezTo>
                    <a:pt x="156" y="99"/>
                    <a:pt x="170" y="87"/>
                    <a:pt x="186" y="78"/>
                  </a:cubicBezTo>
                  <a:cubicBezTo>
                    <a:pt x="232" y="51"/>
                    <a:pt x="289" y="46"/>
                    <a:pt x="339" y="66"/>
                  </a:cubicBezTo>
                  <a:cubicBezTo>
                    <a:pt x="385" y="85"/>
                    <a:pt x="421" y="129"/>
                    <a:pt x="423" y="180"/>
                  </a:cubicBezTo>
                  <a:cubicBezTo>
                    <a:pt x="423" y="185"/>
                    <a:pt x="423" y="190"/>
                    <a:pt x="423" y="195"/>
                  </a:cubicBezTo>
                  <a:cubicBezTo>
                    <a:pt x="423" y="197"/>
                    <a:pt x="423" y="194"/>
                    <a:pt x="423" y="195"/>
                  </a:cubicBezTo>
                  <a:close/>
                </a:path>
              </a:pathLst>
            </a:custGeom>
            <a:solidFill>
              <a:schemeClr val="bg1">
                <a:alpha val="3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9" name="Freeform 88"/>
            <p:cNvSpPr>
              <a:spLocks noEditPoints="1"/>
            </p:cNvSpPr>
            <p:nvPr/>
          </p:nvSpPr>
          <p:spPr bwMode="auto">
            <a:xfrm>
              <a:off x="1216957" y="-77012"/>
              <a:ext cx="15391595" cy="10716021"/>
            </a:xfrm>
            <a:custGeom>
              <a:avLst/>
              <a:gdLst>
                <a:gd name="T0" fmla="*/ 456 w 460"/>
                <a:gd name="T1" fmla="*/ 144 h 405"/>
                <a:gd name="T2" fmla="*/ 389 w 460"/>
                <a:gd name="T3" fmla="*/ 39 h 405"/>
                <a:gd name="T4" fmla="*/ 253 w 460"/>
                <a:gd name="T5" fmla="*/ 3 h 405"/>
                <a:gd name="T6" fmla="*/ 175 w 460"/>
                <a:gd name="T7" fmla="*/ 21 h 405"/>
                <a:gd name="T8" fmla="*/ 107 w 460"/>
                <a:gd name="T9" fmla="*/ 59 h 405"/>
                <a:gd name="T10" fmla="*/ 28 w 460"/>
                <a:gd name="T11" fmla="*/ 137 h 405"/>
                <a:gd name="T12" fmla="*/ 12 w 460"/>
                <a:gd name="T13" fmla="*/ 248 h 405"/>
                <a:gd name="T14" fmla="*/ 76 w 460"/>
                <a:gd name="T15" fmla="*/ 340 h 405"/>
                <a:gd name="T16" fmla="*/ 186 w 460"/>
                <a:gd name="T17" fmla="*/ 398 h 405"/>
                <a:gd name="T18" fmla="*/ 243 w 460"/>
                <a:gd name="T19" fmla="*/ 404 h 405"/>
                <a:gd name="T20" fmla="*/ 306 w 460"/>
                <a:gd name="T21" fmla="*/ 390 h 405"/>
                <a:gd name="T22" fmla="*/ 416 w 460"/>
                <a:gd name="T23" fmla="*/ 307 h 405"/>
                <a:gd name="T24" fmla="*/ 460 w 460"/>
                <a:gd name="T25" fmla="*/ 179 h 405"/>
                <a:gd name="T26" fmla="*/ 456 w 460"/>
                <a:gd name="T27" fmla="*/ 144 h 405"/>
                <a:gd name="T28" fmla="*/ 456 w 460"/>
                <a:gd name="T29" fmla="*/ 144 h 405"/>
                <a:gd name="T30" fmla="*/ 423 w 460"/>
                <a:gd name="T31" fmla="*/ 195 h 405"/>
                <a:gd name="T32" fmla="*/ 380 w 460"/>
                <a:gd name="T33" fmla="*/ 297 h 405"/>
                <a:gd name="T34" fmla="*/ 299 w 460"/>
                <a:gd name="T35" fmla="*/ 350 h 405"/>
                <a:gd name="T36" fmla="*/ 240 w 460"/>
                <a:gd name="T37" fmla="*/ 355 h 405"/>
                <a:gd name="T38" fmla="*/ 240 w 460"/>
                <a:gd name="T39" fmla="*/ 355 h 405"/>
                <a:gd name="T40" fmla="*/ 127 w 460"/>
                <a:gd name="T41" fmla="*/ 281 h 405"/>
                <a:gd name="T42" fmla="*/ 95 w 460"/>
                <a:gd name="T43" fmla="*/ 212 h 405"/>
                <a:gd name="T44" fmla="*/ 103 w 460"/>
                <a:gd name="T45" fmla="*/ 167 h 405"/>
                <a:gd name="T46" fmla="*/ 143 w 460"/>
                <a:gd name="T47" fmla="*/ 112 h 405"/>
                <a:gd name="T48" fmla="*/ 186 w 460"/>
                <a:gd name="T49" fmla="*/ 78 h 405"/>
                <a:gd name="T50" fmla="*/ 339 w 460"/>
                <a:gd name="T51" fmla="*/ 66 h 405"/>
                <a:gd name="T52" fmla="*/ 423 w 460"/>
                <a:gd name="T53" fmla="*/ 180 h 405"/>
                <a:gd name="T54" fmla="*/ 423 w 460"/>
                <a:gd name="T55" fmla="*/ 195 h 405"/>
                <a:gd name="T56" fmla="*/ 423 w 460"/>
                <a:gd name="T57" fmla="*/ 195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60" h="405">
                  <a:moveTo>
                    <a:pt x="456" y="144"/>
                  </a:moveTo>
                  <a:cubicBezTo>
                    <a:pt x="447" y="102"/>
                    <a:pt x="423" y="64"/>
                    <a:pt x="389" y="39"/>
                  </a:cubicBezTo>
                  <a:cubicBezTo>
                    <a:pt x="350" y="11"/>
                    <a:pt x="299" y="0"/>
                    <a:pt x="253" y="3"/>
                  </a:cubicBezTo>
                  <a:cubicBezTo>
                    <a:pt x="226" y="5"/>
                    <a:pt x="200" y="11"/>
                    <a:pt x="175" y="21"/>
                  </a:cubicBezTo>
                  <a:cubicBezTo>
                    <a:pt x="151" y="31"/>
                    <a:pt x="129" y="44"/>
                    <a:pt x="107" y="59"/>
                  </a:cubicBezTo>
                  <a:cubicBezTo>
                    <a:pt x="77" y="80"/>
                    <a:pt x="48" y="106"/>
                    <a:pt x="28" y="137"/>
                  </a:cubicBezTo>
                  <a:cubicBezTo>
                    <a:pt x="7" y="171"/>
                    <a:pt x="0" y="210"/>
                    <a:pt x="12" y="248"/>
                  </a:cubicBezTo>
                  <a:cubicBezTo>
                    <a:pt x="23" y="284"/>
                    <a:pt x="48" y="316"/>
                    <a:pt x="76" y="340"/>
                  </a:cubicBezTo>
                  <a:cubicBezTo>
                    <a:pt x="108" y="367"/>
                    <a:pt x="145" y="389"/>
                    <a:pt x="186" y="398"/>
                  </a:cubicBezTo>
                  <a:cubicBezTo>
                    <a:pt x="205" y="403"/>
                    <a:pt x="224" y="405"/>
                    <a:pt x="243" y="404"/>
                  </a:cubicBezTo>
                  <a:cubicBezTo>
                    <a:pt x="264" y="402"/>
                    <a:pt x="286" y="398"/>
                    <a:pt x="306" y="390"/>
                  </a:cubicBezTo>
                  <a:cubicBezTo>
                    <a:pt x="350" y="374"/>
                    <a:pt x="388" y="344"/>
                    <a:pt x="416" y="307"/>
                  </a:cubicBezTo>
                  <a:cubicBezTo>
                    <a:pt x="444" y="270"/>
                    <a:pt x="460" y="225"/>
                    <a:pt x="460" y="179"/>
                  </a:cubicBezTo>
                  <a:cubicBezTo>
                    <a:pt x="460" y="167"/>
                    <a:pt x="459" y="155"/>
                    <a:pt x="456" y="144"/>
                  </a:cubicBezTo>
                  <a:cubicBezTo>
                    <a:pt x="453" y="127"/>
                    <a:pt x="460" y="160"/>
                    <a:pt x="456" y="144"/>
                  </a:cubicBezTo>
                  <a:close/>
                  <a:moveTo>
                    <a:pt x="423" y="195"/>
                  </a:moveTo>
                  <a:cubicBezTo>
                    <a:pt x="422" y="232"/>
                    <a:pt x="404" y="270"/>
                    <a:pt x="380" y="297"/>
                  </a:cubicBezTo>
                  <a:cubicBezTo>
                    <a:pt x="358" y="322"/>
                    <a:pt x="330" y="340"/>
                    <a:pt x="299" y="350"/>
                  </a:cubicBezTo>
                  <a:cubicBezTo>
                    <a:pt x="280" y="356"/>
                    <a:pt x="260" y="357"/>
                    <a:pt x="240" y="355"/>
                  </a:cubicBezTo>
                  <a:cubicBezTo>
                    <a:pt x="240" y="355"/>
                    <a:pt x="240" y="355"/>
                    <a:pt x="240" y="355"/>
                  </a:cubicBezTo>
                  <a:cubicBezTo>
                    <a:pt x="193" y="349"/>
                    <a:pt x="156" y="317"/>
                    <a:pt x="127" y="281"/>
                  </a:cubicBezTo>
                  <a:cubicBezTo>
                    <a:pt x="111" y="262"/>
                    <a:pt x="98" y="238"/>
                    <a:pt x="95" y="212"/>
                  </a:cubicBezTo>
                  <a:cubicBezTo>
                    <a:pt x="94" y="197"/>
                    <a:pt x="97" y="181"/>
                    <a:pt x="103" y="167"/>
                  </a:cubicBezTo>
                  <a:cubicBezTo>
                    <a:pt x="112" y="146"/>
                    <a:pt x="127" y="128"/>
                    <a:pt x="143" y="112"/>
                  </a:cubicBezTo>
                  <a:cubicBezTo>
                    <a:pt x="156" y="99"/>
                    <a:pt x="170" y="87"/>
                    <a:pt x="186" y="78"/>
                  </a:cubicBezTo>
                  <a:cubicBezTo>
                    <a:pt x="232" y="51"/>
                    <a:pt x="289" y="46"/>
                    <a:pt x="339" y="66"/>
                  </a:cubicBezTo>
                  <a:cubicBezTo>
                    <a:pt x="385" y="85"/>
                    <a:pt x="421" y="129"/>
                    <a:pt x="423" y="180"/>
                  </a:cubicBezTo>
                  <a:cubicBezTo>
                    <a:pt x="423" y="185"/>
                    <a:pt x="423" y="190"/>
                    <a:pt x="423" y="195"/>
                  </a:cubicBezTo>
                  <a:cubicBezTo>
                    <a:pt x="423" y="197"/>
                    <a:pt x="423" y="194"/>
                    <a:pt x="423" y="195"/>
                  </a:cubicBezTo>
                  <a:close/>
                </a:path>
              </a:pathLst>
            </a:custGeom>
            <a:solidFill>
              <a:schemeClr val="bg1">
                <a:alpha val="6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entury Gothic" panose="020B0502020202020204"/>
                <a:ea typeface="+mn-ea"/>
                <a:cs typeface="+mn-cs"/>
              </a:endParaRPr>
            </a:p>
          </p:txBody>
        </p:sp>
      </p:grpSp>
      <p:sp>
        <p:nvSpPr>
          <p:cNvPr id="21" name="مربع نص 20">
            <a:extLst>
              <a:ext uri="{FF2B5EF4-FFF2-40B4-BE49-F238E27FC236}">
                <a16:creationId xmlns:a16="http://schemas.microsoft.com/office/drawing/2014/main" id="{A0DAEE23-7B10-2D7D-2107-A390175F38F4}"/>
              </a:ext>
            </a:extLst>
          </p:cNvPr>
          <p:cNvSpPr txBox="1"/>
          <p:nvPr/>
        </p:nvSpPr>
        <p:spPr>
          <a:xfrm>
            <a:off x="8790997" y="242047"/>
            <a:ext cx="3401003" cy="1046440"/>
          </a:xfrm>
          <a:prstGeom prst="rect">
            <a:avLst/>
          </a:prstGeom>
          <a:noFill/>
        </p:spPr>
        <p:txBody>
          <a:bodyPr wrap="square" rtlCol="1">
            <a:spAutoFit/>
          </a:bodyPr>
          <a:lstStyle/>
          <a:p>
            <a:pPr marL="0" marR="0" lvl="0" indent="0" algn="ctr" defTabSz="457200" rtl="1" eaLnBrk="1" fontAlgn="auto" latinLnBrk="0" hangingPunct="1">
              <a:lnSpc>
                <a:spcPct val="100000"/>
              </a:lnSpc>
              <a:spcBef>
                <a:spcPts val="0"/>
              </a:spcBef>
              <a:spcAft>
                <a:spcPts val="0"/>
              </a:spcAft>
              <a:buClrTx/>
              <a:buSzTx/>
              <a:buFontTx/>
              <a:buNone/>
              <a:tabLst/>
              <a:defRPr/>
            </a:pPr>
            <a:r>
              <a:rPr kumimoji="0" lang="ar-SA" sz="12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ae_AlMohanad"/>
                <a:ea typeface="+mn-ea"/>
                <a:cs typeface="AL-Mohanad"/>
              </a:rPr>
              <a:t>المملكة العربية السعودية</a:t>
            </a:r>
            <a:endParaRPr kumimoji="0" lang="en-US" sz="12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Times New Roman" panose="02020603050405020304" pitchFamily="18" charset="0"/>
              <a:ea typeface="+mn-ea"/>
              <a:cs typeface="Traditional Arabic" panose="02020603050405020304" pitchFamily="18" charset="-78"/>
            </a:endParaRPr>
          </a:p>
          <a:p>
            <a:pPr marL="0" marR="0" lvl="0" indent="0" algn="ctr" defTabSz="457200" rtl="1" eaLnBrk="1" fontAlgn="auto" latinLnBrk="0" hangingPunct="1">
              <a:lnSpc>
                <a:spcPct val="100000"/>
              </a:lnSpc>
              <a:spcBef>
                <a:spcPts val="0"/>
              </a:spcBef>
              <a:spcAft>
                <a:spcPts val="0"/>
              </a:spcAft>
              <a:buClrTx/>
              <a:buSzTx/>
              <a:buFontTx/>
              <a:buNone/>
              <a:tabLst/>
              <a:defRPr/>
            </a:pPr>
            <a:r>
              <a:rPr kumimoji="0" lang="ar-SA"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e_AlMohanad"/>
                <a:ea typeface="+mn-ea"/>
                <a:cs typeface="AL-Mohanad"/>
              </a:rPr>
              <a:t> وزارة التعليم</a:t>
            </a:r>
            <a:endPar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Times New Roman" panose="02020603050405020304" pitchFamily="18" charset="0"/>
              <a:ea typeface="+mn-ea"/>
              <a:cs typeface="Arial" panose="020B0604020202020204" pitchFamily="34" charset="0"/>
            </a:endParaRPr>
          </a:p>
          <a:p>
            <a:pPr marL="0" marR="0" lvl="0" indent="0" algn="ctr" defTabSz="457200" rtl="1" eaLnBrk="1" fontAlgn="auto" latinLnBrk="0" hangingPunct="1">
              <a:lnSpc>
                <a:spcPct val="100000"/>
              </a:lnSpc>
              <a:spcBef>
                <a:spcPts val="0"/>
              </a:spcBef>
              <a:spcAft>
                <a:spcPts val="0"/>
              </a:spcAft>
              <a:buClrTx/>
              <a:buSzTx/>
              <a:buFontTx/>
              <a:buNone/>
              <a:tabLst/>
              <a:defRPr/>
            </a:pPr>
            <a:r>
              <a:rPr kumimoji="0" lang="ar-SA"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e_AlMohanad"/>
                <a:ea typeface="+mn-ea"/>
                <a:cs typeface="AL-Mohanad"/>
              </a:rPr>
              <a:t>   الإدارة العامة للتعليم  بمنطقة جازان </a:t>
            </a:r>
            <a:endPar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Times New Roman" panose="02020603050405020304" pitchFamily="18" charset="0"/>
              <a:ea typeface="+mn-ea"/>
              <a:cs typeface="Arial" panose="020B0604020202020204" pitchFamily="34" charset="0"/>
            </a:endParaRPr>
          </a:p>
          <a:p>
            <a:pPr marL="0" marR="0" lvl="0" indent="0" algn="ctr" defTabSz="457200" rtl="1" eaLnBrk="1" fontAlgn="auto" latinLnBrk="0" hangingPunct="1">
              <a:lnSpc>
                <a:spcPct val="100000"/>
              </a:lnSpc>
              <a:spcBef>
                <a:spcPts val="0"/>
              </a:spcBef>
              <a:spcAft>
                <a:spcPts val="0"/>
              </a:spcAft>
              <a:buClrTx/>
              <a:buSzTx/>
              <a:buFontTx/>
              <a:buNone/>
              <a:tabLst/>
              <a:defRPr/>
            </a:pPr>
            <a:r>
              <a:rPr kumimoji="0" lang="ar-SA"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e_AlMohanad"/>
                <a:ea typeface="Times New Roman" panose="02020603050405020304" pitchFamily="18" charset="0"/>
                <a:cs typeface="AL-Mohanad"/>
              </a:rPr>
              <a:t> الشؤون التعليمية </a:t>
            </a:r>
            <a:endParaRPr kumimoji="0" lang="en-US"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Times New Roman" panose="02020603050405020304" pitchFamily="18" charset="0"/>
              <a:ea typeface="Times New Roman" panose="02020603050405020304" pitchFamily="18" charset="0"/>
              <a:cs typeface="Traditional Arabic" panose="02020603050405020304" pitchFamily="18" charset="-78"/>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ar-SA"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e_AlMohanad"/>
                <a:ea typeface="Times New Roman" panose="02020603050405020304" pitchFamily="18" charset="0"/>
                <a:cs typeface="AL-Mohanad"/>
              </a:rPr>
              <a:t>إدارة الإشراف التربوي</a:t>
            </a:r>
            <a:endParaRPr kumimoji="0" lang="ar-SA"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entury Gothic" panose="020B0502020202020204"/>
              <a:ea typeface="+mn-ea"/>
              <a:cs typeface="Arial" panose="020B0604020202020204" pitchFamily="34" charset="0"/>
            </a:endParaRPr>
          </a:p>
        </p:txBody>
      </p:sp>
      <p:sp>
        <p:nvSpPr>
          <p:cNvPr id="10" name="مستطيل: زوايا مستديرة 9">
            <a:extLst>
              <a:ext uri="{FF2B5EF4-FFF2-40B4-BE49-F238E27FC236}">
                <a16:creationId xmlns:a16="http://schemas.microsoft.com/office/drawing/2014/main" id="{B46F2965-C4E5-D191-FF0A-FC265D78EC24}"/>
              </a:ext>
            </a:extLst>
          </p:cNvPr>
          <p:cNvSpPr/>
          <p:nvPr/>
        </p:nvSpPr>
        <p:spPr>
          <a:xfrm>
            <a:off x="571311" y="2139101"/>
            <a:ext cx="10453359" cy="2575295"/>
          </a:xfrm>
          <a:prstGeom prst="roundRect">
            <a:avLst/>
          </a:prstGeom>
          <a:noFill/>
          <a:ln>
            <a:noFill/>
          </a:ln>
        </p:spPr>
        <p:style>
          <a:lnRef idx="0">
            <a:scrgbClr r="0" g="0" b="0"/>
          </a:lnRef>
          <a:fillRef idx="0">
            <a:scrgbClr r="0" g="0" b="0"/>
          </a:fillRef>
          <a:effectRef idx="0">
            <a:scrgbClr r="0" g="0" b="0"/>
          </a:effectRef>
          <a:fontRef idx="minor">
            <a:schemeClr val="lt1"/>
          </a:fontRef>
        </p:style>
        <p:txBody>
          <a:bodyPr rtlCol="1"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ar-SA" sz="3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29LT Azer Black" panose="00000600000000000000" pitchFamily="2" charset="-78"/>
                <a:ea typeface="+mn-ea"/>
                <a:cs typeface="Times New Roman" panose="02020603050405020304" pitchFamily="18" charset="0"/>
              </a:rPr>
              <a:t>دور المشرف التربوي في تقديم الدعم للمدرسة</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ar-SA" sz="3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29LT Azer Black" panose="00000600000000000000" pitchFamily="2" charset="-78"/>
                <a:ea typeface="+mn-ea"/>
                <a:cs typeface="Times New Roman" panose="02020603050405020304" pitchFamily="18" charset="0"/>
              </a:rPr>
              <a:t>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ar-SA" sz="3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29LT Azer Black" panose="00000600000000000000" pitchFamily="2" charset="-78"/>
                <a:ea typeface="+mn-ea"/>
                <a:cs typeface="Times New Roman" panose="02020603050405020304" pitchFamily="18" charset="0"/>
              </a:rPr>
              <a:t>في مجالي التعليم والتعلم ونواتج التعلم </a:t>
            </a:r>
          </a:p>
        </p:txBody>
      </p:sp>
      <p:pic>
        <p:nvPicPr>
          <p:cNvPr id="20" name="صورة 19" descr="صورة تحتوي على لقطة شاشة, الخط, نص, الرسومات&#10;&#10;تم إنشاء الوصف تلقائياً">
            <a:extLst>
              <a:ext uri="{FF2B5EF4-FFF2-40B4-BE49-F238E27FC236}">
                <a16:creationId xmlns:a16="http://schemas.microsoft.com/office/drawing/2014/main" id="{8F336691-3D55-65F5-43C1-102126CB4E1F}"/>
              </a:ext>
            </a:extLst>
          </p:cNvPr>
          <p:cNvPicPr>
            <a:picLocks noChangeAspect="1"/>
          </p:cNvPicPr>
          <p:nvPr/>
        </p:nvPicPr>
        <p:blipFill>
          <a:blip r:embed="rId3"/>
          <a:stretch>
            <a:fillRect/>
          </a:stretch>
        </p:blipFill>
        <p:spPr>
          <a:xfrm>
            <a:off x="0" y="407576"/>
            <a:ext cx="2475289" cy="1325827"/>
          </a:xfrm>
          <a:prstGeom prst="rect">
            <a:avLst/>
          </a:prstGeom>
        </p:spPr>
      </p:pic>
    </p:spTree>
    <p:extLst>
      <p:ext uri="{BB962C8B-B14F-4D97-AF65-F5344CB8AC3E}">
        <p14:creationId xmlns:p14="http://schemas.microsoft.com/office/powerpoint/2010/main" val="2714071332"/>
      </p:ext>
    </p:extLst>
  </p:cSld>
  <p:clrMapOvr>
    <a:masterClrMapping/>
  </p:clrMapOvr>
  <mc:AlternateContent xmlns:mc="http://schemas.openxmlformats.org/markup-compatibility/2006" xmlns:p14="http://schemas.microsoft.com/office/powerpoint/2010/main">
    <mc:Choice Requires="p14">
      <p:transition spd="slow" p14:dur="1250" advTm="2000">
        <p14:flip dir="r"/>
      </p:transition>
    </mc:Choice>
    <mc:Fallback xmlns="">
      <p:transition spd="slow" advTm="2000">
        <p:fade/>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717DB39-E996-7092-374C-7FC7E65CD8D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6717DB39-E996-7092-374C-7FC7E65CD8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7" name="Google Shape;2193;g13e3f09b857_28_109">
            <a:extLst>
              <a:ext uri="{FF2B5EF4-FFF2-40B4-BE49-F238E27FC236}">
                <a16:creationId xmlns:a16="http://schemas.microsoft.com/office/drawing/2014/main" id="{2CA3726F-F051-0E61-900E-D8B09CECFD4A}"/>
              </a:ext>
            </a:extLst>
          </p:cNvPr>
          <p:cNvSpPr txBox="1">
            <a:spLocks noGrp="1"/>
          </p:cNvSpPr>
          <p:nvPr>
            <p:ph type="title"/>
          </p:nvPr>
        </p:nvSpPr>
        <p:spPr>
          <a:xfrm>
            <a:off x="4635015" y="851918"/>
            <a:ext cx="5717525" cy="881633"/>
          </a:xfrm>
          <a:prstGeom prst="rect">
            <a:avLst/>
          </a:prstGeom>
          <a:noFill/>
          <a:ln>
            <a:noFill/>
          </a:ln>
        </p:spPr>
        <p:txBody>
          <a:bodyPr spcFirstLastPara="1" wrap="square" lIns="91425" tIns="45700" rIns="91425" bIns="45700" anchor="t" anchorCtr="0">
            <a:noAutofit/>
          </a:bodyPr>
          <a:lstStyle/>
          <a:p>
            <a:pPr marL="0" lvl="0" indent="0" algn="r" rtl="1">
              <a:spcBef>
                <a:spcPts val="0"/>
              </a:spcBef>
              <a:spcAft>
                <a:spcPts val="0"/>
              </a:spcAft>
              <a:buClr>
                <a:schemeClr val="dk1"/>
              </a:buClr>
              <a:buSzPts val="2250"/>
              <a:buFont typeface="Arial"/>
              <a:buNone/>
            </a:pPr>
            <a:r>
              <a:rPr lang="ar-SA" sz="4400" dirty="0">
                <a:solidFill>
                  <a:schemeClr val="bg1"/>
                </a:solidFill>
                <a:latin typeface="Sakkal Majalla" panose="02000000000000000000" pitchFamily="2" charset="-78"/>
                <a:cs typeface="Sakkal Majalla" panose="02000000000000000000" pitchFamily="2" charset="-78"/>
              </a:rPr>
              <a:t>محاور الجلسة </a:t>
            </a:r>
            <a:endParaRPr sz="4400" dirty="0">
              <a:solidFill>
                <a:schemeClr val="bg1"/>
              </a:solidFill>
              <a:latin typeface="Sakkal Majalla" panose="02000000000000000000" pitchFamily="2" charset="-78"/>
              <a:cs typeface="Sakkal Majalla" panose="02000000000000000000" pitchFamily="2" charset="-78"/>
            </a:endParaRPr>
          </a:p>
        </p:txBody>
      </p:sp>
      <p:sp>
        <p:nvSpPr>
          <p:cNvPr id="44" name="عنصر نائب لرقم الشريحة 43"/>
          <p:cNvSpPr>
            <a:spLocks noGrp="1"/>
          </p:cNvSpPr>
          <p:nvPr>
            <p:ph type="sldNum" sz="quarter" idx="12"/>
          </p:nvPr>
        </p:nvSpPr>
        <p:spPr>
          <a:xfrm>
            <a:off x="10352540" y="1300652"/>
            <a:ext cx="838199" cy="767687"/>
          </a:xfrm>
        </p:spPr>
        <p: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fld id="{66406393-AE87-FB41-BBD5-29F28EFD8684}" type="slidenum">
              <a:rPr kumimoji="0" lang="en-SA" sz="1200" b="0"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1" eaLnBrk="1" fontAlgn="auto" latinLnBrk="0" hangingPunct="1">
                <a:lnSpc>
                  <a:spcPct val="100000"/>
                </a:lnSpc>
                <a:spcBef>
                  <a:spcPts val="0"/>
                </a:spcBef>
                <a:spcAft>
                  <a:spcPts val="0"/>
                </a:spcAft>
                <a:buClrTx/>
                <a:buSzTx/>
                <a:buFontTx/>
                <a:buNone/>
                <a:tabLst/>
                <a:defRPr/>
              </a:pPr>
              <a:t>86</a:t>
            </a:fld>
            <a:endParaRPr kumimoji="0" lang="en-SA" sz="12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 name="Google Shape;2379;g13e3f09b857_80_170">
            <a:extLst>
              <a:ext uri="{FF2B5EF4-FFF2-40B4-BE49-F238E27FC236}">
                <a16:creationId xmlns:a16="http://schemas.microsoft.com/office/drawing/2014/main" id="{53993BE5-895D-6248-BAB9-0A0DA7CA1C14}"/>
              </a:ext>
            </a:extLst>
          </p:cNvPr>
          <p:cNvSpPr/>
          <p:nvPr/>
        </p:nvSpPr>
        <p:spPr>
          <a:xfrm>
            <a:off x="7748832" y="2994752"/>
            <a:ext cx="792088" cy="792088"/>
          </a:xfrm>
          <a:prstGeom prst="ellipse">
            <a:avLst/>
          </a:prstGeom>
          <a:solidFill>
            <a:srgbClr val="26707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2700"/>
              <a:buFont typeface="Arial"/>
              <a:buNone/>
              <a:tabLst/>
              <a:defRPr/>
            </a:pPr>
            <a:endParaRPr kumimoji="0" sz="27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3" name="Google Shape;2380;g13e3f09b857_80_170">
            <a:extLst>
              <a:ext uri="{FF2B5EF4-FFF2-40B4-BE49-F238E27FC236}">
                <a16:creationId xmlns:a16="http://schemas.microsoft.com/office/drawing/2014/main" id="{03B3FAD2-25D6-47F6-5B2D-331F9592FC8B}"/>
              </a:ext>
            </a:extLst>
          </p:cNvPr>
          <p:cNvSpPr txBox="1"/>
          <p:nvPr/>
        </p:nvSpPr>
        <p:spPr>
          <a:xfrm>
            <a:off x="8997300" y="3080175"/>
            <a:ext cx="806953" cy="646331"/>
          </a:xfrm>
          <a:prstGeom prst="rect">
            <a:avLst/>
          </a:prstGeom>
          <a:noFill/>
          <a:ln w="9525" cap="flat" cmpd="sng">
            <a:solidFill>
              <a:srgbClr val="4B4C4D"/>
            </a:solidFill>
            <a:prstDash val="solid"/>
            <a:round/>
            <a:headEnd type="none" w="sm" len="sm"/>
            <a:tailEnd type="none" w="sm" len="sm"/>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595959"/>
              </a:buClr>
              <a:buSzPts val="3600"/>
              <a:buFont typeface="Arial"/>
              <a:buNone/>
              <a:tabLst/>
              <a:defRPr/>
            </a:pPr>
            <a:r>
              <a:rPr kumimoji="0" lang="en-US" sz="3600" b="1" i="0" u="none" strike="noStrike" kern="0" cap="none" spc="0" normalizeH="0" baseline="0" noProof="0">
                <a:ln>
                  <a:noFill/>
                </a:ln>
                <a:solidFill>
                  <a:prstClr val="black">
                    <a:lumMod val="65000"/>
                    <a:lumOff val="35000"/>
                  </a:prstClr>
                </a:solidFill>
                <a:effectLst/>
                <a:uLnTx/>
                <a:uFillTx/>
                <a:latin typeface="Sakkal Majalla"/>
                <a:ea typeface="Sakkal Majalla"/>
                <a:cs typeface="Sakkal Majalla"/>
                <a:sym typeface="Sakkal Majalla"/>
              </a:rPr>
              <a:t>01</a:t>
            </a:r>
            <a:endParaRPr kumimoji="0" sz="3600" b="1" i="0" u="none" strike="noStrike" kern="0" cap="none" spc="0" normalizeH="0" baseline="0" noProof="0">
              <a:ln>
                <a:noFill/>
              </a:ln>
              <a:solidFill>
                <a:prstClr val="black">
                  <a:lumMod val="65000"/>
                  <a:lumOff val="35000"/>
                </a:prstClr>
              </a:solidFill>
              <a:effectLst/>
              <a:uLnTx/>
              <a:uFillTx/>
              <a:latin typeface="Sakkal Majalla"/>
              <a:ea typeface="Sakkal Majalla"/>
              <a:cs typeface="Sakkal Majalla"/>
              <a:sym typeface="Sakkal Majalla"/>
            </a:endParaRPr>
          </a:p>
        </p:txBody>
      </p:sp>
      <p:sp>
        <p:nvSpPr>
          <p:cNvPr id="6" name="Google Shape;2382;g13e3f09b857_80_170">
            <a:extLst>
              <a:ext uri="{FF2B5EF4-FFF2-40B4-BE49-F238E27FC236}">
                <a16:creationId xmlns:a16="http://schemas.microsoft.com/office/drawing/2014/main" id="{0D13B4C9-D0CF-F8B0-1ADE-DEDEC0404019}"/>
              </a:ext>
            </a:extLst>
          </p:cNvPr>
          <p:cNvSpPr/>
          <p:nvPr/>
        </p:nvSpPr>
        <p:spPr>
          <a:xfrm flipH="1">
            <a:off x="6836445" y="3134218"/>
            <a:ext cx="400199" cy="513159"/>
          </a:xfrm>
          <a:prstGeom prst="chevron">
            <a:avLst>
              <a:gd name="adj" fmla="val 50000"/>
            </a:avLst>
          </a:prstGeom>
          <a:solidFill>
            <a:srgbClr val="26707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2700"/>
              <a:buFont typeface="Arial"/>
              <a:buNone/>
              <a:tabLst/>
              <a:defRPr/>
            </a:pPr>
            <a:endParaRPr kumimoji="0" sz="27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7" name="Google Shape;2383;g13e3f09b857_80_170">
            <a:extLst>
              <a:ext uri="{FF2B5EF4-FFF2-40B4-BE49-F238E27FC236}">
                <a16:creationId xmlns:a16="http://schemas.microsoft.com/office/drawing/2014/main" id="{CD00A535-EF70-2230-58C0-A1D9AC102E81}"/>
              </a:ext>
            </a:extLst>
          </p:cNvPr>
          <p:cNvSpPr txBox="1"/>
          <p:nvPr/>
        </p:nvSpPr>
        <p:spPr>
          <a:xfrm>
            <a:off x="870507" y="3213651"/>
            <a:ext cx="5717525" cy="400069"/>
          </a:xfrm>
          <a:prstGeom prst="rect">
            <a:avLst/>
          </a:prstGeom>
          <a:noFill/>
          <a:ln>
            <a:noFill/>
          </a:ln>
        </p:spPr>
        <p:txBody>
          <a:bodyPr spcFirstLastPara="1" wrap="square" lIns="91425" tIns="45700" rIns="91425" bIns="45700" anchor="t" anchorCtr="0">
            <a:spAutoFit/>
          </a:bodyPr>
          <a:lstStyle/>
          <a:p>
            <a:pPr marL="0" marR="0" lvl="0" indent="0" algn="r" defTabSz="914400" rtl="1" eaLnBrk="1" fontAlgn="auto" latinLnBrk="0" hangingPunct="1">
              <a:lnSpc>
                <a:spcPct val="100000"/>
              </a:lnSpc>
              <a:spcBef>
                <a:spcPts val="0"/>
              </a:spcBef>
              <a:spcAft>
                <a:spcPts val="0"/>
              </a:spcAft>
              <a:buClr>
                <a:srgbClr val="3F3F3F"/>
              </a:buClr>
              <a:buSzPts val="1600"/>
              <a:buFont typeface="Arial"/>
              <a:buNone/>
              <a:tabLst/>
              <a:defRPr/>
            </a:pPr>
            <a:r>
              <a:rPr kumimoji="0" lang="ar-SA" sz="2000" b="1" i="0" u="none" strike="noStrike" kern="1200" cap="none" spc="0" normalizeH="0" baseline="0" noProof="0" dirty="0">
                <a:ln>
                  <a:noFill/>
                </a:ln>
                <a:solidFill>
                  <a:srgbClr val="1D545B"/>
                </a:solidFill>
                <a:effectLst/>
                <a:uLnTx/>
                <a:uFillTx/>
                <a:latin typeface="Sakkal Majalla" panose="02000000000000000000" pitchFamily="2" charset="-78"/>
                <a:ea typeface="+mn-ea"/>
                <a:cs typeface="Sakkal Majalla" panose="02000000000000000000" pitchFamily="2" charset="-78"/>
              </a:rPr>
              <a:t>قراءة سريعة لنتائج نافس 1444 ه لمدرسة  ( س ) وترتيب الإدارة في التحصيلي </a:t>
            </a:r>
            <a:endParaRPr kumimoji="0" sz="2000" b="1" i="0" u="none" strike="noStrike" kern="0" cap="none" spc="0" normalizeH="0" baseline="0" noProof="0" dirty="0">
              <a:ln>
                <a:noFill/>
              </a:ln>
              <a:solidFill>
                <a:srgbClr val="1D545B"/>
              </a:solidFill>
              <a:effectLst/>
              <a:uLnTx/>
              <a:uFillTx/>
              <a:latin typeface="Sakkal Majalla" panose="02000000000000000000" pitchFamily="2" charset="-78"/>
              <a:ea typeface="Sakkal Majalla"/>
              <a:cs typeface="Sakkal Majalla" panose="02000000000000000000" pitchFamily="2" charset="-78"/>
              <a:sym typeface="Sakkal Majalla"/>
            </a:endParaRPr>
          </a:p>
        </p:txBody>
      </p:sp>
      <p:sp>
        <p:nvSpPr>
          <p:cNvPr id="8" name="Google Shape;2384;g13e3f09b857_80_170">
            <a:extLst>
              <a:ext uri="{FF2B5EF4-FFF2-40B4-BE49-F238E27FC236}">
                <a16:creationId xmlns:a16="http://schemas.microsoft.com/office/drawing/2014/main" id="{FBEE6FAF-C760-6839-1002-FF67E4A4B9A2}"/>
              </a:ext>
            </a:extLst>
          </p:cNvPr>
          <p:cNvSpPr/>
          <p:nvPr/>
        </p:nvSpPr>
        <p:spPr>
          <a:xfrm>
            <a:off x="7748832" y="4114005"/>
            <a:ext cx="792088" cy="792088"/>
          </a:xfrm>
          <a:prstGeom prst="ellipse">
            <a:avLst/>
          </a:prstGeom>
          <a:solidFill>
            <a:srgbClr val="26A19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2700"/>
              <a:buFont typeface="Arial"/>
              <a:buNone/>
              <a:tabLst/>
              <a:defRPr/>
            </a:pPr>
            <a:endParaRPr kumimoji="0" sz="27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9" name="Google Shape;2385;g13e3f09b857_80_170">
            <a:extLst>
              <a:ext uri="{FF2B5EF4-FFF2-40B4-BE49-F238E27FC236}">
                <a16:creationId xmlns:a16="http://schemas.microsoft.com/office/drawing/2014/main" id="{E55C1F71-916B-B439-E230-75204EDD49AE}"/>
              </a:ext>
            </a:extLst>
          </p:cNvPr>
          <p:cNvSpPr txBox="1"/>
          <p:nvPr/>
        </p:nvSpPr>
        <p:spPr>
          <a:xfrm>
            <a:off x="9034245" y="4186884"/>
            <a:ext cx="806953" cy="646331"/>
          </a:xfrm>
          <a:prstGeom prst="rect">
            <a:avLst/>
          </a:prstGeom>
          <a:noFill/>
          <a:ln w="9525" cap="flat" cmpd="sng">
            <a:solidFill>
              <a:srgbClr val="4B4C4D"/>
            </a:solidFill>
            <a:prstDash val="solid"/>
            <a:round/>
            <a:headEnd type="none" w="sm" len="sm"/>
            <a:tailEnd type="none" w="sm" len="sm"/>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595959"/>
              </a:buClr>
              <a:buSzPts val="3600"/>
              <a:buFont typeface="Arial"/>
              <a:buNone/>
              <a:tabLst/>
              <a:defRPr/>
            </a:pPr>
            <a:r>
              <a:rPr kumimoji="0" lang="en-US" sz="3600" b="1" i="0" u="none" strike="noStrike" kern="0" cap="none" spc="0" normalizeH="0" baseline="0" noProof="0">
                <a:ln>
                  <a:noFill/>
                </a:ln>
                <a:solidFill>
                  <a:prstClr val="black">
                    <a:lumMod val="65000"/>
                    <a:lumOff val="35000"/>
                  </a:prstClr>
                </a:solidFill>
                <a:effectLst/>
                <a:uLnTx/>
                <a:uFillTx/>
                <a:latin typeface="Sakkal Majalla"/>
                <a:ea typeface="Sakkal Majalla"/>
                <a:cs typeface="Sakkal Majalla"/>
                <a:sym typeface="Sakkal Majalla"/>
              </a:rPr>
              <a:t>02</a:t>
            </a:r>
            <a:endParaRPr kumimoji="0" sz="3600" b="1" i="0" u="none" strike="noStrike" kern="0" cap="none" spc="0" normalizeH="0" baseline="0" noProof="0">
              <a:ln>
                <a:noFill/>
              </a:ln>
              <a:solidFill>
                <a:prstClr val="black">
                  <a:lumMod val="65000"/>
                  <a:lumOff val="35000"/>
                </a:prstClr>
              </a:solidFill>
              <a:effectLst/>
              <a:uLnTx/>
              <a:uFillTx/>
              <a:latin typeface="Sakkal Majalla"/>
              <a:ea typeface="Sakkal Majalla"/>
              <a:cs typeface="Sakkal Majalla"/>
              <a:sym typeface="Sakkal Majalla"/>
            </a:endParaRPr>
          </a:p>
        </p:txBody>
      </p:sp>
      <p:sp>
        <p:nvSpPr>
          <p:cNvPr id="11" name="Google Shape;2387;g13e3f09b857_80_170">
            <a:extLst>
              <a:ext uri="{FF2B5EF4-FFF2-40B4-BE49-F238E27FC236}">
                <a16:creationId xmlns:a16="http://schemas.microsoft.com/office/drawing/2014/main" id="{21C0B727-5F81-B0F0-DF6A-55AABEAF99A1}"/>
              </a:ext>
            </a:extLst>
          </p:cNvPr>
          <p:cNvSpPr/>
          <p:nvPr/>
        </p:nvSpPr>
        <p:spPr>
          <a:xfrm flipH="1">
            <a:off x="6836445" y="4230197"/>
            <a:ext cx="400199" cy="513159"/>
          </a:xfrm>
          <a:prstGeom prst="chevron">
            <a:avLst>
              <a:gd name="adj" fmla="val 50000"/>
            </a:avLst>
          </a:prstGeom>
          <a:solidFill>
            <a:srgbClr val="26A19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2700"/>
              <a:buFont typeface="Arial"/>
              <a:buNone/>
              <a:tabLst/>
              <a:defRPr/>
            </a:pPr>
            <a:endParaRPr kumimoji="0" sz="27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2" name="Google Shape;2388;g13e3f09b857_80_170">
            <a:extLst>
              <a:ext uri="{FF2B5EF4-FFF2-40B4-BE49-F238E27FC236}">
                <a16:creationId xmlns:a16="http://schemas.microsoft.com/office/drawing/2014/main" id="{96B587E6-A4B9-CD82-4330-6DF659E43AB3}"/>
              </a:ext>
            </a:extLst>
          </p:cNvPr>
          <p:cNvSpPr txBox="1"/>
          <p:nvPr/>
        </p:nvSpPr>
        <p:spPr>
          <a:xfrm>
            <a:off x="9071194" y="5296901"/>
            <a:ext cx="806953" cy="646331"/>
          </a:xfrm>
          <a:prstGeom prst="rect">
            <a:avLst/>
          </a:prstGeom>
          <a:noFill/>
          <a:ln w="9525" cap="flat" cmpd="sng">
            <a:solidFill>
              <a:srgbClr val="4B4C4D"/>
            </a:solidFill>
            <a:prstDash val="solid"/>
            <a:round/>
            <a:headEnd type="none" w="sm" len="sm"/>
            <a:tailEnd type="none" w="sm" len="sm"/>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595959"/>
              </a:buClr>
              <a:buSzPts val="3600"/>
              <a:buFont typeface="Arial"/>
              <a:buNone/>
              <a:tabLst/>
              <a:defRPr/>
            </a:pPr>
            <a:r>
              <a:rPr kumimoji="0" lang="en-US" sz="3600" b="1" i="0" u="none" strike="noStrike" kern="0" cap="none" spc="0" normalizeH="0" baseline="0" noProof="0">
                <a:ln>
                  <a:noFill/>
                </a:ln>
                <a:solidFill>
                  <a:prstClr val="black">
                    <a:lumMod val="65000"/>
                    <a:lumOff val="35000"/>
                  </a:prstClr>
                </a:solidFill>
                <a:effectLst/>
                <a:uLnTx/>
                <a:uFillTx/>
                <a:latin typeface="Sakkal Majalla"/>
                <a:ea typeface="Sakkal Majalla"/>
                <a:cs typeface="Sakkal Majalla"/>
                <a:sym typeface="Sakkal Majalla"/>
              </a:rPr>
              <a:t>03</a:t>
            </a:r>
            <a:endParaRPr kumimoji="0" sz="3600" b="1" i="0" u="none" strike="noStrike" kern="0" cap="none" spc="0" normalizeH="0" baseline="0" noProof="0">
              <a:ln>
                <a:noFill/>
              </a:ln>
              <a:solidFill>
                <a:prstClr val="black">
                  <a:lumMod val="65000"/>
                  <a:lumOff val="35000"/>
                </a:prstClr>
              </a:solidFill>
              <a:effectLst/>
              <a:uLnTx/>
              <a:uFillTx/>
              <a:latin typeface="Sakkal Majalla"/>
              <a:ea typeface="Sakkal Majalla"/>
              <a:cs typeface="Sakkal Majalla"/>
              <a:sym typeface="Sakkal Majalla"/>
            </a:endParaRPr>
          </a:p>
        </p:txBody>
      </p:sp>
      <p:sp>
        <p:nvSpPr>
          <p:cNvPr id="14" name="Google Shape;2390;g13e3f09b857_80_170">
            <a:extLst>
              <a:ext uri="{FF2B5EF4-FFF2-40B4-BE49-F238E27FC236}">
                <a16:creationId xmlns:a16="http://schemas.microsoft.com/office/drawing/2014/main" id="{3332ACB9-51C4-015A-1910-2FB0FF5F38A1}"/>
              </a:ext>
            </a:extLst>
          </p:cNvPr>
          <p:cNvSpPr/>
          <p:nvPr/>
        </p:nvSpPr>
        <p:spPr>
          <a:xfrm flipH="1">
            <a:off x="6836445" y="5349450"/>
            <a:ext cx="400199" cy="513159"/>
          </a:xfrm>
          <a:prstGeom prst="chevron">
            <a:avLst>
              <a:gd name="adj" fmla="val 50000"/>
            </a:avLst>
          </a:prstGeom>
          <a:solidFill>
            <a:srgbClr val="D8D8D8"/>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2700"/>
              <a:buFont typeface="Arial"/>
              <a:buNone/>
              <a:tabLst/>
              <a:defRPr/>
            </a:pPr>
            <a:endParaRPr kumimoji="0" sz="27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9" name="Google Shape;2395;g13e3f09b857_80_170">
            <a:extLst>
              <a:ext uri="{FF2B5EF4-FFF2-40B4-BE49-F238E27FC236}">
                <a16:creationId xmlns:a16="http://schemas.microsoft.com/office/drawing/2014/main" id="{1A437811-83D3-0798-70E1-7E8DA3B38FB8}"/>
              </a:ext>
            </a:extLst>
          </p:cNvPr>
          <p:cNvSpPr/>
          <p:nvPr/>
        </p:nvSpPr>
        <p:spPr>
          <a:xfrm rot="2700000">
            <a:off x="7578085" y="5396673"/>
            <a:ext cx="265920" cy="476745"/>
          </a:xfrm>
          <a:custGeom>
            <a:avLst/>
            <a:gdLst/>
            <a:ahLst/>
            <a:cxnLst/>
            <a:rect l="l" t="t" r="r" b="b"/>
            <a:pathLst>
              <a:path w="2232248" h="4001999" extrusionOk="0">
                <a:moveTo>
                  <a:pt x="1116887" y="0"/>
                </a:moveTo>
                <a:cubicBezTo>
                  <a:pt x="1270748" y="4762"/>
                  <a:pt x="1433283" y="120651"/>
                  <a:pt x="1447291" y="308459"/>
                </a:cubicBezTo>
                <a:cubicBezTo>
                  <a:pt x="1483174" y="544979"/>
                  <a:pt x="1283237" y="603082"/>
                  <a:pt x="1339988" y="887363"/>
                </a:cubicBezTo>
                <a:lnTo>
                  <a:pt x="2232248" y="887363"/>
                </a:lnTo>
                <a:lnTo>
                  <a:pt x="2232248" y="1778237"/>
                </a:lnTo>
                <a:cubicBezTo>
                  <a:pt x="1956566" y="1829261"/>
                  <a:pt x="1897086" y="1634366"/>
                  <a:pt x="1663321" y="1669832"/>
                </a:cubicBezTo>
                <a:cubicBezTo>
                  <a:pt x="1475513" y="1683840"/>
                  <a:pt x="1359624" y="1846375"/>
                  <a:pt x="1354862" y="2000236"/>
                </a:cubicBezTo>
                <a:cubicBezTo>
                  <a:pt x="1358037" y="2135389"/>
                  <a:pt x="1477787" y="2334920"/>
                  <a:pt x="1701420" y="2336507"/>
                </a:cubicBezTo>
                <a:cubicBezTo>
                  <a:pt x="1972077" y="2308709"/>
                  <a:pt x="1932339" y="2176007"/>
                  <a:pt x="2232248" y="2187989"/>
                </a:cubicBezTo>
                <a:lnTo>
                  <a:pt x="2232248" y="3119611"/>
                </a:lnTo>
                <a:lnTo>
                  <a:pt x="1303259" y="3119611"/>
                </a:lnTo>
                <a:cubicBezTo>
                  <a:pt x="1289664" y="3424971"/>
                  <a:pt x="1423682" y="3383289"/>
                  <a:pt x="1451633" y="3655441"/>
                </a:cubicBezTo>
                <a:cubicBezTo>
                  <a:pt x="1450046" y="3879074"/>
                  <a:pt x="1250515" y="3998824"/>
                  <a:pt x="1115362" y="4001999"/>
                </a:cubicBezTo>
                <a:cubicBezTo>
                  <a:pt x="961501" y="3997237"/>
                  <a:pt x="798966" y="3881348"/>
                  <a:pt x="784958" y="3693540"/>
                </a:cubicBezTo>
                <a:cubicBezTo>
                  <a:pt x="749282" y="3458385"/>
                  <a:pt x="946712" y="3399594"/>
                  <a:pt x="892811" y="3119611"/>
                </a:cubicBezTo>
                <a:lnTo>
                  <a:pt x="0" y="3119611"/>
                </a:lnTo>
                <a:lnTo>
                  <a:pt x="0" y="2203607"/>
                </a:lnTo>
                <a:cubicBezTo>
                  <a:pt x="285884" y="2145799"/>
                  <a:pt x="343730" y="2346665"/>
                  <a:pt x="580754" y="2310706"/>
                </a:cubicBezTo>
                <a:cubicBezTo>
                  <a:pt x="768562" y="2296698"/>
                  <a:pt x="884451" y="2134163"/>
                  <a:pt x="889213" y="1980302"/>
                </a:cubicBezTo>
                <a:cubicBezTo>
                  <a:pt x="886038" y="1845149"/>
                  <a:pt x="766288" y="1645618"/>
                  <a:pt x="542655" y="1644031"/>
                </a:cubicBezTo>
                <a:cubicBezTo>
                  <a:pt x="268493" y="1672188"/>
                  <a:pt x="312817" y="1807984"/>
                  <a:pt x="0" y="1792208"/>
                </a:cubicBezTo>
                <a:lnTo>
                  <a:pt x="0" y="887363"/>
                </a:lnTo>
                <a:lnTo>
                  <a:pt x="928847" y="887363"/>
                </a:lnTo>
                <a:cubicBezTo>
                  <a:pt x="944034" y="576570"/>
                  <a:pt x="808718" y="620178"/>
                  <a:pt x="780616" y="346558"/>
                </a:cubicBezTo>
                <a:cubicBezTo>
                  <a:pt x="782203" y="122925"/>
                  <a:pt x="981734" y="3175"/>
                  <a:pt x="1116887" y="0"/>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800"/>
              <a:buFont typeface="Arial"/>
              <a:buNone/>
              <a:tabLst/>
              <a:defRPr/>
            </a:pPr>
            <a:endParaRPr kumimoji="0" sz="18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20" name="Google Shape;2396;g13e3f09b857_80_170">
            <a:extLst>
              <a:ext uri="{FF2B5EF4-FFF2-40B4-BE49-F238E27FC236}">
                <a16:creationId xmlns:a16="http://schemas.microsoft.com/office/drawing/2014/main" id="{F1C51FDA-51B7-0E2D-BCE5-B7F9F2ACF13F}"/>
              </a:ext>
            </a:extLst>
          </p:cNvPr>
          <p:cNvSpPr/>
          <p:nvPr/>
        </p:nvSpPr>
        <p:spPr>
          <a:xfrm>
            <a:off x="7748832" y="5233258"/>
            <a:ext cx="792088" cy="792088"/>
          </a:xfrm>
          <a:prstGeom prst="ellipse">
            <a:avLst/>
          </a:prstGeom>
          <a:solidFill>
            <a:srgbClr val="C1C1C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2700"/>
              <a:buFont typeface="Arial"/>
              <a:buNone/>
              <a:tabLst/>
              <a:defRPr/>
            </a:pPr>
            <a:endParaRPr kumimoji="0" sz="27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21" name="Google Shape;2397;g13e3f09b857_80_170">
            <a:extLst>
              <a:ext uri="{FF2B5EF4-FFF2-40B4-BE49-F238E27FC236}">
                <a16:creationId xmlns:a16="http://schemas.microsoft.com/office/drawing/2014/main" id="{227AA29C-12DF-EEFA-927B-46CA5D701293}"/>
              </a:ext>
            </a:extLst>
          </p:cNvPr>
          <p:cNvSpPr txBox="1"/>
          <p:nvPr/>
        </p:nvSpPr>
        <p:spPr>
          <a:xfrm>
            <a:off x="659248" y="4181535"/>
            <a:ext cx="5948446" cy="400069"/>
          </a:xfrm>
          <a:prstGeom prst="rect">
            <a:avLst/>
          </a:prstGeom>
          <a:noFill/>
          <a:ln>
            <a:noFill/>
          </a:ln>
        </p:spPr>
        <p:txBody>
          <a:bodyPr spcFirstLastPara="1" wrap="square" lIns="91425" tIns="45700" rIns="91425" bIns="45700" anchor="t" anchorCtr="0">
            <a:spAutoFit/>
          </a:bodyPr>
          <a:lstStyle/>
          <a:p>
            <a:pPr marL="0" marR="0" lvl="0" indent="0" algn="r" defTabSz="914400" rtl="1" eaLnBrk="1" fontAlgn="auto" latinLnBrk="0" hangingPunct="1">
              <a:lnSpc>
                <a:spcPct val="100000"/>
              </a:lnSpc>
              <a:spcBef>
                <a:spcPts val="0"/>
              </a:spcBef>
              <a:spcAft>
                <a:spcPts val="0"/>
              </a:spcAft>
              <a:buClr>
                <a:srgbClr val="3F3F3F"/>
              </a:buClr>
              <a:buSzPts val="1600"/>
              <a:buFont typeface="Arial"/>
              <a:buNone/>
              <a:tabLst/>
              <a:defRPr/>
            </a:pPr>
            <a:r>
              <a:rPr kumimoji="0" lang="ar-SA" sz="2000" b="1" i="0" u="none" strike="noStrike" kern="1200" cap="none" spc="0" normalizeH="0" baseline="0" noProof="0" dirty="0">
                <a:ln>
                  <a:noFill/>
                </a:ln>
                <a:solidFill>
                  <a:srgbClr val="1D545B"/>
                </a:solidFill>
                <a:effectLst/>
                <a:uLnTx/>
                <a:uFillTx/>
                <a:latin typeface="Sakkal Majalla" panose="02000000000000000000" pitchFamily="2" charset="-78"/>
                <a:ea typeface="+mn-ea"/>
                <a:cs typeface="Sakkal Majalla" panose="02000000000000000000" pitchFamily="2" charset="-78"/>
              </a:rPr>
              <a:t>دعم المدرسة في تحسين نواتج التعلم ( الاختبارات الوطنية )</a:t>
            </a:r>
            <a:endParaRPr kumimoji="0" lang="ar-JO" sz="2000" b="1" i="0" u="none" strike="noStrike" kern="0" cap="none" spc="0" normalizeH="0" baseline="0" noProof="0" dirty="0">
              <a:ln>
                <a:noFill/>
              </a:ln>
              <a:solidFill>
                <a:srgbClr val="1D545B"/>
              </a:solidFill>
              <a:effectLst/>
              <a:uLnTx/>
              <a:uFillTx/>
              <a:latin typeface="Sakkal Majalla" panose="02000000000000000000" pitchFamily="2" charset="-78"/>
              <a:ea typeface="Sakkal Majalla"/>
              <a:cs typeface="Sakkal Majalla" panose="02000000000000000000" pitchFamily="2" charset="-78"/>
              <a:sym typeface="Sakkal Majalla"/>
            </a:endParaRPr>
          </a:p>
        </p:txBody>
      </p:sp>
      <p:sp>
        <p:nvSpPr>
          <p:cNvPr id="22" name="Google Shape;2398;g13e3f09b857_80_170">
            <a:extLst>
              <a:ext uri="{FF2B5EF4-FFF2-40B4-BE49-F238E27FC236}">
                <a16:creationId xmlns:a16="http://schemas.microsoft.com/office/drawing/2014/main" id="{328CA26F-D174-BAD0-CA66-997035013EF7}"/>
              </a:ext>
            </a:extLst>
          </p:cNvPr>
          <p:cNvSpPr txBox="1"/>
          <p:nvPr/>
        </p:nvSpPr>
        <p:spPr>
          <a:xfrm>
            <a:off x="888980" y="5367925"/>
            <a:ext cx="5717525" cy="400069"/>
          </a:xfrm>
          <a:prstGeom prst="rect">
            <a:avLst/>
          </a:prstGeom>
          <a:noFill/>
          <a:ln>
            <a:noFill/>
          </a:ln>
        </p:spPr>
        <p:txBody>
          <a:bodyPr spcFirstLastPara="1" wrap="square" lIns="91425" tIns="45700" rIns="91425" bIns="45700" anchor="t" anchorCtr="0">
            <a:spAutoFit/>
          </a:bodyPr>
          <a:lstStyle/>
          <a:p>
            <a:pPr marL="0" marR="0" lvl="0" indent="0" algn="r" defTabSz="914400" rtl="1" eaLnBrk="1" fontAlgn="auto" latinLnBrk="0" hangingPunct="1">
              <a:lnSpc>
                <a:spcPct val="100000"/>
              </a:lnSpc>
              <a:spcBef>
                <a:spcPts val="0"/>
              </a:spcBef>
              <a:spcAft>
                <a:spcPts val="0"/>
              </a:spcAft>
              <a:buClr>
                <a:srgbClr val="3F3F3F"/>
              </a:buClr>
              <a:buSzPts val="1600"/>
              <a:buFontTx/>
              <a:buNone/>
              <a:tabLst/>
              <a:defRPr/>
            </a:pPr>
            <a:r>
              <a:rPr kumimoji="0" lang="ar-SA" sz="2000" b="1" i="0" u="none" strike="noStrike" kern="1200" cap="none" spc="0" normalizeH="0" baseline="0" noProof="0" dirty="0">
                <a:ln>
                  <a:noFill/>
                </a:ln>
                <a:solidFill>
                  <a:srgbClr val="1D545B"/>
                </a:solidFill>
                <a:effectLst/>
                <a:uLnTx/>
                <a:uFillTx/>
                <a:latin typeface="Sakkal Majalla" panose="02000000000000000000" pitchFamily="2" charset="-78"/>
                <a:ea typeface="+mn-ea"/>
                <a:cs typeface="Sakkal Majalla" panose="02000000000000000000" pitchFamily="2" charset="-78"/>
              </a:rPr>
              <a:t>دعم ومساندة المدرسة في مجال عملية التعليم والتعلم </a:t>
            </a:r>
            <a:endParaRPr kumimoji="0" lang="ar-JO" sz="2000" b="1" i="0" u="none" strike="noStrike" kern="1200" cap="none" spc="0" normalizeH="0" baseline="0" noProof="0" dirty="0">
              <a:ln>
                <a:noFill/>
              </a:ln>
              <a:solidFill>
                <a:srgbClr val="1D545B"/>
              </a:solidFill>
              <a:effectLst/>
              <a:uLnTx/>
              <a:uFillTx/>
              <a:latin typeface="Sakkal Majalla" panose="02000000000000000000" pitchFamily="2" charset="-78"/>
              <a:ea typeface="+mn-ea"/>
              <a:cs typeface="Sakkal Majalla" panose="02000000000000000000" pitchFamily="2" charset="-78"/>
              <a:sym typeface="Sakkal Majalla"/>
            </a:endParaRPr>
          </a:p>
        </p:txBody>
      </p:sp>
      <p:cxnSp>
        <p:nvCxnSpPr>
          <p:cNvPr id="40" name="Google Shape;2424;g13e3f09b857_80_170">
            <a:extLst>
              <a:ext uri="{FF2B5EF4-FFF2-40B4-BE49-F238E27FC236}">
                <a16:creationId xmlns:a16="http://schemas.microsoft.com/office/drawing/2014/main" id="{D6034146-3B29-D19D-91F8-C080C87654FD}"/>
              </a:ext>
            </a:extLst>
          </p:cNvPr>
          <p:cNvCxnSpPr>
            <a:cxnSpLocks/>
            <a:endCxn id="6" idx="1"/>
          </p:cNvCxnSpPr>
          <p:nvPr/>
        </p:nvCxnSpPr>
        <p:spPr>
          <a:xfrm flipH="1">
            <a:off x="7036544" y="3390798"/>
            <a:ext cx="802853" cy="0"/>
          </a:xfrm>
          <a:prstGeom prst="straightConnector1">
            <a:avLst/>
          </a:prstGeom>
          <a:noFill/>
          <a:ln w="9525" cap="flat" cmpd="sng">
            <a:solidFill>
              <a:srgbClr val="267079"/>
            </a:solidFill>
            <a:prstDash val="solid"/>
            <a:round/>
            <a:headEnd type="none" w="sm" len="sm"/>
            <a:tailEnd type="none" w="sm" len="sm"/>
          </a:ln>
        </p:spPr>
      </p:cxnSp>
      <p:cxnSp>
        <p:nvCxnSpPr>
          <p:cNvPr id="41" name="Google Shape;2425;g13e3f09b857_80_170">
            <a:extLst>
              <a:ext uri="{FF2B5EF4-FFF2-40B4-BE49-F238E27FC236}">
                <a16:creationId xmlns:a16="http://schemas.microsoft.com/office/drawing/2014/main" id="{02390DA5-F233-0969-B8D9-1BD8C0ECE8AB}"/>
              </a:ext>
            </a:extLst>
          </p:cNvPr>
          <p:cNvCxnSpPr>
            <a:cxnSpLocks/>
          </p:cNvCxnSpPr>
          <p:nvPr/>
        </p:nvCxnSpPr>
        <p:spPr>
          <a:xfrm>
            <a:off x="7036544" y="4493458"/>
            <a:ext cx="717102" cy="0"/>
          </a:xfrm>
          <a:prstGeom prst="straightConnector1">
            <a:avLst/>
          </a:prstGeom>
          <a:noFill/>
          <a:ln w="9525" cap="flat" cmpd="sng">
            <a:solidFill>
              <a:srgbClr val="26A19F"/>
            </a:solidFill>
            <a:prstDash val="solid"/>
            <a:round/>
            <a:headEnd type="none" w="sm" len="sm"/>
            <a:tailEnd type="none" w="sm" len="sm"/>
          </a:ln>
        </p:spPr>
      </p:cxnSp>
      <p:cxnSp>
        <p:nvCxnSpPr>
          <p:cNvPr id="42" name="Google Shape;2426;g13e3f09b857_80_170">
            <a:extLst>
              <a:ext uri="{FF2B5EF4-FFF2-40B4-BE49-F238E27FC236}">
                <a16:creationId xmlns:a16="http://schemas.microsoft.com/office/drawing/2014/main" id="{E872AEC4-0DAE-E4F6-AE5A-049454796607}"/>
              </a:ext>
            </a:extLst>
          </p:cNvPr>
          <p:cNvCxnSpPr>
            <a:cxnSpLocks/>
          </p:cNvCxnSpPr>
          <p:nvPr/>
        </p:nvCxnSpPr>
        <p:spPr>
          <a:xfrm>
            <a:off x="6928529" y="5596149"/>
            <a:ext cx="910868" cy="0"/>
          </a:xfrm>
          <a:prstGeom prst="straightConnector1">
            <a:avLst/>
          </a:prstGeom>
          <a:noFill/>
          <a:ln w="9525" cap="flat" cmpd="sng">
            <a:solidFill>
              <a:srgbClr val="C1C1C3"/>
            </a:solidFill>
            <a:prstDash val="solid"/>
            <a:round/>
            <a:headEnd type="none" w="sm" len="sm"/>
            <a:tailEnd type="none" w="sm" len="sm"/>
          </a:ln>
        </p:spPr>
      </p:cxnSp>
      <p:pic>
        <p:nvPicPr>
          <p:cNvPr id="5" name="صورة 4" descr="صورة تحتوي على لقطة شاشة, الخط, نص, الرسومات&#10;&#10;تم إنشاء الوصف تلقائياً">
            <a:extLst>
              <a:ext uri="{FF2B5EF4-FFF2-40B4-BE49-F238E27FC236}">
                <a16:creationId xmlns:a16="http://schemas.microsoft.com/office/drawing/2014/main" id="{34A61111-E209-3A95-1A2F-FDDA970EE993}"/>
              </a:ext>
            </a:extLst>
          </p:cNvPr>
          <p:cNvPicPr>
            <a:picLocks noChangeAspect="1"/>
          </p:cNvPicPr>
          <p:nvPr/>
        </p:nvPicPr>
        <p:blipFill>
          <a:blip r:embed="rId5"/>
          <a:stretch>
            <a:fillRect/>
          </a:stretch>
        </p:blipFill>
        <p:spPr>
          <a:xfrm>
            <a:off x="92364" y="205319"/>
            <a:ext cx="2475289" cy="1325827"/>
          </a:xfrm>
          <a:prstGeom prst="rect">
            <a:avLst/>
          </a:prstGeom>
        </p:spPr>
      </p:pic>
      <p:grpSp>
        <p:nvGrpSpPr>
          <p:cNvPr id="26" name="مجموعة 25">
            <a:extLst>
              <a:ext uri="{FF2B5EF4-FFF2-40B4-BE49-F238E27FC236}">
                <a16:creationId xmlns:a16="http://schemas.microsoft.com/office/drawing/2014/main" id="{2BFB5CB7-C57D-ADFC-C6C7-8A76892B34CA}"/>
              </a:ext>
            </a:extLst>
          </p:cNvPr>
          <p:cNvGrpSpPr/>
          <p:nvPr/>
        </p:nvGrpSpPr>
        <p:grpSpPr>
          <a:xfrm>
            <a:off x="1276905" y="6271493"/>
            <a:ext cx="10702706" cy="549563"/>
            <a:chOff x="1276905" y="6271493"/>
            <a:chExt cx="10702706" cy="549563"/>
          </a:xfrm>
        </p:grpSpPr>
        <p:sp>
          <p:nvSpPr>
            <p:cNvPr id="10" name="مستطيل 9">
              <a:extLst>
                <a:ext uri="{FF2B5EF4-FFF2-40B4-BE49-F238E27FC236}">
                  <a16:creationId xmlns:a16="http://schemas.microsoft.com/office/drawing/2014/main" id="{D55C9D10-8E99-F1DD-F4CC-C430EB68FA13}"/>
                </a:ext>
              </a:extLst>
            </p:cNvPr>
            <p:cNvSpPr/>
            <p:nvPr/>
          </p:nvSpPr>
          <p:spPr>
            <a:xfrm>
              <a:off x="1276905" y="6464919"/>
              <a:ext cx="10026957" cy="238977"/>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ar-SA" sz="1800" b="0" i="0" u="none" strike="noStrike" kern="1200" cap="none" spc="0" normalizeH="0" baseline="0" noProof="0" dirty="0">
                <a:ln>
                  <a:noFill/>
                </a:ln>
                <a:solidFill>
                  <a:prstClr val="white"/>
                </a:solidFill>
                <a:effectLst/>
                <a:uLnTx/>
                <a:uFillTx/>
                <a:latin typeface="Century Gothic" panose="020B0502020202020204"/>
                <a:ea typeface="+mn-ea"/>
                <a:cs typeface="Arial" panose="020B0604020202020204" pitchFamily="34" charset="0"/>
              </a:endParaRPr>
            </a:p>
          </p:txBody>
        </p:sp>
        <p:sp>
          <p:nvSpPr>
            <p:cNvPr id="24" name="مخطط انسيابي: قرص ممغنط 23">
              <a:extLst>
                <a:ext uri="{FF2B5EF4-FFF2-40B4-BE49-F238E27FC236}">
                  <a16:creationId xmlns:a16="http://schemas.microsoft.com/office/drawing/2014/main" id="{B07E6D3A-62B3-C14E-F862-F90D1E1DD6E2}"/>
                </a:ext>
              </a:extLst>
            </p:cNvPr>
            <p:cNvSpPr/>
            <p:nvPr/>
          </p:nvSpPr>
          <p:spPr>
            <a:xfrm>
              <a:off x="11303862" y="6271493"/>
              <a:ext cx="675749" cy="540327"/>
            </a:xfrm>
            <a:prstGeom prst="flowChartMagneticDisk">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ar-SA" sz="1800" b="0" i="0" u="none" strike="noStrike" kern="1200" cap="none" spc="0" normalizeH="0" baseline="0" noProof="0">
                <a:ln>
                  <a:noFill/>
                </a:ln>
                <a:solidFill>
                  <a:prstClr val="white"/>
                </a:solidFill>
                <a:effectLst/>
                <a:uLnTx/>
                <a:uFillTx/>
                <a:latin typeface="Century Gothic" panose="020B0502020202020204"/>
                <a:ea typeface="+mn-ea"/>
                <a:cs typeface="Arial" panose="020B0604020202020204" pitchFamily="34" charset="0"/>
              </a:endParaRPr>
            </a:p>
          </p:txBody>
        </p:sp>
        <p:sp>
          <p:nvSpPr>
            <p:cNvPr id="25" name="مخطط انسيابي: قرص ممغنط 24">
              <a:extLst>
                <a:ext uri="{FF2B5EF4-FFF2-40B4-BE49-F238E27FC236}">
                  <a16:creationId xmlns:a16="http://schemas.microsoft.com/office/drawing/2014/main" id="{FDC7C8C9-2FED-EAB4-EBA5-F4B6F5528CD1}"/>
                </a:ext>
              </a:extLst>
            </p:cNvPr>
            <p:cNvSpPr/>
            <p:nvPr/>
          </p:nvSpPr>
          <p:spPr>
            <a:xfrm>
              <a:off x="10398651" y="6280729"/>
              <a:ext cx="675749" cy="540327"/>
            </a:xfrm>
            <a:prstGeom prst="flowChartMagneticDisk">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ar-SA" sz="1800" b="0" i="0" u="none" strike="noStrike" kern="1200" cap="none" spc="0" normalizeH="0" baseline="0" noProof="0">
                <a:ln>
                  <a:noFill/>
                </a:ln>
                <a:solidFill>
                  <a:prstClr val="white"/>
                </a:solidFill>
                <a:effectLst/>
                <a:uLnTx/>
                <a:uFillTx/>
                <a:latin typeface="Century Gothic" panose="020B0502020202020204"/>
                <a:ea typeface="+mn-ea"/>
                <a:cs typeface="Arial" panose="020B0604020202020204" pitchFamily="34" charset="0"/>
              </a:endParaRPr>
            </a:p>
          </p:txBody>
        </p:sp>
      </p:grpSp>
    </p:spTree>
    <p:extLst>
      <p:ext uri="{BB962C8B-B14F-4D97-AF65-F5344CB8AC3E}">
        <p14:creationId xmlns:p14="http://schemas.microsoft.com/office/powerpoint/2010/main" val="3145593315"/>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TextBox 53"/>
          <p:cNvSpPr txBox="1"/>
          <p:nvPr/>
        </p:nvSpPr>
        <p:spPr>
          <a:xfrm>
            <a:off x="1719312" y="298357"/>
            <a:ext cx="7553866" cy="58477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ar-SA" sz="3200" b="0" i="0" u="none" strike="noStrike" kern="1200" cap="none" spc="0" normalizeH="0" baseline="0" noProof="0" dirty="0">
                <a:ln>
                  <a:noFill/>
                </a:ln>
                <a:solidFill>
                  <a:srgbClr val="00796B"/>
                </a:solidFill>
                <a:effectLst/>
                <a:uLnTx/>
                <a:uFillTx/>
                <a:latin typeface="Source Sans Pro Light" panose="020B0403030403020204" pitchFamily="34" charset="0"/>
                <a:ea typeface="Roboto Black" panose="02000000000000000000" pitchFamily="2" charset="0"/>
                <a:cs typeface="Roboto Black" panose="02000000000000000000" pitchFamily="2" charset="0"/>
              </a:rPr>
              <a:t>قراءة نتائج نافس في مدرسة (س)</a:t>
            </a:r>
            <a:endParaRPr kumimoji="0" lang="en-US" sz="3200" b="0" i="0" u="none" strike="noStrike" kern="1200" cap="none" spc="0" normalizeH="0" baseline="0" noProof="0" dirty="0">
              <a:ln>
                <a:noFill/>
              </a:ln>
              <a:solidFill>
                <a:srgbClr val="00796B"/>
              </a:solidFill>
              <a:effectLst/>
              <a:uLnTx/>
              <a:uFillTx/>
              <a:latin typeface="Source Sans Pro Light" panose="020B0403030403020204" pitchFamily="34" charset="0"/>
              <a:ea typeface="Roboto Black" panose="02000000000000000000" pitchFamily="2" charset="0"/>
              <a:cs typeface="Roboto Black" panose="02000000000000000000" pitchFamily="2" charset="0"/>
            </a:endParaRPr>
          </a:p>
        </p:txBody>
      </p:sp>
      <p:grpSp>
        <p:nvGrpSpPr>
          <p:cNvPr id="2" name="Group 3">
            <a:extLst>
              <a:ext uri="{FF2B5EF4-FFF2-40B4-BE49-F238E27FC236}">
                <a16:creationId xmlns:a16="http://schemas.microsoft.com/office/drawing/2014/main" id="{326B14FD-9F7D-3AC8-4118-632A0834C0E7}"/>
              </a:ext>
            </a:extLst>
          </p:cNvPr>
          <p:cNvGrpSpPr/>
          <p:nvPr/>
        </p:nvGrpSpPr>
        <p:grpSpPr>
          <a:xfrm>
            <a:off x="9269797" y="3842567"/>
            <a:ext cx="2742897" cy="2650861"/>
            <a:chOff x="4094649" y="2398809"/>
            <a:chExt cx="3978302" cy="4469130"/>
          </a:xfrm>
        </p:grpSpPr>
        <p:sp>
          <p:nvSpPr>
            <p:cNvPr id="3" name="Freeform 7">
              <a:extLst>
                <a:ext uri="{FF2B5EF4-FFF2-40B4-BE49-F238E27FC236}">
                  <a16:creationId xmlns:a16="http://schemas.microsoft.com/office/drawing/2014/main" id="{E990F1AF-B565-2C78-87E4-D956E83D5F01}"/>
                </a:ext>
              </a:extLst>
            </p:cNvPr>
            <p:cNvSpPr>
              <a:spLocks/>
            </p:cNvSpPr>
            <p:nvPr/>
          </p:nvSpPr>
          <p:spPr bwMode="auto">
            <a:xfrm>
              <a:off x="6445463" y="4006921"/>
              <a:ext cx="276630" cy="446698"/>
            </a:xfrm>
            <a:custGeom>
              <a:avLst/>
              <a:gdLst>
                <a:gd name="T0" fmla="*/ 257 w 257"/>
                <a:gd name="T1" fmla="*/ 375 h 415"/>
                <a:gd name="T2" fmla="*/ 138 w 257"/>
                <a:gd name="T3" fmla="*/ 0 h 415"/>
                <a:gd name="T4" fmla="*/ 112 w 257"/>
                <a:gd name="T5" fmla="*/ 0 h 415"/>
                <a:gd name="T6" fmla="*/ 0 w 257"/>
                <a:gd name="T7" fmla="*/ 388 h 415"/>
                <a:gd name="T8" fmla="*/ 7 w 257"/>
                <a:gd name="T9" fmla="*/ 415 h 415"/>
                <a:gd name="T10" fmla="*/ 242 w 257"/>
                <a:gd name="T11" fmla="*/ 414 h 415"/>
                <a:gd name="T12" fmla="*/ 257 w 257"/>
                <a:gd name="T13" fmla="*/ 375 h 415"/>
              </a:gdLst>
              <a:ahLst/>
              <a:cxnLst>
                <a:cxn ang="0">
                  <a:pos x="T0" y="T1"/>
                </a:cxn>
                <a:cxn ang="0">
                  <a:pos x="T2" y="T3"/>
                </a:cxn>
                <a:cxn ang="0">
                  <a:pos x="T4" y="T5"/>
                </a:cxn>
                <a:cxn ang="0">
                  <a:pos x="T6" y="T7"/>
                </a:cxn>
                <a:cxn ang="0">
                  <a:pos x="T8" y="T9"/>
                </a:cxn>
                <a:cxn ang="0">
                  <a:pos x="T10" y="T11"/>
                </a:cxn>
                <a:cxn ang="0">
                  <a:pos x="T12" y="T13"/>
                </a:cxn>
              </a:cxnLst>
              <a:rect l="0" t="0" r="r" b="b"/>
              <a:pathLst>
                <a:path w="257" h="415">
                  <a:moveTo>
                    <a:pt x="257" y="375"/>
                  </a:moveTo>
                  <a:lnTo>
                    <a:pt x="138" y="0"/>
                  </a:lnTo>
                  <a:lnTo>
                    <a:pt x="112" y="0"/>
                  </a:lnTo>
                  <a:lnTo>
                    <a:pt x="0" y="388"/>
                  </a:lnTo>
                  <a:lnTo>
                    <a:pt x="7" y="415"/>
                  </a:lnTo>
                  <a:lnTo>
                    <a:pt x="242" y="414"/>
                  </a:lnTo>
                  <a:lnTo>
                    <a:pt x="257" y="37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4" name="Freeform 8">
              <a:extLst>
                <a:ext uri="{FF2B5EF4-FFF2-40B4-BE49-F238E27FC236}">
                  <a16:creationId xmlns:a16="http://schemas.microsoft.com/office/drawing/2014/main" id="{DA6D2FC8-B8E5-4B15-58F3-139480F53556}"/>
                </a:ext>
              </a:extLst>
            </p:cNvPr>
            <p:cNvSpPr>
              <a:spLocks/>
            </p:cNvSpPr>
            <p:nvPr/>
          </p:nvSpPr>
          <p:spPr bwMode="auto">
            <a:xfrm>
              <a:off x="6445463" y="4006921"/>
              <a:ext cx="276630" cy="446698"/>
            </a:xfrm>
            <a:custGeom>
              <a:avLst/>
              <a:gdLst>
                <a:gd name="T0" fmla="*/ 257 w 257"/>
                <a:gd name="T1" fmla="*/ 375 h 415"/>
                <a:gd name="T2" fmla="*/ 138 w 257"/>
                <a:gd name="T3" fmla="*/ 0 h 415"/>
                <a:gd name="T4" fmla="*/ 112 w 257"/>
                <a:gd name="T5" fmla="*/ 0 h 415"/>
                <a:gd name="T6" fmla="*/ 0 w 257"/>
                <a:gd name="T7" fmla="*/ 388 h 415"/>
                <a:gd name="T8" fmla="*/ 7 w 257"/>
                <a:gd name="T9" fmla="*/ 415 h 415"/>
                <a:gd name="T10" fmla="*/ 242 w 257"/>
                <a:gd name="T11" fmla="*/ 414 h 415"/>
                <a:gd name="T12" fmla="*/ 257 w 257"/>
                <a:gd name="T13" fmla="*/ 375 h 415"/>
              </a:gdLst>
              <a:ahLst/>
              <a:cxnLst>
                <a:cxn ang="0">
                  <a:pos x="T0" y="T1"/>
                </a:cxn>
                <a:cxn ang="0">
                  <a:pos x="T2" y="T3"/>
                </a:cxn>
                <a:cxn ang="0">
                  <a:pos x="T4" y="T5"/>
                </a:cxn>
                <a:cxn ang="0">
                  <a:pos x="T6" y="T7"/>
                </a:cxn>
                <a:cxn ang="0">
                  <a:pos x="T8" y="T9"/>
                </a:cxn>
                <a:cxn ang="0">
                  <a:pos x="T10" y="T11"/>
                </a:cxn>
                <a:cxn ang="0">
                  <a:pos x="T12" y="T13"/>
                </a:cxn>
              </a:cxnLst>
              <a:rect l="0" t="0" r="r" b="b"/>
              <a:pathLst>
                <a:path w="257" h="415">
                  <a:moveTo>
                    <a:pt x="257" y="375"/>
                  </a:moveTo>
                  <a:lnTo>
                    <a:pt x="138" y="0"/>
                  </a:lnTo>
                  <a:lnTo>
                    <a:pt x="112" y="0"/>
                  </a:lnTo>
                  <a:lnTo>
                    <a:pt x="0" y="388"/>
                  </a:lnTo>
                  <a:lnTo>
                    <a:pt x="7" y="415"/>
                  </a:lnTo>
                  <a:lnTo>
                    <a:pt x="242" y="414"/>
                  </a:lnTo>
                  <a:lnTo>
                    <a:pt x="257" y="37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5" name="Freeform 9">
              <a:extLst>
                <a:ext uri="{FF2B5EF4-FFF2-40B4-BE49-F238E27FC236}">
                  <a16:creationId xmlns:a16="http://schemas.microsoft.com/office/drawing/2014/main" id="{6F7AE182-21D6-E579-0054-0A3BE593150F}"/>
                </a:ext>
              </a:extLst>
            </p:cNvPr>
            <p:cNvSpPr>
              <a:spLocks/>
            </p:cNvSpPr>
            <p:nvPr/>
          </p:nvSpPr>
          <p:spPr bwMode="auto">
            <a:xfrm>
              <a:off x="6525116" y="4391188"/>
              <a:ext cx="115173" cy="2474598"/>
            </a:xfrm>
            <a:custGeom>
              <a:avLst/>
              <a:gdLst>
                <a:gd name="T0" fmla="*/ 79 w 79"/>
                <a:gd name="T1" fmla="*/ 1703 h 1703"/>
                <a:gd name="T2" fmla="*/ 0 w 79"/>
                <a:gd name="T3" fmla="*/ 1703 h 1703"/>
                <a:gd name="T4" fmla="*/ 0 w 79"/>
                <a:gd name="T5" fmla="*/ 33 h 1703"/>
                <a:gd name="T6" fmla="*/ 38 w 79"/>
                <a:gd name="T7" fmla="*/ 1 h 1703"/>
                <a:gd name="T8" fmla="*/ 79 w 79"/>
                <a:gd name="T9" fmla="*/ 33 h 1703"/>
                <a:gd name="T10" fmla="*/ 79 w 79"/>
                <a:gd name="T11" fmla="*/ 1703 h 1703"/>
              </a:gdLst>
              <a:ahLst/>
              <a:cxnLst>
                <a:cxn ang="0">
                  <a:pos x="T0" y="T1"/>
                </a:cxn>
                <a:cxn ang="0">
                  <a:pos x="T2" y="T3"/>
                </a:cxn>
                <a:cxn ang="0">
                  <a:pos x="T4" y="T5"/>
                </a:cxn>
                <a:cxn ang="0">
                  <a:pos x="T6" y="T7"/>
                </a:cxn>
                <a:cxn ang="0">
                  <a:pos x="T8" y="T9"/>
                </a:cxn>
                <a:cxn ang="0">
                  <a:pos x="T10" y="T11"/>
                </a:cxn>
              </a:cxnLst>
              <a:rect l="0" t="0" r="r" b="b"/>
              <a:pathLst>
                <a:path w="79" h="1703">
                  <a:moveTo>
                    <a:pt x="79" y="1703"/>
                  </a:moveTo>
                  <a:cubicBezTo>
                    <a:pt x="0" y="1703"/>
                    <a:pt x="0" y="1703"/>
                    <a:pt x="0" y="1703"/>
                  </a:cubicBezTo>
                  <a:cubicBezTo>
                    <a:pt x="0" y="33"/>
                    <a:pt x="0" y="33"/>
                    <a:pt x="0" y="33"/>
                  </a:cubicBezTo>
                  <a:cubicBezTo>
                    <a:pt x="0" y="33"/>
                    <a:pt x="5" y="2"/>
                    <a:pt x="38" y="1"/>
                  </a:cubicBezTo>
                  <a:cubicBezTo>
                    <a:pt x="72" y="0"/>
                    <a:pt x="79" y="33"/>
                    <a:pt x="79" y="33"/>
                  </a:cubicBezTo>
                  <a:cubicBezTo>
                    <a:pt x="79" y="1703"/>
                    <a:pt x="79" y="1703"/>
                    <a:pt x="79" y="1703"/>
                  </a:cubicBezTo>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6" name="Freeform 10">
              <a:extLst>
                <a:ext uri="{FF2B5EF4-FFF2-40B4-BE49-F238E27FC236}">
                  <a16:creationId xmlns:a16="http://schemas.microsoft.com/office/drawing/2014/main" id="{A24F7E06-F7A4-83B3-047E-B6DF11666FB7}"/>
                </a:ext>
              </a:extLst>
            </p:cNvPr>
            <p:cNvSpPr>
              <a:spLocks/>
            </p:cNvSpPr>
            <p:nvPr/>
          </p:nvSpPr>
          <p:spPr bwMode="auto">
            <a:xfrm>
              <a:off x="6638136" y="4389035"/>
              <a:ext cx="91493" cy="2474598"/>
            </a:xfrm>
            <a:custGeom>
              <a:avLst/>
              <a:gdLst>
                <a:gd name="T0" fmla="*/ 63 w 63"/>
                <a:gd name="T1" fmla="*/ 1704 h 1704"/>
                <a:gd name="T2" fmla="*/ 0 w 63"/>
                <a:gd name="T3" fmla="*/ 1704 h 1704"/>
                <a:gd name="T4" fmla="*/ 0 w 63"/>
                <a:gd name="T5" fmla="*/ 33 h 1704"/>
                <a:gd name="T6" fmla="*/ 31 w 63"/>
                <a:gd name="T7" fmla="*/ 1 h 1704"/>
                <a:gd name="T8" fmla="*/ 63 w 63"/>
                <a:gd name="T9" fmla="*/ 33 h 1704"/>
                <a:gd name="T10" fmla="*/ 63 w 63"/>
                <a:gd name="T11" fmla="*/ 1704 h 1704"/>
              </a:gdLst>
              <a:ahLst/>
              <a:cxnLst>
                <a:cxn ang="0">
                  <a:pos x="T0" y="T1"/>
                </a:cxn>
                <a:cxn ang="0">
                  <a:pos x="T2" y="T3"/>
                </a:cxn>
                <a:cxn ang="0">
                  <a:pos x="T4" y="T5"/>
                </a:cxn>
                <a:cxn ang="0">
                  <a:pos x="T6" y="T7"/>
                </a:cxn>
                <a:cxn ang="0">
                  <a:pos x="T8" y="T9"/>
                </a:cxn>
                <a:cxn ang="0">
                  <a:pos x="T10" y="T11"/>
                </a:cxn>
              </a:cxnLst>
              <a:rect l="0" t="0" r="r" b="b"/>
              <a:pathLst>
                <a:path w="63" h="1704">
                  <a:moveTo>
                    <a:pt x="63" y="1704"/>
                  </a:moveTo>
                  <a:cubicBezTo>
                    <a:pt x="0" y="1704"/>
                    <a:pt x="0" y="1704"/>
                    <a:pt x="0" y="1704"/>
                  </a:cubicBezTo>
                  <a:cubicBezTo>
                    <a:pt x="0" y="33"/>
                    <a:pt x="0" y="33"/>
                    <a:pt x="0" y="33"/>
                  </a:cubicBezTo>
                  <a:cubicBezTo>
                    <a:pt x="0" y="33"/>
                    <a:pt x="4" y="1"/>
                    <a:pt x="31" y="1"/>
                  </a:cubicBezTo>
                  <a:cubicBezTo>
                    <a:pt x="58" y="0"/>
                    <a:pt x="63" y="33"/>
                    <a:pt x="63" y="33"/>
                  </a:cubicBezTo>
                  <a:cubicBezTo>
                    <a:pt x="63" y="1704"/>
                    <a:pt x="63" y="1704"/>
                    <a:pt x="63" y="1704"/>
                  </a:cubicBezTo>
                </a:path>
              </a:pathLst>
            </a:custGeom>
            <a:solidFill>
              <a:srgbClr val="3DCE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7" name="Freeform 11">
              <a:extLst>
                <a:ext uri="{FF2B5EF4-FFF2-40B4-BE49-F238E27FC236}">
                  <a16:creationId xmlns:a16="http://schemas.microsoft.com/office/drawing/2014/main" id="{E2A8EBF9-8872-8F88-5D13-F56611BFFDCF}"/>
                </a:ext>
              </a:extLst>
            </p:cNvPr>
            <p:cNvSpPr>
              <a:spLocks/>
            </p:cNvSpPr>
            <p:nvPr/>
          </p:nvSpPr>
          <p:spPr bwMode="auto">
            <a:xfrm>
              <a:off x="6435776" y="4389035"/>
              <a:ext cx="91493" cy="2474598"/>
            </a:xfrm>
            <a:custGeom>
              <a:avLst/>
              <a:gdLst>
                <a:gd name="T0" fmla="*/ 63 w 63"/>
                <a:gd name="T1" fmla="*/ 1704 h 1704"/>
                <a:gd name="T2" fmla="*/ 0 w 63"/>
                <a:gd name="T3" fmla="*/ 1704 h 1704"/>
                <a:gd name="T4" fmla="*/ 0 w 63"/>
                <a:gd name="T5" fmla="*/ 33 h 1704"/>
                <a:gd name="T6" fmla="*/ 31 w 63"/>
                <a:gd name="T7" fmla="*/ 1 h 1704"/>
                <a:gd name="T8" fmla="*/ 63 w 63"/>
                <a:gd name="T9" fmla="*/ 33 h 1704"/>
                <a:gd name="T10" fmla="*/ 63 w 63"/>
                <a:gd name="T11" fmla="*/ 1704 h 1704"/>
              </a:gdLst>
              <a:ahLst/>
              <a:cxnLst>
                <a:cxn ang="0">
                  <a:pos x="T0" y="T1"/>
                </a:cxn>
                <a:cxn ang="0">
                  <a:pos x="T2" y="T3"/>
                </a:cxn>
                <a:cxn ang="0">
                  <a:pos x="T4" y="T5"/>
                </a:cxn>
                <a:cxn ang="0">
                  <a:pos x="T6" y="T7"/>
                </a:cxn>
                <a:cxn ang="0">
                  <a:pos x="T8" y="T9"/>
                </a:cxn>
                <a:cxn ang="0">
                  <a:pos x="T10" y="T11"/>
                </a:cxn>
              </a:cxnLst>
              <a:rect l="0" t="0" r="r" b="b"/>
              <a:pathLst>
                <a:path w="63" h="1704">
                  <a:moveTo>
                    <a:pt x="63" y="1704"/>
                  </a:moveTo>
                  <a:cubicBezTo>
                    <a:pt x="0" y="1704"/>
                    <a:pt x="0" y="1704"/>
                    <a:pt x="0" y="1704"/>
                  </a:cubicBezTo>
                  <a:cubicBezTo>
                    <a:pt x="0" y="33"/>
                    <a:pt x="0" y="33"/>
                    <a:pt x="0" y="33"/>
                  </a:cubicBezTo>
                  <a:cubicBezTo>
                    <a:pt x="0" y="33"/>
                    <a:pt x="4" y="1"/>
                    <a:pt x="31" y="1"/>
                  </a:cubicBezTo>
                  <a:cubicBezTo>
                    <a:pt x="58" y="0"/>
                    <a:pt x="63" y="33"/>
                    <a:pt x="63" y="33"/>
                  </a:cubicBezTo>
                  <a:lnTo>
                    <a:pt x="63" y="1704"/>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8" name="Freeform 12">
              <a:extLst>
                <a:ext uri="{FF2B5EF4-FFF2-40B4-BE49-F238E27FC236}">
                  <a16:creationId xmlns:a16="http://schemas.microsoft.com/office/drawing/2014/main" id="{3E7FECE2-4663-C8A7-EA75-0B009AB9552A}"/>
                </a:ext>
              </a:extLst>
            </p:cNvPr>
            <p:cNvSpPr>
              <a:spLocks/>
            </p:cNvSpPr>
            <p:nvPr/>
          </p:nvSpPr>
          <p:spPr bwMode="auto">
            <a:xfrm>
              <a:off x="6522963" y="3999386"/>
              <a:ext cx="120555" cy="174374"/>
            </a:xfrm>
            <a:custGeom>
              <a:avLst/>
              <a:gdLst>
                <a:gd name="T0" fmla="*/ 0 w 83"/>
                <a:gd name="T1" fmla="*/ 111 h 120"/>
                <a:gd name="T2" fmla="*/ 83 w 83"/>
                <a:gd name="T3" fmla="*/ 113 h 120"/>
                <a:gd name="T4" fmla="*/ 50 w 83"/>
                <a:gd name="T5" fmla="*/ 0 h 120"/>
                <a:gd name="T6" fmla="*/ 29 w 83"/>
                <a:gd name="T7" fmla="*/ 0 h 120"/>
                <a:gd name="T8" fmla="*/ 0 w 83"/>
                <a:gd name="T9" fmla="*/ 111 h 120"/>
              </a:gdLst>
              <a:ahLst/>
              <a:cxnLst>
                <a:cxn ang="0">
                  <a:pos x="T0" y="T1"/>
                </a:cxn>
                <a:cxn ang="0">
                  <a:pos x="T2" y="T3"/>
                </a:cxn>
                <a:cxn ang="0">
                  <a:pos x="T4" y="T5"/>
                </a:cxn>
                <a:cxn ang="0">
                  <a:pos x="T6" y="T7"/>
                </a:cxn>
                <a:cxn ang="0">
                  <a:pos x="T8" y="T9"/>
                </a:cxn>
              </a:cxnLst>
              <a:rect l="0" t="0" r="r" b="b"/>
              <a:pathLst>
                <a:path w="83" h="120">
                  <a:moveTo>
                    <a:pt x="0" y="111"/>
                  </a:moveTo>
                  <a:cubicBezTo>
                    <a:pt x="0" y="111"/>
                    <a:pt x="40" y="120"/>
                    <a:pt x="83" y="113"/>
                  </a:cubicBezTo>
                  <a:cubicBezTo>
                    <a:pt x="50" y="0"/>
                    <a:pt x="50" y="0"/>
                    <a:pt x="50" y="0"/>
                  </a:cubicBezTo>
                  <a:cubicBezTo>
                    <a:pt x="29" y="0"/>
                    <a:pt x="29" y="0"/>
                    <a:pt x="29" y="0"/>
                  </a:cubicBezTo>
                  <a:cubicBezTo>
                    <a:pt x="0" y="111"/>
                    <a:pt x="0" y="111"/>
                    <a:pt x="0" y="111"/>
                  </a:cubicBezTo>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9" name="Freeform 13">
              <a:extLst>
                <a:ext uri="{FF2B5EF4-FFF2-40B4-BE49-F238E27FC236}">
                  <a16:creationId xmlns:a16="http://schemas.microsoft.com/office/drawing/2014/main" id="{B20020D2-F453-35B9-5D28-F3671584E517}"/>
                </a:ext>
              </a:extLst>
            </p:cNvPr>
            <p:cNvSpPr>
              <a:spLocks/>
            </p:cNvSpPr>
            <p:nvPr/>
          </p:nvSpPr>
          <p:spPr bwMode="auto">
            <a:xfrm>
              <a:off x="5075232" y="5215695"/>
              <a:ext cx="274477" cy="446698"/>
            </a:xfrm>
            <a:custGeom>
              <a:avLst/>
              <a:gdLst>
                <a:gd name="T0" fmla="*/ 255 w 255"/>
                <a:gd name="T1" fmla="*/ 376 h 415"/>
                <a:gd name="T2" fmla="*/ 138 w 255"/>
                <a:gd name="T3" fmla="*/ 0 h 415"/>
                <a:gd name="T4" fmla="*/ 112 w 255"/>
                <a:gd name="T5" fmla="*/ 0 h 415"/>
                <a:gd name="T6" fmla="*/ 0 w 255"/>
                <a:gd name="T7" fmla="*/ 388 h 415"/>
                <a:gd name="T8" fmla="*/ 7 w 255"/>
                <a:gd name="T9" fmla="*/ 415 h 415"/>
                <a:gd name="T10" fmla="*/ 242 w 255"/>
                <a:gd name="T11" fmla="*/ 415 h 415"/>
                <a:gd name="T12" fmla="*/ 255 w 255"/>
                <a:gd name="T13" fmla="*/ 376 h 415"/>
              </a:gdLst>
              <a:ahLst/>
              <a:cxnLst>
                <a:cxn ang="0">
                  <a:pos x="T0" y="T1"/>
                </a:cxn>
                <a:cxn ang="0">
                  <a:pos x="T2" y="T3"/>
                </a:cxn>
                <a:cxn ang="0">
                  <a:pos x="T4" y="T5"/>
                </a:cxn>
                <a:cxn ang="0">
                  <a:pos x="T6" y="T7"/>
                </a:cxn>
                <a:cxn ang="0">
                  <a:pos x="T8" y="T9"/>
                </a:cxn>
                <a:cxn ang="0">
                  <a:pos x="T10" y="T11"/>
                </a:cxn>
                <a:cxn ang="0">
                  <a:pos x="T12" y="T13"/>
                </a:cxn>
              </a:cxnLst>
              <a:rect l="0" t="0" r="r" b="b"/>
              <a:pathLst>
                <a:path w="255" h="415">
                  <a:moveTo>
                    <a:pt x="255" y="376"/>
                  </a:moveTo>
                  <a:lnTo>
                    <a:pt x="138" y="0"/>
                  </a:lnTo>
                  <a:lnTo>
                    <a:pt x="112" y="0"/>
                  </a:lnTo>
                  <a:lnTo>
                    <a:pt x="0" y="388"/>
                  </a:lnTo>
                  <a:lnTo>
                    <a:pt x="7" y="415"/>
                  </a:lnTo>
                  <a:lnTo>
                    <a:pt x="242" y="415"/>
                  </a:lnTo>
                  <a:lnTo>
                    <a:pt x="255" y="376"/>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0" name="Freeform 14">
              <a:extLst>
                <a:ext uri="{FF2B5EF4-FFF2-40B4-BE49-F238E27FC236}">
                  <a16:creationId xmlns:a16="http://schemas.microsoft.com/office/drawing/2014/main" id="{FDC77B8B-3C2F-B1CF-4966-3A9F6922047A}"/>
                </a:ext>
              </a:extLst>
            </p:cNvPr>
            <p:cNvSpPr>
              <a:spLocks/>
            </p:cNvSpPr>
            <p:nvPr/>
          </p:nvSpPr>
          <p:spPr bwMode="auto">
            <a:xfrm>
              <a:off x="5075232" y="5215695"/>
              <a:ext cx="274477" cy="446698"/>
            </a:xfrm>
            <a:custGeom>
              <a:avLst/>
              <a:gdLst>
                <a:gd name="T0" fmla="*/ 255 w 255"/>
                <a:gd name="T1" fmla="*/ 376 h 415"/>
                <a:gd name="T2" fmla="*/ 138 w 255"/>
                <a:gd name="T3" fmla="*/ 0 h 415"/>
                <a:gd name="T4" fmla="*/ 112 w 255"/>
                <a:gd name="T5" fmla="*/ 0 h 415"/>
                <a:gd name="T6" fmla="*/ 0 w 255"/>
                <a:gd name="T7" fmla="*/ 388 h 415"/>
                <a:gd name="T8" fmla="*/ 7 w 255"/>
                <a:gd name="T9" fmla="*/ 415 h 415"/>
                <a:gd name="T10" fmla="*/ 242 w 255"/>
                <a:gd name="T11" fmla="*/ 415 h 415"/>
                <a:gd name="T12" fmla="*/ 255 w 255"/>
                <a:gd name="T13" fmla="*/ 376 h 415"/>
              </a:gdLst>
              <a:ahLst/>
              <a:cxnLst>
                <a:cxn ang="0">
                  <a:pos x="T0" y="T1"/>
                </a:cxn>
                <a:cxn ang="0">
                  <a:pos x="T2" y="T3"/>
                </a:cxn>
                <a:cxn ang="0">
                  <a:pos x="T4" y="T5"/>
                </a:cxn>
                <a:cxn ang="0">
                  <a:pos x="T6" y="T7"/>
                </a:cxn>
                <a:cxn ang="0">
                  <a:pos x="T8" y="T9"/>
                </a:cxn>
                <a:cxn ang="0">
                  <a:pos x="T10" y="T11"/>
                </a:cxn>
                <a:cxn ang="0">
                  <a:pos x="T12" y="T13"/>
                </a:cxn>
              </a:cxnLst>
              <a:rect l="0" t="0" r="r" b="b"/>
              <a:pathLst>
                <a:path w="255" h="415">
                  <a:moveTo>
                    <a:pt x="255" y="376"/>
                  </a:moveTo>
                  <a:lnTo>
                    <a:pt x="138" y="0"/>
                  </a:lnTo>
                  <a:lnTo>
                    <a:pt x="112" y="0"/>
                  </a:lnTo>
                  <a:lnTo>
                    <a:pt x="0" y="388"/>
                  </a:lnTo>
                  <a:lnTo>
                    <a:pt x="7" y="415"/>
                  </a:lnTo>
                  <a:lnTo>
                    <a:pt x="242" y="415"/>
                  </a:lnTo>
                  <a:lnTo>
                    <a:pt x="255" y="37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1" name="Freeform 15">
              <a:extLst>
                <a:ext uri="{FF2B5EF4-FFF2-40B4-BE49-F238E27FC236}">
                  <a16:creationId xmlns:a16="http://schemas.microsoft.com/office/drawing/2014/main" id="{A85C463B-AF0F-B124-9A9B-90DE9C1CF7F3}"/>
                </a:ext>
              </a:extLst>
            </p:cNvPr>
            <p:cNvSpPr>
              <a:spLocks/>
            </p:cNvSpPr>
            <p:nvPr/>
          </p:nvSpPr>
          <p:spPr bwMode="auto">
            <a:xfrm>
              <a:off x="5153807" y="5599963"/>
              <a:ext cx="115173" cy="1265823"/>
            </a:xfrm>
            <a:custGeom>
              <a:avLst/>
              <a:gdLst>
                <a:gd name="T0" fmla="*/ 79 w 79"/>
                <a:gd name="T1" fmla="*/ 871 h 871"/>
                <a:gd name="T2" fmla="*/ 0 w 79"/>
                <a:gd name="T3" fmla="*/ 871 h 871"/>
                <a:gd name="T4" fmla="*/ 0 w 79"/>
                <a:gd name="T5" fmla="*/ 33 h 871"/>
                <a:gd name="T6" fmla="*/ 39 w 79"/>
                <a:gd name="T7" fmla="*/ 1 h 871"/>
                <a:gd name="T8" fmla="*/ 79 w 79"/>
                <a:gd name="T9" fmla="*/ 33 h 871"/>
                <a:gd name="T10" fmla="*/ 79 w 79"/>
                <a:gd name="T11" fmla="*/ 871 h 871"/>
              </a:gdLst>
              <a:ahLst/>
              <a:cxnLst>
                <a:cxn ang="0">
                  <a:pos x="T0" y="T1"/>
                </a:cxn>
                <a:cxn ang="0">
                  <a:pos x="T2" y="T3"/>
                </a:cxn>
                <a:cxn ang="0">
                  <a:pos x="T4" y="T5"/>
                </a:cxn>
                <a:cxn ang="0">
                  <a:pos x="T6" y="T7"/>
                </a:cxn>
                <a:cxn ang="0">
                  <a:pos x="T8" y="T9"/>
                </a:cxn>
                <a:cxn ang="0">
                  <a:pos x="T10" y="T11"/>
                </a:cxn>
              </a:cxnLst>
              <a:rect l="0" t="0" r="r" b="b"/>
              <a:pathLst>
                <a:path w="79" h="871">
                  <a:moveTo>
                    <a:pt x="79" y="871"/>
                  </a:moveTo>
                  <a:cubicBezTo>
                    <a:pt x="0" y="871"/>
                    <a:pt x="0" y="871"/>
                    <a:pt x="0" y="871"/>
                  </a:cubicBezTo>
                  <a:cubicBezTo>
                    <a:pt x="0" y="33"/>
                    <a:pt x="0" y="33"/>
                    <a:pt x="0" y="33"/>
                  </a:cubicBezTo>
                  <a:cubicBezTo>
                    <a:pt x="0" y="33"/>
                    <a:pt x="5" y="2"/>
                    <a:pt x="39" y="1"/>
                  </a:cubicBezTo>
                  <a:cubicBezTo>
                    <a:pt x="73" y="0"/>
                    <a:pt x="79" y="33"/>
                    <a:pt x="79" y="33"/>
                  </a:cubicBezTo>
                  <a:cubicBezTo>
                    <a:pt x="79" y="871"/>
                    <a:pt x="79" y="871"/>
                    <a:pt x="79" y="871"/>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2" name="Freeform 16">
              <a:extLst>
                <a:ext uri="{FF2B5EF4-FFF2-40B4-BE49-F238E27FC236}">
                  <a16:creationId xmlns:a16="http://schemas.microsoft.com/office/drawing/2014/main" id="{59D9323D-0929-6CF0-DC10-19184DBD6EB9}"/>
                </a:ext>
              </a:extLst>
            </p:cNvPr>
            <p:cNvSpPr>
              <a:spLocks/>
            </p:cNvSpPr>
            <p:nvPr/>
          </p:nvSpPr>
          <p:spPr bwMode="auto">
            <a:xfrm>
              <a:off x="5265751" y="5596734"/>
              <a:ext cx="93645" cy="1266900"/>
            </a:xfrm>
            <a:custGeom>
              <a:avLst/>
              <a:gdLst>
                <a:gd name="T0" fmla="*/ 64 w 64"/>
                <a:gd name="T1" fmla="*/ 872 h 872"/>
                <a:gd name="T2" fmla="*/ 0 w 64"/>
                <a:gd name="T3" fmla="*/ 872 h 872"/>
                <a:gd name="T4" fmla="*/ 0 w 64"/>
                <a:gd name="T5" fmla="*/ 33 h 872"/>
                <a:gd name="T6" fmla="*/ 31 w 64"/>
                <a:gd name="T7" fmla="*/ 1 h 872"/>
                <a:gd name="T8" fmla="*/ 64 w 64"/>
                <a:gd name="T9" fmla="*/ 33 h 872"/>
                <a:gd name="T10" fmla="*/ 64 w 64"/>
                <a:gd name="T11" fmla="*/ 872 h 872"/>
              </a:gdLst>
              <a:ahLst/>
              <a:cxnLst>
                <a:cxn ang="0">
                  <a:pos x="T0" y="T1"/>
                </a:cxn>
                <a:cxn ang="0">
                  <a:pos x="T2" y="T3"/>
                </a:cxn>
                <a:cxn ang="0">
                  <a:pos x="T4" y="T5"/>
                </a:cxn>
                <a:cxn ang="0">
                  <a:pos x="T6" y="T7"/>
                </a:cxn>
                <a:cxn ang="0">
                  <a:pos x="T8" y="T9"/>
                </a:cxn>
                <a:cxn ang="0">
                  <a:pos x="T10" y="T11"/>
                </a:cxn>
              </a:cxnLst>
              <a:rect l="0" t="0" r="r" b="b"/>
              <a:pathLst>
                <a:path w="64" h="872">
                  <a:moveTo>
                    <a:pt x="64" y="872"/>
                  </a:moveTo>
                  <a:cubicBezTo>
                    <a:pt x="0" y="872"/>
                    <a:pt x="0" y="872"/>
                    <a:pt x="0" y="872"/>
                  </a:cubicBezTo>
                  <a:cubicBezTo>
                    <a:pt x="0" y="33"/>
                    <a:pt x="0" y="33"/>
                    <a:pt x="0" y="33"/>
                  </a:cubicBezTo>
                  <a:cubicBezTo>
                    <a:pt x="0" y="33"/>
                    <a:pt x="4" y="2"/>
                    <a:pt x="31" y="1"/>
                  </a:cubicBezTo>
                  <a:cubicBezTo>
                    <a:pt x="58" y="0"/>
                    <a:pt x="64" y="33"/>
                    <a:pt x="64" y="33"/>
                  </a:cubicBezTo>
                  <a:cubicBezTo>
                    <a:pt x="64" y="872"/>
                    <a:pt x="64" y="872"/>
                    <a:pt x="64" y="872"/>
                  </a:cubicBezTo>
                </a:path>
              </a:pathLst>
            </a:custGeom>
            <a:solidFill>
              <a:srgbClr val="ABA0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3" name="Freeform 17">
              <a:extLst>
                <a:ext uri="{FF2B5EF4-FFF2-40B4-BE49-F238E27FC236}">
                  <a16:creationId xmlns:a16="http://schemas.microsoft.com/office/drawing/2014/main" id="{AD0428E7-433D-1FE5-73FB-3D68E763FE91}"/>
                </a:ext>
              </a:extLst>
            </p:cNvPr>
            <p:cNvSpPr>
              <a:spLocks/>
            </p:cNvSpPr>
            <p:nvPr/>
          </p:nvSpPr>
          <p:spPr bwMode="auto">
            <a:xfrm>
              <a:off x="5065544" y="5596734"/>
              <a:ext cx="91493" cy="1266900"/>
            </a:xfrm>
            <a:custGeom>
              <a:avLst/>
              <a:gdLst>
                <a:gd name="T0" fmla="*/ 63 w 63"/>
                <a:gd name="T1" fmla="*/ 872 h 872"/>
                <a:gd name="T2" fmla="*/ 0 w 63"/>
                <a:gd name="T3" fmla="*/ 872 h 872"/>
                <a:gd name="T4" fmla="*/ 0 w 63"/>
                <a:gd name="T5" fmla="*/ 33 h 872"/>
                <a:gd name="T6" fmla="*/ 31 w 63"/>
                <a:gd name="T7" fmla="*/ 1 h 872"/>
                <a:gd name="T8" fmla="*/ 63 w 63"/>
                <a:gd name="T9" fmla="*/ 33 h 872"/>
                <a:gd name="T10" fmla="*/ 63 w 63"/>
                <a:gd name="T11" fmla="*/ 872 h 872"/>
              </a:gdLst>
              <a:ahLst/>
              <a:cxnLst>
                <a:cxn ang="0">
                  <a:pos x="T0" y="T1"/>
                </a:cxn>
                <a:cxn ang="0">
                  <a:pos x="T2" y="T3"/>
                </a:cxn>
                <a:cxn ang="0">
                  <a:pos x="T4" y="T5"/>
                </a:cxn>
                <a:cxn ang="0">
                  <a:pos x="T6" y="T7"/>
                </a:cxn>
                <a:cxn ang="0">
                  <a:pos x="T8" y="T9"/>
                </a:cxn>
                <a:cxn ang="0">
                  <a:pos x="T10" y="T11"/>
                </a:cxn>
              </a:cxnLst>
              <a:rect l="0" t="0" r="r" b="b"/>
              <a:pathLst>
                <a:path w="63" h="872">
                  <a:moveTo>
                    <a:pt x="63" y="872"/>
                  </a:moveTo>
                  <a:cubicBezTo>
                    <a:pt x="0" y="872"/>
                    <a:pt x="0" y="872"/>
                    <a:pt x="0" y="872"/>
                  </a:cubicBezTo>
                  <a:cubicBezTo>
                    <a:pt x="0" y="33"/>
                    <a:pt x="0" y="33"/>
                    <a:pt x="0" y="33"/>
                  </a:cubicBezTo>
                  <a:cubicBezTo>
                    <a:pt x="0" y="33"/>
                    <a:pt x="4" y="2"/>
                    <a:pt x="31" y="1"/>
                  </a:cubicBezTo>
                  <a:cubicBezTo>
                    <a:pt x="57" y="0"/>
                    <a:pt x="63" y="33"/>
                    <a:pt x="63" y="33"/>
                  </a:cubicBezTo>
                  <a:lnTo>
                    <a:pt x="63" y="87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4" name="Freeform 18">
              <a:extLst>
                <a:ext uri="{FF2B5EF4-FFF2-40B4-BE49-F238E27FC236}">
                  <a16:creationId xmlns:a16="http://schemas.microsoft.com/office/drawing/2014/main" id="{EAB7938C-27D4-B678-B2E3-1D7F0B8D60D2}"/>
                </a:ext>
              </a:extLst>
            </p:cNvPr>
            <p:cNvSpPr>
              <a:spLocks/>
            </p:cNvSpPr>
            <p:nvPr/>
          </p:nvSpPr>
          <p:spPr bwMode="auto">
            <a:xfrm>
              <a:off x="5152731" y="5208161"/>
              <a:ext cx="120555" cy="175450"/>
            </a:xfrm>
            <a:custGeom>
              <a:avLst/>
              <a:gdLst>
                <a:gd name="T0" fmla="*/ 0 w 83"/>
                <a:gd name="T1" fmla="*/ 111 h 121"/>
                <a:gd name="T2" fmla="*/ 83 w 83"/>
                <a:gd name="T3" fmla="*/ 113 h 121"/>
                <a:gd name="T4" fmla="*/ 49 w 83"/>
                <a:gd name="T5" fmla="*/ 0 h 121"/>
                <a:gd name="T6" fmla="*/ 29 w 83"/>
                <a:gd name="T7" fmla="*/ 0 h 121"/>
                <a:gd name="T8" fmla="*/ 0 w 83"/>
                <a:gd name="T9" fmla="*/ 111 h 121"/>
              </a:gdLst>
              <a:ahLst/>
              <a:cxnLst>
                <a:cxn ang="0">
                  <a:pos x="T0" y="T1"/>
                </a:cxn>
                <a:cxn ang="0">
                  <a:pos x="T2" y="T3"/>
                </a:cxn>
                <a:cxn ang="0">
                  <a:pos x="T4" y="T5"/>
                </a:cxn>
                <a:cxn ang="0">
                  <a:pos x="T6" y="T7"/>
                </a:cxn>
                <a:cxn ang="0">
                  <a:pos x="T8" y="T9"/>
                </a:cxn>
              </a:cxnLst>
              <a:rect l="0" t="0" r="r" b="b"/>
              <a:pathLst>
                <a:path w="83" h="121">
                  <a:moveTo>
                    <a:pt x="0" y="111"/>
                  </a:moveTo>
                  <a:cubicBezTo>
                    <a:pt x="0" y="111"/>
                    <a:pt x="40" y="121"/>
                    <a:pt x="83" y="113"/>
                  </a:cubicBezTo>
                  <a:cubicBezTo>
                    <a:pt x="49" y="0"/>
                    <a:pt x="49" y="0"/>
                    <a:pt x="49" y="0"/>
                  </a:cubicBezTo>
                  <a:cubicBezTo>
                    <a:pt x="29" y="0"/>
                    <a:pt x="29" y="0"/>
                    <a:pt x="29" y="0"/>
                  </a:cubicBezTo>
                  <a:cubicBezTo>
                    <a:pt x="0" y="111"/>
                    <a:pt x="0" y="111"/>
                    <a:pt x="0" y="111"/>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5" name="Freeform 19">
              <a:extLst>
                <a:ext uri="{FF2B5EF4-FFF2-40B4-BE49-F238E27FC236}">
                  <a16:creationId xmlns:a16="http://schemas.microsoft.com/office/drawing/2014/main" id="{4461673D-3730-4433-2BC8-7BAF977AF1FD}"/>
                </a:ext>
              </a:extLst>
            </p:cNvPr>
            <p:cNvSpPr>
              <a:spLocks/>
            </p:cNvSpPr>
            <p:nvPr/>
          </p:nvSpPr>
          <p:spPr bwMode="auto">
            <a:xfrm>
              <a:off x="6883551" y="5505242"/>
              <a:ext cx="276630" cy="447774"/>
            </a:xfrm>
            <a:custGeom>
              <a:avLst/>
              <a:gdLst>
                <a:gd name="T0" fmla="*/ 257 w 257"/>
                <a:gd name="T1" fmla="*/ 376 h 416"/>
                <a:gd name="T2" fmla="*/ 138 w 257"/>
                <a:gd name="T3" fmla="*/ 0 h 416"/>
                <a:gd name="T4" fmla="*/ 112 w 257"/>
                <a:gd name="T5" fmla="*/ 0 h 416"/>
                <a:gd name="T6" fmla="*/ 0 w 257"/>
                <a:gd name="T7" fmla="*/ 389 h 416"/>
                <a:gd name="T8" fmla="*/ 7 w 257"/>
                <a:gd name="T9" fmla="*/ 416 h 416"/>
                <a:gd name="T10" fmla="*/ 242 w 257"/>
                <a:gd name="T11" fmla="*/ 415 h 416"/>
                <a:gd name="T12" fmla="*/ 257 w 257"/>
                <a:gd name="T13" fmla="*/ 376 h 416"/>
              </a:gdLst>
              <a:ahLst/>
              <a:cxnLst>
                <a:cxn ang="0">
                  <a:pos x="T0" y="T1"/>
                </a:cxn>
                <a:cxn ang="0">
                  <a:pos x="T2" y="T3"/>
                </a:cxn>
                <a:cxn ang="0">
                  <a:pos x="T4" y="T5"/>
                </a:cxn>
                <a:cxn ang="0">
                  <a:pos x="T6" y="T7"/>
                </a:cxn>
                <a:cxn ang="0">
                  <a:pos x="T8" y="T9"/>
                </a:cxn>
                <a:cxn ang="0">
                  <a:pos x="T10" y="T11"/>
                </a:cxn>
                <a:cxn ang="0">
                  <a:pos x="T12" y="T13"/>
                </a:cxn>
              </a:cxnLst>
              <a:rect l="0" t="0" r="r" b="b"/>
              <a:pathLst>
                <a:path w="257" h="416">
                  <a:moveTo>
                    <a:pt x="257" y="376"/>
                  </a:moveTo>
                  <a:lnTo>
                    <a:pt x="138" y="0"/>
                  </a:lnTo>
                  <a:lnTo>
                    <a:pt x="112" y="0"/>
                  </a:lnTo>
                  <a:lnTo>
                    <a:pt x="0" y="389"/>
                  </a:lnTo>
                  <a:lnTo>
                    <a:pt x="7" y="416"/>
                  </a:lnTo>
                  <a:lnTo>
                    <a:pt x="242" y="415"/>
                  </a:lnTo>
                  <a:lnTo>
                    <a:pt x="257" y="376"/>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6" name="Freeform 20">
              <a:extLst>
                <a:ext uri="{FF2B5EF4-FFF2-40B4-BE49-F238E27FC236}">
                  <a16:creationId xmlns:a16="http://schemas.microsoft.com/office/drawing/2014/main" id="{6CAC9416-4F01-0B43-3251-B67F7A90AEEF}"/>
                </a:ext>
              </a:extLst>
            </p:cNvPr>
            <p:cNvSpPr>
              <a:spLocks/>
            </p:cNvSpPr>
            <p:nvPr/>
          </p:nvSpPr>
          <p:spPr bwMode="auto">
            <a:xfrm>
              <a:off x="6883551" y="5505242"/>
              <a:ext cx="276630" cy="447774"/>
            </a:xfrm>
            <a:custGeom>
              <a:avLst/>
              <a:gdLst>
                <a:gd name="T0" fmla="*/ 257 w 257"/>
                <a:gd name="T1" fmla="*/ 376 h 416"/>
                <a:gd name="T2" fmla="*/ 138 w 257"/>
                <a:gd name="T3" fmla="*/ 0 h 416"/>
                <a:gd name="T4" fmla="*/ 112 w 257"/>
                <a:gd name="T5" fmla="*/ 0 h 416"/>
                <a:gd name="T6" fmla="*/ 0 w 257"/>
                <a:gd name="T7" fmla="*/ 389 h 416"/>
                <a:gd name="T8" fmla="*/ 7 w 257"/>
                <a:gd name="T9" fmla="*/ 416 h 416"/>
                <a:gd name="T10" fmla="*/ 242 w 257"/>
                <a:gd name="T11" fmla="*/ 415 h 416"/>
                <a:gd name="T12" fmla="*/ 257 w 257"/>
                <a:gd name="T13" fmla="*/ 376 h 416"/>
              </a:gdLst>
              <a:ahLst/>
              <a:cxnLst>
                <a:cxn ang="0">
                  <a:pos x="T0" y="T1"/>
                </a:cxn>
                <a:cxn ang="0">
                  <a:pos x="T2" y="T3"/>
                </a:cxn>
                <a:cxn ang="0">
                  <a:pos x="T4" y="T5"/>
                </a:cxn>
                <a:cxn ang="0">
                  <a:pos x="T6" y="T7"/>
                </a:cxn>
                <a:cxn ang="0">
                  <a:pos x="T8" y="T9"/>
                </a:cxn>
                <a:cxn ang="0">
                  <a:pos x="T10" y="T11"/>
                </a:cxn>
                <a:cxn ang="0">
                  <a:pos x="T12" y="T13"/>
                </a:cxn>
              </a:cxnLst>
              <a:rect l="0" t="0" r="r" b="b"/>
              <a:pathLst>
                <a:path w="257" h="416">
                  <a:moveTo>
                    <a:pt x="257" y="376"/>
                  </a:moveTo>
                  <a:lnTo>
                    <a:pt x="138" y="0"/>
                  </a:lnTo>
                  <a:lnTo>
                    <a:pt x="112" y="0"/>
                  </a:lnTo>
                  <a:lnTo>
                    <a:pt x="0" y="389"/>
                  </a:lnTo>
                  <a:lnTo>
                    <a:pt x="7" y="416"/>
                  </a:lnTo>
                  <a:lnTo>
                    <a:pt x="242" y="415"/>
                  </a:lnTo>
                  <a:lnTo>
                    <a:pt x="257" y="37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7" name="Freeform 21">
              <a:extLst>
                <a:ext uri="{FF2B5EF4-FFF2-40B4-BE49-F238E27FC236}">
                  <a16:creationId xmlns:a16="http://schemas.microsoft.com/office/drawing/2014/main" id="{4F4C0337-E70C-229F-E6CB-1BBAD8C65D49}"/>
                </a:ext>
              </a:extLst>
            </p:cNvPr>
            <p:cNvSpPr>
              <a:spLocks/>
            </p:cNvSpPr>
            <p:nvPr/>
          </p:nvSpPr>
          <p:spPr bwMode="auto">
            <a:xfrm>
              <a:off x="6963203" y="5890586"/>
              <a:ext cx="114096" cy="975200"/>
            </a:xfrm>
            <a:custGeom>
              <a:avLst/>
              <a:gdLst>
                <a:gd name="T0" fmla="*/ 78 w 78"/>
                <a:gd name="T1" fmla="*/ 671 h 671"/>
                <a:gd name="T2" fmla="*/ 0 w 78"/>
                <a:gd name="T3" fmla="*/ 671 h 671"/>
                <a:gd name="T4" fmla="*/ 0 w 78"/>
                <a:gd name="T5" fmla="*/ 32 h 671"/>
                <a:gd name="T6" fmla="*/ 38 w 78"/>
                <a:gd name="T7" fmla="*/ 1 h 671"/>
                <a:gd name="T8" fmla="*/ 78 w 78"/>
                <a:gd name="T9" fmla="*/ 32 h 671"/>
                <a:gd name="T10" fmla="*/ 78 w 78"/>
                <a:gd name="T11" fmla="*/ 671 h 671"/>
              </a:gdLst>
              <a:ahLst/>
              <a:cxnLst>
                <a:cxn ang="0">
                  <a:pos x="T0" y="T1"/>
                </a:cxn>
                <a:cxn ang="0">
                  <a:pos x="T2" y="T3"/>
                </a:cxn>
                <a:cxn ang="0">
                  <a:pos x="T4" y="T5"/>
                </a:cxn>
                <a:cxn ang="0">
                  <a:pos x="T6" y="T7"/>
                </a:cxn>
                <a:cxn ang="0">
                  <a:pos x="T8" y="T9"/>
                </a:cxn>
                <a:cxn ang="0">
                  <a:pos x="T10" y="T11"/>
                </a:cxn>
              </a:cxnLst>
              <a:rect l="0" t="0" r="r" b="b"/>
              <a:pathLst>
                <a:path w="78" h="671">
                  <a:moveTo>
                    <a:pt x="78" y="671"/>
                  </a:moveTo>
                  <a:cubicBezTo>
                    <a:pt x="0" y="671"/>
                    <a:pt x="0" y="671"/>
                    <a:pt x="0" y="671"/>
                  </a:cubicBezTo>
                  <a:cubicBezTo>
                    <a:pt x="0" y="32"/>
                    <a:pt x="0" y="32"/>
                    <a:pt x="0" y="32"/>
                  </a:cubicBezTo>
                  <a:cubicBezTo>
                    <a:pt x="0" y="32"/>
                    <a:pt x="4" y="1"/>
                    <a:pt x="38" y="1"/>
                  </a:cubicBezTo>
                  <a:cubicBezTo>
                    <a:pt x="72" y="0"/>
                    <a:pt x="78" y="32"/>
                    <a:pt x="78" y="32"/>
                  </a:cubicBezTo>
                  <a:cubicBezTo>
                    <a:pt x="78" y="671"/>
                    <a:pt x="78" y="671"/>
                    <a:pt x="78" y="671"/>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8" name="Freeform 22">
              <a:extLst>
                <a:ext uri="{FF2B5EF4-FFF2-40B4-BE49-F238E27FC236}">
                  <a16:creationId xmlns:a16="http://schemas.microsoft.com/office/drawing/2014/main" id="{57761C98-31E4-FBA1-9DCF-70CFD4581F36}"/>
                </a:ext>
              </a:extLst>
            </p:cNvPr>
            <p:cNvSpPr>
              <a:spLocks/>
            </p:cNvSpPr>
            <p:nvPr/>
          </p:nvSpPr>
          <p:spPr bwMode="auto">
            <a:xfrm>
              <a:off x="7075146" y="5887356"/>
              <a:ext cx="91493" cy="976277"/>
            </a:xfrm>
            <a:custGeom>
              <a:avLst/>
              <a:gdLst>
                <a:gd name="T0" fmla="*/ 63 w 63"/>
                <a:gd name="T1" fmla="*/ 672 h 672"/>
                <a:gd name="T2" fmla="*/ 0 w 63"/>
                <a:gd name="T3" fmla="*/ 672 h 672"/>
                <a:gd name="T4" fmla="*/ 0 w 63"/>
                <a:gd name="T5" fmla="*/ 32 h 672"/>
                <a:gd name="T6" fmla="*/ 31 w 63"/>
                <a:gd name="T7" fmla="*/ 0 h 672"/>
                <a:gd name="T8" fmla="*/ 63 w 63"/>
                <a:gd name="T9" fmla="*/ 32 h 672"/>
                <a:gd name="T10" fmla="*/ 63 w 63"/>
                <a:gd name="T11" fmla="*/ 672 h 672"/>
              </a:gdLst>
              <a:ahLst/>
              <a:cxnLst>
                <a:cxn ang="0">
                  <a:pos x="T0" y="T1"/>
                </a:cxn>
                <a:cxn ang="0">
                  <a:pos x="T2" y="T3"/>
                </a:cxn>
                <a:cxn ang="0">
                  <a:pos x="T4" y="T5"/>
                </a:cxn>
                <a:cxn ang="0">
                  <a:pos x="T6" y="T7"/>
                </a:cxn>
                <a:cxn ang="0">
                  <a:pos x="T8" y="T9"/>
                </a:cxn>
                <a:cxn ang="0">
                  <a:pos x="T10" y="T11"/>
                </a:cxn>
              </a:cxnLst>
              <a:rect l="0" t="0" r="r" b="b"/>
              <a:pathLst>
                <a:path w="63" h="672">
                  <a:moveTo>
                    <a:pt x="63" y="672"/>
                  </a:moveTo>
                  <a:cubicBezTo>
                    <a:pt x="0" y="672"/>
                    <a:pt x="0" y="672"/>
                    <a:pt x="0" y="672"/>
                  </a:cubicBezTo>
                  <a:cubicBezTo>
                    <a:pt x="0" y="32"/>
                    <a:pt x="0" y="32"/>
                    <a:pt x="0" y="32"/>
                  </a:cubicBezTo>
                  <a:cubicBezTo>
                    <a:pt x="0" y="32"/>
                    <a:pt x="4" y="1"/>
                    <a:pt x="31" y="0"/>
                  </a:cubicBezTo>
                  <a:cubicBezTo>
                    <a:pt x="57" y="0"/>
                    <a:pt x="63" y="32"/>
                    <a:pt x="63" y="32"/>
                  </a:cubicBezTo>
                  <a:cubicBezTo>
                    <a:pt x="63" y="672"/>
                    <a:pt x="63" y="672"/>
                    <a:pt x="63" y="672"/>
                  </a:cubicBezTo>
                </a:path>
              </a:pathLst>
            </a:custGeom>
            <a:solidFill>
              <a:srgbClr val="F778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9" name="Freeform 23">
              <a:extLst>
                <a:ext uri="{FF2B5EF4-FFF2-40B4-BE49-F238E27FC236}">
                  <a16:creationId xmlns:a16="http://schemas.microsoft.com/office/drawing/2014/main" id="{51B1F0FE-A825-6625-BF09-30B148F50298}"/>
                </a:ext>
              </a:extLst>
            </p:cNvPr>
            <p:cNvSpPr>
              <a:spLocks/>
            </p:cNvSpPr>
            <p:nvPr/>
          </p:nvSpPr>
          <p:spPr bwMode="auto">
            <a:xfrm>
              <a:off x="6872787" y="5887356"/>
              <a:ext cx="92569" cy="976277"/>
            </a:xfrm>
            <a:custGeom>
              <a:avLst/>
              <a:gdLst>
                <a:gd name="T0" fmla="*/ 63 w 63"/>
                <a:gd name="T1" fmla="*/ 672 h 672"/>
                <a:gd name="T2" fmla="*/ 0 w 63"/>
                <a:gd name="T3" fmla="*/ 672 h 672"/>
                <a:gd name="T4" fmla="*/ 0 w 63"/>
                <a:gd name="T5" fmla="*/ 32 h 672"/>
                <a:gd name="T6" fmla="*/ 31 w 63"/>
                <a:gd name="T7" fmla="*/ 0 h 672"/>
                <a:gd name="T8" fmla="*/ 63 w 63"/>
                <a:gd name="T9" fmla="*/ 32 h 672"/>
                <a:gd name="T10" fmla="*/ 63 w 63"/>
                <a:gd name="T11" fmla="*/ 672 h 672"/>
              </a:gdLst>
              <a:ahLst/>
              <a:cxnLst>
                <a:cxn ang="0">
                  <a:pos x="T0" y="T1"/>
                </a:cxn>
                <a:cxn ang="0">
                  <a:pos x="T2" y="T3"/>
                </a:cxn>
                <a:cxn ang="0">
                  <a:pos x="T4" y="T5"/>
                </a:cxn>
                <a:cxn ang="0">
                  <a:pos x="T6" y="T7"/>
                </a:cxn>
                <a:cxn ang="0">
                  <a:pos x="T8" y="T9"/>
                </a:cxn>
                <a:cxn ang="0">
                  <a:pos x="T10" y="T11"/>
                </a:cxn>
              </a:cxnLst>
              <a:rect l="0" t="0" r="r" b="b"/>
              <a:pathLst>
                <a:path w="63" h="672">
                  <a:moveTo>
                    <a:pt x="63" y="672"/>
                  </a:moveTo>
                  <a:cubicBezTo>
                    <a:pt x="0" y="672"/>
                    <a:pt x="0" y="672"/>
                    <a:pt x="0" y="672"/>
                  </a:cubicBezTo>
                  <a:cubicBezTo>
                    <a:pt x="0" y="32"/>
                    <a:pt x="0" y="32"/>
                    <a:pt x="0" y="32"/>
                  </a:cubicBezTo>
                  <a:cubicBezTo>
                    <a:pt x="0" y="32"/>
                    <a:pt x="4" y="1"/>
                    <a:pt x="31" y="0"/>
                  </a:cubicBezTo>
                  <a:cubicBezTo>
                    <a:pt x="58" y="0"/>
                    <a:pt x="63" y="32"/>
                    <a:pt x="63" y="32"/>
                  </a:cubicBezTo>
                  <a:lnTo>
                    <a:pt x="63" y="672"/>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0" name="Freeform 24">
              <a:extLst>
                <a:ext uri="{FF2B5EF4-FFF2-40B4-BE49-F238E27FC236}">
                  <a16:creationId xmlns:a16="http://schemas.microsoft.com/office/drawing/2014/main" id="{23D8D23A-C442-329B-1CFC-D50D61338A00}"/>
                </a:ext>
              </a:extLst>
            </p:cNvPr>
            <p:cNvSpPr>
              <a:spLocks/>
            </p:cNvSpPr>
            <p:nvPr/>
          </p:nvSpPr>
          <p:spPr bwMode="auto">
            <a:xfrm>
              <a:off x="6962126" y="5498784"/>
              <a:ext cx="119479" cy="174374"/>
            </a:xfrm>
            <a:custGeom>
              <a:avLst/>
              <a:gdLst>
                <a:gd name="T0" fmla="*/ 0 w 82"/>
                <a:gd name="T1" fmla="*/ 110 h 120"/>
                <a:gd name="T2" fmla="*/ 82 w 82"/>
                <a:gd name="T3" fmla="*/ 112 h 120"/>
                <a:gd name="T4" fmla="*/ 48 w 82"/>
                <a:gd name="T5" fmla="*/ 0 h 120"/>
                <a:gd name="T6" fmla="*/ 28 w 82"/>
                <a:gd name="T7" fmla="*/ 0 h 120"/>
                <a:gd name="T8" fmla="*/ 0 w 82"/>
                <a:gd name="T9" fmla="*/ 110 h 120"/>
              </a:gdLst>
              <a:ahLst/>
              <a:cxnLst>
                <a:cxn ang="0">
                  <a:pos x="T0" y="T1"/>
                </a:cxn>
                <a:cxn ang="0">
                  <a:pos x="T2" y="T3"/>
                </a:cxn>
                <a:cxn ang="0">
                  <a:pos x="T4" y="T5"/>
                </a:cxn>
                <a:cxn ang="0">
                  <a:pos x="T6" y="T7"/>
                </a:cxn>
                <a:cxn ang="0">
                  <a:pos x="T8" y="T9"/>
                </a:cxn>
              </a:cxnLst>
              <a:rect l="0" t="0" r="r" b="b"/>
              <a:pathLst>
                <a:path w="82" h="120">
                  <a:moveTo>
                    <a:pt x="0" y="110"/>
                  </a:moveTo>
                  <a:cubicBezTo>
                    <a:pt x="0" y="110"/>
                    <a:pt x="39" y="120"/>
                    <a:pt x="82" y="112"/>
                  </a:cubicBezTo>
                  <a:cubicBezTo>
                    <a:pt x="48" y="0"/>
                    <a:pt x="48" y="0"/>
                    <a:pt x="48" y="0"/>
                  </a:cubicBezTo>
                  <a:cubicBezTo>
                    <a:pt x="28" y="0"/>
                    <a:pt x="28" y="0"/>
                    <a:pt x="28" y="0"/>
                  </a:cubicBezTo>
                  <a:cubicBezTo>
                    <a:pt x="0" y="110"/>
                    <a:pt x="0" y="110"/>
                    <a:pt x="0" y="110"/>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1" name="Freeform 25">
              <a:extLst>
                <a:ext uri="{FF2B5EF4-FFF2-40B4-BE49-F238E27FC236}">
                  <a16:creationId xmlns:a16="http://schemas.microsoft.com/office/drawing/2014/main" id="{8103BFE5-5544-F837-3859-B57D6DB4ED75}"/>
                </a:ext>
              </a:extLst>
            </p:cNvPr>
            <p:cNvSpPr>
              <a:spLocks/>
            </p:cNvSpPr>
            <p:nvPr/>
          </p:nvSpPr>
          <p:spPr bwMode="auto">
            <a:xfrm>
              <a:off x="5552068" y="5505242"/>
              <a:ext cx="276630" cy="447774"/>
            </a:xfrm>
            <a:custGeom>
              <a:avLst/>
              <a:gdLst>
                <a:gd name="T0" fmla="*/ 257 w 257"/>
                <a:gd name="T1" fmla="*/ 376 h 416"/>
                <a:gd name="T2" fmla="*/ 138 w 257"/>
                <a:gd name="T3" fmla="*/ 0 h 416"/>
                <a:gd name="T4" fmla="*/ 112 w 257"/>
                <a:gd name="T5" fmla="*/ 0 h 416"/>
                <a:gd name="T6" fmla="*/ 0 w 257"/>
                <a:gd name="T7" fmla="*/ 389 h 416"/>
                <a:gd name="T8" fmla="*/ 7 w 257"/>
                <a:gd name="T9" fmla="*/ 416 h 416"/>
                <a:gd name="T10" fmla="*/ 242 w 257"/>
                <a:gd name="T11" fmla="*/ 415 h 416"/>
                <a:gd name="T12" fmla="*/ 257 w 257"/>
                <a:gd name="T13" fmla="*/ 376 h 416"/>
              </a:gdLst>
              <a:ahLst/>
              <a:cxnLst>
                <a:cxn ang="0">
                  <a:pos x="T0" y="T1"/>
                </a:cxn>
                <a:cxn ang="0">
                  <a:pos x="T2" y="T3"/>
                </a:cxn>
                <a:cxn ang="0">
                  <a:pos x="T4" y="T5"/>
                </a:cxn>
                <a:cxn ang="0">
                  <a:pos x="T6" y="T7"/>
                </a:cxn>
                <a:cxn ang="0">
                  <a:pos x="T8" y="T9"/>
                </a:cxn>
                <a:cxn ang="0">
                  <a:pos x="T10" y="T11"/>
                </a:cxn>
                <a:cxn ang="0">
                  <a:pos x="T12" y="T13"/>
                </a:cxn>
              </a:cxnLst>
              <a:rect l="0" t="0" r="r" b="b"/>
              <a:pathLst>
                <a:path w="257" h="416">
                  <a:moveTo>
                    <a:pt x="257" y="376"/>
                  </a:moveTo>
                  <a:lnTo>
                    <a:pt x="138" y="0"/>
                  </a:lnTo>
                  <a:lnTo>
                    <a:pt x="112" y="0"/>
                  </a:lnTo>
                  <a:lnTo>
                    <a:pt x="0" y="389"/>
                  </a:lnTo>
                  <a:lnTo>
                    <a:pt x="7" y="416"/>
                  </a:lnTo>
                  <a:lnTo>
                    <a:pt x="242" y="415"/>
                  </a:lnTo>
                  <a:lnTo>
                    <a:pt x="257" y="376"/>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2" name="Freeform 26">
              <a:extLst>
                <a:ext uri="{FF2B5EF4-FFF2-40B4-BE49-F238E27FC236}">
                  <a16:creationId xmlns:a16="http://schemas.microsoft.com/office/drawing/2014/main" id="{31640A76-59C4-D0B0-30D7-594B03D8AF43}"/>
                </a:ext>
              </a:extLst>
            </p:cNvPr>
            <p:cNvSpPr>
              <a:spLocks/>
            </p:cNvSpPr>
            <p:nvPr/>
          </p:nvSpPr>
          <p:spPr bwMode="auto">
            <a:xfrm>
              <a:off x="5552068" y="5505242"/>
              <a:ext cx="276630" cy="447774"/>
            </a:xfrm>
            <a:custGeom>
              <a:avLst/>
              <a:gdLst>
                <a:gd name="T0" fmla="*/ 257 w 257"/>
                <a:gd name="T1" fmla="*/ 376 h 416"/>
                <a:gd name="T2" fmla="*/ 138 w 257"/>
                <a:gd name="T3" fmla="*/ 0 h 416"/>
                <a:gd name="T4" fmla="*/ 112 w 257"/>
                <a:gd name="T5" fmla="*/ 0 h 416"/>
                <a:gd name="T6" fmla="*/ 0 w 257"/>
                <a:gd name="T7" fmla="*/ 389 h 416"/>
                <a:gd name="T8" fmla="*/ 7 w 257"/>
                <a:gd name="T9" fmla="*/ 416 h 416"/>
                <a:gd name="T10" fmla="*/ 242 w 257"/>
                <a:gd name="T11" fmla="*/ 415 h 416"/>
                <a:gd name="T12" fmla="*/ 257 w 257"/>
                <a:gd name="T13" fmla="*/ 376 h 416"/>
              </a:gdLst>
              <a:ahLst/>
              <a:cxnLst>
                <a:cxn ang="0">
                  <a:pos x="T0" y="T1"/>
                </a:cxn>
                <a:cxn ang="0">
                  <a:pos x="T2" y="T3"/>
                </a:cxn>
                <a:cxn ang="0">
                  <a:pos x="T4" y="T5"/>
                </a:cxn>
                <a:cxn ang="0">
                  <a:pos x="T6" y="T7"/>
                </a:cxn>
                <a:cxn ang="0">
                  <a:pos x="T8" y="T9"/>
                </a:cxn>
                <a:cxn ang="0">
                  <a:pos x="T10" y="T11"/>
                </a:cxn>
                <a:cxn ang="0">
                  <a:pos x="T12" y="T13"/>
                </a:cxn>
              </a:cxnLst>
              <a:rect l="0" t="0" r="r" b="b"/>
              <a:pathLst>
                <a:path w="257" h="416">
                  <a:moveTo>
                    <a:pt x="257" y="376"/>
                  </a:moveTo>
                  <a:lnTo>
                    <a:pt x="138" y="0"/>
                  </a:lnTo>
                  <a:lnTo>
                    <a:pt x="112" y="0"/>
                  </a:lnTo>
                  <a:lnTo>
                    <a:pt x="0" y="389"/>
                  </a:lnTo>
                  <a:lnTo>
                    <a:pt x="7" y="416"/>
                  </a:lnTo>
                  <a:lnTo>
                    <a:pt x="242" y="415"/>
                  </a:lnTo>
                  <a:lnTo>
                    <a:pt x="257" y="37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3" name="Freeform 27">
              <a:extLst>
                <a:ext uri="{FF2B5EF4-FFF2-40B4-BE49-F238E27FC236}">
                  <a16:creationId xmlns:a16="http://schemas.microsoft.com/office/drawing/2014/main" id="{36E669FD-F809-0078-E038-FAA88961946D}"/>
                </a:ext>
              </a:extLst>
            </p:cNvPr>
            <p:cNvSpPr>
              <a:spLocks/>
            </p:cNvSpPr>
            <p:nvPr/>
          </p:nvSpPr>
          <p:spPr bwMode="auto">
            <a:xfrm>
              <a:off x="5632797" y="5890586"/>
              <a:ext cx="114096" cy="975200"/>
            </a:xfrm>
            <a:custGeom>
              <a:avLst/>
              <a:gdLst>
                <a:gd name="T0" fmla="*/ 79 w 79"/>
                <a:gd name="T1" fmla="*/ 671 h 671"/>
                <a:gd name="T2" fmla="*/ 0 w 79"/>
                <a:gd name="T3" fmla="*/ 671 h 671"/>
                <a:gd name="T4" fmla="*/ 0 w 79"/>
                <a:gd name="T5" fmla="*/ 32 h 671"/>
                <a:gd name="T6" fmla="*/ 38 w 79"/>
                <a:gd name="T7" fmla="*/ 1 h 671"/>
                <a:gd name="T8" fmla="*/ 79 w 79"/>
                <a:gd name="T9" fmla="*/ 32 h 671"/>
                <a:gd name="T10" fmla="*/ 79 w 79"/>
                <a:gd name="T11" fmla="*/ 671 h 671"/>
              </a:gdLst>
              <a:ahLst/>
              <a:cxnLst>
                <a:cxn ang="0">
                  <a:pos x="T0" y="T1"/>
                </a:cxn>
                <a:cxn ang="0">
                  <a:pos x="T2" y="T3"/>
                </a:cxn>
                <a:cxn ang="0">
                  <a:pos x="T4" y="T5"/>
                </a:cxn>
                <a:cxn ang="0">
                  <a:pos x="T6" y="T7"/>
                </a:cxn>
                <a:cxn ang="0">
                  <a:pos x="T8" y="T9"/>
                </a:cxn>
                <a:cxn ang="0">
                  <a:pos x="T10" y="T11"/>
                </a:cxn>
              </a:cxnLst>
              <a:rect l="0" t="0" r="r" b="b"/>
              <a:pathLst>
                <a:path w="79" h="671">
                  <a:moveTo>
                    <a:pt x="79" y="671"/>
                  </a:moveTo>
                  <a:cubicBezTo>
                    <a:pt x="0" y="671"/>
                    <a:pt x="0" y="671"/>
                    <a:pt x="0" y="671"/>
                  </a:cubicBezTo>
                  <a:cubicBezTo>
                    <a:pt x="0" y="32"/>
                    <a:pt x="0" y="32"/>
                    <a:pt x="0" y="32"/>
                  </a:cubicBezTo>
                  <a:cubicBezTo>
                    <a:pt x="0" y="32"/>
                    <a:pt x="5" y="1"/>
                    <a:pt x="38" y="1"/>
                  </a:cubicBezTo>
                  <a:cubicBezTo>
                    <a:pt x="72" y="0"/>
                    <a:pt x="79" y="32"/>
                    <a:pt x="79" y="32"/>
                  </a:cubicBezTo>
                  <a:cubicBezTo>
                    <a:pt x="79" y="671"/>
                    <a:pt x="79" y="671"/>
                    <a:pt x="79" y="671"/>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4" name="Freeform 28">
              <a:extLst>
                <a:ext uri="{FF2B5EF4-FFF2-40B4-BE49-F238E27FC236}">
                  <a16:creationId xmlns:a16="http://schemas.microsoft.com/office/drawing/2014/main" id="{9A0DA948-5122-FB34-9061-E0D7537E31D4}"/>
                </a:ext>
              </a:extLst>
            </p:cNvPr>
            <p:cNvSpPr>
              <a:spLocks/>
            </p:cNvSpPr>
            <p:nvPr/>
          </p:nvSpPr>
          <p:spPr bwMode="auto">
            <a:xfrm>
              <a:off x="5744740" y="5887356"/>
              <a:ext cx="91493" cy="976277"/>
            </a:xfrm>
            <a:custGeom>
              <a:avLst/>
              <a:gdLst>
                <a:gd name="T0" fmla="*/ 63 w 63"/>
                <a:gd name="T1" fmla="*/ 672 h 672"/>
                <a:gd name="T2" fmla="*/ 0 w 63"/>
                <a:gd name="T3" fmla="*/ 672 h 672"/>
                <a:gd name="T4" fmla="*/ 0 w 63"/>
                <a:gd name="T5" fmla="*/ 32 h 672"/>
                <a:gd name="T6" fmla="*/ 31 w 63"/>
                <a:gd name="T7" fmla="*/ 0 h 672"/>
                <a:gd name="T8" fmla="*/ 63 w 63"/>
                <a:gd name="T9" fmla="*/ 32 h 672"/>
                <a:gd name="T10" fmla="*/ 63 w 63"/>
                <a:gd name="T11" fmla="*/ 672 h 672"/>
              </a:gdLst>
              <a:ahLst/>
              <a:cxnLst>
                <a:cxn ang="0">
                  <a:pos x="T0" y="T1"/>
                </a:cxn>
                <a:cxn ang="0">
                  <a:pos x="T2" y="T3"/>
                </a:cxn>
                <a:cxn ang="0">
                  <a:pos x="T4" y="T5"/>
                </a:cxn>
                <a:cxn ang="0">
                  <a:pos x="T6" y="T7"/>
                </a:cxn>
                <a:cxn ang="0">
                  <a:pos x="T8" y="T9"/>
                </a:cxn>
                <a:cxn ang="0">
                  <a:pos x="T10" y="T11"/>
                </a:cxn>
              </a:cxnLst>
              <a:rect l="0" t="0" r="r" b="b"/>
              <a:pathLst>
                <a:path w="63" h="672">
                  <a:moveTo>
                    <a:pt x="63" y="672"/>
                  </a:moveTo>
                  <a:cubicBezTo>
                    <a:pt x="0" y="672"/>
                    <a:pt x="0" y="672"/>
                    <a:pt x="0" y="672"/>
                  </a:cubicBezTo>
                  <a:cubicBezTo>
                    <a:pt x="0" y="32"/>
                    <a:pt x="0" y="32"/>
                    <a:pt x="0" y="32"/>
                  </a:cubicBezTo>
                  <a:cubicBezTo>
                    <a:pt x="0" y="32"/>
                    <a:pt x="4" y="1"/>
                    <a:pt x="31" y="0"/>
                  </a:cubicBezTo>
                  <a:cubicBezTo>
                    <a:pt x="57" y="0"/>
                    <a:pt x="63" y="32"/>
                    <a:pt x="63" y="32"/>
                  </a:cubicBezTo>
                  <a:cubicBezTo>
                    <a:pt x="63" y="672"/>
                    <a:pt x="63" y="672"/>
                    <a:pt x="63" y="672"/>
                  </a:cubicBezTo>
                </a:path>
              </a:pathLst>
            </a:custGeom>
            <a:solidFill>
              <a:srgbClr val="B59B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5" name="Freeform 29">
              <a:extLst>
                <a:ext uri="{FF2B5EF4-FFF2-40B4-BE49-F238E27FC236}">
                  <a16:creationId xmlns:a16="http://schemas.microsoft.com/office/drawing/2014/main" id="{41E02548-3E78-C30F-9FCC-BF64F000DC1A}"/>
                </a:ext>
              </a:extLst>
            </p:cNvPr>
            <p:cNvSpPr>
              <a:spLocks/>
            </p:cNvSpPr>
            <p:nvPr/>
          </p:nvSpPr>
          <p:spPr bwMode="auto">
            <a:xfrm>
              <a:off x="5542381" y="5887356"/>
              <a:ext cx="91493" cy="976277"/>
            </a:xfrm>
            <a:custGeom>
              <a:avLst/>
              <a:gdLst>
                <a:gd name="T0" fmla="*/ 63 w 63"/>
                <a:gd name="T1" fmla="*/ 672 h 672"/>
                <a:gd name="T2" fmla="*/ 0 w 63"/>
                <a:gd name="T3" fmla="*/ 672 h 672"/>
                <a:gd name="T4" fmla="*/ 0 w 63"/>
                <a:gd name="T5" fmla="*/ 32 h 672"/>
                <a:gd name="T6" fmla="*/ 31 w 63"/>
                <a:gd name="T7" fmla="*/ 0 h 672"/>
                <a:gd name="T8" fmla="*/ 63 w 63"/>
                <a:gd name="T9" fmla="*/ 32 h 672"/>
                <a:gd name="T10" fmla="*/ 63 w 63"/>
                <a:gd name="T11" fmla="*/ 672 h 672"/>
              </a:gdLst>
              <a:ahLst/>
              <a:cxnLst>
                <a:cxn ang="0">
                  <a:pos x="T0" y="T1"/>
                </a:cxn>
                <a:cxn ang="0">
                  <a:pos x="T2" y="T3"/>
                </a:cxn>
                <a:cxn ang="0">
                  <a:pos x="T4" y="T5"/>
                </a:cxn>
                <a:cxn ang="0">
                  <a:pos x="T6" y="T7"/>
                </a:cxn>
                <a:cxn ang="0">
                  <a:pos x="T8" y="T9"/>
                </a:cxn>
                <a:cxn ang="0">
                  <a:pos x="T10" y="T11"/>
                </a:cxn>
              </a:cxnLst>
              <a:rect l="0" t="0" r="r" b="b"/>
              <a:pathLst>
                <a:path w="63" h="672">
                  <a:moveTo>
                    <a:pt x="63" y="672"/>
                  </a:moveTo>
                  <a:cubicBezTo>
                    <a:pt x="0" y="672"/>
                    <a:pt x="0" y="672"/>
                    <a:pt x="0" y="672"/>
                  </a:cubicBezTo>
                  <a:cubicBezTo>
                    <a:pt x="0" y="32"/>
                    <a:pt x="0" y="32"/>
                    <a:pt x="0" y="32"/>
                  </a:cubicBezTo>
                  <a:cubicBezTo>
                    <a:pt x="0" y="32"/>
                    <a:pt x="4" y="1"/>
                    <a:pt x="31" y="0"/>
                  </a:cubicBezTo>
                  <a:cubicBezTo>
                    <a:pt x="58" y="0"/>
                    <a:pt x="63" y="32"/>
                    <a:pt x="63" y="32"/>
                  </a:cubicBezTo>
                  <a:lnTo>
                    <a:pt x="63" y="67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6" name="Freeform 30">
              <a:extLst>
                <a:ext uri="{FF2B5EF4-FFF2-40B4-BE49-F238E27FC236}">
                  <a16:creationId xmlns:a16="http://schemas.microsoft.com/office/drawing/2014/main" id="{F8FF2DF9-17EE-E2C7-027D-3F4AF70718D4}"/>
                </a:ext>
              </a:extLst>
            </p:cNvPr>
            <p:cNvSpPr>
              <a:spLocks/>
            </p:cNvSpPr>
            <p:nvPr/>
          </p:nvSpPr>
          <p:spPr bwMode="auto">
            <a:xfrm>
              <a:off x="5630644" y="5498784"/>
              <a:ext cx="119479" cy="172221"/>
            </a:xfrm>
            <a:custGeom>
              <a:avLst/>
              <a:gdLst>
                <a:gd name="T0" fmla="*/ 0 w 82"/>
                <a:gd name="T1" fmla="*/ 110 h 119"/>
                <a:gd name="T2" fmla="*/ 82 w 82"/>
                <a:gd name="T3" fmla="*/ 111 h 119"/>
                <a:gd name="T4" fmla="*/ 48 w 82"/>
                <a:gd name="T5" fmla="*/ 0 h 119"/>
                <a:gd name="T6" fmla="*/ 28 w 82"/>
                <a:gd name="T7" fmla="*/ 0 h 119"/>
                <a:gd name="T8" fmla="*/ 0 w 82"/>
                <a:gd name="T9" fmla="*/ 110 h 119"/>
              </a:gdLst>
              <a:ahLst/>
              <a:cxnLst>
                <a:cxn ang="0">
                  <a:pos x="T0" y="T1"/>
                </a:cxn>
                <a:cxn ang="0">
                  <a:pos x="T2" y="T3"/>
                </a:cxn>
                <a:cxn ang="0">
                  <a:pos x="T4" y="T5"/>
                </a:cxn>
                <a:cxn ang="0">
                  <a:pos x="T6" y="T7"/>
                </a:cxn>
                <a:cxn ang="0">
                  <a:pos x="T8" y="T9"/>
                </a:cxn>
              </a:cxnLst>
              <a:rect l="0" t="0" r="r" b="b"/>
              <a:pathLst>
                <a:path w="82" h="119">
                  <a:moveTo>
                    <a:pt x="0" y="110"/>
                  </a:moveTo>
                  <a:cubicBezTo>
                    <a:pt x="0" y="110"/>
                    <a:pt x="39" y="119"/>
                    <a:pt x="82" y="111"/>
                  </a:cubicBezTo>
                  <a:cubicBezTo>
                    <a:pt x="48" y="0"/>
                    <a:pt x="48" y="0"/>
                    <a:pt x="48" y="0"/>
                  </a:cubicBezTo>
                  <a:cubicBezTo>
                    <a:pt x="28" y="0"/>
                    <a:pt x="28" y="0"/>
                    <a:pt x="28" y="0"/>
                  </a:cubicBezTo>
                  <a:cubicBezTo>
                    <a:pt x="0" y="110"/>
                    <a:pt x="0" y="110"/>
                    <a:pt x="0" y="110"/>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7" name="Freeform 31">
              <a:extLst>
                <a:ext uri="{FF2B5EF4-FFF2-40B4-BE49-F238E27FC236}">
                  <a16:creationId xmlns:a16="http://schemas.microsoft.com/office/drawing/2014/main" id="{04C4A30A-5BC7-759D-ADB4-BF1CEDD6CEE7}"/>
                </a:ext>
              </a:extLst>
            </p:cNvPr>
            <p:cNvSpPr>
              <a:spLocks/>
            </p:cNvSpPr>
            <p:nvPr/>
          </p:nvSpPr>
          <p:spPr bwMode="auto">
            <a:xfrm>
              <a:off x="6013835" y="4509590"/>
              <a:ext cx="274477" cy="446698"/>
            </a:xfrm>
            <a:custGeom>
              <a:avLst/>
              <a:gdLst>
                <a:gd name="T0" fmla="*/ 255 w 255"/>
                <a:gd name="T1" fmla="*/ 375 h 415"/>
                <a:gd name="T2" fmla="*/ 138 w 255"/>
                <a:gd name="T3" fmla="*/ 0 h 415"/>
                <a:gd name="T4" fmla="*/ 112 w 255"/>
                <a:gd name="T5" fmla="*/ 0 h 415"/>
                <a:gd name="T6" fmla="*/ 0 w 255"/>
                <a:gd name="T7" fmla="*/ 388 h 415"/>
                <a:gd name="T8" fmla="*/ 6 w 255"/>
                <a:gd name="T9" fmla="*/ 415 h 415"/>
                <a:gd name="T10" fmla="*/ 242 w 255"/>
                <a:gd name="T11" fmla="*/ 414 h 415"/>
                <a:gd name="T12" fmla="*/ 255 w 255"/>
                <a:gd name="T13" fmla="*/ 375 h 415"/>
              </a:gdLst>
              <a:ahLst/>
              <a:cxnLst>
                <a:cxn ang="0">
                  <a:pos x="T0" y="T1"/>
                </a:cxn>
                <a:cxn ang="0">
                  <a:pos x="T2" y="T3"/>
                </a:cxn>
                <a:cxn ang="0">
                  <a:pos x="T4" y="T5"/>
                </a:cxn>
                <a:cxn ang="0">
                  <a:pos x="T6" y="T7"/>
                </a:cxn>
                <a:cxn ang="0">
                  <a:pos x="T8" y="T9"/>
                </a:cxn>
                <a:cxn ang="0">
                  <a:pos x="T10" y="T11"/>
                </a:cxn>
                <a:cxn ang="0">
                  <a:pos x="T12" y="T13"/>
                </a:cxn>
              </a:cxnLst>
              <a:rect l="0" t="0" r="r" b="b"/>
              <a:pathLst>
                <a:path w="255" h="415">
                  <a:moveTo>
                    <a:pt x="255" y="375"/>
                  </a:moveTo>
                  <a:lnTo>
                    <a:pt x="138" y="0"/>
                  </a:lnTo>
                  <a:lnTo>
                    <a:pt x="112" y="0"/>
                  </a:lnTo>
                  <a:lnTo>
                    <a:pt x="0" y="388"/>
                  </a:lnTo>
                  <a:lnTo>
                    <a:pt x="6" y="415"/>
                  </a:lnTo>
                  <a:lnTo>
                    <a:pt x="242" y="414"/>
                  </a:lnTo>
                  <a:lnTo>
                    <a:pt x="255" y="37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8" name="Freeform 32">
              <a:extLst>
                <a:ext uri="{FF2B5EF4-FFF2-40B4-BE49-F238E27FC236}">
                  <a16:creationId xmlns:a16="http://schemas.microsoft.com/office/drawing/2014/main" id="{BAFD87E8-E58C-4677-2604-B4757F7BA85C}"/>
                </a:ext>
              </a:extLst>
            </p:cNvPr>
            <p:cNvSpPr>
              <a:spLocks/>
            </p:cNvSpPr>
            <p:nvPr/>
          </p:nvSpPr>
          <p:spPr bwMode="auto">
            <a:xfrm>
              <a:off x="6013835" y="4509590"/>
              <a:ext cx="274477" cy="446698"/>
            </a:xfrm>
            <a:custGeom>
              <a:avLst/>
              <a:gdLst>
                <a:gd name="T0" fmla="*/ 255 w 255"/>
                <a:gd name="T1" fmla="*/ 375 h 415"/>
                <a:gd name="T2" fmla="*/ 138 w 255"/>
                <a:gd name="T3" fmla="*/ 0 h 415"/>
                <a:gd name="T4" fmla="*/ 112 w 255"/>
                <a:gd name="T5" fmla="*/ 0 h 415"/>
                <a:gd name="T6" fmla="*/ 0 w 255"/>
                <a:gd name="T7" fmla="*/ 388 h 415"/>
                <a:gd name="T8" fmla="*/ 6 w 255"/>
                <a:gd name="T9" fmla="*/ 415 h 415"/>
                <a:gd name="T10" fmla="*/ 242 w 255"/>
                <a:gd name="T11" fmla="*/ 414 h 415"/>
                <a:gd name="T12" fmla="*/ 255 w 255"/>
                <a:gd name="T13" fmla="*/ 375 h 415"/>
              </a:gdLst>
              <a:ahLst/>
              <a:cxnLst>
                <a:cxn ang="0">
                  <a:pos x="T0" y="T1"/>
                </a:cxn>
                <a:cxn ang="0">
                  <a:pos x="T2" y="T3"/>
                </a:cxn>
                <a:cxn ang="0">
                  <a:pos x="T4" y="T5"/>
                </a:cxn>
                <a:cxn ang="0">
                  <a:pos x="T6" y="T7"/>
                </a:cxn>
                <a:cxn ang="0">
                  <a:pos x="T8" y="T9"/>
                </a:cxn>
                <a:cxn ang="0">
                  <a:pos x="T10" y="T11"/>
                </a:cxn>
                <a:cxn ang="0">
                  <a:pos x="T12" y="T13"/>
                </a:cxn>
              </a:cxnLst>
              <a:rect l="0" t="0" r="r" b="b"/>
              <a:pathLst>
                <a:path w="255" h="415">
                  <a:moveTo>
                    <a:pt x="255" y="375"/>
                  </a:moveTo>
                  <a:lnTo>
                    <a:pt x="138" y="0"/>
                  </a:lnTo>
                  <a:lnTo>
                    <a:pt x="112" y="0"/>
                  </a:lnTo>
                  <a:lnTo>
                    <a:pt x="0" y="388"/>
                  </a:lnTo>
                  <a:lnTo>
                    <a:pt x="6" y="415"/>
                  </a:lnTo>
                  <a:lnTo>
                    <a:pt x="242" y="414"/>
                  </a:lnTo>
                  <a:lnTo>
                    <a:pt x="255" y="37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9" name="Freeform 33">
              <a:extLst>
                <a:ext uri="{FF2B5EF4-FFF2-40B4-BE49-F238E27FC236}">
                  <a16:creationId xmlns:a16="http://schemas.microsoft.com/office/drawing/2014/main" id="{CC30E7CB-5D76-B316-015F-7C8671338115}"/>
                </a:ext>
              </a:extLst>
            </p:cNvPr>
            <p:cNvSpPr>
              <a:spLocks/>
            </p:cNvSpPr>
            <p:nvPr/>
          </p:nvSpPr>
          <p:spPr bwMode="auto">
            <a:xfrm>
              <a:off x="6092411" y="4893858"/>
              <a:ext cx="114096" cy="1971928"/>
            </a:xfrm>
            <a:custGeom>
              <a:avLst/>
              <a:gdLst>
                <a:gd name="T0" fmla="*/ 79 w 79"/>
                <a:gd name="T1" fmla="*/ 1357 h 1357"/>
                <a:gd name="T2" fmla="*/ 0 w 79"/>
                <a:gd name="T3" fmla="*/ 1357 h 1357"/>
                <a:gd name="T4" fmla="*/ 0 w 79"/>
                <a:gd name="T5" fmla="*/ 32 h 1357"/>
                <a:gd name="T6" fmla="*/ 39 w 79"/>
                <a:gd name="T7" fmla="*/ 1 h 1357"/>
                <a:gd name="T8" fmla="*/ 79 w 79"/>
                <a:gd name="T9" fmla="*/ 32 h 1357"/>
                <a:gd name="T10" fmla="*/ 79 w 79"/>
                <a:gd name="T11" fmla="*/ 1357 h 1357"/>
              </a:gdLst>
              <a:ahLst/>
              <a:cxnLst>
                <a:cxn ang="0">
                  <a:pos x="T0" y="T1"/>
                </a:cxn>
                <a:cxn ang="0">
                  <a:pos x="T2" y="T3"/>
                </a:cxn>
                <a:cxn ang="0">
                  <a:pos x="T4" y="T5"/>
                </a:cxn>
                <a:cxn ang="0">
                  <a:pos x="T6" y="T7"/>
                </a:cxn>
                <a:cxn ang="0">
                  <a:pos x="T8" y="T9"/>
                </a:cxn>
                <a:cxn ang="0">
                  <a:pos x="T10" y="T11"/>
                </a:cxn>
              </a:cxnLst>
              <a:rect l="0" t="0" r="r" b="b"/>
              <a:pathLst>
                <a:path w="79" h="1357">
                  <a:moveTo>
                    <a:pt x="79" y="1357"/>
                  </a:moveTo>
                  <a:cubicBezTo>
                    <a:pt x="0" y="1357"/>
                    <a:pt x="0" y="1357"/>
                    <a:pt x="0" y="1357"/>
                  </a:cubicBezTo>
                  <a:cubicBezTo>
                    <a:pt x="0" y="32"/>
                    <a:pt x="0" y="32"/>
                    <a:pt x="0" y="32"/>
                  </a:cubicBezTo>
                  <a:cubicBezTo>
                    <a:pt x="0" y="32"/>
                    <a:pt x="5" y="1"/>
                    <a:pt x="39" y="1"/>
                  </a:cubicBezTo>
                  <a:cubicBezTo>
                    <a:pt x="73" y="0"/>
                    <a:pt x="79" y="32"/>
                    <a:pt x="79" y="32"/>
                  </a:cubicBezTo>
                  <a:cubicBezTo>
                    <a:pt x="79" y="1357"/>
                    <a:pt x="79" y="1357"/>
                    <a:pt x="79" y="1357"/>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30" name="Freeform 34">
              <a:extLst>
                <a:ext uri="{FF2B5EF4-FFF2-40B4-BE49-F238E27FC236}">
                  <a16:creationId xmlns:a16="http://schemas.microsoft.com/office/drawing/2014/main" id="{1E35FC13-8382-79E9-C5E8-CA0AB9DA7CD3}"/>
                </a:ext>
              </a:extLst>
            </p:cNvPr>
            <p:cNvSpPr>
              <a:spLocks/>
            </p:cNvSpPr>
            <p:nvPr/>
          </p:nvSpPr>
          <p:spPr bwMode="auto">
            <a:xfrm>
              <a:off x="6205431" y="4891705"/>
              <a:ext cx="91493" cy="1971928"/>
            </a:xfrm>
            <a:custGeom>
              <a:avLst/>
              <a:gdLst>
                <a:gd name="T0" fmla="*/ 63 w 63"/>
                <a:gd name="T1" fmla="*/ 1358 h 1358"/>
                <a:gd name="T2" fmla="*/ 0 w 63"/>
                <a:gd name="T3" fmla="*/ 1358 h 1358"/>
                <a:gd name="T4" fmla="*/ 0 w 63"/>
                <a:gd name="T5" fmla="*/ 32 h 1358"/>
                <a:gd name="T6" fmla="*/ 30 w 63"/>
                <a:gd name="T7" fmla="*/ 0 h 1358"/>
                <a:gd name="T8" fmla="*/ 63 w 63"/>
                <a:gd name="T9" fmla="*/ 32 h 1358"/>
                <a:gd name="T10" fmla="*/ 63 w 63"/>
                <a:gd name="T11" fmla="*/ 1358 h 1358"/>
              </a:gdLst>
              <a:ahLst/>
              <a:cxnLst>
                <a:cxn ang="0">
                  <a:pos x="T0" y="T1"/>
                </a:cxn>
                <a:cxn ang="0">
                  <a:pos x="T2" y="T3"/>
                </a:cxn>
                <a:cxn ang="0">
                  <a:pos x="T4" y="T5"/>
                </a:cxn>
                <a:cxn ang="0">
                  <a:pos x="T6" y="T7"/>
                </a:cxn>
                <a:cxn ang="0">
                  <a:pos x="T8" y="T9"/>
                </a:cxn>
                <a:cxn ang="0">
                  <a:pos x="T10" y="T11"/>
                </a:cxn>
              </a:cxnLst>
              <a:rect l="0" t="0" r="r" b="b"/>
              <a:pathLst>
                <a:path w="63" h="1358">
                  <a:moveTo>
                    <a:pt x="63" y="1358"/>
                  </a:moveTo>
                  <a:cubicBezTo>
                    <a:pt x="0" y="1358"/>
                    <a:pt x="0" y="1358"/>
                    <a:pt x="0" y="1358"/>
                  </a:cubicBezTo>
                  <a:cubicBezTo>
                    <a:pt x="0" y="32"/>
                    <a:pt x="0" y="32"/>
                    <a:pt x="0" y="32"/>
                  </a:cubicBezTo>
                  <a:cubicBezTo>
                    <a:pt x="0" y="32"/>
                    <a:pt x="4" y="1"/>
                    <a:pt x="30" y="0"/>
                  </a:cubicBezTo>
                  <a:cubicBezTo>
                    <a:pt x="57" y="0"/>
                    <a:pt x="63" y="32"/>
                    <a:pt x="63" y="32"/>
                  </a:cubicBezTo>
                  <a:cubicBezTo>
                    <a:pt x="63" y="1358"/>
                    <a:pt x="63" y="1358"/>
                    <a:pt x="63" y="1358"/>
                  </a:cubicBezTo>
                </a:path>
              </a:pathLst>
            </a:custGeom>
            <a:solidFill>
              <a:srgbClr val="FFB1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31" name="Freeform 35">
              <a:extLst>
                <a:ext uri="{FF2B5EF4-FFF2-40B4-BE49-F238E27FC236}">
                  <a16:creationId xmlns:a16="http://schemas.microsoft.com/office/drawing/2014/main" id="{0C731EDE-5518-238A-96C3-9ACF4EF74482}"/>
                </a:ext>
              </a:extLst>
            </p:cNvPr>
            <p:cNvSpPr>
              <a:spLocks/>
            </p:cNvSpPr>
            <p:nvPr/>
          </p:nvSpPr>
          <p:spPr bwMode="auto">
            <a:xfrm>
              <a:off x="6003071" y="4891705"/>
              <a:ext cx="91493" cy="1971928"/>
            </a:xfrm>
            <a:custGeom>
              <a:avLst/>
              <a:gdLst>
                <a:gd name="T0" fmla="*/ 63 w 63"/>
                <a:gd name="T1" fmla="*/ 1358 h 1358"/>
                <a:gd name="T2" fmla="*/ 0 w 63"/>
                <a:gd name="T3" fmla="*/ 1358 h 1358"/>
                <a:gd name="T4" fmla="*/ 0 w 63"/>
                <a:gd name="T5" fmla="*/ 32 h 1358"/>
                <a:gd name="T6" fmla="*/ 31 w 63"/>
                <a:gd name="T7" fmla="*/ 0 h 1358"/>
                <a:gd name="T8" fmla="*/ 63 w 63"/>
                <a:gd name="T9" fmla="*/ 32 h 1358"/>
                <a:gd name="T10" fmla="*/ 63 w 63"/>
                <a:gd name="T11" fmla="*/ 1358 h 1358"/>
              </a:gdLst>
              <a:ahLst/>
              <a:cxnLst>
                <a:cxn ang="0">
                  <a:pos x="T0" y="T1"/>
                </a:cxn>
                <a:cxn ang="0">
                  <a:pos x="T2" y="T3"/>
                </a:cxn>
                <a:cxn ang="0">
                  <a:pos x="T4" y="T5"/>
                </a:cxn>
                <a:cxn ang="0">
                  <a:pos x="T6" y="T7"/>
                </a:cxn>
                <a:cxn ang="0">
                  <a:pos x="T8" y="T9"/>
                </a:cxn>
                <a:cxn ang="0">
                  <a:pos x="T10" y="T11"/>
                </a:cxn>
              </a:cxnLst>
              <a:rect l="0" t="0" r="r" b="b"/>
              <a:pathLst>
                <a:path w="63" h="1358">
                  <a:moveTo>
                    <a:pt x="63" y="1358"/>
                  </a:moveTo>
                  <a:cubicBezTo>
                    <a:pt x="0" y="1358"/>
                    <a:pt x="0" y="1358"/>
                    <a:pt x="0" y="1358"/>
                  </a:cubicBezTo>
                  <a:cubicBezTo>
                    <a:pt x="0" y="32"/>
                    <a:pt x="0" y="32"/>
                    <a:pt x="0" y="32"/>
                  </a:cubicBezTo>
                  <a:cubicBezTo>
                    <a:pt x="0" y="32"/>
                    <a:pt x="4" y="1"/>
                    <a:pt x="31" y="0"/>
                  </a:cubicBezTo>
                  <a:cubicBezTo>
                    <a:pt x="58" y="0"/>
                    <a:pt x="63" y="32"/>
                    <a:pt x="63" y="32"/>
                  </a:cubicBezTo>
                  <a:lnTo>
                    <a:pt x="63" y="1358"/>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32" name="Freeform 36">
              <a:extLst>
                <a:ext uri="{FF2B5EF4-FFF2-40B4-BE49-F238E27FC236}">
                  <a16:creationId xmlns:a16="http://schemas.microsoft.com/office/drawing/2014/main" id="{3A72D993-DFD9-DF6A-0C5F-D3A616C28F77}"/>
                </a:ext>
              </a:extLst>
            </p:cNvPr>
            <p:cNvSpPr>
              <a:spLocks/>
            </p:cNvSpPr>
            <p:nvPr/>
          </p:nvSpPr>
          <p:spPr bwMode="auto">
            <a:xfrm>
              <a:off x="6092411" y="4505284"/>
              <a:ext cx="117326" cy="168992"/>
            </a:xfrm>
            <a:custGeom>
              <a:avLst/>
              <a:gdLst>
                <a:gd name="T0" fmla="*/ 0 w 81"/>
                <a:gd name="T1" fmla="*/ 107 h 117"/>
                <a:gd name="T2" fmla="*/ 81 w 81"/>
                <a:gd name="T3" fmla="*/ 109 h 117"/>
                <a:gd name="T4" fmla="*/ 48 w 81"/>
                <a:gd name="T5" fmla="*/ 0 h 117"/>
                <a:gd name="T6" fmla="*/ 28 w 81"/>
                <a:gd name="T7" fmla="*/ 0 h 117"/>
                <a:gd name="T8" fmla="*/ 0 w 81"/>
                <a:gd name="T9" fmla="*/ 107 h 117"/>
              </a:gdLst>
              <a:ahLst/>
              <a:cxnLst>
                <a:cxn ang="0">
                  <a:pos x="T0" y="T1"/>
                </a:cxn>
                <a:cxn ang="0">
                  <a:pos x="T2" y="T3"/>
                </a:cxn>
                <a:cxn ang="0">
                  <a:pos x="T4" y="T5"/>
                </a:cxn>
                <a:cxn ang="0">
                  <a:pos x="T6" y="T7"/>
                </a:cxn>
                <a:cxn ang="0">
                  <a:pos x="T8" y="T9"/>
                </a:cxn>
              </a:cxnLst>
              <a:rect l="0" t="0" r="r" b="b"/>
              <a:pathLst>
                <a:path w="81" h="117">
                  <a:moveTo>
                    <a:pt x="0" y="107"/>
                  </a:moveTo>
                  <a:cubicBezTo>
                    <a:pt x="0" y="107"/>
                    <a:pt x="39" y="117"/>
                    <a:pt x="81" y="109"/>
                  </a:cubicBezTo>
                  <a:cubicBezTo>
                    <a:pt x="48" y="0"/>
                    <a:pt x="48" y="0"/>
                    <a:pt x="48" y="0"/>
                  </a:cubicBezTo>
                  <a:cubicBezTo>
                    <a:pt x="28" y="0"/>
                    <a:pt x="28" y="0"/>
                    <a:pt x="28" y="0"/>
                  </a:cubicBezTo>
                  <a:cubicBezTo>
                    <a:pt x="0" y="107"/>
                    <a:pt x="0" y="107"/>
                    <a:pt x="0" y="107"/>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33" name="Freeform 37">
              <a:extLst>
                <a:ext uri="{FF2B5EF4-FFF2-40B4-BE49-F238E27FC236}">
                  <a16:creationId xmlns:a16="http://schemas.microsoft.com/office/drawing/2014/main" id="{833C9132-D630-34FD-ED87-94F148713184}"/>
                </a:ext>
              </a:extLst>
            </p:cNvPr>
            <p:cNvSpPr>
              <a:spLocks/>
            </p:cNvSpPr>
            <p:nvPr/>
          </p:nvSpPr>
          <p:spPr bwMode="auto">
            <a:xfrm>
              <a:off x="5213008" y="6865786"/>
              <a:ext cx="229269" cy="2153"/>
            </a:xfrm>
            <a:custGeom>
              <a:avLst/>
              <a:gdLst>
                <a:gd name="T0" fmla="*/ 213 w 213"/>
                <a:gd name="T1" fmla="*/ 0 h 2"/>
                <a:gd name="T2" fmla="*/ 0 w 213"/>
                <a:gd name="T3" fmla="*/ 0 h 2"/>
                <a:gd name="T4" fmla="*/ 0 w 213"/>
                <a:gd name="T5" fmla="*/ 2 h 2"/>
                <a:gd name="T6" fmla="*/ 213 w 213"/>
                <a:gd name="T7" fmla="*/ 0 h 2"/>
              </a:gdLst>
              <a:ahLst/>
              <a:cxnLst>
                <a:cxn ang="0">
                  <a:pos x="T0" y="T1"/>
                </a:cxn>
                <a:cxn ang="0">
                  <a:pos x="T2" y="T3"/>
                </a:cxn>
                <a:cxn ang="0">
                  <a:pos x="T4" y="T5"/>
                </a:cxn>
                <a:cxn ang="0">
                  <a:pos x="T6" y="T7"/>
                </a:cxn>
              </a:cxnLst>
              <a:rect l="0" t="0" r="r" b="b"/>
              <a:pathLst>
                <a:path w="213" h="2">
                  <a:moveTo>
                    <a:pt x="213" y="0"/>
                  </a:moveTo>
                  <a:lnTo>
                    <a:pt x="0" y="0"/>
                  </a:lnTo>
                  <a:lnTo>
                    <a:pt x="0" y="2"/>
                  </a:lnTo>
                  <a:lnTo>
                    <a:pt x="213" y="0"/>
                  </a:lnTo>
                  <a:close/>
                </a:path>
              </a:pathLst>
            </a:custGeom>
            <a:solidFill>
              <a:srgbClr val="9C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34" name="Freeform 38">
              <a:extLst>
                <a:ext uri="{FF2B5EF4-FFF2-40B4-BE49-F238E27FC236}">
                  <a16:creationId xmlns:a16="http://schemas.microsoft.com/office/drawing/2014/main" id="{64EC570E-3156-6C70-1208-01CC91AAE198}"/>
                </a:ext>
              </a:extLst>
            </p:cNvPr>
            <p:cNvSpPr>
              <a:spLocks/>
            </p:cNvSpPr>
            <p:nvPr/>
          </p:nvSpPr>
          <p:spPr bwMode="auto">
            <a:xfrm>
              <a:off x="5213008" y="6865786"/>
              <a:ext cx="229269" cy="2153"/>
            </a:xfrm>
            <a:custGeom>
              <a:avLst/>
              <a:gdLst>
                <a:gd name="T0" fmla="*/ 213 w 213"/>
                <a:gd name="T1" fmla="*/ 0 h 2"/>
                <a:gd name="T2" fmla="*/ 0 w 213"/>
                <a:gd name="T3" fmla="*/ 0 h 2"/>
                <a:gd name="T4" fmla="*/ 0 w 213"/>
                <a:gd name="T5" fmla="*/ 2 h 2"/>
                <a:gd name="T6" fmla="*/ 213 w 213"/>
                <a:gd name="T7" fmla="*/ 0 h 2"/>
              </a:gdLst>
              <a:ahLst/>
              <a:cxnLst>
                <a:cxn ang="0">
                  <a:pos x="T0" y="T1"/>
                </a:cxn>
                <a:cxn ang="0">
                  <a:pos x="T2" y="T3"/>
                </a:cxn>
                <a:cxn ang="0">
                  <a:pos x="T4" y="T5"/>
                </a:cxn>
                <a:cxn ang="0">
                  <a:pos x="T6" y="T7"/>
                </a:cxn>
              </a:cxnLst>
              <a:rect l="0" t="0" r="r" b="b"/>
              <a:pathLst>
                <a:path w="213" h="2">
                  <a:moveTo>
                    <a:pt x="213" y="0"/>
                  </a:moveTo>
                  <a:lnTo>
                    <a:pt x="0" y="0"/>
                  </a:lnTo>
                  <a:lnTo>
                    <a:pt x="0" y="2"/>
                  </a:lnTo>
                  <a:lnTo>
                    <a:pt x="21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35" name="Freeform 40">
              <a:extLst>
                <a:ext uri="{FF2B5EF4-FFF2-40B4-BE49-F238E27FC236}">
                  <a16:creationId xmlns:a16="http://schemas.microsoft.com/office/drawing/2014/main" id="{69B75310-E9DA-F775-6E24-EFAEDF531D07}"/>
                </a:ext>
              </a:extLst>
            </p:cNvPr>
            <p:cNvSpPr>
              <a:spLocks/>
            </p:cNvSpPr>
            <p:nvPr/>
          </p:nvSpPr>
          <p:spPr bwMode="auto">
            <a:xfrm>
              <a:off x="5213008" y="5371771"/>
              <a:ext cx="136701" cy="269095"/>
            </a:xfrm>
            <a:custGeom>
              <a:avLst/>
              <a:gdLst>
                <a:gd name="T0" fmla="*/ 41 w 94"/>
                <a:gd name="T1" fmla="*/ 0 h 185"/>
                <a:gd name="T2" fmla="*/ 6 w 94"/>
                <a:gd name="T3" fmla="*/ 3 h 185"/>
                <a:gd name="T4" fmla="*/ 0 w 94"/>
                <a:gd name="T5" fmla="*/ 3 h 185"/>
                <a:gd name="T6" fmla="*/ 0 w 94"/>
                <a:gd name="T7" fmla="*/ 158 h 185"/>
                <a:gd name="T8" fmla="*/ 37 w 94"/>
                <a:gd name="T9" fmla="*/ 185 h 185"/>
                <a:gd name="T10" fmla="*/ 67 w 94"/>
                <a:gd name="T11" fmla="*/ 156 h 185"/>
                <a:gd name="T12" fmla="*/ 68 w 94"/>
                <a:gd name="T13" fmla="*/ 156 h 185"/>
                <a:gd name="T14" fmla="*/ 94 w 94"/>
                <a:gd name="T15" fmla="*/ 172 h 185"/>
                <a:gd name="T16" fmla="*/ 94 w 94"/>
                <a:gd name="T17" fmla="*/ 171 h 185"/>
                <a:gd name="T18" fmla="*/ 41 w 94"/>
                <a:gd name="T19" fmla="*/ 0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 h="185">
                  <a:moveTo>
                    <a:pt x="41" y="0"/>
                  </a:moveTo>
                  <a:cubicBezTo>
                    <a:pt x="28" y="2"/>
                    <a:pt x="16" y="3"/>
                    <a:pt x="6" y="3"/>
                  </a:cubicBezTo>
                  <a:cubicBezTo>
                    <a:pt x="4" y="3"/>
                    <a:pt x="2" y="3"/>
                    <a:pt x="0" y="3"/>
                  </a:cubicBezTo>
                  <a:cubicBezTo>
                    <a:pt x="0" y="158"/>
                    <a:pt x="0" y="158"/>
                    <a:pt x="0" y="158"/>
                  </a:cubicBezTo>
                  <a:cubicBezTo>
                    <a:pt x="24" y="159"/>
                    <a:pt x="34" y="177"/>
                    <a:pt x="37" y="185"/>
                  </a:cubicBezTo>
                  <a:cubicBezTo>
                    <a:pt x="38" y="178"/>
                    <a:pt x="45" y="157"/>
                    <a:pt x="67" y="156"/>
                  </a:cubicBezTo>
                  <a:cubicBezTo>
                    <a:pt x="68" y="156"/>
                    <a:pt x="68" y="156"/>
                    <a:pt x="68" y="156"/>
                  </a:cubicBezTo>
                  <a:cubicBezTo>
                    <a:pt x="81" y="156"/>
                    <a:pt x="89" y="164"/>
                    <a:pt x="94" y="172"/>
                  </a:cubicBezTo>
                  <a:cubicBezTo>
                    <a:pt x="94" y="171"/>
                    <a:pt x="94" y="171"/>
                    <a:pt x="94" y="171"/>
                  </a:cubicBezTo>
                  <a:cubicBezTo>
                    <a:pt x="41" y="0"/>
                    <a:pt x="41" y="0"/>
                    <a:pt x="41" y="0"/>
                  </a:cubicBezTo>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36" name="Freeform 41">
              <a:extLst>
                <a:ext uri="{FF2B5EF4-FFF2-40B4-BE49-F238E27FC236}">
                  <a16:creationId xmlns:a16="http://schemas.microsoft.com/office/drawing/2014/main" id="{7DE451DC-F92A-33D2-5278-124D83E3FB62}"/>
                </a:ext>
              </a:extLst>
            </p:cNvPr>
            <p:cNvSpPr>
              <a:spLocks/>
            </p:cNvSpPr>
            <p:nvPr/>
          </p:nvSpPr>
          <p:spPr bwMode="auto">
            <a:xfrm>
              <a:off x="5213008" y="5601039"/>
              <a:ext cx="55972" cy="1264747"/>
            </a:xfrm>
            <a:custGeom>
              <a:avLst/>
              <a:gdLst>
                <a:gd name="T0" fmla="*/ 0 w 38"/>
                <a:gd name="T1" fmla="*/ 0 h 870"/>
                <a:gd name="T2" fmla="*/ 0 w 38"/>
                <a:gd name="T3" fmla="*/ 870 h 870"/>
                <a:gd name="T4" fmla="*/ 38 w 38"/>
                <a:gd name="T5" fmla="*/ 870 h 870"/>
                <a:gd name="T6" fmla="*/ 38 w 38"/>
                <a:gd name="T7" fmla="*/ 869 h 870"/>
                <a:gd name="T8" fmla="*/ 36 w 38"/>
                <a:gd name="T9" fmla="*/ 869 h 870"/>
                <a:gd name="T10" fmla="*/ 36 w 38"/>
                <a:gd name="T11" fmla="*/ 30 h 870"/>
                <a:gd name="T12" fmla="*/ 37 w 38"/>
                <a:gd name="T13" fmla="*/ 27 h 870"/>
                <a:gd name="T14" fmla="*/ 0 w 38"/>
                <a:gd name="T15" fmla="*/ 0 h 8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870">
                  <a:moveTo>
                    <a:pt x="0" y="0"/>
                  </a:moveTo>
                  <a:cubicBezTo>
                    <a:pt x="0" y="870"/>
                    <a:pt x="0" y="870"/>
                    <a:pt x="0" y="870"/>
                  </a:cubicBezTo>
                  <a:cubicBezTo>
                    <a:pt x="38" y="870"/>
                    <a:pt x="38" y="870"/>
                    <a:pt x="38" y="870"/>
                  </a:cubicBezTo>
                  <a:cubicBezTo>
                    <a:pt x="38" y="869"/>
                    <a:pt x="38" y="869"/>
                    <a:pt x="38" y="869"/>
                  </a:cubicBezTo>
                  <a:cubicBezTo>
                    <a:pt x="36" y="869"/>
                    <a:pt x="36" y="869"/>
                    <a:pt x="36" y="869"/>
                  </a:cubicBezTo>
                  <a:cubicBezTo>
                    <a:pt x="36" y="30"/>
                    <a:pt x="36" y="30"/>
                    <a:pt x="36" y="30"/>
                  </a:cubicBezTo>
                  <a:cubicBezTo>
                    <a:pt x="36" y="30"/>
                    <a:pt x="37" y="29"/>
                    <a:pt x="37" y="27"/>
                  </a:cubicBezTo>
                  <a:cubicBezTo>
                    <a:pt x="34" y="19"/>
                    <a:pt x="24" y="1"/>
                    <a:pt x="0" y="0"/>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37" name="Freeform 42">
              <a:extLst>
                <a:ext uri="{FF2B5EF4-FFF2-40B4-BE49-F238E27FC236}">
                  <a16:creationId xmlns:a16="http://schemas.microsoft.com/office/drawing/2014/main" id="{68FB0E8C-0950-33EC-8452-974039147F1D}"/>
                </a:ext>
              </a:extLst>
            </p:cNvPr>
            <p:cNvSpPr>
              <a:spLocks/>
            </p:cNvSpPr>
            <p:nvPr/>
          </p:nvSpPr>
          <p:spPr bwMode="auto">
            <a:xfrm>
              <a:off x="5265751" y="5598887"/>
              <a:ext cx="93645" cy="1264747"/>
            </a:xfrm>
            <a:custGeom>
              <a:avLst/>
              <a:gdLst>
                <a:gd name="T0" fmla="*/ 32 w 64"/>
                <a:gd name="T1" fmla="*/ 0 h 871"/>
                <a:gd name="T2" fmla="*/ 31 w 64"/>
                <a:gd name="T3" fmla="*/ 0 h 871"/>
                <a:gd name="T4" fmla="*/ 1 w 64"/>
                <a:gd name="T5" fmla="*/ 29 h 871"/>
                <a:gd name="T6" fmla="*/ 0 w 64"/>
                <a:gd name="T7" fmla="*/ 32 h 871"/>
                <a:gd name="T8" fmla="*/ 0 w 64"/>
                <a:gd name="T9" fmla="*/ 871 h 871"/>
                <a:gd name="T10" fmla="*/ 2 w 64"/>
                <a:gd name="T11" fmla="*/ 871 h 871"/>
                <a:gd name="T12" fmla="*/ 64 w 64"/>
                <a:gd name="T13" fmla="*/ 871 h 871"/>
                <a:gd name="T14" fmla="*/ 64 w 64"/>
                <a:gd name="T15" fmla="*/ 32 h 871"/>
                <a:gd name="T16" fmla="*/ 58 w 64"/>
                <a:gd name="T17" fmla="*/ 16 h 871"/>
                <a:gd name="T18" fmla="*/ 32 w 64"/>
                <a:gd name="T19" fmla="*/ 0 h 8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871">
                  <a:moveTo>
                    <a:pt x="32" y="0"/>
                  </a:moveTo>
                  <a:cubicBezTo>
                    <a:pt x="32" y="0"/>
                    <a:pt x="32" y="0"/>
                    <a:pt x="31" y="0"/>
                  </a:cubicBezTo>
                  <a:cubicBezTo>
                    <a:pt x="9" y="1"/>
                    <a:pt x="2" y="22"/>
                    <a:pt x="1" y="29"/>
                  </a:cubicBezTo>
                  <a:cubicBezTo>
                    <a:pt x="1" y="31"/>
                    <a:pt x="0" y="32"/>
                    <a:pt x="0" y="32"/>
                  </a:cubicBezTo>
                  <a:cubicBezTo>
                    <a:pt x="0" y="871"/>
                    <a:pt x="0" y="871"/>
                    <a:pt x="0" y="871"/>
                  </a:cubicBezTo>
                  <a:cubicBezTo>
                    <a:pt x="2" y="871"/>
                    <a:pt x="2" y="871"/>
                    <a:pt x="2" y="871"/>
                  </a:cubicBezTo>
                  <a:cubicBezTo>
                    <a:pt x="64" y="871"/>
                    <a:pt x="64" y="871"/>
                    <a:pt x="64" y="871"/>
                  </a:cubicBezTo>
                  <a:cubicBezTo>
                    <a:pt x="64" y="32"/>
                    <a:pt x="64" y="32"/>
                    <a:pt x="64" y="32"/>
                  </a:cubicBezTo>
                  <a:cubicBezTo>
                    <a:pt x="64" y="32"/>
                    <a:pt x="62" y="24"/>
                    <a:pt x="58" y="16"/>
                  </a:cubicBezTo>
                  <a:cubicBezTo>
                    <a:pt x="53" y="8"/>
                    <a:pt x="45" y="0"/>
                    <a:pt x="32" y="0"/>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38" name="Freeform 43">
              <a:extLst>
                <a:ext uri="{FF2B5EF4-FFF2-40B4-BE49-F238E27FC236}">
                  <a16:creationId xmlns:a16="http://schemas.microsoft.com/office/drawing/2014/main" id="{43844D6E-792D-CA88-2D50-16201F51455F}"/>
                </a:ext>
              </a:extLst>
            </p:cNvPr>
            <p:cNvSpPr>
              <a:spLocks/>
            </p:cNvSpPr>
            <p:nvPr/>
          </p:nvSpPr>
          <p:spPr bwMode="auto">
            <a:xfrm>
              <a:off x="5213008" y="5208161"/>
              <a:ext cx="60277" cy="167915"/>
            </a:xfrm>
            <a:custGeom>
              <a:avLst/>
              <a:gdLst>
                <a:gd name="T0" fmla="*/ 7 w 41"/>
                <a:gd name="T1" fmla="*/ 0 h 116"/>
                <a:gd name="T2" fmla="*/ 0 w 41"/>
                <a:gd name="T3" fmla="*/ 0 h 116"/>
                <a:gd name="T4" fmla="*/ 0 w 41"/>
                <a:gd name="T5" fmla="*/ 116 h 116"/>
                <a:gd name="T6" fmla="*/ 6 w 41"/>
                <a:gd name="T7" fmla="*/ 116 h 116"/>
                <a:gd name="T8" fmla="*/ 41 w 41"/>
                <a:gd name="T9" fmla="*/ 113 h 116"/>
                <a:gd name="T10" fmla="*/ 41 w 41"/>
                <a:gd name="T11" fmla="*/ 113 h 116"/>
                <a:gd name="T12" fmla="*/ 7 w 41"/>
                <a:gd name="T13" fmla="*/ 0 h 116"/>
              </a:gdLst>
              <a:ahLst/>
              <a:cxnLst>
                <a:cxn ang="0">
                  <a:pos x="T0" y="T1"/>
                </a:cxn>
                <a:cxn ang="0">
                  <a:pos x="T2" y="T3"/>
                </a:cxn>
                <a:cxn ang="0">
                  <a:pos x="T4" y="T5"/>
                </a:cxn>
                <a:cxn ang="0">
                  <a:pos x="T6" y="T7"/>
                </a:cxn>
                <a:cxn ang="0">
                  <a:pos x="T8" y="T9"/>
                </a:cxn>
                <a:cxn ang="0">
                  <a:pos x="T10" y="T11"/>
                </a:cxn>
                <a:cxn ang="0">
                  <a:pos x="T12" y="T13"/>
                </a:cxn>
              </a:cxnLst>
              <a:rect l="0" t="0" r="r" b="b"/>
              <a:pathLst>
                <a:path w="41" h="116">
                  <a:moveTo>
                    <a:pt x="7" y="0"/>
                  </a:moveTo>
                  <a:cubicBezTo>
                    <a:pt x="0" y="0"/>
                    <a:pt x="0" y="0"/>
                    <a:pt x="0" y="0"/>
                  </a:cubicBezTo>
                  <a:cubicBezTo>
                    <a:pt x="0" y="116"/>
                    <a:pt x="0" y="116"/>
                    <a:pt x="0" y="116"/>
                  </a:cubicBezTo>
                  <a:cubicBezTo>
                    <a:pt x="2" y="116"/>
                    <a:pt x="4" y="116"/>
                    <a:pt x="6" y="116"/>
                  </a:cubicBezTo>
                  <a:cubicBezTo>
                    <a:pt x="16" y="116"/>
                    <a:pt x="28" y="115"/>
                    <a:pt x="41" y="113"/>
                  </a:cubicBezTo>
                  <a:cubicBezTo>
                    <a:pt x="41" y="113"/>
                    <a:pt x="41" y="113"/>
                    <a:pt x="41" y="113"/>
                  </a:cubicBezTo>
                  <a:cubicBezTo>
                    <a:pt x="7" y="0"/>
                    <a:pt x="7" y="0"/>
                    <a:pt x="7" y="0"/>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39" name="Freeform 44">
              <a:extLst>
                <a:ext uri="{FF2B5EF4-FFF2-40B4-BE49-F238E27FC236}">
                  <a16:creationId xmlns:a16="http://schemas.microsoft.com/office/drawing/2014/main" id="{83AAF059-F372-85FD-A83C-71865C0FEF96}"/>
                </a:ext>
              </a:extLst>
            </p:cNvPr>
            <p:cNvSpPr>
              <a:spLocks/>
            </p:cNvSpPr>
            <p:nvPr/>
          </p:nvSpPr>
          <p:spPr bwMode="auto">
            <a:xfrm>
              <a:off x="5690921" y="6865786"/>
              <a:ext cx="228193" cy="2153"/>
            </a:xfrm>
            <a:custGeom>
              <a:avLst/>
              <a:gdLst>
                <a:gd name="T0" fmla="*/ 212 w 212"/>
                <a:gd name="T1" fmla="*/ 0 h 2"/>
                <a:gd name="T2" fmla="*/ 0 w 212"/>
                <a:gd name="T3" fmla="*/ 0 h 2"/>
                <a:gd name="T4" fmla="*/ 0 w 212"/>
                <a:gd name="T5" fmla="*/ 2 h 2"/>
                <a:gd name="T6" fmla="*/ 212 w 212"/>
                <a:gd name="T7" fmla="*/ 0 h 2"/>
              </a:gdLst>
              <a:ahLst/>
              <a:cxnLst>
                <a:cxn ang="0">
                  <a:pos x="T0" y="T1"/>
                </a:cxn>
                <a:cxn ang="0">
                  <a:pos x="T2" y="T3"/>
                </a:cxn>
                <a:cxn ang="0">
                  <a:pos x="T4" y="T5"/>
                </a:cxn>
                <a:cxn ang="0">
                  <a:pos x="T6" y="T7"/>
                </a:cxn>
              </a:cxnLst>
              <a:rect l="0" t="0" r="r" b="b"/>
              <a:pathLst>
                <a:path w="212" h="2">
                  <a:moveTo>
                    <a:pt x="212" y="0"/>
                  </a:moveTo>
                  <a:lnTo>
                    <a:pt x="0" y="0"/>
                  </a:lnTo>
                  <a:lnTo>
                    <a:pt x="0" y="2"/>
                  </a:lnTo>
                  <a:lnTo>
                    <a:pt x="212" y="0"/>
                  </a:lnTo>
                  <a:close/>
                </a:path>
              </a:pathLst>
            </a:custGeom>
            <a:solidFill>
              <a:srgbClr val="9C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40" name="Freeform 45">
              <a:extLst>
                <a:ext uri="{FF2B5EF4-FFF2-40B4-BE49-F238E27FC236}">
                  <a16:creationId xmlns:a16="http://schemas.microsoft.com/office/drawing/2014/main" id="{EE5918B9-B44C-DFD8-DBF9-B87CFD4C39C2}"/>
                </a:ext>
              </a:extLst>
            </p:cNvPr>
            <p:cNvSpPr>
              <a:spLocks/>
            </p:cNvSpPr>
            <p:nvPr/>
          </p:nvSpPr>
          <p:spPr bwMode="auto">
            <a:xfrm>
              <a:off x="5690921" y="6865786"/>
              <a:ext cx="228193" cy="2153"/>
            </a:xfrm>
            <a:custGeom>
              <a:avLst/>
              <a:gdLst>
                <a:gd name="T0" fmla="*/ 212 w 212"/>
                <a:gd name="T1" fmla="*/ 0 h 2"/>
                <a:gd name="T2" fmla="*/ 0 w 212"/>
                <a:gd name="T3" fmla="*/ 0 h 2"/>
                <a:gd name="T4" fmla="*/ 0 w 212"/>
                <a:gd name="T5" fmla="*/ 2 h 2"/>
                <a:gd name="T6" fmla="*/ 212 w 212"/>
                <a:gd name="T7" fmla="*/ 0 h 2"/>
              </a:gdLst>
              <a:ahLst/>
              <a:cxnLst>
                <a:cxn ang="0">
                  <a:pos x="T0" y="T1"/>
                </a:cxn>
                <a:cxn ang="0">
                  <a:pos x="T2" y="T3"/>
                </a:cxn>
                <a:cxn ang="0">
                  <a:pos x="T4" y="T5"/>
                </a:cxn>
                <a:cxn ang="0">
                  <a:pos x="T6" y="T7"/>
                </a:cxn>
              </a:cxnLst>
              <a:rect l="0" t="0" r="r" b="b"/>
              <a:pathLst>
                <a:path w="212" h="2">
                  <a:moveTo>
                    <a:pt x="212" y="0"/>
                  </a:moveTo>
                  <a:lnTo>
                    <a:pt x="0" y="0"/>
                  </a:lnTo>
                  <a:lnTo>
                    <a:pt x="0" y="2"/>
                  </a:lnTo>
                  <a:lnTo>
                    <a:pt x="2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41" name="Freeform 47">
              <a:extLst>
                <a:ext uri="{FF2B5EF4-FFF2-40B4-BE49-F238E27FC236}">
                  <a16:creationId xmlns:a16="http://schemas.microsoft.com/office/drawing/2014/main" id="{0E196DCB-82D6-29F5-6155-2B07A53DDDAB}"/>
                </a:ext>
              </a:extLst>
            </p:cNvPr>
            <p:cNvSpPr>
              <a:spLocks/>
            </p:cNvSpPr>
            <p:nvPr/>
          </p:nvSpPr>
          <p:spPr bwMode="auto">
            <a:xfrm>
              <a:off x="5690921" y="5661317"/>
              <a:ext cx="137777" cy="270172"/>
            </a:xfrm>
            <a:custGeom>
              <a:avLst/>
              <a:gdLst>
                <a:gd name="T0" fmla="*/ 40 w 95"/>
                <a:gd name="T1" fmla="*/ 0 h 186"/>
                <a:gd name="T2" fmla="*/ 6 w 95"/>
                <a:gd name="T3" fmla="*/ 2 h 186"/>
                <a:gd name="T4" fmla="*/ 0 w 95"/>
                <a:gd name="T5" fmla="*/ 2 h 186"/>
                <a:gd name="T6" fmla="*/ 0 w 95"/>
                <a:gd name="T7" fmla="*/ 159 h 186"/>
                <a:gd name="T8" fmla="*/ 37 w 95"/>
                <a:gd name="T9" fmla="*/ 186 h 186"/>
                <a:gd name="T10" fmla="*/ 68 w 95"/>
                <a:gd name="T11" fmla="*/ 156 h 186"/>
                <a:gd name="T12" fmla="*/ 68 w 95"/>
                <a:gd name="T13" fmla="*/ 156 h 186"/>
                <a:gd name="T14" fmla="*/ 94 w 95"/>
                <a:gd name="T15" fmla="*/ 173 h 186"/>
                <a:gd name="T16" fmla="*/ 95 w 95"/>
                <a:gd name="T17" fmla="*/ 171 h 186"/>
                <a:gd name="T18" fmla="*/ 40 w 95"/>
                <a:gd name="T19"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186">
                  <a:moveTo>
                    <a:pt x="40" y="0"/>
                  </a:moveTo>
                  <a:cubicBezTo>
                    <a:pt x="28" y="2"/>
                    <a:pt x="16" y="2"/>
                    <a:pt x="6" y="2"/>
                  </a:cubicBezTo>
                  <a:cubicBezTo>
                    <a:pt x="4" y="2"/>
                    <a:pt x="2" y="2"/>
                    <a:pt x="0" y="2"/>
                  </a:cubicBezTo>
                  <a:cubicBezTo>
                    <a:pt x="0" y="159"/>
                    <a:pt x="0" y="159"/>
                    <a:pt x="0" y="159"/>
                  </a:cubicBezTo>
                  <a:cubicBezTo>
                    <a:pt x="24" y="159"/>
                    <a:pt x="34" y="177"/>
                    <a:pt x="37" y="186"/>
                  </a:cubicBezTo>
                  <a:cubicBezTo>
                    <a:pt x="39" y="179"/>
                    <a:pt x="45" y="157"/>
                    <a:pt x="68" y="156"/>
                  </a:cubicBezTo>
                  <a:cubicBezTo>
                    <a:pt x="68" y="156"/>
                    <a:pt x="68" y="156"/>
                    <a:pt x="68" y="156"/>
                  </a:cubicBezTo>
                  <a:cubicBezTo>
                    <a:pt x="82" y="156"/>
                    <a:pt x="89" y="165"/>
                    <a:pt x="94" y="173"/>
                  </a:cubicBezTo>
                  <a:cubicBezTo>
                    <a:pt x="95" y="171"/>
                    <a:pt x="95" y="171"/>
                    <a:pt x="95" y="171"/>
                  </a:cubicBezTo>
                  <a:cubicBezTo>
                    <a:pt x="40" y="0"/>
                    <a:pt x="40" y="0"/>
                    <a:pt x="40" y="0"/>
                  </a:cubicBezTo>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42" name="Freeform 48">
              <a:extLst>
                <a:ext uri="{FF2B5EF4-FFF2-40B4-BE49-F238E27FC236}">
                  <a16:creationId xmlns:a16="http://schemas.microsoft.com/office/drawing/2014/main" id="{E0F28334-2BD0-838E-A909-3BF4DAF18500}"/>
                </a:ext>
              </a:extLst>
            </p:cNvPr>
            <p:cNvSpPr>
              <a:spLocks/>
            </p:cNvSpPr>
            <p:nvPr/>
          </p:nvSpPr>
          <p:spPr bwMode="auto">
            <a:xfrm>
              <a:off x="5690921" y="5891662"/>
              <a:ext cx="55972" cy="974124"/>
            </a:xfrm>
            <a:custGeom>
              <a:avLst/>
              <a:gdLst>
                <a:gd name="T0" fmla="*/ 0 w 39"/>
                <a:gd name="T1" fmla="*/ 0 h 670"/>
                <a:gd name="T2" fmla="*/ 0 w 39"/>
                <a:gd name="T3" fmla="*/ 670 h 670"/>
                <a:gd name="T4" fmla="*/ 39 w 39"/>
                <a:gd name="T5" fmla="*/ 670 h 670"/>
                <a:gd name="T6" fmla="*/ 39 w 39"/>
                <a:gd name="T7" fmla="*/ 669 h 670"/>
                <a:gd name="T8" fmla="*/ 37 w 39"/>
                <a:gd name="T9" fmla="*/ 669 h 670"/>
                <a:gd name="T10" fmla="*/ 37 w 39"/>
                <a:gd name="T11" fmla="*/ 29 h 670"/>
                <a:gd name="T12" fmla="*/ 37 w 39"/>
                <a:gd name="T13" fmla="*/ 27 h 670"/>
                <a:gd name="T14" fmla="*/ 0 w 39"/>
                <a:gd name="T15" fmla="*/ 0 h 6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670">
                  <a:moveTo>
                    <a:pt x="0" y="0"/>
                  </a:moveTo>
                  <a:cubicBezTo>
                    <a:pt x="0" y="670"/>
                    <a:pt x="0" y="670"/>
                    <a:pt x="0" y="670"/>
                  </a:cubicBezTo>
                  <a:cubicBezTo>
                    <a:pt x="39" y="670"/>
                    <a:pt x="39" y="670"/>
                    <a:pt x="39" y="670"/>
                  </a:cubicBezTo>
                  <a:cubicBezTo>
                    <a:pt x="39" y="669"/>
                    <a:pt x="39" y="669"/>
                    <a:pt x="39" y="669"/>
                  </a:cubicBezTo>
                  <a:cubicBezTo>
                    <a:pt x="37" y="669"/>
                    <a:pt x="37" y="669"/>
                    <a:pt x="37" y="669"/>
                  </a:cubicBezTo>
                  <a:cubicBezTo>
                    <a:pt x="37" y="29"/>
                    <a:pt x="37" y="29"/>
                    <a:pt x="37" y="29"/>
                  </a:cubicBezTo>
                  <a:cubicBezTo>
                    <a:pt x="37" y="29"/>
                    <a:pt x="37" y="28"/>
                    <a:pt x="37" y="27"/>
                  </a:cubicBezTo>
                  <a:cubicBezTo>
                    <a:pt x="34" y="18"/>
                    <a:pt x="24" y="0"/>
                    <a:pt x="0" y="0"/>
                  </a:cubicBezTo>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43" name="Freeform 49">
              <a:extLst>
                <a:ext uri="{FF2B5EF4-FFF2-40B4-BE49-F238E27FC236}">
                  <a16:creationId xmlns:a16="http://schemas.microsoft.com/office/drawing/2014/main" id="{3BDCB597-3CE9-B10B-7882-6E9C00613066}"/>
                </a:ext>
              </a:extLst>
            </p:cNvPr>
            <p:cNvSpPr>
              <a:spLocks/>
            </p:cNvSpPr>
            <p:nvPr/>
          </p:nvSpPr>
          <p:spPr bwMode="auto">
            <a:xfrm>
              <a:off x="5744740" y="5887356"/>
              <a:ext cx="91493" cy="976277"/>
            </a:xfrm>
            <a:custGeom>
              <a:avLst/>
              <a:gdLst>
                <a:gd name="T0" fmla="*/ 31 w 63"/>
                <a:gd name="T1" fmla="*/ 0 h 672"/>
                <a:gd name="T2" fmla="*/ 31 w 63"/>
                <a:gd name="T3" fmla="*/ 0 h 672"/>
                <a:gd name="T4" fmla="*/ 0 w 63"/>
                <a:gd name="T5" fmla="*/ 30 h 672"/>
                <a:gd name="T6" fmla="*/ 0 w 63"/>
                <a:gd name="T7" fmla="*/ 32 h 672"/>
                <a:gd name="T8" fmla="*/ 0 w 63"/>
                <a:gd name="T9" fmla="*/ 672 h 672"/>
                <a:gd name="T10" fmla="*/ 2 w 63"/>
                <a:gd name="T11" fmla="*/ 672 h 672"/>
                <a:gd name="T12" fmla="*/ 63 w 63"/>
                <a:gd name="T13" fmla="*/ 672 h 672"/>
                <a:gd name="T14" fmla="*/ 63 w 63"/>
                <a:gd name="T15" fmla="*/ 32 h 672"/>
                <a:gd name="T16" fmla="*/ 57 w 63"/>
                <a:gd name="T17" fmla="*/ 17 h 672"/>
                <a:gd name="T18" fmla="*/ 31 w 63"/>
                <a:gd name="T19" fmla="*/ 0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672">
                  <a:moveTo>
                    <a:pt x="31" y="0"/>
                  </a:moveTo>
                  <a:cubicBezTo>
                    <a:pt x="31" y="0"/>
                    <a:pt x="31" y="0"/>
                    <a:pt x="31" y="0"/>
                  </a:cubicBezTo>
                  <a:cubicBezTo>
                    <a:pt x="8" y="1"/>
                    <a:pt x="2" y="23"/>
                    <a:pt x="0" y="30"/>
                  </a:cubicBezTo>
                  <a:cubicBezTo>
                    <a:pt x="0" y="31"/>
                    <a:pt x="0" y="32"/>
                    <a:pt x="0" y="32"/>
                  </a:cubicBezTo>
                  <a:cubicBezTo>
                    <a:pt x="0" y="672"/>
                    <a:pt x="0" y="672"/>
                    <a:pt x="0" y="672"/>
                  </a:cubicBezTo>
                  <a:cubicBezTo>
                    <a:pt x="2" y="672"/>
                    <a:pt x="2" y="672"/>
                    <a:pt x="2" y="672"/>
                  </a:cubicBezTo>
                  <a:cubicBezTo>
                    <a:pt x="63" y="672"/>
                    <a:pt x="63" y="672"/>
                    <a:pt x="63" y="672"/>
                  </a:cubicBezTo>
                  <a:cubicBezTo>
                    <a:pt x="63" y="32"/>
                    <a:pt x="63" y="32"/>
                    <a:pt x="63" y="32"/>
                  </a:cubicBezTo>
                  <a:cubicBezTo>
                    <a:pt x="63" y="32"/>
                    <a:pt x="61" y="24"/>
                    <a:pt x="57" y="17"/>
                  </a:cubicBezTo>
                  <a:cubicBezTo>
                    <a:pt x="52" y="9"/>
                    <a:pt x="45" y="0"/>
                    <a:pt x="31" y="0"/>
                  </a:cubicBezTo>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44" name="Freeform 50">
              <a:extLst>
                <a:ext uri="{FF2B5EF4-FFF2-40B4-BE49-F238E27FC236}">
                  <a16:creationId xmlns:a16="http://schemas.microsoft.com/office/drawing/2014/main" id="{3FEA91A7-40BC-C185-EC97-22E62DA3FF03}"/>
                </a:ext>
              </a:extLst>
            </p:cNvPr>
            <p:cNvSpPr>
              <a:spLocks/>
            </p:cNvSpPr>
            <p:nvPr/>
          </p:nvSpPr>
          <p:spPr bwMode="auto">
            <a:xfrm>
              <a:off x="5690921" y="5498784"/>
              <a:ext cx="59201" cy="165763"/>
            </a:xfrm>
            <a:custGeom>
              <a:avLst/>
              <a:gdLst>
                <a:gd name="T0" fmla="*/ 7 w 41"/>
                <a:gd name="T1" fmla="*/ 0 h 114"/>
                <a:gd name="T2" fmla="*/ 0 w 41"/>
                <a:gd name="T3" fmla="*/ 0 h 114"/>
                <a:gd name="T4" fmla="*/ 0 w 41"/>
                <a:gd name="T5" fmla="*/ 114 h 114"/>
                <a:gd name="T6" fmla="*/ 6 w 41"/>
                <a:gd name="T7" fmla="*/ 114 h 114"/>
                <a:gd name="T8" fmla="*/ 40 w 41"/>
                <a:gd name="T9" fmla="*/ 112 h 114"/>
                <a:gd name="T10" fmla="*/ 41 w 41"/>
                <a:gd name="T11" fmla="*/ 111 h 114"/>
                <a:gd name="T12" fmla="*/ 7 w 41"/>
                <a:gd name="T13" fmla="*/ 0 h 114"/>
              </a:gdLst>
              <a:ahLst/>
              <a:cxnLst>
                <a:cxn ang="0">
                  <a:pos x="T0" y="T1"/>
                </a:cxn>
                <a:cxn ang="0">
                  <a:pos x="T2" y="T3"/>
                </a:cxn>
                <a:cxn ang="0">
                  <a:pos x="T4" y="T5"/>
                </a:cxn>
                <a:cxn ang="0">
                  <a:pos x="T6" y="T7"/>
                </a:cxn>
                <a:cxn ang="0">
                  <a:pos x="T8" y="T9"/>
                </a:cxn>
                <a:cxn ang="0">
                  <a:pos x="T10" y="T11"/>
                </a:cxn>
                <a:cxn ang="0">
                  <a:pos x="T12" y="T13"/>
                </a:cxn>
              </a:cxnLst>
              <a:rect l="0" t="0" r="r" b="b"/>
              <a:pathLst>
                <a:path w="41" h="114">
                  <a:moveTo>
                    <a:pt x="7" y="0"/>
                  </a:moveTo>
                  <a:cubicBezTo>
                    <a:pt x="0" y="0"/>
                    <a:pt x="0" y="0"/>
                    <a:pt x="0" y="0"/>
                  </a:cubicBezTo>
                  <a:cubicBezTo>
                    <a:pt x="0" y="114"/>
                    <a:pt x="0" y="114"/>
                    <a:pt x="0" y="114"/>
                  </a:cubicBezTo>
                  <a:cubicBezTo>
                    <a:pt x="2" y="114"/>
                    <a:pt x="4" y="114"/>
                    <a:pt x="6" y="114"/>
                  </a:cubicBezTo>
                  <a:cubicBezTo>
                    <a:pt x="16" y="114"/>
                    <a:pt x="28" y="114"/>
                    <a:pt x="40" y="112"/>
                  </a:cubicBezTo>
                  <a:cubicBezTo>
                    <a:pt x="41" y="112"/>
                    <a:pt x="41" y="111"/>
                    <a:pt x="41" y="111"/>
                  </a:cubicBezTo>
                  <a:cubicBezTo>
                    <a:pt x="7" y="0"/>
                    <a:pt x="7" y="0"/>
                    <a:pt x="7" y="0"/>
                  </a:cubicBezTo>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45" name="Freeform 51">
              <a:extLst>
                <a:ext uri="{FF2B5EF4-FFF2-40B4-BE49-F238E27FC236}">
                  <a16:creationId xmlns:a16="http://schemas.microsoft.com/office/drawing/2014/main" id="{468FD070-C790-5BE9-58D0-3A965CAF4D49}"/>
                </a:ext>
              </a:extLst>
            </p:cNvPr>
            <p:cNvSpPr>
              <a:spLocks/>
            </p:cNvSpPr>
            <p:nvPr/>
          </p:nvSpPr>
          <p:spPr bwMode="auto">
            <a:xfrm>
              <a:off x="7017022" y="6865786"/>
              <a:ext cx="228193" cy="2153"/>
            </a:xfrm>
            <a:custGeom>
              <a:avLst/>
              <a:gdLst>
                <a:gd name="T0" fmla="*/ 212 w 212"/>
                <a:gd name="T1" fmla="*/ 0 h 2"/>
                <a:gd name="T2" fmla="*/ 0 w 212"/>
                <a:gd name="T3" fmla="*/ 0 h 2"/>
                <a:gd name="T4" fmla="*/ 0 w 212"/>
                <a:gd name="T5" fmla="*/ 2 h 2"/>
                <a:gd name="T6" fmla="*/ 212 w 212"/>
                <a:gd name="T7" fmla="*/ 0 h 2"/>
              </a:gdLst>
              <a:ahLst/>
              <a:cxnLst>
                <a:cxn ang="0">
                  <a:pos x="T0" y="T1"/>
                </a:cxn>
                <a:cxn ang="0">
                  <a:pos x="T2" y="T3"/>
                </a:cxn>
                <a:cxn ang="0">
                  <a:pos x="T4" y="T5"/>
                </a:cxn>
                <a:cxn ang="0">
                  <a:pos x="T6" y="T7"/>
                </a:cxn>
              </a:cxnLst>
              <a:rect l="0" t="0" r="r" b="b"/>
              <a:pathLst>
                <a:path w="212" h="2">
                  <a:moveTo>
                    <a:pt x="212" y="0"/>
                  </a:moveTo>
                  <a:lnTo>
                    <a:pt x="0" y="0"/>
                  </a:lnTo>
                  <a:lnTo>
                    <a:pt x="0" y="2"/>
                  </a:lnTo>
                  <a:lnTo>
                    <a:pt x="212" y="0"/>
                  </a:lnTo>
                  <a:close/>
                </a:path>
              </a:pathLst>
            </a:custGeom>
            <a:solidFill>
              <a:srgbClr val="9C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46" name="Freeform 52">
              <a:extLst>
                <a:ext uri="{FF2B5EF4-FFF2-40B4-BE49-F238E27FC236}">
                  <a16:creationId xmlns:a16="http://schemas.microsoft.com/office/drawing/2014/main" id="{A650CE10-17FD-9F44-68F5-210BAEC7E811}"/>
                </a:ext>
              </a:extLst>
            </p:cNvPr>
            <p:cNvSpPr>
              <a:spLocks/>
            </p:cNvSpPr>
            <p:nvPr/>
          </p:nvSpPr>
          <p:spPr bwMode="auto">
            <a:xfrm>
              <a:off x="7017022" y="6865786"/>
              <a:ext cx="228193" cy="2153"/>
            </a:xfrm>
            <a:custGeom>
              <a:avLst/>
              <a:gdLst>
                <a:gd name="T0" fmla="*/ 212 w 212"/>
                <a:gd name="T1" fmla="*/ 0 h 2"/>
                <a:gd name="T2" fmla="*/ 0 w 212"/>
                <a:gd name="T3" fmla="*/ 0 h 2"/>
                <a:gd name="T4" fmla="*/ 0 w 212"/>
                <a:gd name="T5" fmla="*/ 2 h 2"/>
                <a:gd name="T6" fmla="*/ 212 w 212"/>
                <a:gd name="T7" fmla="*/ 0 h 2"/>
              </a:gdLst>
              <a:ahLst/>
              <a:cxnLst>
                <a:cxn ang="0">
                  <a:pos x="T0" y="T1"/>
                </a:cxn>
                <a:cxn ang="0">
                  <a:pos x="T2" y="T3"/>
                </a:cxn>
                <a:cxn ang="0">
                  <a:pos x="T4" y="T5"/>
                </a:cxn>
                <a:cxn ang="0">
                  <a:pos x="T6" y="T7"/>
                </a:cxn>
              </a:cxnLst>
              <a:rect l="0" t="0" r="r" b="b"/>
              <a:pathLst>
                <a:path w="212" h="2">
                  <a:moveTo>
                    <a:pt x="212" y="0"/>
                  </a:moveTo>
                  <a:lnTo>
                    <a:pt x="0" y="0"/>
                  </a:lnTo>
                  <a:lnTo>
                    <a:pt x="0" y="2"/>
                  </a:lnTo>
                  <a:lnTo>
                    <a:pt x="2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47" name="Freeform 54">
              <a:extLst>
                <a:ext uri="{FF2B5EF4-FFF2-40B4-BE49-F238E27FC236}">
                  <a16:creationId xmlns:a16="http://schemas.microsoft.com/office/drawing/2014/main" id="{57A666A3-768E-062D-665A-E7343B9FF7E1}"/>
                </a:ext>
              </a:extLst>
            </p:cNvPr>
            <p:cNvSpPr>
              <a:spLocks/>
            </p:cNvSpPr>
            <p:nvPr/>
          </p:nvSpPr>
          <p:spPr bwMode="auto">
            <a:xfrm>
              <a:off x="7017022" y="5661317"/>
              <a:ext cx="143159" cy="270172"/>
            </a:xfrm>
            <a:custGeom>
              <a:avLst/>
              <a:gdLst>
                <a:gd name="T0" fmla="*/ 44 w 98"/>
                <a:gd name="T1" fmla="*/ 0 h 186"/>
                <a:gd name="T2" fmla="*/ 9 w 98"/>
                <a:gd name="T3" fmla="*/ 3 h 186"/>
                <a:gd name="T4" fmla="*/ 0 w 98"/>
                <a:gd name="T5" fmla="*/ 3 h 186"/>
                <a:gd name="T6" fmla="*/ 0 w 98"/>
                <a:gd name="T7" fmla="*/ 159 h 186"/>
                <a:gd name="T8" fmla="*/ 1 w 98"/>
                <a:gd name="T9" fmla="*/ 159 h 186"/>
                <a:gd name="T10" fmla="*/ 2 w 98"/>
                <a:gd name="T11" fmla="*/ 159 h 186"/>
                <a:gd name="T12" fmla="*/ 40 w 98"/>
                <a:gd name="T13" fmla="*/ 186 h 186"/>
                <a:gd name="T14" fmla="*/ 71 w 98"/>
                <a:gd name="T15" fmla="*/ 156 h 186"/>
                <a:gd name="T16" fmla="*/ 71 w 98"/>
                <a:gd name="T17" fmla="*/ 156 h 186"/>
                <a:gd name="T18" fmla="*/ 97 w 98"/>
                <a:gd name="T19" fmla="*/ 173 h 186"/>
                <a:gd name="T20" fmla="*/ 98 w 98"/>
                <a:gd name="T21" fmla="*/ 171 h 186"/>
                <a:gd name="T22" fmla="*/ 44 w 98"/>
                <a:gd name="T23"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8" h="186">
                  <a:moveTo>
                    <a:pt x="44" y="0"/>
                  </a:moveTo>
                  <a:cubicBezTo>
                    <a:pt x="31" y="2"/>
                    <a:pt x="20" y="3"/>
                    <a:pt x="9" y="3"/>
                  </a:cubicBezTo>
                  <a:cubicBezTo>
                    <a:pt x="6" y="3"/>
                    <a:pt x="3" y="3"/>
                    <a:pt x="0" y="3"/>
                  </a:cubicBezTo>
                  <a:cubicBezTo>
                    <a:pt x="0" y="159"/>
                    <a:pt x="0" y="159"/>
                    <a:pt x="0" y="159"/>
                  </a:cubicBezTo>
                  <a:cubicBezTo>
                    <a:pt x="0" y="159"/>
                    <a:pt x="1" y="159"/>
                    <a:pt x="1" y="159"/>
                  </a:cubicBezTo>
                  <a:cubicBezTo>
                    <a:pt x="2" y="159"/>
                    <a:pt x="2" y="159"/>
                    <a:pt x="2" y="159"/>
                  </a:cubicBezTo>
                  <a:cubicBezTo>
                    <a:pt x="27" y="159"/>
                    <a:pt x="37" y="177"/>
                    <a:pt x="40" y="186"/>
                  </a:cubicBezTo>
                  <a:cubicBezTo>
                    <a:pt x="42" y="179"/>
                    <a:pt x="48" y="157"/>
                    <a:pt x="71" y="156"/>
                  </a:cubicBezTo>
                  <a:cubicBezTo>
                    <a:pt x="71" y="156"/>
                    <a:pt x="71" y="156"/>
                    <a:pt x="71" y="156"/>
                  </a:cubicBezTo>
                  <a:cubicBezTo>
                    <a:pt x="85" y="156"/>
                    <a:pt x="92" y="165"/>
                    <a:pt x="97" y="173"/>
                  </a:cubicBezTo>
                  <a:cubicBezTo>
                    <a:pt x="98" y="171"/>
                    <a:pt x="98" y="171"/>
                    <a:pt x="98" y="171"/>
                  </a:cubicBezTo>
                  <a:cubicBezTo>
                    <a:pt x="44" y="0"/>
                    <a:pt x="44" y="0"/>
                    <a:pt x="44" y="0"/>
                  </a:cubicBezTo>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48" name="Freeform 55">
              <a:extLst>
                <a:ext uri="{FF2B5EF4-FFF2-40B4-BE49-F238E27FC236}">
                  <a16:creationId xmlns:a16="http://schemas.microsoft.com/office/drawing/2014/main" id="{EA3D68C4-D920-9AC9-7412-1B83EB159B22}"/>
                </a:ext>
              </a:extLst>
            </p:cNvPr>
            <p:cNvSpPr>
              <a:spLocks/>
            </p:cNvSpPr>
            <p:nvPr/>
          </p:nvSpPr>
          <p:spPr bwMode="auto">
            <a:xfrm>
              <a:off x="7017022" y="5891662"/>
              <a:ext cx="60277" cy="974124"/>
            </a:xfrm>
            <a:custGeom>
              <a:avLst/>
              <a:gdLst>
                <a:gd name="T0" fmla="*/ 2 w 41"/>
                <a:gd name="T1" fmla="*/ 0 h 670"/>
                <a:gd name="T2" fmla="*/ 1 w 41"/>
                <a:gd name="T3" fmla="*/ 0 h 670"/>
                <a:gd name="T4" fmla="*/ 0 w 41"/>
                <a:gd name="T5" fmla="*/ 0 h 670"/>
                <a:gd name="T6" fmla="*/ 0 w 41"/>
                <a:gd name="T7" fmla="*/ 670 h 670"/>
                <a:gd name="T8" fmla="*/ 41 w 41"/>
                <a:gd name="T9" fmla="*/ 670 h 670"/>
                <a:gd name="T10" fmla="*/ 41 w 41"/>
                <a:gd name="T11" fmla="*/ 669 h 670"/>
                <a:gd name="T12" fmla="*/ 40 w 41"/>
                <a:gd name="T13" fmla="*/ 669 h 670"/>
                <a:gd name="T14" fmla="*/ 40 w 41"/>
                <a:gd name="T15" fmla="*/ 29 h 670"/>
                <a:gd name="T16" fmla="*/ 40 w 41"/>
                <a:gd name="T17" fmla="*/ 27 h 670"/>
                <a:gd name="T18" fmla="*/ 2 w 41"/>
                <a:gd name="T19" fmla="*/ 0 h 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670">
                  <a:moveTo>
                    <a:pt x="2" y="0"/>
                  </a:moveTo>
                  <a:cubicBezTo>
                    <a:pt x="2" y="0"/>
                    <a:pt x="2" y="0"/>
                    <a:pt x="1" y="0"/>
                  </a:cubicBezTo>
                  <a:cubicBezTo>
                    <a:pt x="1" y="0"/>
                    <a:pt x="0" y="0"/>
                    <a:pt x="0" y="0"/>
                  </a:cubicBezTo>
                  <a:cubicBezTo>
                    <a:pt x="0" y="670"/>
                    <a:pt x="0" y="670"/>
                    <a:pt x="0" y="670"/>
                  </a:cubicBezTo>
                  <a:cubicBezTo>
                    <a:pt x="41" y="670"/>
                    <a:pt x="41" y="670"/>
                    <a:pt x="41" y="670"/>
                  </a:cubicBezTo>
                  <a:cubicBezTo>
                    <a:pt x="41" y="669"/>
                    <a:pt x="41" y="669"/>
                    <a:pt x="41" y="669"/>
                  </a:cubicBezTo>
                  <a:cubicBezTo>
                    <a:pt x="40" y="669"/>
                    <a:pt x="40" y="669"/>
                    <a:pt x="40" y="669"/>
                  </a:cubicBezTo>
                  <a:cubicBezTo>
                    <a:pt x="40" y="29"/>
                    <a:pt x="40" y="29"/>
                    <a:pt x="40" y="29"/>
                  </a:cubicBezTo>
                  <a:cubicBezTo>
                    <a:pt x="40" y="29"/>
                    <a:pt x="40" y="28"/>
                    <a:pt x="40" y="27"/>
                  </a:cubicBezTo>
                  <a:cubicBezTo>
                    <a:pt x="37" y="18"/>
                    <a:pt x="27" y="0"/>
                    <a:pt x="2" y="0"/>
                  </a:cubicBezTo>
                </a:path>
              </a:pathLst>
            </a:custGeom>
            <a:solidFill>
              <a:schemeClr val="accent5">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49" name="Freeform 56">
              <a:extLst>
                <a:ext uri="{FF2B5EF4-FFF2-40B4-BE49-F238E27FC236}">
                  <a16:creationId xmlns:a16="http://schemas.microsoft.com/office/drawing/2014/main" id="{CF3D5DA5-D04C-CD15-1CE9-69F922521B25}"/>
                </a:ext>
              </a:extLst>
            </p:cNvPr>
            <p:cNvSpPr>
              <a:spLocks/>
            </p:cNvSpPr>
            <p:nvPr/>
          </p:nvSpPr>
          <p:spPr bwMode="auto">
            <a:xfrm>
              <a:off x="7075146" y="5887356"/>
              <a:ext cx="91493" cy="976277"/>
            </a:xfrm>
            <a:custGeom>
              <a:avLst/>
              <a:gdLst>
                <a:gd name="T0" fmla="*/ 31 w 63"/>
                <a:gd name="T1" fmla="*/ 0 h 672"/>
                <a:gd name="T2" fmla="*/ 31 w 63"/>
                <a:gd name="T3" fmla="*/ 0 h 672"/>
                <a:gd name="T4" fmla="*/ 0 w 63"/>
                <a:gd name="T5" fmla="*/ 30 h 672"/>
                <a:gd name="T6" fmla="*/ 0 w 63"/>
                <a:gd name="T7" fmla="*/ 32 h 672"/>
                <a:gd name="T8" fmla="*/ 0 w 63"/>
                <a:gd name="T9" fmla="*/ 672 h 672"/>
                <a:gd name="T10" fmla="*/ 1 w 63"/>
                <a:gd name="T11" fmla="*/ 672 h 672"/>
                <a:gd name="T12" fmla="*/ 63 w 63"/>
                <a:gd name="T13" fmla="*/ 672 h 672"/>
                <a:gd name="T14" fmla="*/ 63 w 63"/>
                <a:gd name="T15" fmla="*/ 32 h 672"/>
                <a:gd name="T16" fmla="*/ 57 w 63"/>
                <a:gd name="T17" fmla="*/ 17 h 672"/>
                <a:gd name="T18" fmla="*/ 31 w 63"/>
                <a:gd name="T19" fmla="*/ 0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672">
                  <a:moveTo>
                    <a:pt x="31" y="0"/>
                  </a:moveTo>
                  <a:cubicBezTo>
                    <a:pt x="31" y="0"/>
                    <a:pt x="31" y="0"/>
                    <a:pt x="31" y="0"/>
                  </a:cubicBezTo>
                  <a:cubicBezTo>
                    <a:pt x="8" y="1"/>
                    <a:pt x="2" y="23"/>
                    <a:pt x="0" y="30"/>
                  </a:cubicBezTo>
                  <a:cubicBezTo>
                    <a:pt x="0" y="31"/>
                    <a:pt x="0" y="32"/>
                    <a:pt x="0" y="32"/>
                  </a:cubicBezTo>
                  <a:cubicBezTo>
                    <a:pt x="0" y="672"/>
                    <a:pt x="0" y="672"/>
                    <a:pt x="0" y="672"/>
                  </a:cubicBezTo>
                  <a:cubicBezTo>
                    <a:pt x="1" y="672"/>
                    <a:pt x="1" y="672"/>
                    <a:pt x="1" y="672"/>
                  </a:cubicBezTo>
                  <a:cubicBezTo>
                    <a:pt x="63" y="672"/>
                    <a:pt x="63" y="672"/>
                    <a:pt x="63" y="672"/>
                  </a:cubicBezTo>
                  <a:cubicBezTo>
                    <a:pt x="63" y="32"/>
                    <a:pt x="63" y="32"/>
                    <a:pt x="63" y="32"/>
                  </a:cubicBezTo>
                  <a:cubicBezTo>
                    <a:pt x="63" y="32"/>
                    <a:pt x="61" y="24"/>
                    <a:pt x="57" y="17"/>
                  </a:cubicBezTo>
                  <a:cubicBezTo>
                    <a:pt x="52" y="9"/>
                    <a:pt x="45" y="0"/>
                    <a:pt x="31" y="0"/>
                  </a:cubicBezTo>
                </a:path>
              </a:pathLst>
            </a:custGeom>
            <a:solidFill>
              <a:schemeClr val="accent5">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50" name="Freeform 57">
              <a:extLst>
                <a:ext uri="{FF2B5EF4-FFF2-40B4-BE49-F238E27FC236}">
                  <a16:creationId xmlns:a16="http://schemas.microsoft.com/office/drawing/2014/main" id="{C66907EF-BDF2-625D-6932-A7FA65C1DD61}"/>
                </a:ext>
              </a:extLst>
            </p:cNvPr>
            <p:cNvSpPr>
              <a:spLocks/>
            </p:cNvSpPr>
            <p:nvPr/>
          </p:nvSpPr>
          <p:spPr bwMode="auto">
            <a:xfrm>
              <a:off x="7017022" y="5498784"/>
              <a:ext cx="64583" cy="166839"/>
            </a:xfrm>
            <a:custGeom>
              <a:avLst/>
              <a:gdLst>
                <a:gd name="T0" fmla="*/ 10 w 44"/>
                <a:gd name="T1" fmla="*/ 0 h 115"/>
                <a:gd name="T2" fmla="*/ 0 w 44"/>
                <a:gd name="T3" fmla="*/ 0 h 115"/>
                <a:gd name="T4" fmla="*/ 0 w 44"/>
                <a:gd name="T5" fmla="*/ 115 h 115"/>
                <a:gd name="T6" fmla="*/ 9 w 44"/>
                <a:gd name="T7" fmla="*/ 115 h 115"/>
                <a:gd name="T8" fmla="*/ 44 w 44"/>
                <a:gd name="T9" fmla="*/ 112 h 115"/>
                <a:gd name="T10" fmla="*/ 44 w 44"/>
                <a:gd name="T11" fmla="*/ 112 h 115"/>
                <a:gd name="T12" fmla="*/ 10 w 44"/>
                <a:gd name="T13" fmla="*/ 0 h 115"/>
              </a:gdLst>
              <a:ahLst/>
              <a:cxnLst>
                <a:cxn ang="0">
                  <a:pos x="T0" y="T1"/>
                </a:cxn>
                <a:cxn ang="0">
                  <a:pos x="T2" y="T3"/>
                </a:cxn>
                <a:cxn ang="0">
                  <a:pos x="T4" y="T5"/>
                </a:cxn>
                <a:cxn ang="0">
                  <a:pos x="T6" y="T7"/>
                </a:cxn>
                <a:cxn ang="0">
                  <a:pos x="T8" y="T9"/>
                </a:cxn>
                <a:cxn ang="0">
                  <a:pos x="T10" y="T11"/>
                </a:cxn>
                <a:cxn ang="0">
                  <a:pos x="T12" y="T13"/>
                </a:cxn>
              </a:cxnLst>
              <a:rect l="0" t="0" r="r" b="b"/>
              <a:pathLst>
                <a:path w="44" h="115">
                  <a:moveTo>
                    <a:pt x="10" y="0"/>
                  </a:moveTo>
                  <a:cubicBezTo>
                    <a:pt x="0" y="0"/>
                    <a:pt x="0" y="0"/>
                    <a:pt x="0" y="0"/>
                  </a:cubicBezTo>
                  <a:cubicBezTo>
                    <a:pt x="0" y="115"/>
                    <a:pt x="0" y="115"/>
                    <a:pt x="0" y="115"/>
                  </a:cubicBezTo>
                  <a:cubicBezTo>
                    <a:pt x="3" y="115"/>
                    <a:pt x="6" y="115"/>
                    <a:pt x="9" y="115"/>
                  </a:cubicBezTo>
                  <a:cubicBezTo>
                    <a:pt x="20" y="115"/>
                    <a:pt x="31" y="114"/>
                    <a:pt x="44" y="112"/>
                  </a:cubicBezTo>
                  <a:cubicBezTo>
                    <a:pt x="44" y="112"/>
                    <a:pt x="44" y="112"/>
                    <a:pt x="44" y="112"/>
                  </a:cubicBezTo>
                  <a:cubicBezTo>
                    <a:pt x="10" y="0"/>
                    <a:pt x="10" y="0"/>
                    <a:pt x="10" y="0"/>
                  </a:cubicBezTo>
                </a:path>
              </a:pathLst>
            </a:custGeom>
            <a:solidFill>
              <a:schemeClr val="accent5">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51" name="Freeform 59">
              <a:extLst>
                <a:ext uri="{FF2B5EF4-FFF2-40B4-BE49-F238E27FC236}">
                  <a16:creationId xmlns:a16="http://schemas.microsoft.com/office/drawing/2014/main" id="{5522937D-9046-3E17-67AA-EC3BAACCED46}"/>
                </a:ext>
              </a:extLst>
            </p:cNvPr>
            <p:cNvSpPr>
              <a:spLocks/>
            </p:cNvSpPr>
            <p:nvPr/>
          </p:nvSpPr>
          <p:spPr bwMode="auto">
            <a:xfrm>
              <a:off x="6144077" y="4663513"/>
              <a:ext cx="144235" cy="271248"/>
            </a:xfrm>
            <a:custGeom>
              <a:avLst/>
              <a:gdLst>
                <a:gd name="T0" fmla="*/ 45 w 99"/>
                <a:gd name="T1" fmla="*/ 0 h 187"/>
                <a:gd name="T2" fmla="*/ 45 w 99"/>
                <a:gd name="T3" fmla="*/ 0 h 187"/>
                <a:gd name="T4" fmla="*/ 11 w 99"/>
                <a:gd name="T5" fmla="*/ 3 h 187"/>
                <a:gd name="T6" fmla="*/ 0 w 99"/>
                <a:gd name="T7" fmla="*/ 3 h 187"/>
                <a:gd name="T8" fmla="*/ 0 w 99"/>
                <a:gd name="T9" fmla="*/ 160 h 187"/>
                <a:gd name="T10" fmla="*/ 3 w 99"/>
                <a:gd name="T11" fmla="*/ 160 h 187"/>
                <a:gd name="T12" fmla="*/ 4 w 99"/>
                <a:gd name="T13" fmla="*/ 160 h 187"/>
                <a:gd name="T14" fmla="*/ 42 w 99"/>
                <a:gd name="T15" fmla="*/ 187 h 187"/>
                <a:gd name="T16" fmla="*/ 72 w 99"/>
                <a:gd name="T17" fmla="*/ 157 h 187"/>
                <a:gd name="T18" fmla="*/ 73 w 99"/>
                <a:gd name="T19" fmla="*/ 157 h 187"/>
                <a:gd name="T20" fmla="*/ 99 w 99"/>
                <a:gd name="T21" fmla="*/ 174 h 187"/>
                <a:gd name="T22" fmla="*/ 99 w 99"/>
                <a:gd name="T23" fmla="*/ 172 h 187"/>
                <a:gd name="T24" fmla="*/ 45 w 99"/>
                <a:gd name="T25" fmla="*/ 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 h="187">
                  <a:moveTo>
                    <a:pt x="45" y="0"/>
                  </a:moveTo>
                  <a:cubicBezTo>
                    <a:pt x="45" y="0"/>
                    <a:pt x="45" y="0"/>
                    <a:pt x="45" y="0"/>
                  </a:cubicBezTo>
                  <a:cubicBezTo>
                    <a:pt x="33" y="2"/>
                    <a:pt x="21" y="3"/>
                    <a:pt x="11" y="3"/>
                  </a:cubicBezTo>
                  <a:cubicBezTo>
                    <a:pt x="7" y="3"/>
                    <a:pt x="3" y="3"/>
                    <a:pt x="0" y="3"/>
                  </a:cubicBezTo>
                  <a:cubicBezTo>
                    <a:pt x="0" y="160"/>
                    <a:pt x="0" y="160"/>
                    <a:pt x="0" y="160"/>
                  </a:cubicBezTo>
                  <a:cubicBezTo>
                    <a:pt x="1" y="160"/>
                    <a:pt x="2" y="160"/>
                    <a:pt x="3" y="160"/>
                  </a:cubicBezTo>
                  <a:cubicBezTo>
                    <a:pt x="3" y="160"/>
                    <a:pt x="4" y="160"/>
                    <a:pt x="4" y="160"/>
                  </a:cubicBezTo>
                  <a:cubicBezTo>
                    <a:pt x="29" y="160"/>
                    <a:pt x="39" y="178"/>
                    <a:pt x="42" y="187"/>
                  </a:cubicBezTo>
                  <a:cubicBezTo>
                    <a:pt x="44" y="179"/>
                    <a:pt x="50" y="158"/>
                    <a:pt x="72" y="157"/>
                  </a:cubicBezTo>
                  <a:cubicBezTo>
                    <a:pt x="73" y="157"/>
                    <a:pt x="73" y="157"/>
                    <a:pt x="73" y="157"/>
                  </a:cubicBezTo>
                  <a:cubicBezTo>
                    <a:pt x="87" y="157"/>
                    <a:pt x="94" y="166"/>
                    <a:pt x="99" y="174"/>
                  </a:cubicBezTo>
                  <a:cubicBezTo>
                    <a:pt x="99" y="172"/>
                    <a:pt x="99" y="172"/>
                    <a:pt x="99" y="172"/>
                  </a:cubicBezTo>
                  <a:cubicBezTo>
                    <a:pt x="45" y="0"/>
                    <a:pt x="45" y="0"/>
                    <a:pt x="45" y="0"/>
                  </a:cubicBezTo>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52" name="Freeform 60">
              <a:extLst>
                <a:ext uri="{FF2B5EF4-FFF2-40B4-BE49-F238E27FC236}">
                  <a16:creationId xmlns:a16="http://schemas.microsoft.com/office/drawing/2014/main" id="{EF18D4B5-0DD0-4211-77F9-308738EDA532}"/>
                </a:ext>
              </a:extLst>
            </p:cNvPr>
            <p:cNvSpPr>
              <a:spLocks/>
            </p:cNvSpPr>
            <p:nvPr/>
          </p:nvSpPr>
          <p:spPr bwMode="auto">
            <a:xfrm>
              <a:off x="6144077" y="4896011"/>
              <a:ext cx="62430" cy="1969776"/>
            </a:xfrm>
            <a:custGeom>
              <a:avLst/>
              <a:gdLst>
                <a:gd name="T0" fmla="*/ 4 w 43"/>
                <a:gd name="T1" fmla="*/ 0 h 1356"/>
                <a:gd name="T2" fmla="*/ 3 w 43"/>
                <a:gd name="T3" fmla="*/ 0 h 1356"/>
                <a:gd name="T4" fmla="*/ 0 w 43"/>
                <a:gd name="T5" fmla="*/ 0 h 1356"/>
                <a:gd name="T6" fmla="*/ 0 w 43"/>
                <a:gd name="T7" fmla="*/ 1356 h 1356"/>
                <a:gd name="T8" fmla="*/ 43 w 43"/>
                <a:gd name="T9" fmla="*/ 1356 h 1356"/>
                <a:gd name="T10" fmla="*/ 43 w 43"/>
                <a:gd name="T11" fmla="*/ 1355 h 1356"/>
                <a:gd name="T12" fmla="*/ 42 w 43"/>
                <a:gd name="T13" fmla="*/ 1355 h 1356"/>
                <a:gd name="T14" fmla="*/ 42 w 43"/>
                <a:gd name="T15" fmla="*/ 29 h 1356"/>
                <a:gd name="T16" fmla="*/ 42 w 43"/>
                <a:gd name="T17" fmla="*/ 27 h 1356"/>
                <a:gd name="T18" fmla="*/ 4 w 43"/>
                <a:gd name="T19" fmla="*/ 0 h 1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1356">
                  <a:moveTo>
                    <a:pt x="4" y="0"/>
                  </a:moveTo>
                  <a:cubicBezTo>
                    <a:pt x="4" y="0"/>
                    <a:pt x="3" y="0"/>
                    <a:pt x="3" y="0"/>
                  </a:cubicBezTo>
                  <a:cubicBezTo>
                    <a:pt x="2" y="0"/>
                    <a:pt x="1" y="0"/>
                    <a:pt x="0" y="0"/>
                  </a:cubicBezTo>
                  <a:cubicBezTo>
                    <a:pt x="0" y="1356"/>
                    <a:pt x="0" y="1356"/>
                    <a:pt x="0" y="1356"/>
                  </a:cubicBezTo>
                  <a:cubicBezTo>
                    <a:pt x="43" y="1356"/>
                    <a:pt x="43" y="1356"/>
                    <a:pt x="43" y="1356"/>
                  </a:cubicBezTo>
                  <a:cubicBezTo>
                    <a:pt x="43" y="1355"/>
                    <a:pt x="43" y="1355"/>
                    <a:pt x="43" y="1355"/>
                  </a:cubicBezTo>
                  <a:cubicBezTo>
                    <a:pt x="42" y="1355"/>
                    <a:pt x="42" y="1355"/>
                    <a:pt x="42" y="1355"/>
                  </a:cubicBezTo>
                  <a:cubicBezTo>
                    <a:pt x="42" y="29"/>
                    <a:pt x="42" y="29"/>
                    <a:pt x="42" y="29"/>
                  </a:cubicBezTo>
                  <a:cubicBezTo>
                    <a:pt x="42" y="29"/>
                    <a:pt x="42" y="28"/>
                    <a:pt x="42" y="27"/>
                  </a:cubicBezTo>
                  <a:cubicBezTo>
                    <a:pt x="39" y="18"/>
                    <a:pt x="29" y="0"/>
                    <a:pt x="4" y="0"/>
                  </a:cubicBezTo>
                </a:path>
              </a:pathLst>
            </a:cu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53" name="Freeform 61">
              <a:extLst>
                <a:ext uri="{FF2B5EF4-FFF2-40B4-BE49-F238E27FC236}">
                  <a16:creationId xmlns:a16="http://schemas.microsoft.com/office/drawing/2014/main" id="{5AB93F16-1934-0854-6D58-5B7B9FE2B578}"/>
                </a:ext>
              </a:extLst>
            </p:cNvPr>
            <p:cNvSpPr>
              <a:spLocks/>
            </p:cNvSpPr>
            <p:nvPr/>
          </p:nvSpPr>
          <p:spPr bwMode="auto">
            <a:xfrm>
              <a:off x="6205431" y="4891705"/>
              <a:ext cx="91493" cy="1971928"/>
            </a:xfrm>
            <a:custGeom>
              <a:avLst/>
              <a:gdLst>
                <a:gd name="T0" fmla="*/ 31 w 63"/>
                <a:gd name="T1" fmla="*/ 0 h 1358"/>
                <a:gd name="T2" fmla="*/ 30 w 63"/>
                <a:gd name="T3" fmla="*/ 0 h 1358"/>
                <a:gd name="T4" fmla="*/ 0 w 63"/>
                <a:gd name="T5" fmla="*/ 30 h 1358"/>
                <a:gd name="T6" fmla="*/ 0 w 63"/>
                <a:gd name="T7" fmla="*/ 32 h 1358"/>
                <a:gd name="T8" fmla="*/ 0 w 63"/>
                <a:gd name="T9" fmla="*/ 1358 h 1358"/>
                <a:gd name="T10" fmla="*/ 1 w 63"/>
                <a:gd name="T11" fmla="*/ 1358 h 1358"/>
                <a:gd name="T12" fmla="*/ 63 w 63"/>
                <a:gd name="T13" fmla="*/ 1358 h 1358"/>
                <a:gd name="T14" fmla="*/ 63 w 63"/>
                <a:gd name="T15" fmla="*/ 32 h 1358"/>
                <a:gd name="T16" fmla="*/ 57 w 63"/>
                <a:gd name="T17" fmla="*/ 17 h 1358"/>
                <a:gd name="T18" fmla="*/ 31 w 63"/>
                <a:gd name="T19" fmla="*/ 0 h 1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1358">
                  <a:moveTo>
                    <a:pt x="31" y="0"/>
                  </a:moveTo>
                  <a:cubicBezTo>
                    <a:pt x="31" y="0"/>
                    <a:pt x="31" y="0"/>
                    <a:pt x="30" y="0"/>
                  </a:cubicBezTo>
                  <a:cubicBezTo>
                    <a:pt x="8" y="1"/>
                    <a:pt x="2" y="22"/>
                    <a:pt x="0" y="30"/>
                  </a:cubicBezTo>
                  <a:cubicBezTo>
                    <a:pt x="0" y="31"/>
                    <a:pt x="0" y="32"/>
                    <a:pt x="0" y="32"/>
                  </a:cubicBezTo>
                  <a:cubicBezTo>
                    <a:pt x="0" y="1358"/>
                    <a:pt x="0" y="1358"/>
                    <a:pt x="0" y="1358"/>
                  </a:cubicBezTo>
                  <a:cubicBezTo>
                    <a:pt x="1" y="1358"/>
                    <a:pt x="1" y="1358"/>
                    <a:pt x="1" y="1358"/>
                  </a:cubicBezTo>
                  <a:cubicBezTo>
                    <a:pt x="63" y="1358"/>
                    <a:pt x="63" y="1358"/>
                    <a:pt x="63" y="1358"/>
                  </a:cubicBezTo>
                  <a:cubicBezTo>
                    <a:pt x="63" y="32"/>
                    <a:pt x="63" y="32"/>
                    <a:pt x="63" y="32"/>
                  </a:cubicBezTo>
                  <a:cubicBezTo>
                    <a:pt x="63" y="32"/>
                    <a:pt x="61" y="24"/>
                    <a:pt x="57" y="17"/>
                  </a:cubicBezTo>
                  <a:cubicBezTo>
                    <a:pt x="52" y="9"/>
                    <a:pt x="45" y="0"/>
                    <a:pt x="31" y="0"/>
                  </a:cubicBezTo>
                </a:path>
              </a:pathLst>
            </a:cu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55" name="Freeform 62">
              <a:extLst>
                <a:ext uri="{FF2B5EF4-FFF2-40B4-BE49-F238E27FC236}">
                  <a16:creationId xmlns:a16="http://schemas.microsoft.com/office/drawing/2014/main" id="{E613354D-0F10-67E0-9CB2-C2EB394D18B5}"/>
                </a:ext>
              </a:extLst>
            </p:cNvPr>
            <p:cNvSpPr>
              <a:spLocks/>
            </p:cNvSpPr>
            <p:nvPr/>
          </p:nvSpPr>
          <p:spPr bwMode="auto">
            <a:xfrm>
              <a:off x="6144077" y="4505284"/>
              <a:ext cx="65660" cy="162534"/>
            </a:xfrm>
            <a:custGeom>
              <a:avLst/>
              <a:gdLst>
                <a:gd name="T0" fmla="*/ 12 w 45"/>
                <a:gd name="T1" fmla="*/ 0 h 112"/>
                <a:gd name="T2" fmla="*/ 7 w 45"/>
                <a:gd name="T3" fmla="*/ 0 h 112"/>
                <a:gd name="T4" fmla="*/ 0 w 45"/>
                <a:gd name="T5" fmla="*/ 0 h 112"/>
                <a:gd name="T6" fmla="*/ 0 w 45"/>
                <a:gd name="T7" fmla="*/ 112 h 112"/>
                <a:gd name="T8" fmla="*/ 11 w 45"/>
                <a:gd name="T9" fmla="*/ 112 h 112"/>
                <a:gd name="T10" fmla="*/ 45 w 45"/>
                <a:gd name="T11" fmla="*/ 109 h 112"/>
                <a:gd name="T12" fmla="*/ 45 w 45"/>
                <a:gd name="T13" fmla="*/ 109 h 112"/>
                <a:gd name="T14" fmla="*/ 12 w 45"/>
                <a:gd name="T15" fmla="*/ 0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 h="112">
                  <a:moveTo>
                    <a:pt x="12" y="0"/>
                  </a:moveTo>
                  <a:cubicBezTo>
                    <a:pt x="7" y="0"/>
                    <a:pt x="7" y="0"/>
                    <a:pt x="7" y="0"/>
                  </a:cubicBezTo>
                  <a:cubicBezTo>
                    <a:pt x="0" y="0"/>
                    <a:pt x="0" y="0"/>
                    <a:pt x="0" y="0"/>
                  </a:cubicBezTo>
                  <a:cubicBezTo>
                    <a:pt x="0" y="112"/>
                    <a:pt x="0" y="112"/>
                    <a:pt x="0" y="112"/>
                  </a:cubicBezTo>
                  <a:cubicBezTo>
                    <a:pt x="3" y="112"/>
                    <a:pt x="7" y="112"/>
                    <a:pt x="11" y="112"/>
                  </a:cubicBezTo>
                  <a:cubicBezTo>
                    <a:pt x="21" y="112"/>
                    <a:pt x="33" y="111"/>
                    <a:pt x="45" y="109"/>
                  </a:cubicBezTo>
                  <a:cubicBezTo>
                    <a:pt x="45" y="109"/>
                    <a:pt x="45" y="109"/>
                    <a:pt x="45" y="109"/>
                  </a:cubicBezTo>
                  <a:cubicBezTo>
                    <a:pt x="12" y="0"/>
                    <a:pt x="12" y="0"/>
                    <a:pt x="12" y="0"/>
                  </a:cubicBezTo>
                </a:path>
              </a:pathLst>
            </a:cu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56" name="Freeform 64">
              <a:extLst>
                <a:ext uri="{FF2B5EF4-FFF2-40B4-BE49-F238E27FC236}">
                  <a16:creationId xmlns:a16="http://schemas.microsoft.com/office/drawing/2014/main" id="{9B893462-D691-C3E0-2DF6-A01D334D102D}"/>
                </a:ext>
              </a:extLst>
            </p:cNvPr>
            <p:cNvSpPr>
              <a:spLocks/>
            </p:cNvSpPr>
            <p:nvPr/>
          </p:nvSpPr>
          <p:spPr bwMode="auto">
            <a:xfrm>
              <a:off x="6581087" y="4162996"/>
              <a:ext cx="141006" cy="269095"/>
            </a:xfrm>
            <a:custGeom>
              <a:avLst/>
              <a:gdLst>
                <a:gd name="T0" fmla="*/ 43 w 97"/>
                <a:gd name="T1" fmla="*/ 0 h 185"/>
                <a:gd name="T2" fmla="*/ 8 w 97"/>
                <a:gd name="T3" fmla="*/ 3 h 185"/>
                <a:gd name="T4" fmla="*/ 0 w 97"/>
                <a:gd name="T5" fmla="*/ 3 h 185"/>
                <a:gd name="T6" fmla="*/ 0 w 97"/>
                <a:gd name="T7" fmla="*/ 158 h 185"/>
                <a:gd name="T8" fmla="*/ 0 w 97"/>
                <a:gd name="T9" fmla="*/ 158 h 185"/>
                <a:gd name="T10" fmla="*/ 1 w 97"/>
                <a:gd name="T11" fmla="*/ 158 h 185"/>
                <a:gd name="T12" fmla="*/ 39 w 97"/>
                <a:gd name="T13" fmla="*/ 185 h 185"/>
                <a:gd name="T14" fmla="*/ 70 w 97"/>
                <a:gd name="T15" fmla="*/ 156 h 185"/>
                <a:gd name="T16" fmla="*/ 70 w 97"/>
                <a:gd name="T17" fmla="*/ 156 h 185"/>
                <a:gd name="T18" fmla="*/ 96 w 97"/>
                <a:gd name="T19" fmla="*/ 172 h 185"/>
                <a:gd name="T20" fmla="*/ 97 w 97"/>
                <a:gd name="T21" fmla="*/ 170 h 185"/>
                <a:gd name="T22" fmla="*/ 43 w 97"/>
                <a:gd name="T23" fmla="*/ 0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7" h="185">
                  <a:moveTo>
                    <a:pt x="43" y="0"/>
                  </a:moveTo>
                  <a:cubicBezTo>
                    <a:pt x="31" y="2"/>
                    <a:pt x="19" y="3"/>
                    <a:pt x="8" y="3"/>
                  </a:cubicBezTo>
                  <a:cubicBezTo>
                    <a:pt x="5" y="3"/>
                    <a:pt x="3" y="3"/>
                    <a:pt x="0" y="3"/>
                  </a:cubicBezTo>
                  <a:cubicBezTo>
                    <a:pt x="0" y="158"/>
                    <a:pt x="0" y="158"/>
                    <a:pt x="0" y="158"/>
                  </a:cubicBezTo>
                  <a:cubicBezTo>
                    <a:pt x="0" y="158"/>
                    <a:pt x="0" y="158"/>
                    <a:pt x="0" y="158"/>
                  </a:cubicBezTo>
                  <a:cubicBezTo>
                    <a:pt x="1" y="158"/>
                    <a:pt x="1" y="158"/>
                    <a:pt x="1" y="158"/>
                  </a:cubicBezTo>
                  <a:cubicBezTo>
                    <a:pt x="26" y="158"/>
                    <a:pt x="36" y="176"/>
                    <a:pt x="39" y="185"/>
                  </a:cubicBezTo>
                  <a:cubicBezTo>
                    <a:pt x="41" y="178"/>
                    <a:pt x="47" y="156"/>
                    <a:pt x="70" y="156"/>
                  </a:cubicBezTo>
                  <a:cubicBezTo>
                    <a:pt x="70" y="156"/>
                    <a:pt x="70" y="156"/>
                    <a:pt x="70" y="156"/>
                  </a:cubicBezTo>
                  <a:cubicBezTo>
                    <a:pt x="84" y="156"/>
                    <a:pt x="92" y="164"/>
                    <a:pt x="96" y="172"/>
                  </a:cubicBezTo>
                  <a:cubicBezTo>
                    <a:pt x="97" y="170"/>
                    <a:pt x="97" y="170"/>
                    <a:pt x="97" y="170"/>
                  </a:cubicBezTo>
                  <a:cubicBezTo>
                    <a:pt x="43" y="0"/>
                    <a:pt x="43" y="0"/>
                    <a:pt x="43" y="0"/>
                  </a:cubicBezTo>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57" name="Freeform 65">
              <a:extLst>
                <a:ext uri="{FF2B5EF4-FFF2-40B4-BE49-F238E27FC236}">
                  <a16:creationId xmlns:a16="http://schemas.microsoft.com/office/drawing/2014/main" id="{F615C198-C53B-798E-5D39-2909932447C8}"/>
                </a:ext>
              </a:extLst>
            </p:cNvPr>
            <p:cNvSpPr>
              <a:spLocks/>
            </p:cNvSpPr>
            <p:nvPr/>
          </p:nvSpPr>
          <p:spPr bwMode="auto">
            <a:xfrm>
              <a:off x="6581087" y="4393341"/>
              <a:ext cx="59201" cy="2472445"/>
            </a:xfrm>
            <a:custGeom>
              <a:avLst/>
              <a:gdLst>
                <a:gd name="T0" fmla="*/ 1 w 41"/>
                <a:gd name="T1" fmla="*/ 0 h 1702"/>
                <a:gd name="T2" fmla="*/ 0 w 41"/>
                <a:gd name="T3" fmla="*/ 0 h 1702"/>
                <a:gd name="T4" fmla="*/ 0 w 41"/>
                <a:gd name="T5" fmla="*/ 0 h 1702"/>
                <a:gd name="T6" fmla="*/ 0 w 41"/>
                <a:gd name="T7" fmla="*/ 1702 h 1702"/>
                <a:gd name="T8" fmla="*/ 41 w 41"/>
                <a:gd name="T9" fmla="*/ 1702 h 1702"/>
                <a:gd name="T10" fmla="*/ 41 w 41"/>
                <a:gd name="T11" fmla="*/ 1701 h 1702"/>
                <a:gd name="T12" fmla="*/ 39 w 41"/>
                <a:gd name="T13" fmla="*/ 1701 h 1702"/>
                <a:gd name="T14" fmla="*/ 39 w 41"/>
                <a:gd name="T15" fmla="*/ 30 h 1702"/>
                <a:gd name="T16" fmla="*/ 39 w 41"/>
                <a:gd name="T17" fmla="*/ 27 h 1702"/>
                <a:gd name="T18" fmla="*/ 1 w 41"/>
                <a:gd name="T19" fmla="*/ 0 h 1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1702">
                  <a:moveTo>
                    <a:pt x="1" y="0"/>
                  </a:moveTo>
                  <a:cubicBezTo>
                    <a:pt x="1" y="0"/>
                    <a:pt x="1" y="0"/>
                    <a:pt x="0" y="0"/>
                  </a:cubicBezTo>
                  <a:cubicBezTo>
                    <a:pt x="0" y="0"/>
                    <a:pt x="0" y="0"/>
                    <a:pt x="0" y="0"/>
                  </a:cubicBezTo>
                  <a:cubicBezTo>
                    <a:pt x="0" y="1702"/>
                    <a:pt x="0" y="1702"/>
                    <a:pt x="0" y="1702"/>
                  </a:cubicBezTo>
                  <a:cubicBezTo>
                    <a:pt x="41" y="1702"/>
                    <a:pt x="41" y="1702"/>
                    <a:pt x="41" y="1702"/>
                  </a:cubicBezTo>
                  <a:cubicBezTo>
                    <a:pt x="41" y="1701"/>
                    <a:pt x="41" y="1701"/>
                    <a:pt x="41" y="1701"/>
                  </a:cubicBezTo>
                  <a:cubicBezTo>
                    <a:pt x="39" y="1701"/>
                    <a:pt x="39" y="1701"/>
                    <a:pt x="39" y="1701"/>
                  </a:cubicBezTo>
                  <a:cubicBezTo>
                    <a:pt x="39" y="30"/>
                    <a:pt x="39" y="30"/>
                    <a:pt x="39" y="30"/>
                  </a:cubicBezTo>
                  <a:cubicBezTo>
                    <a:pt x="39" y="30"/>
                    <a:pt x="39" y="29"/>
                    <a:pt x="39" y="27"/>
                  </a:cubicBezTo>
                  <a:cubicBezTo>
                    <a:pt x="36" y="18"/>
                    <a:pt x="26" y="0"/>
                    <a:pt x="1" y="0"/>
                  </a:cubicBezTo>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58" name="Freeform 66">
              <a:extLst>
                <a:ext uri="{FF2B5EF4-FFF2-40B4-BE49-F238E27FC236}">
                  <a16:creationId xmlns:a16="http://schemas.microsoft.com/office/drawing/2014/main" id="{EFE8B588-1367-9B79-2C3F-7FF585914789}"/>
                </a:ext>
              </a:extLst>
            </p:cNvPr>
            <p:cNvSpPr>
              <a:spLocks/>
            </p:cNvSpPr>
            <p:nvPr/>
          </p:nvSpPr>
          <p:spPr bwMode="auto">
            <a:xfrm>
              <a:off x="6638136" y="4390112"/>
              <a:ext cx="91493" cy="2473521"/>
            </a:xfrm>
            <a:custGeom>
              <a:avLst/>
              <a:gdLst>
                <a:gd name="T0" fmla="*/ 31 w 63"/>
                <a:gd name="T1" fmla="*/ 0 h 1703"/>
                <a:gd name="T2" fmla="*/ 31 w 63"/>
                <a:gd name="T3" fmla="*/ 0 h 1703"/>
                <a:gd name="T4" fmla="*/ 0 w 63"/>
                <a:gd name="T5" fmla="*/ 29 h 1703"/>
                <a:gd name="T6" fmla="*/ 0 w 63"/>
                <a:gd name="T7" fmla="*/ 32 h 1703"/>
                <a:gd name="T8" fmla="*/ 0 w 63"/>
                <a:gd name="T9" fmla="*/ 1703 h 1703"/>
                <a:gd name="T10" fmla="*/ 2 w 63"/>
                <a:gd name="T11" fmla="*/ 1703 h 1703"/>
                <a:gd name="T12" fmla="*/ 63 w 63"/>
                <a:gd name="T13" fmla="*/ 1703 h 1703"/>
                <a:gd name="T14" fmla="*/ 63 w 63"/>
                <a:gd name="T15" fmla="*/ 32 h 1703"/>
                <a:gd name="T16" fmla="*/ 57 w 63"/>
                <a:gd name="T17" fmla="*/ 16 h 1703"/>
                <a:gd name="T18" fmla="*/ 31 w 63"/>
                <a:gd name="T19" fmla="*/ 0 h 1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1703">
                  <a:moveTo>
                    <a:pt x="31" y="0"/>
                  </a:moveTo>
                  <a:cubicBezTo>
                    <a:pt x="31" y="0"/>
                    <a:pt x="31" y="0"/>
                    <a:pt x="31" y="0"/>
                  </a:cubicBezTo>
                  <a:cubicBezTo>
                    <a:pt x="8" y="0"/>
                    <a:pt x="2" y="22"/>
                    <a:pt x="0" y="29"/>
                  </a:cubicBezTo>
                  <a:cubicBezTo>
                    <a:pt x="0" y="31"/>
                    <a:pt x="0" y="32"/>
                    <a:pt x="0" y="32"/>
                  </a:cubicBezTo>
                  <a:cubicBezTo>
                    <a:pt x="0" y="1703"/>
                    <a:pt x="0" y="1703"/>
                    <a:pt x="0" y="1703"/>
                  </a:cubicBezTo>
                  <a:cubicBezTo>
                    <a:pt x="2" y="1703"/>
                    <a:pt x="2" y="1703"/>
                    <a:pt x="2" y="1703"/>
                  </a:cubicBezTo>
                  <a:cubicBezTo>
                    <a:pt x="63" y="1703"/>
                    <a:pt x="63" y="1703"/>
                    <a:pt x="63" y="1703"/>
                  </a:cubicBezTo>
                  <a:cubicBezTo>
                    <a:pt x="63" y="32"/>
                    <a:pt x="63" y="32"/>
                    <a:pt x="63" y="32"/>
                  </a:cubicBezTo>
                  <a:cubicBezTo>
                    <a:pt x="63" y="32"/>
                    <a:pt x="62" y="24"/>
                    <a:pt x="57" y="16"/>
                  </a:cubicBezTo>
                  <a:cubicBezTo>
                    <a:pt x="53" y="8"/>
                    <a:pt x="45" y="0"/>
                    <a:pt x="31" y="0"/>
                  </a:cubicBezTo>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59" name="Freeform 67">
              <a:extLst>
                <a:ext uri="{FF2B5EF4-FFF2-40B4-BE49-F238E27FC236}">
                  <a16:creationId xmlns:a16="http://schemas.microsoft.com/office/drawing/2014/main" id="{A1306A48-10FA-A2E2-F40B-CD04D6175A95}"/>
                </a:ext>
              </a:extLst>
            </p:cNvPr>
            <p:cNvSpPr>
              <a:spLocks/>
            </p:cNvSpPr>
            <p:nvPr/>
          </p:nvSpPr>
          <p:spPr bwMode="auto">
            <a:xfrm>
              <a:off x="6581087" y="3999386"/>
              <a:ext cx="62430" cy="167915"/>
            </a:xfrm>
            <a:custGeom>
              <a:avLst/>
              <a:gdLst>
                <a:gd name="T0" fmla="*/ 10 w 43"/>
                <a:gd name="T1" fmla="*/ 0 h 116"/>
                <a:gd name="T2" fmla="*/ 0 w 43"/>
                <a:gd name="T3" fmla="*/ 0 h 116"/>
                <a:gd name="T4" fmla="*/ 0 w 43"/>
                <a:gd name="T5" fmla="*/ 116 h 116"/>
                <a:gd name="T6" fmla="*/ 8 w 43"/>
                <a:gd name="T7" fmla="*/ 116 h 116"/>
                <a:gd name="T8" fmla="*/ 43 w 43"/>
                <a:gd name="T9" fmla="*/ 113 h 116"/>
                <a:gd name="T10" fmla="*/ 43 w 43"/>
                <a:gd name="T11" fmla="*/ 113 h 116"/>
                <a:gd name="T12" fmla="*/ 10 w 43"/>
                <a:gd name="T13" fmla="*/ 0 h 116"/>
              </a:gdLst>
              <a:ahLst/>
              <a:cxnLst>
                <a:cxn ang="0">
                  <a:pos x="T0" y="T1"/>
                </a:cxn>
                <a:cxn ang="0">
                  <a:pos x="T2" y="T3"/>
                </a:cxn>
                <a:cxn ang="0">
                  <a:pos x="T4" y="T5"/>
                </a:cxn>
                <a:cxn ang="0">
                  <a:pos x="T6" y="T7"/>
                </a:cxn>
                <a:cxn ang="0">
                  <a:pos x="T8" y="T9"/>
                </a:cxn>
                <a:cxn ang="0">
                  <a:pos x="T10" y="T11"/>
                </a:cxn>
                <a:cxn ang="0">
                  <a:pos x="T12" y="T13"/>
                </a:cxn>
              </a:cxnLst>
              <a:rect l="0" t="0" r="r" b="b"/>
              <a:pathLst>
                <a:path w="43" h="116">
                  <a:moveTo>
                    <a:pt x="10" y="0"/>
                  </a:moveTo>
                  <a:cubicBezTo>
                    <a:pt x="0" y="0"/>
                    <a:pt x="0" y="0"/>
                    <a:pt x="0" y="0"/>
                  </a:cubicBezTo>
                  <a:cubicBezTo>
                    <a:pt x="0" y="116"/>
                    <a:pt x="0" y="116"/>
                    <a:pt x="0" y="116"/>
                  </a:cubicBezTo>
                  <a:cubicBezTo>
                    <a:pt x="3" y="116"/>
                    <a:pt x="5" y="116"/>
                    <a:pt x="8" y="116"/>
                  </a:cubicBezTo>
                  <a:cubicBezTo>
                    <a:pt x="19" y="116"/>
                    <a:pt x="31" y="115"/>
                    <a:pt x="43" y="113"/>
                  </a:cubicBezTo>
                  <a:cubicBezTo>
                    <a:pt x="43" y="113"/>
                    <a:pt x="43" y="113"/>
                    <a:pt x="43" y="113"/>
                  </a:cubicBezTo>
                  <a:cubicBezTo>
                    <a:pt x="10" y="0"/>
                    <a:pt x="10" y="0"/>
                    <a:pt x="10" y="0"/>
                  </a:cubicBezTo>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60" name="Freeform 71">
              <a:extLst>
                <a:ext uri="{FF2B5EF4-FFF2-40B4-BE49-F238E27FC236}">
                  <a16:creationId xmlns:a16="http://schemas.microsoft.com/office/drawing/2014/main" id="{A8D51EA9-4A07-8D65-BBC9-43F7F2515290}"/>
                </a:ext>
              </a:extLst>
            </p:cNvPr>
            <p:cNvSpPr>
              <a:spLocks/>
            </p:cNvSpPr>
            <p:nvPr/>
          </p:nvSpPr>
          <p:spPr bwMode="auto">
            <a:xfrm>
              <a:off x="5870676" y="2496759"/>
              <a:ext cx="893396" cy="1045165"/>
            </a:xfrm>
            <a:custGeom>
              <a:avLst/>
              <a:gdLst>
                <a:gd name="T0" fmla="*/ 614 w 614"/>
                <a:gd name="T1" fmla="*/ 307 h 719"/>
                <a:gd name="T2" fmla="*/ 307 w 614"/>
                <a:gd name="T3" fmla="*/ 0 h 719"/>
                <a:gd name="T4" fmla="*/ 0 w 614"/>
                <a:gd name="T5" fmla="*/ 307 h 719"/>
                <a:gd name="T6" fmla="*/ 307 w 614"/>
                <a:gd name="T7" fmla="*/ 614 h 719"/>
                <a:gd name="T8" fmla="*/ 321 w 614"/>
                <a:gd name="T9" fmla="*/ 614 h 719"/>
                <a:gd name="T10" fmla="*/ 445 w 614"/>
                <a:gd name="T11" fmla="*/ 719 h 719"/>
                <a:gd name="T12" fmla="*/ 458 w 614"/>
                <a:gd name="T13" fmla="*/ 575 h 719"/>
                <a:gd name="T14" fmla="*/ 614 w 614"/>
                <a:gd name="T15" fmla="*/ 307 h 7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4" h="719">
                  <a:moveTo>
                    <a:pt x="614" y="307"/>
                  </a:moveTo>
                  <a:cubicBezTo>
                    <a:pt x="614" y="138"/>
                    <a:pt x="477" y="0"/>
                    <a:pt x="307" y="0"/>
                  </a:cubicBezTo>
                  <a:cubicBezTo>
                    <a:pt x="137" y="0"/>
                    <a:pt x="0" y="138"/>
                    <a:pt x="0" y="307"/>
                  </a:cubicBezTo>
                  <a:cubicBezTo>
                    <a:pt x="0" y="477"/>
                    <a:pt x="137" y="614"/>
                    <a:pt x="307" y="614"/>
                  </a:cubicBezTo>
                  <a:cubicBezTo>
                    <a:pt x="312" y="614"/>
                    <a:pt x="316" y="614"/>
                    <a:pt x="321" y="614"/>
                  </a:cubicBezTo>
                  <a:cubicBezTo>
                    <a:pt x="445" y="719"/>
                    <a:pt x="445" y="719"/>
                    <a:pt x="445" y="719"/>
                  </a:cubicBezTo>
                  <a:cubicBezTo>
                    <a:pt x="458" y="575"/>
                    <a:pt x="458" y="575"/>
                    <a:pt x="458" y="575"/>
                  </a:cubicBezTo>
                  <a:cubicBezTo>
                    <a:pt x="551" y="522"/>
                    <a:pt x="614" y="422"/>
                    <a:pt x="614" y="30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62" name="Freeform 74">
              <a:extLst>
                <a:ext uri="{FF2B5EF4-FFF2-40B4-BE49-F238E27FC236}">
                  <a16:creationId xmlns:a16="http://schemas.microsoft.com/office/drawing/2014/main" id="{B779A4B3-EC2B-0A7E-DEF9-C5B91F39D87A}"/>
                </a:ext>
              </a:extLst>
            </p:cNvPr>
            <p:cNvSpPr>
              <a:spLocks/>
            </p:cNvSpPr>
            <p:nvPr/>
          </p:nvSpPr>
          <p:spPr bwMode="auto">
            <a:xfrm>
              <a:off x="4259336" y="4505284"/>
              <a:ext cx="811591" cy="948291"/>
            </a:xfrm>
            <a:custGeom>
              <a:avLst/>
              <a:gdLst>
                <a:gd name="T0" fmla="*/ 558 w 558"/>
                <a:gd name="T1" fmla="*/ 279 h 653"/>
                <a:gd name="T2" fmla="*/ 279 w 558"/>
                <a:gd name="T3" fmla="*/ 0 h 653"/>
                <a:gd name="T4" fmla="*/ 0 w 558"/>
                <a:gd name="T5" fmla="*/ 279 h 653"/>
                <a:gd name="T6" fmla="*/ 279 w 558"/>
                <a:gd name="T7" fmla="*/ 558 h 653"/>
                <a:gd name="T8" fmla="*/ 292 w 558"/>
                <a:gd name="T9" fmla="*/ 558 h 653"/>
                <a:gd name="T10" fmla="*/ 404 w 558"/>
                <a:gd name="T11" fmla="*/ 653 h 653"/>
                <a:gd name="T12" fmla="*/ 416 w 558"/>
                <a:gd name="T13" fmla="*/ 522 h 653"/>
                <a:gd name="T14" fmla="*/ 558 w 558"/>
                <a:gd name="T15" fmla="*/ 279 h 6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8" h="653">
                  <a:moveTo>
                    <a:pt x="558" y="279"/>
                  </a:moveTo>
                  <a:cubicBezTo>
                    <a:pt x="558" y="125"/>
                    <a:pt x="433" y="0"/>
                    <a:pt x="279" y="0"/>
                  </a:cubicBezTo>
                  <a:cubicBezTo>
                    <a:pt x="125" y="0"/>
                    <a:pt x="0" y="125"/>
                    <a:pt x="0" y="279"/>
                  </a:cubicBezTo>
                  <a:cubicBezTo>
                    <a:pt x="0" y="433"/>
                    <a:pt x="125" y="558"/>
                    <a:pt x="279" y="558"/>
                  </a:cubicBezTo>
                  <a:cubicBezTo>
                    <a:pt x="283" y="558"/>
                    <a:pt x="287" y="558"/>
                    <a:pt x="292" y="558"/>
                  </a:cubicBezTo>
                  <a:cubicBezTo>
                    <a:pt x="404" y="653"/>
                    <a:pt x="404" y="653"/>
                    <a:pt x="404" y="653"/>
                  </a:cubicBezTo>
                  <a:cubicBezTo>
                    <a:pt x="416" y="522"/>
                    <a:pt x="416" y="522"/>
                    <a:pt x="416" y="522"/>
                  </a:cubicBezTo>
                  <a:cubicBezTo>
                    <a:pt x="501" y="474"/>
                    <a:pt x="558" y="383"/>
                    <a:pt x="558" y="27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63" name="Freeform 76">
              <a:extLst>
                <a:ext uri="{FF2B5EF4-FFF2-40B4-BE49-F238E27FC236}">
                  <a16:creationId xmlns:a16="http://schemas.microsoft.com/office/drawing/2014/main" id="{536D13A5-2252-33D6-8515-399665D088F1}"/>
                </a:ext>
              </a:extLst>
            </p:cNvPr>
            <p:cNvSpPr>
              <a:spLocks/>
            </p:cNvSpPr>
            <p:nvPr/>
          </p:nvSpPr>
          <p:spPr bwMode="auto">
            <a:xfrm>
              <a:off x="6913689" y="4385807"/>
              <a:ext cx="748085" cy="874021"/>
            </a:xfrm>
            <a:custGeom>
              <a:avLst/>
              <a:gdLst>
                <a:gd name="T0" fmla="*/ 257 w 514"/>
                <a:gd name="T1" fmla="*/ 0 h 602"/>
                <a:gd name="T2" fmla="*/ 0 w 514"/>
                <a:gd name="T3" fmla="*/ 257 h 602"/>
                <a:gd name="T4" fmla="*/ 131 w 514"/>
                <a:gd name="T5" fmla="*/ 481 h 602"/>
                <a:gd name="T6" fmla="*/ 142 w 514"/>
                <a:gd name="T7" fmla="*/ 602 h 602"/>
                <a:gd name="T8" fmla="*/ 246 w 514"/>
                <a:gd name="T9" fmla="*/ 514 h 602"/>
                <a:gd name="T10" fmla="*/ 257 w 514"/>
                <a:gd name="T11" fmla="*/ 514 h 602"/>
                <a:gd name="T12" fmla="*/ 514 w 514"/>
                <a:gd name="T13" fmla="*/ 257 h 602"/>
                <a:gd name="T14" fmla="*/ 257 w 514"/>
                <a:gd name="T15" fmla="*/ 0 h 6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4" h="602">
                  <a:moveTo>
                    <a:pt x="257" y="0"/>
                  </a:moveTo>
                  <a:cubicBezTo>
                    <a:pt x="115" y="0"/>
                    <a:pt x="0" y="115"/>
                    <a:pt x="0" y="257"/>
                  </a:cubicBezTo>
                  <a:cubicBezTo>
                    <a:pt x="0" y="353"/>
                    <a:pt x="53" y="437"/>
                    <a:pt x="131" y="481"/>
                  </a:cubicBezTo>
                  <a:cubicBezTo>
                    <a:pt x="142" y="602"/>
                    <a:pt x="142" y="602"/>
                    <a:pt x="142" y="602"/>
                  </a:cubicBezTo>
                  <a:cubicBezTo>
                    <a:pt x="246" y="514"/>
                    <a:pt x="246" y="514"/>
                    <a:pt x="246" y="514"/>
                  </a:cubicBezTo>
                  <a:cubicBezTo>
                    <a:pt x="249" y="514"/>
                    <a:pt x="253" y="514"/>
                    <a:pt x="257" y="514"/>
                  </a:cubicBezTo>
                  <a:cubicBezTo>
                    <a:pt x="399" y="514"/>
                    <a:pt x="514" y="399"/>
                    <a:pt x="514" y="257"/>
                  </a:cubicBezTo>
                  <a:cubicBezTo>
                    <a:pt x="514" y="115"/>
                    <a:pt x="399" y="0"/>
                    <a:pt x="257" y="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28" name="Freeform 77">
              <a:extLst>
                <a:ext uri="{FF2B5EF4-FFF2-40B4-BE49-F238E27FC236}">
                  <a16:creationId xmlns:a16="http://schemas.microsoft.com/office/drawing/2014/main" id="{2299963F-833C-B14E-7473-738260BC4767}"/>
                </a:ext>
              </a:extLst>
            </p:cNvPr>
            <p:cNvSpPr>
              <a:spLocks/>
            </p:cNvSpPr>
            <p:nvPr/>
          </p:nvSpPr>
          <p:spPr bwMode="auto">
            <a:xfrm>
              <a:off x="5174259" y="4353515"/>
              <a:ext cx="651210" cy="761001"/>
            </a:xfrm>
            <a:custGeom>
              <a:avLst/>
              <a:gdLst>
                <a:gd name="T0" fmla="*/ 448 w 448"/>
                <a:gd name="T1" fmla="*/ 224 h 524"/>
                <a:gd name="T2" fmla="*/ 224 w 448"/>
                <a:gd name="T3" fmla="*/ 0 h 524"/>
                <a:gd name="T4" fmla="*/ 0 w 448"/>
                <a:gd name="T5" fmla="*/ 224 h 524"/>
                <a:gd name="T6" fmla="*/ 224 w 448"/>
                <a:gd name="T7" fmla="*/ 448 h 524"/>
                <a:gd name="T8" fmla="*/ 234 w 448"/>
                <a:gd name="T9" fmla="*/ 448 h 524"/>
                <a:gd name="T10" fmla="*/ 324 w 448"/>
                <a:gd name="T11" fmla="*/ 524 h 524"/>
                <a:gd name="T12" fmla="*/ 334 w 448"/>
                <a:gd name="T13" fmla="*/ 419 h 524"/>
                <a:gd name="T14" fmla="*/ 448 w 448"/>
                <a:gd name="T15" fmla="*/ 224 h 5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8" h="524">
                  <a:moveTo>
                    <a:pt x="448" y="224"/>
                  </a:moveTo>
                  <a:cubicBezTo>
                    <a:pt x="448" y="100"/>
                    <a:pt x="348" y="0"/>
                    <a:pt x="224" y="0"/>
                  </a:cubicBezTo>
                  <a:cubicBezTo>
                    <a:pt x="100" y="0"/>
                    <a:pt x="0" y="100"/>
                    <a:pt x="0" y="224"/>
                  </a:cubicBezTo>
                  <a:cubicBezTo>
                    <a:pt x="0" y="347"/>
                    <a:pt x="100" y="448"/>
                    <a:pt x="224" y="448"/>
                  </a:cubicBezTo>
                  <a:cubicBezTo>
                    <a:pt x="227" y="448"/>
                    <a:pt x="231" y="448"/>
                    <a:pt x="234" y="448"/>
                  </a:cubicBezTo>
                  <a:cubicBezTo>
                    <a:pt x="324" y="524"/>
                    <a:pt x="324" y="524"/>
                    <a:pt x="324" y="524"/>
                  </a:cubicBezTo>
                  <a:cubicBezTo>
                    <a:pt x="334" y="419"/>
                    <a:pt x="334" y="419"/>
                    <a:pt x="334" y="419"/>
                  </a:cubicBezTo>
                  <a:cubicBezTo>
                    <a:pt x="402" y="380"/>
                    <a:pt x="448" y="307"/>
                    <a:pt x="448" y="22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29" name="Freeform 79">
              <a:extLst>
                <a:ext uri="{FF2B5EF4-FFF2-40B4-BE49-F238E27FC236}">
                  <a16:creationId xmlns:a16="http://schemas.microsoft.com/office/drawing/2014/main" id="{A96DE459-46B3-A025-7F4C-6BA36BE84844}"/>
                </a:ext>
              </a:extLst>
            </p:cNvPr>
            <p:cNvSpPr>
              <a:spLocks/>
            </p:cNvSpPr>
            <p:nvPr/>
          </p:nvSpPr>
          <p:spPr bwMode="auto">
            <a:xfrm>
              <a:off x="4659749" y="2398809"/>
              <a:ext cx="652286" cy="761001"/>
            </a:xfrm>
            <a:custGeom>
              <a:avLst/>
              <a:gdLst>
                <a:gd name="T0" fmla="*/ 449 w 449"/>
                <a:gd name="T1" fmla="*/ 224 h 524"/>
                <a:gd name="T2" fmla="*/ 225 w 449"/>
                <a:gd name="T3" fmla="*/ 0 h 524"/>
                <a:gd name="T4" fmla="*/ 0 w 449"/>
                <a:gd name="T5" fmla="*/ 224 h 524"/>
                <a:gd name="T6" fmla="*/ 225 w 449"/>
                <a:gd name="T7" fmla="*/ 448 h 524"/>
                <a:gd name="T8" fmla="*/ 235 w 449"/>
                <a:gd name="T9" fmla="*/ 448 h 524"/>
                <a:gd name="T10" fmla="*/ 325 w 449"/>
                <a:gd name="T11" fmla="*/ 524 h 524"/>
                <a:gd name="T12" fmla="*/ 335 w 449"/>
                <a:gd name="T13" fmla="*/ 419 h 524"/>
                <a:gd name="T14" fmla="*/ 449 w 449"/>
                <a:gd name="T15" fmla="*/ 224 h 5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9" h="524">
                  <a:moveTo>
                    <a:pt x="449" y="224"/>
                  </a:moveTo>
                  <a:cubicBezTo>
                    <a:pt x="449" y="100"/>
                    <a:pt x="348" y="0"/>
                    <a:pt x="225" y="0"/>
                  </a:cubicBezTo>
                  <a:cubicBezTo>
                    <a:pt x="101" y="0"/>
                    <a:pt x="0" y="100"/>
                    <a:pt x="0" y="224"/>
                  </a:cubicBezTo>
                  <a:cubicBezTo>
                    <a:pt x="0" y="348"/>
                    <a:pt x="101" y="448"/>
                    <a:pt x="225" y="448"/>
                  </a:cubicBezTo>
                  <a:cubicBezTo>
                    <a:pt x="228" y="448"/>
                    <a:pt x="231" y="448"/>
                    <a:pt x="235" y="448"/>
                  </a:cubicBezTo>
                  <a:cubicBezTo>
                    <a:pt x="325" y="524"/>
                    <a:pt x="325" y="524"/>
                    <a:pt x="325" y="524"/>
                  </a:cubicBezTo>
                  <a:cubicBezTo>
                    <a:pt x="335" y="419"/>
                    <a:pt x="335" y="419"/>
                    <a:pt x="335" y="419"/>
                  </a:cubicBezTo>
                  <a:cubicBezTo>
                    <a:pt x="403" y="380"/>
                    <a:pt x="449" y="307"/>
                    <a:pt x="449" y="22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30" name="Freeform 81">
              <a:extLst>
                <a:ext uri="{FF2B5EF4-FFF2-40B4-BE49-F238E27FC236}">
                  <a16:creationId xmlns:a16="http://schemas.microsoft.com/office/drawing/2014/main" id="{1B36CD8C-E5F0-D8DF-824C-FDF1D1BF2896}"/>
                </a:ext>
              </a:extLst>
            </p:cNvPr>
            <p:cNvSpPr>
              <a:spLocks/>
            </p:cNvSpPr>
            <p:nvPr/>
          </p:nvSpPr>
          <p:spPr bwMode="auto">
            <a:xfrm>
              <a:off x="4094649" y="3230850"/>
              <a:ext cx="720099" cy="839576"/>
            </a:xfrm>
            <a:custGeom>
              <a:avLst/>
              <a:gdLst>
                <a:gd name="T0" fmla="*/ 495 w 495"/>
                <a:gd name="T1" fmla="*/ 247 h 578"/>
                <a:gd name="T2" fmla="*/ 248 w 495"/>
                <a:gd name="T3" fmla="*/ 0 h 578"/>
                <a:gd name="T4" fmla="*/ 0 w 495"/>
                <a:gd name="T5" fmla="*/ 247 h 578"/>
                <a:gd name="T6" fmla="*/ 248 w 495"/>
                <a:gd name="T7" fmla="*/ 494 h 578"/>
                <a:gd name="T8" fmla="*/ 259 w 495"/>
                <a:gd name="T9" fmla="*/ 494 h 578"/>
                <a:gd name="T10" fmla="*/ 359 w 495"/>
                <a:gd name="T11" fmla="*/ 578 h 578"/>
                <a:gd name="T12" fmla="*/ 369 w 495"/>
                <a:gd name="T13" fmla="*/ 462 h 578"/>
                <a:gd name="T14" fmla="*/ 495 w 495"/>
                <a:gd name="T15" fmla="*/ 247 h 5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5" h="578">
                  <a:moveTo>
                    <a:pt x="495" y="247"/>
                  </a:moveTo>
                  <a:cubicBezTo>
                    <a:pt x="495" y="110"/>
                    <a:pt x="384" y="0"/>
                    <a:pt x="248" y="0"/>
                  </a:cubicBezTo>
                  <a:cubicBezTo>
                    <a:pt x="111" y="0"/>
                    <a:pt x="0" y="110"/>
                    <a:pt x="0" y="247"/>
                  </a:cubicBezTo>
                  <a:cubicBezTo>
                    <a:pt x="0" y="383"/>
                    <a:pt x="111" y="494"/>
                    <a:pt x="248" y="494"/>
                  </a:cubicBezTo>
                  <a:cubicBezTo>
                    <a:pt x="251" y="494"/>
                    <a:pt x="255" y="494"/>
                    <a:pt x="259" y="494"/>
                  </a:cubicBezTo>
                  <a:cubicBezTo>
                    <a:pt x="359" y="578"/>
                    <a:pt x="359" y="578"/>
                    <a:pt x="359" y="578"/>
                  </a:cubicBezTo>
                  <a:cubicBezTo>
                    <a:pt x="369" y="462"/>
                    <a:pt x="369" y="462"/>
                    <a:pt x="369" y="462"/>
                  </a:cubicBezTo>
                  <a:cubicBezTo>
                    <a:pt x="444" y="419"/>
                    <a:pt x="495" y="339"/>
                    <a:pt x="495" y="24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31" name="Freeform 83">
              <a:extLst>
                <a:ext uri="{FF2B5EF4-FFF2-40B4-BE49-F238E27FC236}">
                  <a16:creationId xmlns:a16="http://schemas.microsoft.com/office/drawing/2014/main" id="{CDB194B5-53BD-7870-5374-647F0A07BA36}"/>
                </a:ext>
              </a:extLst>
            </p:cNvPr>
            <p:cNvSpPr>
              <a:spLocks/>
            </p:cNvSpPr>
            <p:nvPr/>
          </p:nvSpPr>
          <p:spPr bwMode="auto">
            <a:xfrm>
              <a:off x="4976205" y="3169497"/>
              <a:ext cx="1033325" cy="1075304"/>
            </a:xfrm>
            <a:custGeom>
              <a:avLst/>
              <a:gdLst>
                <a:gd name="T0" fmla="*/ 675 w 710"/>
                <a:gd name="T1" fmla="*/ 271 h 740"/>
                <a:gd name="T2" fmla="*/ 270 w 710"/>
                <a:gd name="T3" fmla="*/ 52 h 740"/>
                <a:gd name="T4" fmla="*/ 52 w 710"/>
                <a:gd name="T5" fmla="*/ 457 h 740"/>
                <a:gd name="T6" fmla="*/ 456 w 710"/>
                <a:gd name="T7" fmla="*/ 676 h 740"/>
                <a:gd name="T8" fmla="*/ 471 w 710"/>
                <a:gd name="T9" fmla="*/ 671 h 740"/>
                <a:gd name="T10" fmla="*/ 628 w 710"/>
                <a:gd name="T11" fmla="*/ 740 h 740"/>
                <a:gd name="T12" fmla="*/ 598 w 710"/>
                <a:gd name="T13" fmla="*/ 589 h 740"/>
                <a:gd name="T14" fmla="*/ 675 w 710"/>
                <a:gd name="T15" fmla="*/ 271 h 7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0" h="740">
                  <a:moveTo>
                    <a:pt x="675" y="271"/>
                  </a:moveTo>
                  <a:cubicBezTo>
                    <a:pt x="624" y="98"/>
                    <a:pt x="443" y="0"/>
                    <a:pt x="270" y="52"/>
                  </a:cubicBezTo>
                  <a:cubicBezTo>
                    <a:pt x="98" y="103"/>
                    <a:pt x="0" y="285"/>
                    <a:pt x="52" y="457"/>
                  </a:cubicBezTo>
                  <a:cubicBezTo>
                    <a:pt x="103" y="629"/>
                    <a:pt x="284" y="727"/>
                    <a:pt x="456" y="676"/>
                  </a:cubicBezTo>
                  <a:cubicBezTo>
                    <a:pt x="461" y="674"/>
                    <a:pt x="466" y="673"/>
                    <a:pt x="471" y="671"/>
                  </a:cubicBezTo>
                  <a:cubicBezTo>
                    <a:pt x="628" y="740"/>
                    <a:pt x="628" y="740"/>
                    <a:pt x="628" y="740"/>
                  </a:cubicBezTo>
                  <a:cubicBezTo>
                    <a:pt x="598" y="589"/>
                    <a:pt x="598" y="589"/>
                    <a:pt x="598" y="589"/>
                  </a:cubicBezTo>
                  <a:cubicBezTo>
                    <a:pt x="676" y="508"/>
                    <a:pt x="710" y="387"/>
                    <a:pt x="675" y="271"/>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32" name="Freeform 85">
              <a:extLst>
                <a:ext uri="{FF2B5EF4-FFF2-40B4-BE49-F238E27FC236}">
                  <a16:creationId xmlns:a16="http://schemas.microsoft.com/office/drawing/2014/main" id="{D9E32D6D-3E38-3754-00A4-B88B1AF42E9B}"/>
                </a:ext>
              </a:extLst>
            </p:cNvPr>
            <p:cNvSpPr>
              <a:spLocks/>
            </p:cNvSpPr>
            <p:nvPr/>
          </p:nvSpPr>
          <p:spPr bwMode="auto">
            <a:xfrm>
              <a:off x="6866328" y="2825056"/>
              <a:ext cx="1206623" cy="1290580"/>
            </a:xfrm>
            <a:custGeom>
              <a:avLst/>
              <a:gdLst>
                <a:gd name="T0" fmla="*/ 492 w 830"/>
                <a:gd name="T1" fmla="*/ 46 h 888"/>
                <a:gd name="T2" fmla="*/ 32 w 830"/>
                <a:gd name="T3" fmla="*/ 338 h 888"/>
                <a:gd name="T4" fmla="*/ 149 w 830"/>
                <a:gd name="T5" fmla="*/ 708 h 888"/>
                <a:gd name="T6" fmla="*/ 126 w 830"/>
                <a:gd name="T7" fmla="*/ 888 h 888"/>
                <a:gd name="T8" fmla="*/ 306 w 830"/>
                <a:gd name="T9" fmla="*/ 793 h 888"/>
                <a:gd name="T10" fmla="*/ 323 w 830"/>
                <a:gd name="T11" fmla="*/ 798 h 888"/>
                <a:gd name="T12" fmla="*/ 783 w 830"/>
                <a:gd name="T13" fmla="*/ 506 h 888"/>
                <a:gd name="T14" fmla="*/ 492 w 830"/>
                <a:gd name="T15" fmla="*/ 46 h 8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30" h="888">
                  <a:moveTo>
                    <a:pt x="492" y="46"/>
                  </a:moveTo>
                  <a:cubicBezTo>
                    <a:pt x="284" y="0"/>
                    <a:pt x="78" y="130"/>
                    <a:pt x="32" y="338"/>
                  </a:cubicBezTo>
                  <a:cubicBezTo>
                    <a:pt x="0" y="478"/>
                    <a:pt x="50" y="618"/>
                    <a:pt x="149" y="708"/>
                  </a:cubicBezTo>
                  <a:cubicBezTo>
                    <a:pt x="126" y="888"/>
                    <a:pt x="126" y="888"/>
                    <a:pt x="126" y="888"/>
                  </a:cubicBezTo>
                  <a:cubicBezTo>
                    <a:pt x="306" y="793"/>
                    <a:pt x="306" y="793"/>
                    <a:pt x="306" y="793"/>
                  </a:cubicBezTo>
                  <a:cubicBezTo>
                    <a:pt x="312" y="795"/>
                    <a:pt x="317" y="796"/>
                    <a:pt x="323" y="798"/>
                  </a:cubicBezTo>
                  <a:cubicBezTo>
                    <a:pt x="531" y="844"/>
                    <a:pt x="737" y="714"/>
                    <a:pt x="783" y="506"/>
                  </a:cubicBezTo>
                  <a:cubicBezTo>
                    <a:pt x="830" y="299"/>
                    <a:pt x="699" y="93"/>
                    <a:pt x="492" y="46"/>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grpSp>
          <p:nvGrpSpPr>
            <p:cNvPr id="133" name="Group 70">
              <a:extLst>
                <a:ext uri="{FF2B5EF4-FFF2-40B4-BE49-F238E27FC236}">
                  <a16:creationId xmlns:a16="http://schemas.microsoft.com/office/drawing/2014/main" id="{15F3C015-D8FA-E596-3F97-B6A5AD3E0AC8}"/>
                </a:ext>
              </a:extLst>
            </p:cNvPr>
            <p:cNvGrpSpPr/>
            <p:nvPr/>
          </p:nvGrpSpPr>
          <p:grpSpPr>
            <a:xfrm>
              <a:off x="5257140" y="3489182"/>
              <a:ext cx="529579" cy="406871"/>
              <a:chOff x="5257140" y="3489182"/>
              <a:chExt cx="529579" cy="406871"/>
            </a:xfrm>
            <a:solidFill>
              <a:schemeClr val="bg1"/>
            </a:solidFill>
          </p:grpSpPr>
          <p:sp>
            <p:nvSpPr>
              <p:cNvPr id="458" name="Freeform 86">
                <a:extLst>
                  <a:ext uri="{FF2B5EF4-FFF2-40B4-BE49-F238E27FC236}">
                    <a16:creationId xmlns:a16="http://schemas.microsoft.com/office/drawing/2014/main" id="{344B5F16-ED23-3BF4-1B80-5459B93D9694}"/>
                  </a:ext>
                </a:extLst>
              </p:cNvPr>
              <p:cNvSpPr>
                <a:spLocks noEditPoints="1"/>
              </p:cNvSpPr>
              <p:nvPr/>
            </p:nvSpPr>
            <p:spPr bwMode="auto">
              <a:xfrm>
                <a:off x="5335716" y="3489182"/>
                <a:ext cx="372428" cy="273401"/>
              </a:xfrm>
              <a:custGeom>
                <a:avLst/>
                <a:gdLst>
                  <a:gd name="T0" fmla="*/ 256 w 256"/>
                  <a:gd name="T1" fmla="*/ 7 h 188"/>
                  <a:gd name="T2" fmla="*/ 249 w 256"/>
                  <a:gd name="T3" fmla="*/ 0 h 188"/>
                  <a:gd name="T4" fmla="*/ 7 w 256"/>
                  <a:gd name="T5" fmla="*/ 0 h 188"/>
                  <a:gd name="T6" fmla="*/ 0 w 256"/>
                  <a:gd name="T7" fmla="*/ 7 h 188"/>
                  <a:gd name="T8" fmla="*/ 0 w 256"/>
                  <a:gd name="T9" fmla="*/ 181 h 188"/>
                  <a:gd name="T10" fmla="*/ 7 w 256"/>
                  <a:gd name="T11" fmla="*/ 188 h 188"/>
                  <a:gd name="T12" fmla="*/ 249 w 256"/>
                  <a:gd name="T13" fmla="*/ 188 h 188"/>
                  <a:gd name="T14" fmla="*/ 256 w 256"/>
                  <a:gd name="T15" fmla="*/ 181 h 188"/>
                  <a:gd name="T16" fmla="*/ 256 w 256"/>
                  <a:gd name="T17" fmla="*/ 7 h 188"/>
                  <a:gd name="T18" fmla="*/ 219 w 256"/>
                  <a:gd name="T19" fmla="*/ 155 h 188"/>
                  <a:gd name="T20" fmla="*/ 214 w 256"/>
                  <a:gd name="T21" fmla="*/ 160 h 188"/>
                  <a:gd name="T22" fmla="*/ 37 w 256"/>
                  <a:gd name="T23" fmla="*/ 160 h 188"/>
                  <a:gd name="T24" fmla="*/ 32 w 256"/>
                  <a:gd name="T25" fmla="*/ 155 h 188"/>
                  <a:gd name="T26" fmla="*/ 32 w 256"/>
                  <a:gd name="T27" fmla="*/ 29 h 188"/>
                  <a:gd name="T28" fmla="*/ 37 w 256"/>
                  <a:gd name="T29" fmla="*/ 24 h 188"/>
                  <a:gd name="T30" fmla="*/ 214 w 256"/>
                  <a:gd name="T31" fmla="*/ 24 h 188"/>
                  <a:gd name="T32" fmla="*/ 219 w 256"/>
                  <a:gd name="T33" fmla="*/ 29 h 188"/>
                  <a:gd name="T34" fmla="*/ 219 w 256"/>
                  <a:gd name="T35" fmla="*/ 155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6" h="188">
                    <a:moveTo>
                      <a:pt x="256" y="7"/>
                    </a:moveTo>
                    <a:cubicBezTo>
                      <a:pt x="256" y="3"/>
                      <a:pt x="253" y="0"/>
                      <a:pt x="249" y="0"/>
                    </a:cubicBezTo>
                    <a:cubicBezTo>
                      <a:pt x="7" y="0"/>
                      <a:pt x="7" y="0"/>
                      <a:pt x="7" y="0"/>
                    </a:cubicBezTo>
                    <a:cubicBezTo>
                      <a:pt x="3" y="0"/>
                      <a:pt x="0" y="3"/>
                      <a:pt x="0" y="7"/>
                    </a:cubicBezTo>
                    <a:cubicBezTo>
                      <a:pt x="0" y="181"/>
                      <a:pt x="0" y="181"/>
                      <a:pt x="0" y="181"/>
                    </a:cubicBezTo>
                    <a:cubicBezTo>
                      <a:pt x="0" y="185"/>
                      <a:pt x="3" y="188"/>
                      <a:pt x="7" y="188"/>
                    </a:cubicBezTo>
                    <a:cubicBezTo>
                      <a:pt x="249" y="188"/>
                      <a:pt x="249" y="188"/>
                      <a:pt x="249" y="188"/>
                    </a:cubicBezTo>
                    <a:cubicBezTo>
                      <a:pt x="253" y="188"/>
                      <a:pt x="256" y="185"/>
                      <a:pt x="256" y="181"/>
                    </a:cubicBezTo>
                    <a:lnTo>
                      <a:pt x="256" y="7"/>
                    </a:lnTo>
                    <a:close/>
                    <a:moveTo>
                      <a:pt x="219" y="155"/>
                    </a:moveTo>
                    <a:cubicBezTo>
                      <a:pt x="219" y="158"/>
                      <a:pt x="217" y="160"/>
                      <a:pt x="214" y="160"/>
                    </a:cubicBezTo>
                    <a:cubicBezTo>
                      <a:pt x="37" y="160"/>
                      <a:pt x="37" y="160"/>
                      <a:pt x="37" y="160"/>
                    </a:cubicBezTo>
                    <a:cubicBezTo>
                      <a:pt x="34" y="160"/>
                      <a:pt x="32" y="158"/>
                      <a:pt x="32" y="155"/>
                    </a:cubicBezTo>
                    <a:cubicBezTo>
                      <a:pt x="32" y="29"/>
                      <a:pt x="32" y="29"/>
                      <a:pt x="32" y="29"/>
                    </a:cubicBezTo>
                    <a:cubicBezTo>
                      <a:pt x="32" y="26"/>
                      <a:pt x="34" y="24"/>
                      <a:pt x="37" y="24"/>
                    </a:cubicBezTo>
                    <a:cubicBezTo>
                      <a:pt x="214" y="24"/>
                      <a:pt x="214" y="24"/>
                      <a:pt x="214" y="24"/>
                    </a:cubicBezTo>
                    <a:cubicBezTo>
                      <a:pt x="217" y="24"/>
                      <a:pt x="219" y="26"/>
                      <a:pt x="219" y="29"/>
                    </a:cubicBezTo>
                    <a:lnTo>
                      <a:pt x="219" y="1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459" name="Freeform 87">
                <a:extLst>
                  <a:ext uri="{FF2B5EF4-FFF2-40B4-BE49-F238E27FC236}">
                    <a16:creationId xmlns:a16="http://schemas.microsoft.com/office/drawing/2014/main" id="{9B169A15-E874-0685-BB93-6165AC67581B}"/>
                  </a:ext>
                </a:extLst>
              </p:cNvPr>
              <p:cNvSpPr>
                <a:spLocks noEditPoints="1"/>
              </p:cNvSpPr>
              <p:nvPr/>
            </p:nvSpPr>
            <p:spPr bwMode="auto">
              <a:xfrm>
                <a:off x="5257140" y="3779804"/>
                <a:ext cx="529579" cy="116249"/>
              </a:xfrm>
              <a:custGeom>
                <a:avLst/>
                <a:gdLst>
                  <a:gd name="T0" fmla="*/ 317 w 364"/>
                  <a:gd name="T1" fmla="*/ 7 h 80"/>
                  <a:gd name="T2" fmla="*/ 310 w 364"/>
                  <a:gd name="T3" fmla="*/ 0 h 80"/>
                  <a:gd name="T4" fmla="*/ 54 w 364"/>
                  <a:gd name="T5" fmla="*/ 0 h 80"/>
                  <a:gd name="T6" fmla="*/ 47 w 364"/>
                  <a:gd name="T7" fmla="*/ 7 h 80"/>
                  <a:gd name="T8" fmla="*/ 0 w 364"/>
                  <a:gd name="T9" fmla="*/ 74 h 80"/>
                  <a:gd name="T10" fmla="*/ 7 w 364"/>
                  <a:gd name="T11" fmla="*/ 80 h 80"/>
                  <a:gd name="T12" fmla="*/ 357 w 364"/>
                  <a:gd name="T13" fmla="*/ 80 h 80"/>
                  <a:gd name="T14" fmla="*/ 364 w 364"/>
                  <a:gd name="T15" fmla="*/ 74 h 80"/>
                  <a:gd name="T16" fmla="*/ 317 w 364"/>
                  <a:gd name="T17" fmla="*/ 7 h 80"/>
                  <a:gd name="T18" fmla="*/ 162 w 364"/>
                  <a:gd name="T19" fmla="*/ 75 h 80"/>
                  <a:gd name="T20" fmla="*/ 162 w 364"/>
                  <a:gd name="T21" fmla="*/ 60 h 80"/>
                  <a:gd name="T22" fmla="*/ 203 w 364"/>
                  <a:gd name="T23" fmla="*/ 60 h 80"/>
                  <a:gd name="T24" fmla="*/ 205 w 364"/>
                  <a:gd name="T25" fmla="*/ 74 h 80"/>
                  <a:gd name="T26" fmla="*/ 162 w 364"/>
                  <a:gd name="T27" fmla="*/ 75 h 80"/>
                  <a:gd name="T28" fmla="*/ 322 w 364"/>
                  <a:gd name="T29" fmla="*/ 56 h 80"/>
                  <a:gd name="T30" fmla="*/ 46 w 364"/>
                  <a:gd name="T31" fmla="*/ 56 h 80"/>
                  <a:gd name="T32" fmla="*/ 41 w 364"/>
                  <a:gd name="T33" fmla="*/ 52 h 80"/>
                  <a:gd name="T34" fmla="*/ 60 w 364"/>
                  <a:gd name="T35" fmla="*/ 12 h 80"/>
                  <a:gd name="T36" fmla="*/ 65 w 364"/>
                  <a:gd name="T37" fmla="*/ 8 h 80"/>
                  <a:gd name="T38" fmla="*/ 299 w 364"/>
                  <a:gd name="T39" fmla="*/ 8 h 80"/>
                  <a:gd name="T40" fmla="*/ 304 w 364"/>
                  <a:gd name="T41" fmla="*/ 11 h 80"/>
                  <a:gd name="T42" fmla="*/ 328 w 364"/>
                  <a:gd name="T43" fmla="*/ 52 h 80"/>
                  <a:gd name="T44" fmla="*/ 322 w 364"/>
                  <a:gd name="T45" fmla="*/ 56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4" h="80">
                    <a:moveTo>
                      <a:pt x="317" y="7"/>
                    </a:moveTo>
                    <a:cubicBezTo>
                      <a:pt x="317" y="3"/>
                      <a:pt x="314" y="0"/>
                      <a:pt x="310" y="0"/>
                    </a:cubicBezTo>
                    <a:cubicBezTo>
                      <a:pt x="54" y="0"/>
                      <a:pt x="54" y="0"/>
                      <a:pt x="54" y="0"/>
                    </a:cubicBezTo>
                    <a:cubicBezTo>
                      <a:pt x="50" y="0"/>
                      <a:pt x="47" y="3"/>
                      <a:pt x="47" y="7"/>
                    </a:cubicBezTo>
                    <a:cubicBezTo>
                      <a:pt x="0" y="74"/>
                      <a:pt x="0" y="74"/>
                      <a:pt x="0" y="74"/>
                    </a:cubicBezTo>
                    <a:cubicBezTo>
                      <a:pt x="0" y="78"/>
                      <a:pt x="3" y="80"/>
                      <a:pt x="7" y="80"/>
                    </a:cubicBezTo>
                    <a:cubicBezTo>
                      <a:pt x="357" y="80"/>
                      <a:pt x="357" y="80"/>
                      <a:pt x="357" y="80"/>
                    </a:cubicBezTo>
                    <a:cubicBezTo>
                      <a:pt x="361" y="80"/>
                      <a:pt x="364" y="78"/>
                      <a:pt x="364" y="74"/>
                    </a:cubicBezTo>
                    <a:lnTo>
                      <a:pt x="317" y="7"/>
                    </a:lnTo>
                    <a:close/>
                    <a:moveTo>
                      <a:pt x="162" y="75"/>
                    </a:moveTo>
                    <a:cubicBezTo>
                      <a:pt x="162" y="60"/>
                      <a:pt x="162" y="60"/>
                      <a:pt x="162" y="60"/>
                    </a:cubicBezTo>
                    <a:cubicBezTo>
                      <a:pt x="203" y="60"/>
                      <a:pt x="203" y="60"/>
                      <a:pt x="203" y="60"/>
                    </a:cubicBezTo>
                    <a:cubicBezTo>
                      <a:pt x="205" y="74"/>
                      <a:pt x="205" y="74"/>
                      <a:pt x="205" y="74"/>
                    </a:cubicBezTo>
                    <a:lnTo>
                      <a:pt x="162" y="75"/>
                    </a:lnTo>
                    <a:close/>
                    <a:moveTo>
                      <a:pt x="322" y="56"/>
                    </a:moveTo>
                    <a:cubicBezTo>
                      <a:pt x="46" y="56"/>
                      <a:pt x="46" y="56"/>
                      <a:pt x="46" y="56"/>
                    </a:cubicBezTo>
                    <a:cubicBezTo>
                      <a:pt x="43" y="56"/>
                      <a:pt x="41" y="54"/>
                      <a:pt x="41" y="52"/>
                    </a:cubicBezTo>
                    <a:cubicBezTo>
                      <a:pt x="60" y="12"/>
                      <a:pt x="60" y="12"/>
                      <a:pt x="60" y="12"/>
                    </a:cubicBezTo>
                    <a:cubicBezTo>
                      <a:pt x="60" y="10"/>
                      <a:pt x="62" y="8"/>
                      <a:pt x="65" y="8"/>
                    </a:cubicBezTo>
                    <a:cubicBezTo>
                      <a:pt x="299" y="8"/>
                      <a:pt x="299" y="8"/>
                      <a:pt x="299" y="8"/>
                    </a:cubicBezTo>
                    <a:cubicBezTo>
                      <a:pt x="301" y="8"/>
                      <a:pt x="304" y="9"/>
                      <a:pt x="304" y="11"/>
                    </a:cubicBezTo>
                    <a:cubicBezTo>
                      <a:pt x="328" y="52"/>
                      <a:pt x="328" y="52"/>
                      <a:pt x="328" y="52"/>
                    </a:cubicBezTo>
                    <a:cubicBezTo>
                      <a:pt x="328" y="54"/>
                      <a:pt x="325" y="56"/>
                      <a:pt x="322"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grpSp>
        <p:grpSp>
          <p:nvGrpSpPr>
            <p:cNvPr id="134" name="Group 71">
              <a:extLst>
                <a:ext uri="{FF2B5EF4-FFF2-40B4-BE49-F238E27FC236}">
                  <a16:creationId xmlns:a16="http://schemas.microsoft.com/office/drawing/2014/main" id="{1D214B30-4ABB-A81B-4A3F-AE0059D47913}"/>
                </a:ext>
              </a:extLst>
            </p:cNvPr>
            <p:cNvGrpSpPr/>
            <p:nvPr/>
          </p:nvGrpSpPr>
          <p:grpSpPr>
            <a:xfrm>
              <a:off x="5411062" y="4510667"/>
              <a:ext cx="189443" cy="354129"/>
              <a:chOff x="5411062" y="4510667"/>
              <a:chExt cx="189443" cy="354129"/>
            </a:xfrm>
            <a:solidFill>
              <a:schemeClr val="bg1"/>
            </a:solidFill>
          </p:grpSpPr>
          <p:sp>
            <p:nvSpPr>
              <p:cNvPr id="452" name="Freeform 88">
                <a:extLst>
                  <a:ext uri="{FF2B5EF4-FFF2-40B4-BE49-F238E27FC236}">
                    <a16:creationId xmlns:a16="http://schemas.microsoft.com/office/drawing/2014/main" id="{2946A4DB-E24B-7173-6A2D-7365FB3E05B8}"/>
                  </a:ext>
                </a:extLst>
              </p:cNvPr>
              <p:cNvSpPr>
                <a:spLocks/>
              </p:cNvSpPr>
              <p:nvPr/>
            </p:nvSpPr>
            <p:spPr bwMode="auto">
              <a:xfrm>
                <a:off x="5413215" y="4510667"/>
                <a:ext cx="187290" cy="354129"/>
              </a:xfrm>
              <a:custGeom>
                <a:avLst/>
                <a:gdLst>
                  <a:gd name="T0" fmla="*/ 8 w 129"/>
                  <a:gd name="T1" fmla="*/ 244 h 244"/>
                  <a:gd name="T2" fmla="*/ 8 w 129"/>
                  <a:gd name="T3" fmla="*/ 244 h 244"/>
                  <a:gd name="T4" fmla="*/ 0 w 129"/>
                  <a:gd name="T5" fmla="*/ 236 h 244"/>
                  <a:gd name="T6" fmla="*/ 67 w 129"/>
                  <a:gd name="T7" fmla="*/ 163 h 244"/>
                  <a:gd name="T8" fmla="*/ 112 w 129"/>
                  <a:gd name="T9" fmla="*/ 119 h 244"/>
                  <a:gd name="T10" fmla="*/ 64 w 129"/>
                  <a:gd name="T11" fmla="*/ 75 h 244"/>
                  <a:gd name="T12" fmla="*/ 3 w 129"/>
                  <a:gd name="T13" fmla="*/ 7 h 244"/>
                  <a:gd name="T14" fmla="*/ 12 w 129"/>
                  <a:gd name="T15" fmla="*/ 0 h 244"/>
                  <a:gd name="T16" fmla="*/ 19 w 129"/>
                  <a:gd name="T17" fmla="*/ 9 h 244"/>
                  <a:gd name="T18" fmla="*/ 71 w 129"/>
                  <a:gd name="T19" fmla="*/ 61 h 244"/>
                  <a:gd name="T20" fmla="*/ 127 w 129"/>
                  <a:gd name="T21" fmla="*/ 119 h 244"/>
                  <a:gd name="T22" fmla="*/ 72 w 129"/>
                  <a:gd name="T23" fmla="*/ 178 h 244"/>
                  <a:gd name="T24" fmla="*/ 16 w 129"/>
                  <a:gd name="T25" fmla="*/ 237 h 244"/>
                  <a:gd name="T26" fmla="*/ 8 w 129"/>
                  <a:gd name="T27" fmla="*/ 2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9" h="244">
                    <a:moveTo>
                      <a:pt x="8" y="244"/>
                    </a:moveTo>
                    <a:cubicBezTo>
                      <a:pt x="8" y="244"/>
                      <a:pt x="8" y="244"/>
                      <a:pt x="8" y="244"/>
                    </a:cubicBezTo>
                    <a:cubicBezTo>
                      <a:pt x="3" y="244"/>
                      <a:pt x="0" y="240"/>
                      <a:pt x="0" y="236"/>
                    </a:cubicBezTo>
                    <a:cubicBezTo>
                      <a:pt x="4" y="186"/>
                      <a:pt x="39" y="174"/>
                      <a:pt x="67" y="163"/>
                    </a:cubicBezTo>
                    <a:cubicBezTo>
                      <a:pt x="95" y="153"/>
                      <a:pt x="112" y="146"/>
                      <a:pt x="112" y="119"/>
                    </a:cubicBezTo>
                    <a:cubicBezTo>
                      <a:pt x="113" y="98"/>
                      <a:pt x="94" y="88"/>
                      <a:pt x="64" y="75"/>
                    </a:cubicBezTo>
                    <a:cubicBezTo>
                      <a:pt x="34" y="63"/>
                      <a:pt x="0" y="48"/>
                      <a:pt x="3" y="7"/>
                    </a:cubicBezTo>
                    <a:cubicBezTo>
                      <a:pt x="4" y="3"/>
                      <a:pt x="8" y="0"/>
                      <a:pt x="12" y="0"/>
                    </a:cubicBezTo>
                    <a:cubicBezTo>
                      <a:pt x="16" y="0"/>
                      <a:pt x="20" y="4"/>
                      <a:pt x="19" y="9"/>
                    </a:cubicBezTo>
                    <a:cubicBezTo>
                      <a:pt x="17" y="36"/>
                      <a:pt x="37" y="46"/>
                      <a:pt x="71" y="61"/>
                    </a:cubicBezTo>
                    <a:cubicBezTo>
                      <a:pt x="98" y="73"/>
                      <a:pt x="129" y="86"/>
                      <a:pt x="127" y="119"/>
                    </a:cubicBezTo>
                    <a:cubicBezTo>
                      <a:pt x="127" y="158"/>
                      <a:pt x="98" y="169"/>
                      <a:pt x="72" y="178"/>
                    </a:cubicBezTo>
                    <a:cubicBezTo>
                      <a:pt x="45" y="188"/>
                      <a:pt x="19" y="198"/>
                      <a:pt x="16" y="237"/>
                    </a:cubicBezTo>
                    <a:cubicBezTo>
                      <a:pt x="16" y="241"/>
                      <a:pt x="12" y="244"/>
                      <a:pt x="8" y="2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453" name="Freeform 89">
                <a:extLst>
                  <a:ext uri="{FF2B5EF4-FFF2-40B4-BE49-F238E27FC236}">
                    <a16:creationId xmlns:a16="http://schemas.microsoft.com/office/drawing/2014/main" id="{1171C262-8AEF-116B-C8F0-C685E5153AF4}"/>
                  </a:ext>
                </a:extLst>
              </p:cNvPr>
              <p:cNvSpPr>
                <a:spLocks/>
              </p:cNvSpPr>
              <p:nvPr/>
            </p:nvSpPr>
            <p:spPr bwMode="auto">
              <a:xfrm>
                <a:off x="5411062" y="4510667"/>
                <a:ext cx="188367" cy="354129"/>
              </a:xfrm>
              <a:custGeom>
                <a:avLst/>
                <a:gdLst>
                  <a:gd name="T0" fmla="*/ 121 w 129"/>
                  <a:gd name="T1" fmla="*/ 244 h 244"/>
                  <a:gd name="T2" fmla="*/ 113 w 129"/>
                  <a:gd name="T3" fmla="*/ 237 h 244"/>
                  <a:gd name="T4" fmla="*/ 57 w 129"/>
                  <a:gd name="T5" fmla="*/ 178 h 244"/>
                  <a:gd name="T6" fmla="*/ 1 w 129"/>
                  <a:gd name="T7" fmla="*/ 119 h 244"/>
                  <a:gd name="T8" fmla="*/ 58 w 129"/>
                  <a:gd name="T9" fmla="*/ 61 h 244"/>
                  <a:gd name="T10" fmla="*/ 110 w 129"/>
                  <a:gd name="T11" fmla="*/ 9 h 244"/>
                  <a:gd name="T12" fmla="*/ 117 w 129"/>
                  <a:gd name="T13" fmla="*/ 0 h 244"/>
                  <a:gd name="T14" fmla="*/ 126 w 129"/>
                  <a:gd name="T15" fmla="*/ 7 h 244"/>
                  <a:gd name="T16" fmla="*/ 64 w 129"/>
                  <a:gd name="T17" fmla="*/ 75 h 244"/>
                  <a:gd name="T18" fmla="*/ 17 w 129"/>
                  <a:gd name="T19" fmla="*/ 119 h 244"/>
                  <a:gd name="T20" fmla="*/ 62 w 129"/>
                  <a:gd name="T21" fmla="*/ 163 h 244"/>
                  <a:gd name="T22" fmla="*/ 129 w 129"/>
                  <a:gd name="T23" fmla="*/ 236 h 244"/>
                  <a:gd name="T24" fmla="*/ 121 w 129"/>
                  <a:gd name="T25" fmla="*/ 2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9" h="244">
                    <a:moveTo>
                      <a:pt x="121" y="244"/>
                    </a:moveTo>
                    <a:cubicBezTo>
                      <a:pt x="116" y="244"/>
                      <a:pt x="113" y="241"/>
                      <a:pt x="113" y="237"/>
                    </a:cubicBezTo>
                    <a:cubicBezTo>
                      <a:pt x="110" y="198"/>
                      <a:pt x="84" y="188"/>
                      <a:pt x="57" y="178"/>
                    </a:cubicBezTo>
                    <a:cubicBezTo>
                      <a:pt x="31" y="169"/>
                      <a:pt x="1" y="158"/>
                      <a:pt x="1" y="119"/>
                    </a:cubicBezTo>
                    <a:cubicBezTo>
                      <a:pt x="0" y="86"/>
                      <a:pt x="31" y="73"/>
                      <a:pt x="58" y="61"/>
                    </a:cubicBezTo>
                    <a:cubicBezTo>
                      <a:pt x="92" y="46"/>
                      <a:pt x="112" y="36"/>
                      <a:pt x="110" y="9"/>
                    </a:cubicBezTo>
                    <a:cubicBezTo>
                      <a:pt x="109" y="4"/>
                      <a:pt x="113" y="0"/>
                      <a:pt x="117" y="0"/>
                    </a:cubicBezTo>
                    <a:cubicBezTo>
                      <a:pt x="121" y="0"/>
                      <a:pt x="125" y="3"/>
                      <a:pt x="126" y="7"/>
                    </a:cubicBezTo>
                    <a:cubicBezTo>
                      <a:pt x="129" y="48"/>
                      <a:pt x="95" y="63"/>
                      <a:pt x="64" y="75"/>
                    </a:cubicBezTo>
                    <a:cubicBezTo>
                      <a:pt x="34" y="88"/>
                      <a:pt x="16" y="98"/>
                      <a:pt x="17" y="119"/>
                    </a:cubicBezTo>
                    <a:cubicBezTo>
                      <a:pt x="17" y="146"/>
                      <a:pt x="34" y="153"/>
                      <a:pt x="62" y="163"/>
                    </a:cubicBezTo>
                    <a:cubicBezTo>
                      <a:pt x="90" y="174"/>
                      <a:pt x="125" y="186"/>
                      <a:pt x="129" y="236"/>
                    </a:cubicBezTo>
                    <a:cubicBezTo>
                      <a:pt x="129" y="240"/>
                      <a:pt x="126" y="244"/>
                      <a:pt x="121" y="2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454" name="Freeform 90">
                <a:extLst>
                  <a:ext uri="{FF2B5EF4-FFF2-40B4-BE49-F238E27FC236}">
                    <a16:creationId xmlns:a16="http://schemas.microsoft.com/office/drawing/2014/main" id="{0E737B74-DB54-E5E0-42C1-1D1B91FB4987}"/>
                  </a:ext>
                </a:extLst>
              </p:cNvPr>
              <p:cNvSpPr>
                <a:spLocks/>
              </p:cNvSpPr>
              <p:nvPr/>
            </p:nvSpPr>
            <p:spPr bwMode="auto">
              <a:xfrm>
                <a:off x="5455194" y="4535423"/>
                <a:ext cx="105485" cy="17222"/>
              </a:xfrm>
              <a:custGeom>
                <a:avLst/>
                <a:gdLst>
                  <a:gd name="T0" fmla="*/ 68 w 73"/>
                  <a:gd name="T1" fmla="*/ 12 h 12"/>
                  <a:gd name="T2" fmla="*/ 5 w 73"/>
                  <a:gd name="T3" fmla="*/ 12 h 12"/>
                  <a:gd name="T4" fmla="*/ 0 w 73"/>
                  <a:gd name="T5" fmla="*/ 6 h 12"/>
                  <a:gd name="T6" fmla="*/ 5 w 73"/>
                  <a:gd name="T7" fmla="*/ 0 h 12"/>
                  <a:gd name="T8" fmla="*/ 68 w 73"/>
                  <a:gd name="T9" fmla="*/ 0 h 12"/>
                  <a:gd name="T10" fmla="*/ 73 w 73"/>
                  <a:gd name="T11" fmla="*/ 6 h 12"/>
                  <a:gd name="T12" fmla="*/ 68 w 73"/>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3" h="12">
                    <a:moveTo>
                      <a:pt x="68" y="12"/>
                    </a:moveTo>
                    <a:cubicBezTo>
                      <a:pt x="5" y="12"/>
                      <a:pt x="5" y="12"/>
                      <a:pt x="5" y="12"/>
                    </a:cubicBezTo>
                    <a:cubicBezTo>
                      <a:pt x="2" y="12"/>
                      <a:pt x="0" y="9"/>
                      <a:pt x="0" y="6"/>
                    </a:cubicBezTo>
                    <a:cubicBezTo>
                      <a:pt x="0" y="3"/>
                      <a:pt x="2" y="0"/>
                      <a:pt x="5" y="0"/>
                    </a:cubicBezTo>
                    <a:cubicBezTo>
                      <a:pt x="68" y="0"/>
                      <a:pt x="68" y="0"/>
                      <a:pt x="68" y="0"/>
                    </a:cubicBezTo>
                    <a:cubicBezTo>
                      <a:pt x="71" y="0"/>
                      <a:pt x="73" y="3"/>
                      <a:pt x="73" y="6"/>
                    </a:cubicBezTo>
                    <a:cubicBezTo>
                      <a:pt x="73" y="9"/>
                      <a:pt x="71" y="12"/>
                      <a:pt x="6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455" name="Freeform 91">
                <a:extLst>
                  <a:ext uri="{FF2B5EF4-FFF2-40B4-BE49-F238E27FC236}">
                    <a16:creationId xmlns:a16="http://schemas.microsoft.com/office/drawing/2014/main" id="{BD9677E2-646F-F267-C33B-834B949EE563}"/>
                  </a:ext>
                </a:extLst>
              </p:cNvPr>
              <p:cNvSpPr>
                <a:spLocks/>
              </p:cNvSpPr>
              <p:nvPr/>
            </p:nvSpPr>
            <p:spPr bwMode="auto">
              <a:xfrm>
                <a:off x="5455194" y="4819587"/>
                <a:ext cx="105485" cy="11841"/>
              </a:xfrm>
              <a:custGeom>
                <a:avLst/>
                <a:gdLst>
                  <a:gd name="T0" fmla="*/ 68 w 73"/>
                  <a:gd name="T1" fmla="*/ 8 h 8"/>
                  <a:gd name="T2" fmla="*/ 5 w 73"/>
                  <a:gd name="T3" fmla="*/ 8 h 8"/>
                  <a:gd name="T4" fmla="*/ 0 w 73"/>
                  <a:gd name="T5" fmla="*/ 4 h 8"/>
                  <a:gd name="T6" fmla="*/ 5 w 73"/>
                  <a:gd name="T7" fmla="*/ 0 h 8"/>
                  <a:gd name="T8" fmla="*/ 68 w 73"/>
                  <a:gd name="T9" fmla="*/ 0 h 8"/>
                  <a:gd name="T10" fmla="*/ 73 w 73"/>
                  <a:gd name="T11" fmla="*/ 4 h 8"/>
                  <a:gd name="T12" fmla="*/ 68 w 73"/>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73" h="8">
                    <a:moveTo>
                      <a:pt x="68" y="8"/>
                    </a:moveTo>
                    <a:cubicBezTo>
                      <a:pt x="5" y="8"/>
                      <a:pt x="5" y="8"/>
                      <a:pt x="5" y="8"/>
                    </a:cubicBezTo>
                    <a:cubicBezTo>
                      <a:pt x="2" y="8"/>
                      <a:pt x="0" y="7"/>
                      <a:pt x="0" y="4"/>
                    </a:cubicBezTo>
                    <a:cubicBezTo>
                      <a:pt x="0" y="1"/>
                      <a:pt x="2" y="0"/>
                      <a:pt x="5" y="0"/>
                    </a:cubicBezTo>
                    <a:cubicBezTo>
                      <a:pt x="68" y="0"/>
                      <a:pt x="68" y="0"/>
                      <a:pt x="68" y="0"/>
                    </a:cubicBezTo>
                    <a:cubicBezTo>
                      <a:pt x="71" y="0"/>
                      <a:pt x="73" y="1"/>
                      <a:pt x="73" y="4"/>
                    </a:cubicBezTo>
                    <a:cubicBezTo>
                      <a:pt x="73" y="7"/>
                      <a:pt x="71" y="8"/>
                      <a:pt x="68"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456" name="Freeform 92">
                <a:extLst>
                  <a:ext uri="{FF2B5EF4-FFF2-40B4-BE49-F238E27FC236}">
                    <a16:creationId xmlns:a16="http://schemas.microsoft.com/office/drawing/2014/main" id="{0BDA8ADA-ADB5-AA62-DAE9-75216CF49D7E}"/>
                  </a:ext>
                </a:extLst>
              </p:cNvPr>
              <p:cNvSpPr>
                <a:spLocks/>
              </p:cNvSpPr>
              <p:nvPr/>
            </p:nvSpPr>
            <p:spPr bwMode="auto">
              <a:xfrm>
                <a:off x="5455194" y="4651672"/>
                <a:ext cx="105485" cy="17222"/>
              </a:xfrm>
              <a:custGeom>
                <a:avLst/>
                <a:gdLst>
                  <a:gd name="T0" fmla="*/ 68 w 73"/>
                  <a:gd name="T1" fmla="*/ 12 h 12"/>
                  <a:gd name="T2" fmla="*/ 5 w 73"/>
                  <a:gd name="T3" fmla="*/ 12 h 12"/>
                  <a:gd name="T4" fmla="*/ 0 w 73"/>
                  <a:gd name="T5" fmla="*/ 6 h 12"/>
                  <a:gd name="T6" fmla="*/ 5 w 73"/>
                  <a:gd name="T7" fmla="*/ 0 h 12"/>
                  <a:gd name="T8" fmla="*/ 68 w 73"/>
                  <a:gd name="T9" fmla="*/ 0 h 12"/>
                  <a:gd name="T10" fmla="*/ 73 w 73"/>
                  <a:gd name="T11" fmla="*/ 6 h 12"/>
                  <a:gd name="T12" fmla="*/ 68 w 73"/>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3" h="12">
                    <a:moveTo>
                      <a:pt x="68" y="12"/>
                    </a:moveTo>
                    <a:cubicBezTo>
                      <a:pt x="5" y="12"/>
                      <a:pt x="5" y="12"/>
                      <a:pt x="5" y="12"/>
                    </a:cubicBezTo>
                    <a:cubicBezTo>
                      <a:pt x="2" y="12"/>
                      <a:pt x="0" y="9"/>
                      <a:pt x="0" y="6"/>
                    </a:cubicBezTo>
                    <a:cubicBezTo>
                      <a:pt x="0" y="3"/>
                      <a:pt x="2" y="0"/>
                      <a:pt x="5" y="0"/>
                    </a:cubicBezTo>
                    <a:cubicBezTo>
                      <a:pt x="68" y="0"/>
                      <a:pt x="68" y="0"/>
                      <a:pt x="68" y="0"/>
                    </a:cubicBezTo>
                    <a:cubicBezTo>
                      <a:pt x="71" y="0"/>
                      <a:pt x="73" y="3"/>
                      <a:pt x="73" y="6"/>
                    </a:cubicBezTo>
                    <a:cubicBezTo>
                      <a:pt x="73" y="9"/>
                      <a:pt x="71" y="12"/>
                      <a:pt x="6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457" name="Freeform 93">
                <a:extLst>
                  <a:ext uri="{FF2B5EF4-FFF2-40B4-BE49-F238E27FC236}">
                    <a16:creationId xmlns:a16="http://schemas.microsoft.com/office/drawing/2014/main" id="{D5106D98-F87F-4DDC-5E54-2A9FCBC924A0}"/>
                  </a:ext>
                </a:extLst>
              </p:cNvPr>
              <p:cNvSpPr>
                <a:spLocks/>
              </p:cNvSpPr>
              <p:nvPr/>
            </p:nvSpPr>
            <p:spPr bwMode="auto">
              <a:xfrm>
                <a:off x="5455194" y="4692575"/>
                <a:ext cx="105485" cy="17222"/>
              </a:xfrm>
              <a:custGeom>
                <a:avLst/>
                <a:gdLst>
                  <a:gd name="T0" fmla="*/ 68 w 73"/>
                  <a:gd name="T1" fmla="*/ 12 h 12"/>
                  <a:gd name="T2" fmla="*/ 5 w 73"/>
                  <a:gd name="T3" fmla="*/ 12 h 12"/>
                  <a:gd name="T4" fmla="*/ 0 w 73"/>
                  <a:gd name="T5" fmla="*/ 6 h 12"/>
                  <a:gd name="T6" fmla="*/ 5 w 73"/>
                  <a:gd name="T7" fmla="*/ 0 h 12"/>
                  <a:gd name="T8" fmla="*/ 68 w 73"/>
                  <a:gd name="T9" fmla="*/ 0 h 12"/>
                  <a:gd name="T10" fmla="*/ 73 w 73"/>
                  <a:gd name="T11" fmla="*/ 6 h 12"/>
                  <a:gd name="T12" fmla="*/ 68 w 73"/>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3" h="12">
                    <a:moveTo>
                      <a:pt x="68" y="12"/>
                    </a:moveTo>
                    <a:cubicBezTo>
                      <a:pt x="5" y="12"/>
                      <a:pt x="5" y="12"/>
                      <a:pt x="5" y="12"/>
                    </a:cubicBezTo>
                    <a:cubicBezTo>
                      <a:pt x="2" y="12"/>
                      <a:pt x="0" y="9"/>
                      <a:pt x="0" y="6"/>
                    </a:cubicBezTo>
                    <a:cubicBezTo>
                      <a:pt x="0" y="3"/>
                      <a:pt x="2" y="0"/>
                      <a:pt x="5" y="0"/>
                    </a:cubicBezTo>
                    <a:cubicBezTo>
                      <a:pt x="68" y="0"/>
                      <a:pt x="68" y="0"/>
                      <a:pt x="68" y="0"/>
                    </a:cubicBezTo>
                    <a:cubicBezTo>
                      <a:pt x="71" y="0"/>
                      <a:pt x="73" y="3"/>
                      <a:pt x="73" y="6"/>
                    </a:cubicBezTo>
                    <a:cubicBezTo>
                      <a:pt x="73" y="9"/>
                      <a:pt x="71" y="12"/>
                      <a:pt x="6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grpSp>
        <p:grpSp>
          <p:nvGrpSpPr>
            <p:cNvPr id="135" name="Group 72">
              <a:extLst>
                <a:ext uri="{FF2B5EF4-FFF2-40B4-BE49-F238E27FC236}">
                  <a16:creationId xmlns:a16="http://schemas.microsoft.com/office/drawing/2014/main" id="{F08834F7-24EE-2636-CECF-B647124ADF64}"/>
                </a:ext>
              </a:extLst>
            </p:cNvPr>
            <p:cNvGrpSpPr/>
            <p:nvPr/>
          </p:nvGrpSpPr>
          <p:grpSpPr>
            <a:xfrm>
              <a:off x="7238756" y="3123212"/>
              <a:ext cx="451004" cy="622148"/>
              <a:chOff x="7238756" y="3123212"/>
              <a:chExt cx="451004" cy="622148"/>
            </a:xfrm>
            <a:solidFill>
              <a:schemeClr val="bg1"/>
            </a:solidFill>
          </p:grpSpPr>
          <p:sp>
            <p:nvSpPr>
              <p:cNvPr id="449" name="Freeform 94">
                <a:extLst>
                  <a:ext uri="{FF2B5EF4-FFF2-40B4-BE49-F238E27FC236}">
                    <a16:creationId xmlns:a16="http://schemas.microsoft.com/office/drawing/2014/main" id="{5F964001-43D3-4C33-40CC-667CA31851D6}"/>
                  </a:ext>
                </a:extLst>
              </p:cNvPr>
              <p:cNvSpPr>
                <a:spLocks/>
              </p:cNvSpPr>
              <p:nvPr/>
            </p:nvSpPr>
            <p:spPr bwMode="auto">
              <a:xfrm>
                <a:off x="7238756" y="3123212"/>
                <a:ext cx="451004" cy="622148"/>
              </a:xfrm>
              <a:custGeom>
                <a:avLst/>
                <a:gdLst>
                  <a:gd name="T0" fmla="*/ 200 w 310"/>
                  <a:gd name="T1" fmla="*/ 39 h 428"/>
                  <a:gd name="T2" fmla="*/ 205 w 310"/>
                  <a:gd name="T3" fmla="*/ 40 h 428"/>
                  <a:gd name="T4" fmla="*/ 215 w 310"/>
                  <a:gd name="T5" fmla="*/ 23 h 428"/>
                  <a:gd name="T6" fmla="*/ 206 w 310"/>
                  <a:gd name="T7" fmla="*/ 5 h 428"/>
                  <a:gd name="T8" fmla="*/ 196 w 310"/>
                  <a:gd name="T9" fmla="*/ 9 h 428"/>
                  <a:gd name="T10" fmla="*/ 123 w 310"/>
                  <a:gd name="T11" fmla="*/ 0 h 428"/>
                  <a:gd name="T12" fmla="*/ 97 w 310"/>
                  <a:gd name="T13" fmla="*/ 11 h 428"/>
                  <a:gd name="T14" fmla="*/ 104 w 310"/>
                  <a:gd name="T15" fmla="*/ 17 h 428"/>
                  <a:gd name="T16" fmla="*/ 99 w 310"/>
                  <a:gd name="T17" fmla="*/ 35 h 428"/>
                  <a:gd name="T18" fmla="*/ 120 w 310"/>
                  <a:gd name="T19" fmla="*/ 38 h 428"/>
                  <a:gd name="T20" fmla="*/ 120 w 310"/>
                  <a:gd name="T21" fmla="*/ 182 h 428"/>
                  <a:gd name="T22" fmla="*/ 13 w 310"/>
                  <a:gd name="T23" fmla="*/ 347 h 428"/>
                  <a:gd name="T24" fmla="*/ 3 w 310"/>
                  <a:gd name="T25" fmla="*/ 399 h 428"/>
                  <a:gd name="T26" fmla="*/ 89 w 310"/>
                  <a:gd name="T27" fmla="*/ 426 h 428"/>
                  <a:gd name="T28" fmla="*/ 286 w 310"/>
                  <a:gd name="T29" fmla="*/ 414 h 428"/>
                  <a:gd name="T30" fmla="*/ 310 w 310"/>
                  <a:gd name="T31" fmla="*/ 388 h 428"/>
                  <a:gd name="T32" fmla="*/ 199 w 310"/>
                  <a:gd name="T33" fmla="*/ 178 h 428"/>
                  <a:gd name="T34" fmla="*/ 192 w 310"/>
                  <a:gd name="T35" fmla="*/ 182 h 428"/>
                  <a:gd name="T36" fmla="*/ 284 w 310"/>
                  <a:gd name="T37" fmla="*/ 354 h 428"/>
                  <a:gd name="T38" fmla="*/ 293 w 310"/>
                  <a:gd name="T39" fmla="*/ 391 h 428"/>
                  <a:gd name="T40" fmla="*/ 219 w 310"/>
                  <a:gd name="T41" fmla="*/ 410 h 428"/>
                  <a:gd name="T42" fmla="*/ 29 w 310"/>
                  <a:gd name="T43" fmla="*/ 399 h 428"/>
                  <a:gd name="T44" fmla="*/ 16 w 310"/>
                  <a:gd name="T45" fmla="*/ 388 h 428"/>
                  <a:gd name="T46" fmla="*/ 81 w 310"/>
                  <a:gd name="T47" fmla="*/ 260 h 428"/>
                  <a:gd name="T48" fmla="*/ 128 w 310"/>
                  <a:gd name="T49" fmla="*/ 38 h 428"/>
                  <a:gd name="T50" fmla="*/ 121 w 310"/>
                  <a:gd name="T51" fmla="*/ 30 h 428"/>
                  <a:gd name="T52" fmla="*/ 121 w 310"/>
                  <a:gd name="T53" fmla="*/ 30 h 428"/>
                  <a:gd name="T54" fmla="*/ 112 w 310"/>
                  <a:gd name="T55" fmla="*/ 25 h 428"/>
                  <a:gd name="T56" fmla="*/ 112 w 310"/>
                  <a:gd name="T57" fmla="*/ 17 h 428"/>
                  <a:gd name="T58" fmla="*/ 112 w 310"/>
                  <a:gd name="T59" fmla="*/ 18 h 428"/>
                  <a:gd name="T60" fmla="*/ 112 w 310"/>
                  <a:gd name="T61" fmla="*/ 18 h 428"/>
                  <a:gd name="T62" fmla="*/ 112 w 310"/>
                  <a:gd name="T63" fmla="*/ 18 h 428"/>
                  <a:gd name="T64" fmla="*/ 111 w 310"/>
                  <a:gd name="T65" fmla="*/ 18 h 428"/>
                  <a:gd name="T66" fmla="*/ 111 w 310"/>
                  <a:gd name="T67" fmla="*/ 18 h 428"/>
                  <a:gd name="T68" fmla="*/ 117 w 310"/>
                  <a:gd name="T69" fmla="*/ 16 h 428"/>
                  <a:gd name="T70" fmla="*/ 122 w 310"/>
                  <a:gd name="T71" fmla="*/ 16 h 428"/>
                  <a:gd name="T72" fmla="*/ 196 w 310"/>
                  <a:gd name="T73" fmla="*/ 14 h 428"/>
                  <a:gd name="T74" fmla="*/ 196 w 310"/>
                  <a:gd name="T75" fmla="*/ 14 h 428"/>
                  <a:gd name="T76" fmla="*/ 195 w 310"/>
                  <a:gd name="T77" fmla="*/ 17 h 428"/>
                  <a:gd name="T78" fmla="*/ 195 w 310"/>
                  <a:gd name="T79" fmla="*/ 17 h 428"/>
                  <a:gd name="T80" fmla="*/ 199 w 310"/>
                  <a:gd name="T81" fmla="*/ 23 h 428"/>
                  <a:gd name="T82" fmla="*/ 200 w 310"/>
                  <a:gd name="T83" fmla="*/ 25 h 428"/>
                  <a:gd name="T84" fmla="*/ 200 w 310"/>
                  <a:gd name="T85" fmla="*/ 25 h 428"/>
                  <a:gd name="T86" fmla="*/ 207 w 310"/>
                  <a:gd name="T87" fmla="*/ 23 h 428"/>
                  <a:gd name="T88" fmla="*/ 200 w 310"/>
                  <a:gd name="T89" fmla="*/ 22 h 428"/>
                  <a:gd name="T90" fmla="*/ 200 w 310"/>
                  <a:gd name="T91" fmla="*/ 22 h 428"/>
                  <a:gd name="T92" fmla="*/ 200 w 310"/>
                  <a:gd name="T93" fmla="*/ 22 h 428"/>
                  <a:gd name="T94" fmla="*/ 200 w 310"/>
                  <a:gd name="T95" fmla="*/ 22 h 428"/>
                  <a:gd name="T96" fmla="*/ 200 w 310"/>
                  <a:gd name="T97" fmla="*/ 22 h 428"/>
                  <a:gd name="T98" fmla="*/ 192 w 310"/>
                  <a:gd name="T99" fmla="*/ 29 h 428"/>
                  <a:gd name="T100" fmla="*/ 188 w 310"/>
                  <a:gd name="T101" fmla="*/ 32 h 428"/>
                  <a:gd name="T102" fmla="*/ 188 w 310"/>
                  <a:gd name="T103" fmla="*/ 32 h 428"/>
                  <a:gd name="T104" fmla="*/ 188 w 310"/>
                  <a:gd name="T105" fmla="*/ 32 h 428"/>
                  <a:gd name="T106" fmla="*/ 185 w 310"/>
                  <a:gd name="T107" fmla="*/ 187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0" h="428">
                    <a:moveTo>
                      <a:pt x="192" y="182"/>
                    </a:moveTo>
                    <a:cubicBezTo>
                      <a:pt x="200" y="182"/>
                      <a:pt x="200" y="182"/>
                      <a:pt x="200" y="182"/>
                    </a:cubicBezTo>
                    <a:cubicBezTo>
                      <a:pt x="200" y="39"/>
                      <a:pt x="200" y="39"/>
                      <a:pt x="200" y="39"/>
                    </a:cubicBezTo>
                    <a:cubicBezTo>
                      <a:pt x="192" y="39"/>
                      <a:pt x="192" y="39"/>
                      <a:pt x="192" y="39"/>
                    </a:cubicBezTo>
                    <a:cubicBezTo>
                      <a:pt x="196" y="46"/>
                      <a:pt x="196" y="46"/>
                      <a:pt x="196" y="46"/>
                    </a:cubicBezTo>
                    <a:cubicBezTo>
                      <a:pt x="196" y="45"/>
                      <a:pt x="200" y="43"/>
                      <a:pt x="205" y="40"/>
                    </a:cubicBezTo>
                    <a:cubicBezTo>
                      <a:pt x="207" y="38"/>
                      <a:pt x="209" y="36"/>
                      <a:pt x="211" y="34"/>
                    </a:cubicBezTo>
                    <a:cubicBezTo>
                      <a:pt x="212" y="32"/>
                      <a:pt x="213" y="31"/>
                      <a:pt x="214" y="29"/>
                    </a:cubicBezTo>
                    <a:cubicBezTo>
                      <a:pt x="215" y="28"/>
                      <a:pt x="215" y="25"/>
                      <a:pt x="215" y="23"/>
                    </a:cubicBezTo>
                    <a:cubicBezTo>
                      <a:pt x="215" y="22"/>
                      <a:pt x="215" y="22"/>
                      <a:pt x="215" y="21"/>
                    </a:cubicBezTo>
                    <a:cubicBezTo>
                      <a:pt x="215" y="21"/>
                      <a:pt x="214" y="17"/>
                      <a:pt x="211" y="12"/>
                    </a:cubicBezTo>
                    <a:cubicBezTo>
                      <a:pt x="210" y="10"/>
                      <a:pt x="209" y="7"/>
                      <a:pt x="206" y="5"/>
                    </a:cubicBezTo>
                    <a:cubicBezTo>
                      <a:pt x="205" y="4"/>
                      <a:pt x="204" y="3"/>
                      <a:pt x="202" y="2"/>
                    </a:cubicBezTo>
                    <a:cubicBezTo>
                      <a:pt x="200" y="1"/>
                      <a:pt x="198" y="1"/>
                      <a:pt x="196" y="1"/>
                    </a:cubicBezTo>
                    <a:cubicBezTo>
                      <a:pt x="196" y="9"/>
                      <a:pt x="196" y="9"/>
                      <a:pt x="196" y="9"/>
                    </a:cubicBezTo>
                    <a:cubicBezTo>
                      <a:pt x="196" y="1"/>
                      <a:pt x="196" y="1"/>
                      <a:pt x="196" y="1"/>
                    </a:cubicBezTo>
                    <a:cubicBezTo>
                      <a:pt x="123" y="0"/>
                      <a:pt x="123" y="0"/>
                      <a:pt x="123" y="0"/>
                    </a:cubicBezTo>
                    <a:cubicBezTo>
                      <a:pt x="123" y="0"/>
                      <a:pt x="123" y="0"/>
                      <a:pt x="123" y="0"/>
                    </a:cubicBezTo>
                    <a:cubicBezTo>
                      <a:pt x="118" y="0"/>
                      <a:pt x="113" y="0"/>
                      <a:pt x="108" y="2"/>
                    </a:cubicBezTo>
                    <a:cubicBezTo>
                      <a:pt x="105" y="3"/>
                      <a:pt x="103" y="4"/>
                      <a:pt x="100" y="7"/>
                    </a:cubicBezTo>
                    <a:cubicBezTo>
                      <a:pt x="99" y="8"/>
                      <a:pt x="98" y="9"/>
                      <a:pt x="97" y="11"/>
                    </a:cubicBezTo>
                    <a:cubicBezTo>
                      <a:pt x="96" y="13"/>
                      <a:pt x="96" y="15"/>
                      <a:pt x="96" y="17"/>
                    </a:cubicBezTo>
                    <a:cubicBezTo>
                      <a:pt x="96" y="17"/>
                      <a:pt x="96" y="17"/>
                      <a:pt x="96" y="17"/>
                    </a:cubicBezTo>
                    <a:cubicBezTo>
                      <a:pt x="104" y="17"/>
                      <a:pt x="104" y="17"/>
                      <a:pt x="104" y="17"/>
                    </a:cubicBezTo>
                    <a:cubicBezTo>
                      <a:pt x="96" y="15"/>
                      <a:pt x="96" y="15"/>
                      <a:pt x="96" y="15"/>
                    </a:cubicBezTo>
                    <a:cubicBezTo>
                      <a:pt x="96" y="17"/>
                      <a:pt x="95" y="20"/>
                      <a:pt x="95" y="22"/>
                    </a:cubicBezTo>
                    <a:cubicBezTo>
                      <a:pt x="95" y="27"/>
                      <a:pt x="97" y="31"/>
                      <a:pt x="99" y="35"/>
                    </a:cubicBezTo>
                    <a:cubicBezTo>
                      <a:pt x="103" y="40"/>
                      <a:pt x="108" y="43"/>
                      <a:pt x="112" y="44"/>
                    </a:cubicBezTo>
                    <a:cubicBezTo>
                      <a:pt x="116" y="46"/>
                      <a:pt x="118" y="46"/>
                      <a:pt x="119" y="46"/>
                    </a:cubicBezTo>
                    <a:cubicBezTo>
                      <a:pt x="120" y="38"/>
                      <a:pt x="120" y="38"/>
                      <a:pt x="120" y="38"/>
                    </a:cubicBezTo>
                    <a:cubicBezTo>
                      <a:pt x="112" y="38"/>
                      <a:pt x="112" y="38"/>
                      <a:pt x="112" y="38"/>
                    </a:cubicBezTo>
                    <a:cubicBezTo>
                      <a:pt x="112" y="182"/>
                      <a:pt x="112" y="182"/>
                      <a:pt x="112" y="182"/>
                    </a:cubicBezTo>
                    <a:cubicBezTo>
                      <a:pt x="120" y="182"/>
                      <a:pt x="120" y="182"/>
                      <a:pt x="120" y="182"/>
                    </a:cubicBezTo>
                    <a:cubicBezTo>
                      <a:pt x="113" y="178"/>
                      <a:pt x="113" y="178"/>
                      <a:pt x="113" y="178"/>
                    </a:cubicBezTo>
                    <a:cubicBezTo>
                      <a:pt x="93" y="210"/>
                      <a:pt x="65" y="253"/>
                      <a:pt x="42" y="292"/>
                    </a:cubicBezTo>
                    <a:cubicBezTo>
                      <a:pt x="30" y="312"/>
                      <a:pt x="20" y="331"/>
                      <a:pt x="13" y="347"/>
                    </a:cubicBezTo>
                    <a:cubicBezTo>
                      <a:pt x="9" y="355"/>
                      <a:pt x="6" y="363"/>
                      <a:pt x="4" y="370"/>
                    </a:cubicBezTo>
                    <a:cubicBezTo>
                      <a:pt x="2" y="376"/>
                      <a:pt x="0" y="382"/>
                      <a:pt x="0" y="388"/>
                    </a:cubicBezTo>
                    <a:cubicBezTo>
                      <a:pt x="0" y="392"/>
                      <a:pt x="1" y="396"/>
                      <a:pt x="3" y="399"/>
                    </a:cubicBezTo>
                    <a:cubicBezTo>
                      <a:pt x="5" y="403"/>
                      <a:pt x="8" y="406"/>
                      <a:pt x="11" y="408"/>
                    </a:cubicBezTo>
                    <a:cubicBezTo>
                      <a:pt x="18" y="412"/>
                      <a:pt x="26" y="415"/>
                      <a:pt x="36" y="417"/>
                    </a:cubicBezTo>
                    <a:cubicBezTo>
                      <a:pt x="50" y="421"/>
                      <a:pt x="69" y="424"/>
                      <a:pt x="89" y="426"/>
                    </a:cubicBezTo>
                    <a:cubicBezTo>
                      <a:pt x="110" y="427"/>
                      <a:pt x="132" y="428"/>
                      <a:pt x="155" y="428"/>
                    </a:cubicBezTo>
                    <a:cubicBezTo>
                      <a:pt x="189" y="428"/>
                      <a:pt x="224" y="426"/>
                      <a:pt x="251" y="422"/>
                    </a:cubicBezTo>
                    <a:cubicBezTo>
                      <a:pt x="265" y="420"/>
                      <a:pt x="277" y="417"/>
                      <a:pt x="286" y="414"/>
                    </a:cubicBezTo>
                    <a:cubicBezTo>
                      <a:pt x="291" y="412"/>
                      <a:pt x="295" y="410"/>
                      <a:pt x="299" y="408"/>
                    </a:cubicBezTo>
                    <a:cubicBezTo>
                      <a:pt x="302" y="406"/>
                      <a:pt x="305" y="403"/>
                      <a:pt x="307" y="399"/>
                    </a:cubicBezTo>
                    <a:cubicBezTo>
                      <a:pt x="309" y="396"/>
                      <a:pt x="310" y="392"/>
                      <a:pt x="310" y="388"/>
                    </a:cubicBezTo>
                    <a:cubicBezTo>
                      <a:pt x="310" y="383"/>
                      <a:pt x="309" y="377"/>
                      <a:pt x="307" y="370"/>
                    </a:cubicBezTo>
                    <a:cubicBezTo>
                      <a:pt x="303" y="358"/>
                      <a:pt x="297" y="344"/>
                      <a:pt x="289" y="329"/>
                    </a:cubicBezTo>
                    <a:cubicBezTo>
                      <a:pt x="266" y="282"/>
                      <a:pt x="228" y="222"/>
                      <a:pt x="199" y="178"/>
                    </a:cubicBezTo>
                    <a:cubicBezTo>
                      <a:pt x="192" y="182"/>
                      <a:pt x="192" y="182"/>
                      <a:pt x="192" y="182"/>
                    </a:cubicBezTo>
                    <a:cubicBezTo>
                      <a:pt x="200" y="182"/>
                      <a:pt x="200" y="182"/>
                      <a:pt x="200" y="182"/>
                    </a:cubicBezTo>
                    <a:cubicBezTo>
                      <a:pt x="192" y="182"/>
                      <a:pt x="192" y="182"/>
                      <a:pt x="192" y="182"/>
                    </a:cubicBezTo>
                    <a:cubicBezTo>
                      <a:pt x="185" y="187"/>
                      <a:pt x="185" y="187"/>
                      <a:pt x="185" y="187"/>
                    </a:cubicBezTo>
                    <a:cubicBezTo>
                      <a:pt x="207" y="220"/>
                      <a:pt x="235" y="263"/>
                      <a:pt x="257" y="301"/>
                    </a:cubicBezTo>
                    <a:cubicBezTo>
                      <a:pt x="267" y="321"/>
                      <a:pt x="277" y="339"/>
                      <a:pt x="284" y="354"/>
                    </a:cubicBezTo>
                    <a:cubicBezTo>
                      <a:pt x="287" y="362"/>
                      <a:pt x="290" y="369"/>
                      <a:pt x="291" y="375"/>
                    </a:cubicBezTo>
                    <a:cubicBezTo>
                      <a:pt x="293" y="381"/>
                      <a:pt x="294" y="385"/>
                      <a:pt x="294" y="388"/>
                    </a:cubicBezTo>
                    <a:cubicBezTo>
                      <a:pt x="294" y="390"/>
                      <a:pt x="293" y="391"/>
                      <a:pt x="293" y="391"/>
                    </a:cubicBezTo>
                    <a:cubicBezTo>
                      <a:pt x="293" y="392"/>
                      <a:pt x="292" y="393"/>
                      <a:pt x="290" y="394"/>
                    </a:cubicBezTo>
                    <a:cubicBezTo>
                      <a:pt x="286" y="397"/>
                      <a:pt x="279" y="400"/>
                      <a:pt x="270" y="402"/>
                    </a:cubicBezTo>
                    <a:cubicBezTo>
                      <a:pt x="257" y="405"/>
                      <a:pt x="239" y="408"/>
                      <a:pt x="219" y="410"/>
                    </a:cubicBezTo>
                    <a:cubicBezTo>
                      <a:pt x="199" y="411"/>
                      <a:pt x="177" y="412"/>
                      <a:pt x="155" y="412"/>
                    </a:cubicBezTo>
                    <a:cubicBezTo>
                      <a:pt x="121" y="412"/>
                      <a:pt x="88" y="410"/>
                      <a:pt x="62" y="406"/>
                    </a:cubicBezTo>
                    <a:cubicBezTo>
                      <a:pt x="48" y="404"/>
                      <a:pt x="37" y="402"/>
                      <a:pt x="29" y="399"/>
                    </a:cubicBezTo>
                    <a:cubicBezTo>
                      <a:pt x="25" y="397"/>
                      <a:pt x="22" y="396"/>
                      <a:pt x="20" y="394"/>
                    </a:cubicBezTo>
                    <a:cubicBezTo>
                      <a:pt x="18" y="393"/>
                      <a:pt x="17" y="392"/>
                      <a:pt x="17" y="391"/>
                    </a:cubicBezTo>
                    <a:cubicBezTo>
                      <a:pt x="17" y="391"/>
                      <a:pt x="16" y="390"/>
                      <a:pt x="16" y="388"/>
                    </a:cubicBezTo>
                    <a:cubicBezTo>
                      <a:pt x="16" y="385"/>
                      <a:pt x="17" y="380"/>
                      <a:pt x="19" y="374"/>
                    </a:cubicBezTo>
                    <a:cubicBezTo>
                      <a:pt x="22" y="364"/>
                      <a:pt x="28" y="350"/>
                      <a:pt x="36" y="335"/>
                    </a:cubicBezTo>
                    <a:cubicBezTo>
                      <a:pt x="48" y="312"/>
                      <a:pt x="64" y="286"/>
                      <a:pt x="81" y="260"/>
                    </a:cubicBezTo>
                    <a:cubicBezTo>
                      <a:pt x="97" y="233"/>
                      <a:pt x="113" y="208"/>
                      <a:pt x="127" y="186"/>
                    </a:cubicBezTo>
                    <a:cubicBezTo>
                      <a:pt x="128" y="185"/>
                      <a:pt x="128" y="184"/>
                      <a:pt x="128" y="182"/>
                    </a:cubicBezTo>
                    <a:cubicBezTo>
                      <a:pt x="128" y="38"/>
                      <a:pt x="128" y="38"/>
                      <a:pt x="128" y="38"/>
                    </a:cubicBezTo>
                    <a:cubicBezTo>
                      <a:pt x="128" y="34"/>
                      <a:pt x="125" y="31"/>
                      <a:pt x="121" y="30"/>
                    </a:cubicBezTo>
                    <a:cubicBezTo>
                      <a:pt x="121" y="35"/>
                      <a:pt x="121" y="35"/>
                      <a:pt x="121" y="35"/>
                    </a:cubicBezTo>
                    <a:cubicBezTo>
                      <a:pt x="121" y="30"/>
                      <a:pt x="121" y="30"/>
                      <a:pt x="121" y="30"/>
                    </a:cubicBezTo>
                    <a:cubicBezTo>
                      <a:pt x="121" y="30"/>
                      <a:pt x="121" y="30"/>
                      <a:pt x="121" y="30"/>
                    </a:cubicBezTo>
                    <a:cubicBezTo>
                      <a:pt x="121" y="35"/>
                      <a:pt x="121" y="35"/>
                      <a:pt x="121" y="35"/>
                    </a:cubicBezTo>
                    <a:cubicBezTo>
                      <a:pt x="121" y="30"/>
                      <a:pt x="121" y="30"/>
                      <a:pt x="121" y="30"/>
                    </a:cubicBezTo>
                    <a:cubicBezTo>
                      <a:pt x="121" y="30"/>
                      <a:pt x="121" y="30"/>
                      <a:pt x="121" y="30"/>
                    </a:cubicBezTo>
                    <a:cubicBezTo>
                      <a:pt x="120" y="30"/>
                      <a:pt x="117" y="29"/>
                      <a:pt x="115" y="28"/>
                    </a:cubicBezTo>
                    <a:cubicBezTo>
                      <a:pt x="114" y="27"/>
                      <a:pt x="113" y="26"/>
                      <a:pt x="112" y="25"/>
                    </a:cubicBezTo>
                    <a:cubicBezTo>
                      <a:pt x="112" y="24"/>
                      <a:pt x="111" y="23"/>
                      <a:pt x="111" y="22"/>
                    </a:cubicBezTo>
                    <a:cubicBezTo>
                      <a:pt x="111" y="21"/>
                      <a:pt x="112" y="20"/>
                      <a:pt x="112" y="19"/>
                    </a:cubicBezTo>
                    <a:cubicBezTo>
                      <a:pt x="112" y="18"/>
                      <a:pt x="112" y="18"/>
                      <a:pt x="112" y="17"/>
                    </a:cubicBezTo>
                    <a:cubicBezTo>
                      <a:pt x="112" y="17"/>
                      <a:pt x="112" y="17"/>
                      <a:pt x="112" y="17"/>
                    </a:cubicBezTo>
                    <a:cubicBezTo>
                      <a:pt x="110" y="17"/>
                      <a:pt x="110" y="17"/>
                      <a:pt x="110" y="17"/>
                    </a:cubicBezTo>
                    <a:cubicBezTo>
                      <a:pt x="112" y="18"/>
                      <a:pt x="112" y="18"/>
                      <a:pt x="112" y="18"/>
                    </a:cubicBezTo>
                    <a:cubicBezTo>
                      <a:pt x="112" y="17"/>
                      <a:pt x="112" y="17"/>
                      <a:pt x="112" y="17"/>
                    </a:cubicBezTo>
                    <a:cubicBezTo>
                      <a:pt x="110" y="17"/>
                      <a:pt x="110" y="17"/>
                      <a:pt x="110" y="17"/>
                    </a:cubicBezTo>
                    <a:cubicBezTo>
                      <a:pt x="112" y="18"/>
                      <a:pt x="112" y="18"/>
                      <a:pt x="112" y="18"/>
                    </a:cubicBezTo>
                    <a:cubicBezTo>
                      <a:pt x="110" y="17"/>
                      <a:pt x="110" y="17"/>
                      <a:pt x="110" y="17"/>
                    </a:cubicBezTo>
                    <a:cubicBezTo>
                      <a:pt x="112" y="18"/>
                      <a:pt x="112" y="18"/>
                      <a:pt x="112" y="18"/>
                    </a:cubicBezTo>
                    <a:cubicBezTo>
                      <a:pt x="112" y="18"/>
                      <a:pt x="112" y="18"/>
                      <a:pt x="112" y="18"/>
                    </a:cubicBezTo>
                    <a:cubicBezTo>
                      <a:pt x="110" y="17"/>
                      <a:pt x="110" y="17"/>
                      <a:pt x="110" y="17"/>
                    </a:cubicBezTo>
                    <a:cubicBezTo>
                      <a:pt x="112" y="18"/>
                      <a:pt x="112" y="18"/>
                      <a:pt x="112" y="18"/>
                    </a:cubicBezTo>
                    <a:cubicBezTo>
                      <a:pt x="111" y="18"/>
                      <a:pt x="111" y="18"/>
                      <a:pt x="111" y="18"/>
                    </a:cubicBezTo>
                    <a:cubicBezTo>
                      <a:pt x="112" y="18"/>
                      <a:pt x="112" y="18"/>
                      <a:pt x="112" y="18"/>
                    </a:cubicBezTo>
                    <a:cubicBezTo>
                      <a:pt x="112" y="18"/>
                      <a:pt x="112" y="18"/>
                      <a:pt x="112" y="18"/>
                    </a:cubicBezTo>
                    <a:cubicBezTo>
                      <a:pt x="111" y="18"/>
                      <a:pt x="111" y="18"/>
                      <a:pt x="111" y="18"/>
                    </a:cubicBezTo>
                    <a:cubicBezTo>
                      <a:pt x="112" y="18"/>
                      <a:pt x="112" y="18"/>
                      <a:pt x="112" y="18"/>
                    </a:cubicBezTo>
                    <a:cubicBezTo>
                      <a:pt x="112" y="18"/>
                      <a:pt x="112" y="18"/>
                      <a:pt x="113" y="17"/>
                    </a:cubicBezTo>
                    <a:cubicBezTo>
                      <a:pt x="114" y="17"/>
                      <a:pt x="115" y="16"/>
                      <a:pt x="117" y="16"/>
                    </a:cubicBezTo>
                    <a:cubicBezTo>
                      <a:pt x="119" y="16"/>
                      <a:pt x="121" y="16"/>
                      <a:pt x="123" y="16"/>
                    </a:cubicBezTo>
                    <a:cubicBezTo>
                      <a:pt x="123" y="8"/>
                      <a:pt x="123" y="8"/>
                      <a:pt x="123" y="8"/>
                    </a:cubicBezTo>
                    <a:cubicBezTo>
                      <a:pt x="122" y="16"/>
                      <a:pt x="122" y="16"/>
                      <a:pt x="122" y="16"/>
                    </a:cubicBezTo>
                    <a:cubicBezTo>
                      <a:pt x="196" y="17"/>
                      <a:pt x="196" y="17"/>
                      <a:pt x="196" y="17"/>
                    </a:cubicBezTo>
                    <a:cubicBezTo>
                      <a:pt x="196" y="17"/>
                      <a:pt x="196" y="17"/>
                      <a:pt x="196" y="17"/>
                    </a:cubicBezTo>
                    <a:cubicBezTo>
                      <a:pt x="196" y="14"/>
                      <a:pt x="196" y="14"/>
                      <a:pt x="196" y="14"/>
                    </a:cubicBezTo>
                    <a:cubicBezTo>
                      <a:pt x="195" y="17"/>
                      <a:pt x="195" y="17"/>
                      <a:pt x="195" y="17"/>
                    </a:cubicBezTo>
                    <a:cubicBezTo>
                      <a:pt x="195" y="17"/>
                      <a:pt x="196" y="17"/>
                      <a:pt x="196" y="17"/>
                    </a:cubicBezTo>
                    <a:cubicBezTo>
                      <a:pt x="196" y="14"/>
                      <a:pt x="196" y="14"/>
                      <a:pt x="196" y="14"/>
                    </a:cubicBezTo>
                    <a:cubicBezTo>
                      <a:pt x="195" y="17"/>
                      <a:pt x="195" y="17"/>
                      <a:pt x="195" y="17"/>
                    </a:cubicBezTo>
                    <a:cubicBezTo>
                      <a:pt x="195" y="16"/>
                      <a:pt x="195" y="16"/>
                      <a:pt x="195" y="16"/>
                    </a:cubicBezTo>
                    <a:cubicBezTo>
                      <a:pt x="195" y="17"/>
                      <a:pt x="195" y="17"/>
                      <a:pt x="195" y="17"/>
                    </a:cubicBezTo>
                    <a:cubicBezTo>
                      <a:pt x="195" y="17"/>
                      <a:pt x="195" y="17"/>
                      <a:pt x="195" y="17"/>
                    </a:cubicBezTo>
                    <a:cubicBezTo>
                      <a:pt x="195" y="16"/>
                      <a:pt x="195" y="16"/>
                      <a:pt x="195" y="16"/>
                    </a:cubicBezTo>
                    <a:cubicBezTo>
                      <a:pt x="195" y="17"/>
                      <a:pt x="195" y="17"/>
                      <a:pt x="195" y="17"/>
                    </a:cubicBezTo>
                    <a:cubicBezTo>
                      <a:pt x="195" y="17"/>
                      <a:pt x="195" y="17"/>
                      <a:pt x="195" y="17"/>
                    </a:cubicBezTo>
                    <a:cubicBezTo>
                      <a:pt x="195" y="17"/>
                      <a:pt x="196" y="17"/>
                      <a:pt x="197" y="18"/>
                    </a:cubicBezTo>
                    <a:cubicBezTo>
                      <a:pt x="197" y="20"/>
                      <a:pt x="198" y="22"/>
                      <a:pt x="199" y="23"/>
                    </a:cubicBezTo>
                    <a:cubicBezTo>
                      <a:pt x="199" y="24"/>
                      <a:pt x="199" y="24"/>
                      <a:pt x="200" y="25"/>
                    </a:cubicBezTo>
                    <a:cubicBezTo>
                      <a:pt x="200" y="25"/>
                      <a:pt x="200" y="25"/>
                      <a:pt x="200" y="25"/>
                    </a:cubicBezTo>
                    <a:cubicBezTo>
                      <a:pt x="200" y="25"/>
                      <a:pt x="200" y="25"/>
                      <a:pt x="200" y="25"/>
                    </a:cubicBezTo>
                    <a:cubicBezTo>
                      <a:pt x="201" y="25"/>
                      <a:pt x="201" y="25"/>
                      <a:pt x="201" y="25"/>
                    </a:cubicBezTo>
                    <a:cubicBezTo>
                      <a:pt x="200" y="25"/>
                      <a:pt x="200" y="25"/>
                      <a:pt x="200" y="25"/>
                    </a:cubicBezTo>
                    <a:cubicBezTo>
                      <a:pt x="200" y="25"/>
                      <a:pt x="200" y="25"/>
                      <a:pt x="200" y="25"/>
                    </a:cubicBezTo>
                    <a:cubicBezTo>
                      <a:pt x="201" y="25"/>
                      <a:pt x="201" y="25"/>
                      <a:pt x="201" y="25"/>
                    </a:cubicBezTo>
                    <a:cubicBezTo>
                      <a:pt x="200" y="25"/>
                      <a:pt x="200" y="25"/>
                      <a:pt x="200" y="25"/>
                    </a:cubicBezTo>
                    <a:cubicBezTo>
                      <a:pt x="207" y="23"/>
                      <a:pt x="207" y="23"/>
                      <a:pt x="207" y="23"/>
                    </a:cubicBezTo>
                    <a:cubicBezTo>
                      <a:pt x="199" y="23"/>
                      <a:pt x="199" y="23"/>
                      <a:pt x="199" y="23"/>
                    </a:cubicBezTo>
                    <a:cubicBezTo>
                      <a:pt x="202" y="23"/>
                      <a:pt x="202" y="23"/>
                      <a:pt x="202" y="23"/>
                    </a:cubicBezTo>
                    <a:cubicBezTo>
                      <a:pt x="200" y="22"/>
                      <a:pt x="200" y="22"/>
                      <a:pt x="200" y="22"/>
                    </a:cubicBezTo>
                    <a:cubicBezTo>
                      <a:pt x="199" y="23"/>
                      <a:pt x="199" y="23"/>
                      <a:pt x="199" y="23"/>
                    </a:cubicBezTo>
                    <a:cubicBezTo>
                      <a:pt x="202" y="23"/>
                      <a:pt x="202" y="23"/>
                      <a:pt x="202" y="23"/>
                    </a:cubicBezTo>
                    <a:cubicBezTo>
                      <a:pt x="200" y="22"/>
                      <a:pt x="200" y="22"/>
                      <a:pt x="200" y="22"/>
                    </a:cubicBezTo>
                    <a:cubicBezTo>
                      <a:pt x="201" y="23"/>
                      <a:pt x="201" y="23"/>
                      <a:pt x="201" y="23"/>
                    </a:cubicBezTo>
                    <a:cubicBezTo>
                      <a:pt x="200" y="22"/>
                      <a:pt x="200" y="22"/>
                      <a:pt x="200" y="22"/>
                    </a:cubicBezTo>
                    <a:cubicBezTo>
                      <a:pt x="200" y="22"/>
                      <a:pt x="200" y="22"/>
                      <a:pt x="200" y="22"/>
                    </a:cubicBezTo>
                    <a:cubicBezTo>
                      <a:pt x="201" y="23"/>
                      <a:pt x="201" y="23"/>
                      <a:pt x="201" y="23"/>
                    </a:cubicBezTo>
                    <a:cubicBezTo>
                      <a:pt x="200" y="22"/>
                      <a:pt x="200" y="22"/>
                      <a:pt x="200" y="22"/>
                    </a:cubicBezTo>
                    <a:cubicBezTo>
                      <a:pt x="200" y="22"/>
                      <a:pt x="200" y="22"/>
                      <a:pt x="200" y="22"/>
                    </a:cubicBezTo>
                    <a:cubicBezTo>
                      <a:pt x="200" y="22"/>
                      <a:pt x="200" y="22"/>
                      <a:pt x="200" y="22"/>
                    </a:cubicBezTo>
                    <a:cubicBezTo>
                      <a:pt x="200" y="22"/>
                      <a:pt x="200" y="22"/>
                      <a:pt x="200" y="22"/>
                    </a:cubicBezTo>
                    <a:cubicBezTo>
                      <a:pt x="200" y="22"/>
                      <a:pt x="200" y="22"/>
                      <a:pt x="200" y="22"/>
                    </a:cubicBezTo>
                    <a:cubicBezTo>
                      <a:pt x="200" y="22"/>
                      <a:pt x="200" y="22"/>
                      <a:pt x="200" y="22"/>
                    </a:cubicBezTo>
                    <a:cubicBezTo>
                      <a:pt x="200" y="22"/>
                      <a:pt x="199" y="23"/>
                      <a:pt x="198" y="25"/>
                    </a:cubicBezTo>
                    <a:cubicBezTo>
                      <a:pt x="196" y="26"/>
                      <a:pt x="194" y="28"/>
                      <a:pt x="192" y="29"/>
                    </a:cubicBezTo>
                    <a:cubicBezTo>
                      <a:pt x="191" y="30"/>
                      <a:pt x="190" y="31"/>
                      <a:pt x="189" y="31"/>
                    </a:cubicBezTo>
                    <a:cubicBezTo>
                      <a:pt x="188" y="31"/>
                      <a:pt x="188" y="31"/>
                      <a:pt x="188" y="31"/>
                    </a:cubicBezTo>
                    <a:cubicBezTo>
                      <a:pt x="188" y="32"/>
                      <a:pt x="188" y="32"/>
                      <a:pt x="188" y="32"/>
                    </a:cubicBezTo>
                    <a:cubicBezTo>
                      <a:pt x="188" y="32"/>
                      <a:pt x="188" y="32"/>
                      <a:pt x="188" y="32"/>
                    </a:cubicBezTo>
                    <a:cubicBezTo>
                      <a:pt x="189" y="33"/>
                      <a:pt x="189" y="33"/>
                      <a:pt x="189" y="33"/>
                    </a:cubicBezTo>
                    <a:cubicBezTo>
                      <a:pt x="188" y="32"/>
                      <a:pt x="188" y="32"/>
                      <a:pt x="188" y="32"/>
                    </a:cubicBezTo>
                    <a:cubicBezTo>
                      <a:pt x="188" y="32"/>
                      <a:pt x="188" y="32"/>
                      <a:pt x="188" y="32"/>
                    </a:cubicBezTo>
                    <a:cubicBezTo>
                      <a:pt x="189" y="33"/>
                      <a:pt x="189" y="33"/>
                      <a:pt x="189" y="33"/>
                    </a:cubicBezTo>
                    <a:cubicBezTo>
                      <a:pt x="188" y="32"/>
                      <a:pt x="188" y="32"/>
                      <a:pt x="188" y="32"/>
                    </a:cubicBezTo>
                    <a:cubicBezTo>
                      <a:pt x="186" y="33"/>
                      <a:pt x="184" y="36"/>
                      <a:pt x="184" y="39"/>
                    </a:cubicBezTo>
                    <a:cubicBezTo>
                      <a:pt x="184" y="182"/>
                      <a:pt x="184" y="182"/>
                      <a:pt x="184" y="182"/>
                    </a:cubicBezTo>
                    <a:cubicBezTo>
                      <a:pt x="184" y="184"/>
                      <a:pt x="184" y="185"/>
                      <a:pt x="185" y="187"/>
                    </a:cubicBezTo>
                    <a:lnTo>
                      <a:pt x="192" y="1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450" name="Oval 95">
                <a:extLst>
                  <a:ext uri="{FF2B5EF4-FFF2-40B4-BE49-F238E27FC236}">
                    <a16:creationId xmlns:a16="http://schemas.microsoft.com/office/drawing/2014/main" id="{2C5A65EB-62DD-6D91-3FBA-DC76F0E925E5}"/>
                  </a:ext>
                </a:extLst>
              </p:cNvPr>
              <p:cNvSpPr>
                <a:spLocks noChangeArrowheads="1"/>
              </p:cNvSpPr>
              <p:nvPr/>
            </p:nvSpPr>
            <p:spPr bwMode="auto">
              <a:xfrm>
                <a:off x="7447574" y="3401995"/>
                <a:ext cx="61354" cy="61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451" name="Freeform 96">
                <a:extLst>
                  <a:ext uri="{FF2B5EF4-FFF2-40B4-BE49-F238E27FC236}">
                    <a16:creationId xmlns:a16="http://schemas.microsoft.com/office/drawing/2014/main" id="{D9307DB2-FE96-F40B-BE90-C7198BA996B9}"/>
                  </a:ext>
                </a:extLst>
              </p:cNvPr>
              <p:cNvSpPr>
                <a:spLocks noEditPoints="1"/>
              </p:cNvSpPr>
              <p:nvPr/>
            </p:nvSpPr>
            <p:spPr bwMode="auto">
              <a:xfrm>
                <a:off x="7302262" y="3491334"/>
                <a:ext cx="319685" cy="208818"/>
              </a:xfrm>
              <a:custGeom>
                <a:avLst/>
                <a:gdLst>
                  <a:gd name="T0" fmla="*/ 161 w 220"/>
                  <a:gd name="T1" fmla="*/ 0 h 144"/>
                  <a:gd name="T2" fmla="*/ 65 w 220"/>
                  <a:gd name="T3" fmla="*/ 3 h 144"/>
                  <a:gd name="T4" fmla="*/ 0 w 220"/>
                  <a:gd name="T5" fmla="*/ 118 h 144"/>
                  <a:gd name="T6" fmla="*/ 220 w 220"/>
                  <a:gd name="T7" fmla="*/ 119 h 144"/>
                  <a:gd name="T8" fmla="*/ 161 w 220"/>
                  <a:gd name="T9" fmla="*/ 0 h 144"/>
                  <a:gd name="T10" fmla="*/ 87 w 220"/>
                  <a:gd name="T11" fmla="*/ 87 h 144"/>
                  <a:gd name="T12" fmla="*/ 62 w 220"/>
                  <a:gd name="T13" fmla="*/ 63 h 144"/>
                  <a:gd name="T14" fmla="*/ 87 w 220"/>
                  <a:gd name="T15" fmla="*/ 39 h 144"/>
                  <a:gd name="T16" fmla="*/ 111 w 220"/>
                  <a:gd name="T17" fmla="*/ 63 h 144"/>
                  <a:gd name="T18" fmla="*/ 87 w 220"/>
                  <a:gd name="T19" fmla="*/ 87 h 144"/>
                  <a:gd name="T20" fmla="*/ 147 w 220"/>
                  <a:gd name="T21" fmla="*/ 103 h 144"/>
                  <a:gd name="T22" fmla="*/ 132 w 220"/>
                  <a:gd name="T23" fmla="*/ 88 h 144"/>
                  <a:gd name="T24" fmla="*/ 147 w 220"/>
                  <a:gd name="T25" fmla="*/ 74 h 144"/>
                  <a:gd name="T26" fmla="*/ 161 w 220"/>
                  <a:gd name="T27" fmla="*/ 88 h 144"/>
                  <a:gd name="T28" fmla="*/ 147 w 220"/>
                  <a:gd name="T29" fmla="*/ 103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0" h="144">
                    <a:moveTo>
                      <a:pt x="161" y="0"/>
                    </a:moveTo>
                    <a:cubicBezTo>
                      <a:pt x="65" y="3"/>
                      <a:pt x="65" y="3"/>
                      <a:pt x="65" y="3"/>
                    </a:cubicBezTo>
                    <a:cubicBezTo>
                      <a:pt x="0" y="118"/>
                      <a:pt x="0" y="118"/>
                      <a:pt x="0" y="118"/>
                    </a:cubicBezTo>
                    <a:cubicBezTo>
                      <a:pt x="39" y="134"/>
                      <a:pt x="147" y="144"/>
                      <a:pt x="220" y="119"/>
                    </a:cubicBezTo>
                    <a:lnTo>
                      <a:pt x="161" y="0"/>
                    </a:lnTo>
                    <a:close/>
                    <a:moveTo>
                      <a:pt x="87" y="87"/>
                    </a:moveTo>
                    <a:cubicBezTo>
                      <a:pt x="73" y="87"/>
                      <a:pt x="62" y="76"/>
                      <a:pt x="62" y="63"/>
                    </a:cubicBezTo>
                    <a:cubicBezTo>
                      <a:pt x="62" y="49"/>
                      <a:pt x="73" y="39"/>
                      <a:pt x="87" y="39"/>
                    </a:cubicBezTo>
                    <a:cubicBezTo>
                      <a:pt x="100" y="39"/>
                      <a:pt x="111" y="49"/>
                      <a:pt x="111" y="63"/>
                    </a:cubicBezTo>
                    <a:cubicBezTo>
                      <a:pt x="111" y="76"/>
                      <a:pt x="100" y="87"/>
                      <a:pt x="87" y="87"/>
                    </a:cubicBezTo>
                    <a:close/>
                    <a:moveTo>
                      <a:pt x="147" y="103"/>
                    </a:moveTo>
                    <a:cubicBezTo>
                      <a:pt x="139" y="103"/>
                      <a:pt x="132" y="96"/>
                      <a:pt x="132" y="88"/>
                    </a:cubicBezTo>
                    <a:cubicBezTo>
                      <a:pt x="132" y="81"/>
                      <a:pt x="139" y="74"/>
                      <a:pt x="147" y="74"/>
                    </a:cubicBezTo>
                    <a:cubicBezTo>
                      <a:pt x="155" y="74"/>
                      <a:pt x="161" y="81"/>
                      <a:pt x="161" y="88"/>
                    </a:cubicBezTo>
                    <a:cubicBezTo>
                      <a:pt x="161" y="96"/>
                      <a:pt x="155" y="103"/>
                      <a:pt x="147"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grpSp>
        <p:grpSp>
          <p:nvGrpSpPr>
            <p:cNvPr id="136" name="Group 73">
              <a:extLst>
                <a:ext uri="{FF2B5EF4-FFF2-40B4-BE49-F238E27FC236}">
                  <a16:creationId xmlns:a16="http://schemas.microsoft.com/office/drawing/2014/main" id="{471B4FE9-EE74-AD49-CCC5-33AB74B5E779}"/>
                </a:ext>
              </a:extLst>
            </p:cNvPr>
            <p:cNvGrpSpPr/>
            <p:nvPr/>
          </p:nvGrpSpPr>
          <p:grpSpPr>
            <a:xfrm>
              <a:off x="7036397" y="4652749"/>
              <a:ext cx="498363" cy="198054"/>
              <a:chOff x="7036397" y="4652749"/>
              <a:chExt cx="498363" cy="198054"/>
            </a:xfrm>
            <a:solidFill>
              <a:schemeClr val="bg1"/>
            </a:solidFill>
          </p:grpSpPr>
          <p:sp>
            <p:nvSpPr>
              <p:cNvPr id="446" name="Freeform 97">
                <a:extLst>
                  <a:ext uri="{FF2B5EF4-FFF2-40B4-BE49-F238E27FC236}">
                    <a16:creationId xmlns:a16="http://schemas.microsoft.com/office/drawing/2014/main" id="{1DFA751F-9F9F-9E37-4B22-50FF7F77741E}"/>
                  </a:ext>
                </a:extLst>
              </p:cNvPr>
              <p:cNvSpPr>
                <a:spLocks/>
              </p:cNvSpPr>
              <p:nvPr/>
            </p:nvSpPr>
            <p:spPr bwMode="auto">
              <a:xfrm>
                <a:off x="7036397" y="4652749"/>
                <a:ext cx="141006" cy="198054"/>
              </a:xfrm>
              <a:custGeom>
                <a:avLst/>
                <a:gdLst>
                  <a:gd name="T0" fmla="*/ 3 w 97"/>
                  <a:gd name="T1" fmla="*/ 54 h 136"/>
                  <a:gd name="T2" fmla="*/ 51 w 97"/>
                  <a:gd name="T3" fmla="*/ 0 h 136"/>
                  <a:gd name="T4" fmla="*/ 97 w 97"/>
                  <a:gd name="T5" fmla="*/ 42 h 136"/>
                  <a:gd name="T6" fmla="*/ 73 w 97"/>
                  <a:gd name="T7" fmla="*/ 82 h 136"/>
                  <a:gd name="T8" fmla="*/ 34 w 97"/>
                  <a:gd name="T9" fmla="*/ 113 h 136"/>
                  <a:gd name="T10" fmla="*/ 97 w 97"/>
                  <a:gd name="T11" fmla="*/ 113 h 136"/>
                  <a:gd name="T12" fmla="*/ 97 w 97"/>
                  <a:gd name="T13" fmla="*/ 136 h 136"/>
                  <a:gd name="T14" fmla="*/ 0 w 97"/>
                  <a:gd name="T15" fmla="*/ 136 h 136"/>
                  <a:gd name="T16" fmla="*/ 42 w 97"/>
                  <a:gd name="T17" fmla="*/ 76 h 136"/>
                  <a:gd name="T18" fmla="*/ 70 w 97"/>
                  <a:gd name="T19" fmla="*/ 43 h 136"/>
                  <a:gd name="T20" fmla="*/ 51 w 97"/>
                  <a:gd name="T21" fmla="*/ 23 h 136"/>
                  <a:gd name="T22" fmla="*/ 28 w 97"/>
                  <a:gd name="T23" fmla="*/ 54 h 136"/>
                  <a:gd name="T24" fmla="*/ 3 w 97"/>
                  <a:gd name="T25" fmla="*/ 5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 h="136">
                    <a:moveTo>
                      <a:pt x="3" y="54"/>
                    </a:moveTo>
                    <a:cubicBezTo>
                      <a:pt x="2" y="23"/>
                      <a:pt x="19" y="0"/>
                      <a:pt x="51" y="0"/>
                    </a:cubicBezTo>
                    <a:cubicBezTo>
                      <a:pt x="75" y="0"/>
                      <a:pt x="97" y="16"/>
                      <a:pt x="97" y="42"/>
                    </a:cubicBezTo>
                    <a:cubicBezTo>
                      <a:pt x="97" y="62"/>
                      <a:pt x="86" y="73"/>
                      <a:pt x="73" y="82"/>
                    </a:cubicBezTo>
                    <a:cubicBezTo>
                      <a:pt x="60" y="91"/>
                      <a:pt x="44" y="99"/>
                      <a:pt x="34" y="113"/>
                    </a:cubicBezTo>
                    <a:cubicBezTo>
                      <a:pt x="97" y="113"/>
                      <a:pt x="97" y="113"/>
                      <a:pt x="97" y="113"/>
                    </a:cubicBezTo>
                    <a:cubicBezTo>
                      <a:pt x="97" y="136"/>
                      <a:pt x="97" y="136"/>
                      <a:pt x="97" y="136"/>
                    </a:cubicBezTo>
                    <a:cubicBezTo>
                      <a:pt x="0" y="136"/>
                      <a:pt x="0" y="136"/>
                      <a:pt x="0" y="136"/>
                    </a:cubicBezTo>
                    <a:cubicBezTo>
                      <a:pt x="0" y="105"/>
                      <a:pt x="19" y="92"/>
                      <a:pt x="42" y="76"/>
                    </a:cubicBezTo>
                    <a:cubicBezTo>
                      <a:pt x="60" y="64"/>
                      <a:pt x="70" y="57"/>
                      <a:pt x="70" y="43"/>
                    </a:cubicBezTo>
                    <a:cubicBezTo>
                      <a:pt x="70" y="32"/>
                      <a:pt x="61" y="23"/>
                      <a:pt x="51" y="23"/>
                    </a:cubicBezTo>
                    <a:cubicBezTo>
                      <a:pt x="33" y="23"/>
                      <a:pt x="28" y="40"/>
                      <a:pt x="28" y="54"/>
                    </a:cubicBezTo>
                    <a:lnTo>
                      <a:pt x="3"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447" name="Freeform 98">
                <a:extLst>
                  <a:ext uri="{FF2B5EF4-FFF2-40B4-BE49-F238E27FC236}">
                    <a16:creationId xmlns:a16="http://schemas.microsoft.com/office/drawing/2014/main" id="{8C78023F-EF4B-53AB-E8B7-9A9322AC363D}"/>
                  </a:ext>
                </a:extLst>
              </p:cNvPr>
              <p:cNvSpPr>
                <a:spLocks/>
              </p:cNvSpPr>
              <p:nvPr/>
            </p:nvSpPr>
            <p:spPr bwMode="auto">
              <a:xfrm>
                <a:off x="7216152" y="4694727"/>
                <a:ext cx="146388" cy="144235"/>
              </a:xfrm>
              <a:custGeom>
                <a:avLst/>
                <a:gdLst>
                  <a:gd name="T0" fmla="*/ 0 w 136"/>
                  <a:gd name="T1" fmla="*/ 58 h 134"/>
                  <a:gd name="T2" fmla="*/ 60 w 136"/>
                  <a:gd name="T3" fmla="*/ 58 h 134"/>
                  <a:gd name="T4" fmla="*/ 60 w 136"/>
                  <a:gd name="T5" fmla="*/ 0 h 134"/>
                  <a:gd name="T6" fmla="*/ 76 w 136"/>
                  <a:gd name="T7" fmla="*/ 0 h 134"/>
                  <a:gd name="T8" fmla="*/ 76 w 136"/>
                  <a:gd name="T9" fmla="*/ 58 h 134"/>
                  <a:gd name="T10" fmla="*/ 136 w 136"/>
                  <a:gd name="T11" fmla="*/ 58 h 134"/>
                  <a:gd name="T12" fmla="*/ 136 w 136"/>
                  <a:gd name="T13" fmla="*/ 75 h 134"/>
                  <a:gd name="T14" fmla="*/ 76 w 136"/>
                  <a:gd name="T15" fmla="*/ 75 h 134"/>
                  <a:gd name="T16" fmla="*/ 76 w 136"/>
                  <a:gd name="T17" fmla="*/ 134 h 134"/>
                  <a:gd name="T18" fmla="*/ 60 w 136"/>
                  <a:gd name="T19" fmla="*/ 134 h 134"/>
                  <a:gd name="T20" fmla="*/ 60 w 136"/>
                  <a:gd name="T21" fmla="*/ 75 h 134"/>
                  <a:gd name="T22" fmla="*/ 0 w 136"/>
                  <a:gd name="T23" fmla="*/ 75 h 134"/>
                  <a:gd name="T24" fmla="*/ 0 w 136"/>
                  <a:gd name="T25" fmla="*/ 58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6" h="134">
                    <a:moveTo>
                      <a:pt x="0" y="58"/>
                    </a:moveTo>
                    <a:lnTo>
                      <a:pt x="60" y="58"/>
                    </a:lnTo>
                    <a:lnTo>
                      <a:pt x="60" y="0"/>
                    </a:lnTo>
                    <a:lnTo>
                      <a:pt x="76" y="0"/>
                    </a:lnTo>
                    <a:lnTo>
                      <a:pt x="76" y="58"/>
                    </a:lnTo>
                    <a:lnTo>
                      <a:pt x="136" y="58"/>
                    </a:lnTo>
                    <a:lnTo>
                      <a:pt x="136" y="75"/>
                    </a:lnTo>
                    <a:lnTo>
                      <a:pt x="76" y="75"/>
                    </a:lnTo>
                    <a:lnTo>
                      <a:pt x="76" y="134"/>
                    </a:lnTo>
                    <a:lnTo>
                      <a:pt x="60" y="134"/>
                    </a:lnTo>
                    <a:lnTo>
                      <a:pt x="60" y="75"/>
                    </a:lnTo>
                    <a:lnTo>
                      <a:pt x="0" y="75"/>
                    </a:lnTo>
                    <a:lnTo>
                      <a:pt x="0"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448" name="Freeform 99">
                <a:extLst>
                  <a:ext uri="{FF2B5EF4-FFF2-40B4-BE49-F238E27FC236}">
                    <a16:creationId xmlns:a16="http://schemas.microsoft.com/office/drawing/2014/main" id="{9AC4C3EC-580F-29B9-6AA7-0B13CE07611E}"/>
                  </a:ext>
                </a:extLst>
              </p:cNvPr>
              <p:cNvSpPr>
                <a:spLocks/>
              </p:cNvSpPr>
              <p:nvPr/>
            </p:nvSpPr>
            <p:spPr bwMode="auto">
              <a:xfrm>
                <a:off x="7392678" y="4652749"/>
                <a:ext cx="142082" cy="198054"/>
              </a:xfrm>
              <a:custGeom>
                <a:avLst/>
                <a:gdLst>
                  <a:gd name="T0" fmla="*/ 3 w 98"/>
                  <a:gd name="T1" fmla="*/ 54 h 136"/>
                  <a:gd name="T2" fmla="*/ 51 w 98"/>
                  <a:gd name="T3" fmla="*/ 0 h 136"/>
                  <a:gd name="T4" fmla="*/ 97 w 98"/>
                  <a:gd name="T5" fmla="*/ 42 h 136"/>
                  <a:gd name="T6" fmla="*/ 73 w 98"/>
                  <a:gd name="T7" fmla="*/ 82 h 136"/>
                  <a:gd name="T8" fmla="*/ 35 w 98"/>
                  <a:gd name="T9" fmla="*/ 113 h 136"/>
                  <a:gd name="T10" fmla="*/ 98 w 98"/>
                  <a:gd name="T11" fmla="*/ 113 h 136"/>
                  <a:gd name="T12" fmla="*/ 98 w 98"/>
                  <a:gd name="T13" fmla="*/ 136 h 136"/>
                  <a:gd name="T14" fmla="*/ 0 w 98"/>
                  <a:gd name="T15" fmla="*/ 136 h 136"/>
                  <a:gd name="T16" fmla="*/ 42 w 98"/>
                  <a:gd name="T17" fmla="*/ 76 h 136"/>
                  <a:gd name="T18" fmla="*/ 70 w 98"/>
                  <a:gd name="T19" fmla="*/ 43 h 136"/>
                  <a:gd name="T20" fmla="*/ 51 w 98"/>
                  <a:gd name="T21" fmla="*/ 23 h 136"/>
                  <a:gd name="T22" fmla="*/ 29 w 98"/>
                  <a:gd name="T23" fmla="*/ 54 h 136"/>
                  <a:gd name="T24" fmla="*/ 3 w 98"/>
                  <a:gd name="T25" fmla="*/ 5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8" h="136">
                    <a:moveTo>
                      <a:pt x="3" y="54"/>
                    </a:moveTo>
                    <a:cubicBezTo>
                      <a:pt x="2" y="23"/>
                      <a:pt x="19" y="0"/>
                      <a:pt x="51" y="0"/>
                    </a:cubicBezTo>
                    <a:cubicBezTo>
                      <a:pt x="75" y="0"/>
                      <a:pt x="97" y="16"/>
                      <a:pt x="97" y="42"/>
                    </a:cubicBezTo>
                    <a:cubicBezTo>
                      <a:pt x="97" y="62"/>
                      <a:pt x="86" y="73"/>
                      <a:pt x="73" y="82"/>
                    </a:cubicBezTo>
                    <a:cubicBezTo>
                      <a:pt x="60" y="91"/>
                      <a:pt x="44" y="99"/>
                      <a:pt x="35" y="113"/>
                    </a:cubicBezTo>
                    <a:cubicBezTo>
                      <a:pt x="98" y="113"/>
                      <a:pt x="98" y="113"/>
                      <a:pt x="98" y="113"/>
                    </a:cubicBezTo>
                    <a:cubicBezTo>
                      <a:pt x="98" y="136"/>
                      <a:pt x="98" y="136"/>
                      <a:pt x="98" y="136"/>
                    </a:cubicBezTo>
                    <a:cubicBezTo>
                      <a:pt x="0" y="136"/>
                      <a:pt x="0" y="136"/>
                      <a:pt x="0" y="136"/>
                    </a:cubicBezTo>
                    <a:cubicBezTo>
                      <a:pt x="0" y="105"/>
                      <a:pt x="19" y="92"/>
                      <a:pt x="42" y="76"/>
                    </a:cubicBezTo>
                    <a:cubicBezTo>
                      <a:pt x="60" y="64"/>
                      <a:pt x="70" y="57"/>
                      <a:pt x="70" y="43"/>
                    </a:cubicBezTo>
                    <a:cubicBezTo>
                      <a:pt x="70" y="32"/>
                      <a:pt x="62" y="23"/>
                      <a:pt x="51" y="23"/>
                    </a:cubicBezTo>
                    <a:cubicBezTo>
                      <a:pt x="33" y="23"/>
                      <a:pt x="29" y="40"/>
                      <a:pt x="29" y="54"/>
                    </a:cubicBezTo>
                    <a:lnTo>
                      <a:pt x="3"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grpSp>
        <p:grpSp>
          <p:nvGrpSpPr>
            <p:cNvPr id="137" name="Group 74">
              <a:extLst>
                <a:ext uri="{FF2B5EF4-FFF2-40B4-BE49-F238E27FC236}">
                  <a16:creationId xmlns:a16="http://schemas.microsoft.com/office/drawing/2014/main" id="{E4C83EAA-983F-5505-24A4-B0580D7A674E}"/>
                </a:ext>
              </a:extLst>
            </p:cNvPr>
            <p:cNvGrpSpPr/>
            <p:nvPr/>
          </p:nvGrpSpPr>
          <p:grpSpPr>
            <a:xfrm>
              <a:off x="6054738" y="2631307"/>
              <a:ext cx="524196" cy="561871"/>
              <a:chOff x="6054738" y="2631307"/>
              <a:chExt cx="524196" cy="561871"/>
            </a:xfrm>
            <a:solidFill>
              <a:schemeClr val="bg1"/>
            </a:solidFill>
          </p:grpSpPr>
          <p:sp>
            <p:nvSpPr>
              <p:cNvPr id="166" name="Freeform 100">
                <a:extLst>
                  <a:ext uri="{FF2B5EF4-FFF2-40B4-BE49-F238E27FC236}">
                    <a16:creationId xmlns:a16="http://schemas.microsoft.com/office/drawing/2014/main" id="{B51A553A-9869-FA41-AE2C-4A55B2109255}"/>
                  </a:ext>
                </a:extLst>
              </p:cNvPr>
              <p:cNvSpPr>
                <a:spLocks noEditPoints="1"/>
              </p:cNvSpPr>
              <p:nvPr/>
            </p:nvSpPr>
            <p:spPr bwMode="auto">
              <a:xfrm>
                <a:off x="6054738" y="2631307"/>
                <a:ext cx="444545" cy="506975"/>
              </a:xfrm>
              <a:custGeom>
                <a:avLst/>
                <a:gdLst>
                  <a:gd name="T0" fmla="*/ 0 w 413"/>
                  <a:gd name="T1" fmla="*/ 193 h 471"/>
                  <a:gd name="T2" fmla="*/ 174 w 413"/>
                  <a:gd name="T3" fmla="*/ 471 h 471"/>
                  <a:gd name="T4" fmla="*/ 413 w 413"/>
                  <a:gd name="T5" fmla="*/ 0 h 471"/>
                  <a:gd name="T6" fmla="*/ 0 w 413"/>
                  <a:gd name="T7" fmla="*/ 193 h 471"/>
                  <a:gd name="T8" fmla="*/ 113 w 413"/>
                  <a:gd name="T9" fmla="*/ 218 h 471"/>
                  <a:gd name="T10" fmla="*/ 275 w 413"/>
                  <a:gd name="T11" fmla="*/ 143 h 471"/>
                  <a:gd name="T12" fmla="*/ 182 w 413"/>
                  <a:gd name="T13" fmla="*/ 328 h 471"/>
                  <a:gd name="T14" fmla="*/ 113 w 413"/>
                  <a:gd name="T15" fmla="*/ 218 h 4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3" h="471">
                    <a:moveTo>
                      <a:pt x="0" y="193"/>
                    </a:moveTo>
                    <a:lnTo>
                      <a:pt x="174" y="471"/>
                    </a:lnTo>
                    <a:lnTo>
                      <a:pt x="413" y="0"/>
                    </a:lnTo>
                    <a:lnTo>
                      <a:pt x="0" y="193"/>
                    </a:lnTo>
                    <a:close/>
                    <a:moveTo>
                      <a:pt x="113" y="218"/>
                    </a:moveTo>
                    <a:lnTo>
                      <a:pt x="275" y="143"/>
                    </a:lnTo>
                    <a:lnTo>
                      <a:pt x="182" y="328"/>
                    </a:lnTo>
                    <a:lnTo>
                      <a:pt x="113" y="2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67" name="Freeform 101">
                <a:extLst>
                  <a:ext uri="{FF2B5EF4-FFF2-40B4-BE49-F238E27FC236}">
                    <a16:creationId xmlns:a16="http://schemas.microsoft.com/office/drawing/2014/main" id="{60ACA0BA-BEC0-251D-28AA-CE1D5B4D97BF}"/>
                  </a:ext>
                </a:extLst>
              </p:cNvPr>
              <p:cNvSpPr>
                <a:spLocks/>
              </p:cNvSpPr>
              <p:nvPr/>
            </p:nvSpPr>
            <p:spPr bwMode="auto">
              <a:xfrm>
                <a:off x="6346436" y="2919777"/>
                <a:ext cx="182985" cy="189443"/>
              </a:xfrm>
              <a:custGeom>
                <a:avLst/>
                <a:gdLst>
                  <a:gd name="T0" fmla="*/ 0 w 170"/>
                  <a:gd name="T1" fmla="*/ 111 h 176"/>
                  <a:gd name="T2" fmla="*/ 106 w 170"/>
                  <a:gd name="T3" fmla="*/ 0 h 176"/>
                  <a:gd name="T4" fmla="*/ 170 w 170"/>
                  <a:gd name="T5" fmla="*/ 66 h 176"/>
                  <a:gd name="T6" fmla="*/ 65 w 170"/>
                  <a:gd name="T7" fmla="*/ 176 h 176"/>
                  <a:gd name="T8" fmla="*/ 0 w 170"/>
                  <a:gd name="T9" fmla="*/ 111 h 176"/>
                </a:gdLst>
                <a:ahLst/>
                <a:cxnLst>
                  <a:cxn ang="0">
                    <a:pos x="T0" y="T1"/>
                  </a:cxn>
                  <a:cxn ang="0">
                    <a:pos x="T2" y="T3"/>
                  </a:cxn>
                  <a:cxn ang="0">
                    <a:pos x="T4" y="T5"/>
                  </a:cxn>
                  <a:cxn ang="0">
                    <a:pos x="T6" y="T7"/>
                  </a:cxn>
                  <a:cxn ang="0">
                    <a:pos x="T8" y="T9"/>
                  </a:cxn>
                </a:cxnLst>
                <a:rect l="0" t="0" r="r" b="b"/>
                <a:pathLst>
                  <a:path w="170" h="176">
                    <a:moveTo>
                      <a:pt x="0" y="111"/>
                    </a:moveTo>
                    <a:lnTo>
                      <a:pt x="106" y="0"/>
                    </a:lnTo>
                    <a:lnTo>
                      <a:pt x="170" y="66"/>
                    </a:lnTo>
                    <a:lnTo>
                      <a:pt x="65" y="176"/>
                    </a:lnTo>
                    <a:lnTo>
                      <a:pt x="0"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68" name="Freeform 102">
                <a:extLst>
                  <a:ext uri="{FF2B5EF4-FFF2-40B4-BE49-F238E27FC236}">
                    <a16:creationId xmlns:a16="http://schemas.microsoft.com/office/drawing/2014/main" id="{B5C646CB-21A4-031A-0E98-635B98E42D6A}"/>
                  </a:ext>
                </a:extLst>
              </p:cNvPr>
              <p:cNvSpPr>
                <a:spLocks/>
              </p:cNvSpPr>
              <p:nvPr/>
            </p:nvSpPr>
            <p:spPr bwMode="auto">
              <a:xfrm>
                <a:off x="6317375" y="3051095"/>
                <a:ext cx="87187" cy="79652"/>
              </a:xfrm>
              <a:custGeom>
                <a:avLst/>
                <a:gdLst>
                  <a:gd name="T0" fmla="*/ 16 w 60"/>
                  <a:gd name="T1" fmla="*/ 0 h 55"/>
                  <a:gd name="T2" fmla="*/ 60 w 60"/>
                  <a:gd name="T3" fmla="*/ 45 h 55"/>
                  <a:gd name="T4" fmla="*/ 0 w 60"/>
                  <a:gd name="T5" fmla="*/ 55 h 55"/>
                  <a:gd name="T6" fmla="*/ 16 w 60"/>
                  <a:gd name="T7" fmla="*/ 0 h 55"/>
                </a:gdLst>
                <a:ahLst/>
                <a:cxnLst>
                  <a:cxn ang="0">
                    <a:pos x="T0" y="T1"/>
                  </a:cxn>
                  <a:cxn ang="0">
                    <a:pos x="T2" y="T3"/>
                  </a:cxn>
                  <a:cxn ang="0">
                    <a:pos x="T4" y="T5"/>
                  </a:cxn>
                  <a:cxn ang="0">
                    <a:pos x="T6" y="T7"/>
                  </a:cxn>
                </a:cxnLst>
                <a:rect l="0" t="0" r="r" b="b"/>
                <a:pathLst>
                  <a:path w="60" h="55">
                    <a:moveTo>
                      <a:pt x="16" y="0"/>
                    </a:moveTo>
                    <a:cubicBezTo>
                      <a:pt x="17" y="1"/>
                      <a:pt x="60" y="45"/>
                      <a:pt x="60" y="45"/>
                    </a:cubicBezTo>
                    <a:cubicBezTo>
                      <a:pt x="0" y="55"/>
                      <a:pt x="0" y="55"/>
                      <a:pt x="0" y="55"/>
                    </a:cubicBezTo>
                    <a:lnTo>
                      <a:pt x="1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69" name="Freeform 103">
                <a:extLst>
                  <a:ext uri="{FF2B5EF4-FFF2-40B4-BE49-F238E27FC236}">
                    <a16:creationId xmlns:a16="http://schemas.microsoft.com/office/drawing/2014/main" id="{99F6172D-ED9A-CAD0-60F2-BE05DD3CAD93}"/>
                  </a:ext>
                </a:extLst>
              </p:cNvPr>
              <p:cNvSpPr>
                <a:spLocks/>
              </p:cNvSpPr>
              <p:nvPr/>
            </p:nvSpPr>
            <p:spPr bwMode="auto">
              <a:xfrm>
                <a:off x="6456227" y="2869187"/>
                <a:ext cx="122707" cy="121631"/>
              </a:xfrm>
              <a:custGeom>
                <a:avLst/>
                <a:gdLst>
                  <a:gd name="T0" fmla="*/ 89 w 114"/>
                  <a:gd name="T1" fmla="*/ 113 h 113"/>
                  <a:gd name="T2" fmla="*/ 0 w 114"/>
                  <a:gd name="T3" fmla="*/ 26 h 113"/>
                  <a:gd name="T4" fmla="*/ 25 w 114"/>
                  <a:gd name="T5" fmla="*/ 0 h 113"/>
                  <a:gd name="T6" fmla="*/ 114 w 114"/>
                  <a:gd name="T7" fmla="*/ 88 h 113"/>
                  <a:gd name="T8" fmla="*/ 89 w 114"/>
                  <a:gd name="T9" fmla="*/ 113 h 113"/>
                </a:gdLst>
                <a:ahLst/>
                <a:cxnLst>
                  <a:cxn ang="0">
                    <a:pos x="T0" y="T1"/>
                  </a:cxn>
                  <a:cxn ang="0">
                    <a:pos x="T2" y="T3"/>
                  </a:cxn>
                  <a:cxn ang="0">
                    <a:pos x="T4" y="T5"/>
                  </a:cxn>
                  <a:cxn ang="0">
                    <a:pos x="T6" y="T7"/>
                  </a:cxn>
                  <a:cxn ang="0">
                    <a:pos x="T8" y="T9"/>
                  </a:cxn>
                </a:cxnLst>
                <a:rect l="0" t="0" r="r" b="b"/>
                <a:pathLst>
                  <a:path w="114" h="113">
                    <a:moveTo>
                      <a:pt x="89" y="113"/>
                    </a:moveTo>
                    <a:lnTo>
                      <a:pt x="0" y="26"/>
                    </a:lnTo>
                    <a:lnTo>
                      <a:pt x="25" y="0"/>
                    </a:lnTo>
                    <a:lnTo>
                      <a:pt x="114" y="88"/>
                    </a:lnTo>
                    <a:lnTo>
                      <a:pt x="89"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70" name="Rectangle 104">
                <a:extLst>
                  <a:ext uri="{FF2B5EF4-FFF2-40B4-BE49-F238E27FC236}">
                    <a16:creationId xmlns:a16="http://schemas.microsoft.com/office/drawing/2014/main" id="{18E30543-C395-1E6C-FDAC-06F48D06FAC7}"/>
                  </a:ext>
                </a:extLst>
              </p:cNvPr>
              <p:cNvSpPr>
                <a:spLocks noChangeArrowheads="1"/>
              </p:cNvSpPr>
              <p:nvPr/>
            </p:nvSpPr>
            <p:spPr bwMode="auto">
              <a:xfrm>
                <a:off x="6179598" y="3164115"/>
                <a:ext cx="285241" cy="290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grpSp>
        <p:sp>
          <p:nvSpPr>
            <p:cNvPr id="138" name="Freeform 105">
              <a:extLst>
                <a:ext uri="{FF2B5EF4-FFF2-40B4-BE49-F238E27FC236}">
                  <a16:creationId xmlns:a16="http://schemas.microsoft.com/office/drawing/2014/main" id="{A4839B08-15D0-1220-F5B9-BB51B018AC99}"/>
                </a:ext>
              </a:extLst>
            </p:cNvPr>
            <p:cNvSpPr>
              <a:spLocks noEditPoints="1"/>
            </p:cNvSpPr>
            <p:nvPr/>
          </p:nvSpPr>
          <p:spPr bwMode="auto">
            <a:xfrm>
              <a:off x="4434785" y="4768998"/>
              <a:ext cx="188367" cy="223887"/>
            </a:xfrm>
            <a:custGeom>
              <a:avLst/>
              <a:gdLst>
                <a:gd name="T0" fmla="*/ 37 w 129"/>
                <a:gd name="T1" fmla="*/ 106 h 154"/>
                <a:gd name="T2" fmla="*/ 21 w 129"/>
                <a:gd name="T3" fmla="*/ 154 h 154"/>
                <a:gd name="T4" fmla="*/ 0 w 129"/>
                <a:gd name="T5" fmla="*/ 154 h 154"/>
                <a:gd name="T6" fmla="*/ 53 w 129"/>
                <a:gd name="T7" fmla="*/ 0 h 154"/>
                <a:gd name="T8" fmla="*/ 77 w 129"/>
                <a:gd name="T9" fmla="*/ 0 h 154"/>
                <a:gd name="T10" fmla="*/ 129 w 129"/>
                <a:gd name="T11" fmla="*/ 154 h 154"/>
                <a:gd name="T12" fmla="*/ 108 w 129"/>
                <a:gd name="T13" fmla="*/ 154 h 154"/>
                <a:gd name="T14" fmla="*/ 92 w 129"/>
                <a:gd name="T15" fmla="*/ 106 h 154"/>
                <a:gd name="T16" fmla="*/ 37 w 129"/>
                <a:gd name="T17" fmla="*/ 106 h 154"/>
                <a:gd name="T18" fmla="*/ 88 w 129"/>
                <a:gd name="T19" fmla="*/ 90 h 154"/>
                <a:gd name="T20" fmla="*/ 72 w 129"/>
                <a:gd name="T21" fmla="*/ 46 h 154"/>
                <a:gd name="T22" fmla="*/ 64 w 129"/>
                <a:gd name="T23" fmla="*/ 18 h 154"/>
                <a:gd name="T24" fmla="*/ 64 w 129"/>
                <a:gd name="T25" fmla="*/ 18 h 154"/>
                <a:gd name="T26" fmla="*/ 56 w 129"/>
                <a:gd name="T27" fmla="*/ 45 h 154"/>
                <a:gd name="T28" fmla="*/ 41 w 129"/>
                <a:gd name="T29" fmla="*/ 90 h 154"/>
                <a:gd name="T30" fmla="*/ 88 w 129"/>
                <a:gd name="T31" fmla="*/ 9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9" h="154">
                  <a:moveTo>
                    <a:pt x="37" y="106"/>
                  </a:moveTo>
                  <a:cubicBezTo>
                    <a:pt x="21" y="154"/>
                    <a:pt x="21" y="154"/>
                    <a:pt x="21" y="154"/>
                  </a:cubicBezTo>
                  <a:cubicBezTo>
                    <a:pt x="0" y="154"/>
                    <a:pt x="0" y="154"/>
                    <a:pt x="0" y="154"/>
                  </a:cubicBezTo>
                  <a:cubicBezTo>
                    <a:pt x="53" y="0"/>
                    <a:pt x="53" y="0"/>
                    <a:pt x="53" y="0"/>
                  </a:cubicBezTo>
                  <a:cubicBezTo>
                    <a:pt x="77" y="0"/>
                    <a:pt x="77" y="0"/>
                    <a:pt x="77" y="0"/>
                  </a:cubicBezTo>
                  <a:cubicBezTo>
                    <a:pt x="129" y="154"/>
                    <a:pt x="129" y="154"/>
                    <a:pt x="129" y="154"/>
                  </a:cubicBezTo>
                  <a:cubicBezTo>
                    <a:pt x="108" y="154"/>
                    <a:pt x="108" y="154"/>
                    <a:pt x="108" y="154"/>
                  </a:cubicBezTo>
                  <a:cubicBezTo>
                    <a:pt x="92" y="106"/>
                    <a:pt x="92" y="106"/>
                    <a:pt x="92" y="106"/>
                  </a:cubicBezTo>
                  <a:lnTo>
                    <a:pt x="37" y="106"/>
                  </a:lnTo>
                  <a:close/>
                  <a:moveTo>
                    <a:pt x="88" y="90"/>
                  </a:moveTo>
                  <a:cubicBezTo>
                    <a:pt x="72" y="46"/>
                    <a:pt x="72" y="46"/>
                    <a:pt x="72" y="46"/>
                  </a:cubicBezTo>
                  <a:cubicBezTo>
                    <a:pt x="69" y="36"/>
                    <a:pt x="67" y="26"/>
                    <a:pt x="64" y="18"/>
                  </a:cubicBezTo>
                  <a:cubicBezTo>
                    <a:pt x="64" y="18"/>
                    <a:pt x="64" y="18"/>
                    <a:pt x="64" y="18"/>
                  </a:cubicBezTo>
                  <a:cubicBezTo>
                    <a:pt x="62" y="26"/>
                    <a:pt x="59" y="36"/>
                    <a:pt x="56" y="45"/>
                  </a:cubicBezTo>
                  <a:cubicBezTo>
                    <a:pt x="41" y="90"/>
                    <a:pt x="41" y="90"/>
                    <a:pt x="41" y="90"/>
                  </a:cubicBezTo>
                  <a:lnTo>
                    <a:pt x="88" y="9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39" name="Freeform 106">
              <a:extLst>
                <a:ext uri="{FF2B5EF4-FFF2-40B4-BE49-F238E27FC236}">
                  <a16:creationId xmlns:a16="http://schemas.microsoft.com/office/drawing/2014/main" id="{6B9714A0-FDFB-CE28-973D-C3EE077F6265}"/>
                </a:ext>
              </a:extLst>
            </p:cNvPr>
            <p:cNvSpPr>
              <a:spLocks noEditPoints="1"/>
            </p:cNvSpPr>
            <p:nvPr/>
          </p:nvSpPr>
          <p:spPr bwMode="auto">
            <a:xfrm>
              <a:off x="4652214" y="4650596"/>
              <a:ext cx="142082" cy="226040"/>
            </a:xfrm>
            <a:custGeom>
              <a:avLst/>
              <a:gdLst>
                <a:gd name="T0" fmla="*/ 0 w 98"/>
                <a:gd name="T1" fmla="*/ 3 h 156"/>
                <a:gd name="T2" fmla="*/ 37 w 98"/>
                <a:gd name="T3" fmla="*/ 0 h 156"/>
                <a:gd name="T4" fmla="*/ 79 w 98"/>
                <a:gd name="T5" fmla="*/ 11 h 156"/>
                <a:gd name="T6" fmla="*/ 92 w 98"/>
                <a:gd name="T7" fmla="*/ 38 h 156"/>
                <a:gd name="T8" fmla="*/ 66 w 98"/>
                <a:gd name="T9" fmla="*/ 72 h 156"/>
                <a:gd name="T10" fmla="*/ 66 w 98"/>
                <a:gd name="T11" fmla="*/ 73 h 156"/>
                <a:gd name="T12" fmla="*/ 98 w 98"/>
                <a:gd name="T13" fmla="*/ 111 h 156"/>
                <a:gd name="T14" fmla="*/ 84 w 98"/>
                <a:gd name="T15" fmla="*/ 142 h 156"/>
                <a:gd name="T16" fmla="*/ 31 w 98"/>
                <a:gd name="T17" fmla="*/ 156 h 156"/>
                <a:gd name="T18" fmla="*/ 0 w 98"/>
                <a:gd name="T19" fmla="*/ 155 h 156"/>
                <a:gd name="T20" fmla="*/ 0 w 98"/>
                <a:gd name="T21" fmla="*/ 3 h 156"/>
                <a:gd name="T22" fmla="*/ 20 w 98"/>
                <a:gd name="T23" fmla="*/ 66 h 156"/>
                <a:gd name="T24" fmla="*/ 38 w 98"/>
                <a:gd name="T25" fmla="*/ 66 h 156"/>
                <a:gd name="T26" fmla="*/ 72 w 98"/>
                <a:gd name="T27" fmla="*/ 40 h 156"/>
                <a:gd name="T28" fmla="*/ 38 w 98"/>
                <a:gd name="T29" fmla="*/ 15 h 156"/>
                <a:gd name="T30" fmla="*/ 20 w 98"/>
                <a:gd name="T31" fmla="*/ 16 h 156"/>
                <a:gd name="T32" fmla="*/ 20 w 98"/>
                <a:gd name="T33" fmla="*/ 66 h 156"/>
                <a:gd name="T34" fmla="*/ 20 w 98"/>
                <a:gd name="T35" fmla="*/ 140 h 156"/>
                <a:gd name="T36" fmla="*/ 37 w 98"/>
                <a:gd name="T37" fmla="*/ 141 h 156"/>
                <a:gd name="T38" fmla="*/ 77 w 98"/>
                <a:gd name="T39" fmla="*/ 111 h 156"/>
                <a:gd name="T40" fmla="*/ 37 w 98"/>
                <a:gd name="T41" fmla="*/ 81 h 156"/>
                <a:gd name="T42" fmla="*/ 20 w 98"/>
                <a:gd name="T43" fmla="*/ 81 h 156"/>
                <a:gd name="T44" fmla="*/ 20 w 98"/>
                <a:gd name="T45" fmla="*/ 14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8" h="156">
                  <a:moveTo>
                    <a:pt x="0" y="3"/>
                  </a:moveTo>
                  <a:cubicBezTo>
                    <a:pt x="9" y="1"/>
                    <a:pt x="23" y="0"/>
                    <a:pt x="37" y="0"/>
                  </a:cubicBezTo>
                  <a:cubicBezTo>
                    <a:pt x="57" y="0"/>
                    <a:pt x="69" y="3"/>
                    <a:pt x="79" y="11"/>
                  </a:cubicBezTo>
                  <a:cubicBezTo>
                    <a:pt x="87" y="17"/>
                    <a:pt x="92" y="26"/>
                    <a:pt x="92" y="38"/>
                  </a:cubicBezTo>
                  <a:cubicBezTo>
                    <a:pt x="92" y="53"/>
                    <a:pt x="82" y="66"/>
                    <a:pt x="66" y="72"/>
                  </a:cubicBezTo>
                  <a:cubicBezTo>
                    <a:pt x="66" y="73"/>
                    <a:pt x="66" y="73"/>
                    <a:pt x="66" y="73"/>
                  </a:cubicBezTo>
                  <a:cubicBezTo>
                    <a:pt x="80" y="76"/>
                    <a:pt x="98" y="88"/>
                    <a:pt x="98" y="111"/>
                  </a:cubicBezTo>
                  <a:cubicBezTo>
                    <a:pt x="98" y="124"/>
                    <a:pt x="92" y="134"/>
                    <a:pt x="84" y="142"/>
                  </a:cubicBezTo>
                  <a:cubicBezTo>
                    <a:pt x="74" y="152"/>
                    <a:pt x="56" y="156"/>
                    <a:pt x="31" y="156"/>
                  </a:cubicBezTo>
                  <a:cubicBezTo>
                    <a:pt x="18" y="156"/>
                    <a:pt x="7" y="156"/>
                    <a:pt x="0" y="155"/>
                  </a:cubicBezTo>
                  <a:lnTo>
                    <a:pt x="0" y="3"/>
                  </a:lnTo>
                  <a:close/>
                  <a:moveTo>
                    <a:pt x="20" y="66"/>
                  </a:moveTo>
                  <a:cubicBezTo>
                    <a:pt x="38" y="66"/>
                    <a:pt x="38" y="66"/>
                    <a:pt x="38" y="66"/>
                  </a:cubicBezTo>
                  <a:cubicBezTo>
                    <a:pt x="59" y="66"/>
                    <a:pt x="72" y="55"/>
                    <a:pt x="72" y="40"/>
                  </a:cubicBezTo>
                  <a:cubicBezTo>
                    <a:pt x="72" y="22"/>
                    <a:pt x="58" y="15"/>
                    <a:pt x="38" y="15"/>
                  </a:cubicBezTo>
                  <a:cubicBezTo>
                    <a:pt x="29" y="15"/>
                    <a:pt x="23" y="16"/>
                    <a:pt x="20" y="16"/>
                  </a:cubicBezTo>
                  <a:lnTo>
                    <a:pt x="20" y="66"/>
                  </a:lnTo>
                  <a:close/>
                  <a:moveTo>
                    <a:pt x="20" y="140"/>
                  </a:moveTo>
                  <a:cubicBezTo>
                    <a:pt x="24" y="141"/>
                    <a:pt x="30" y="141"/>
                    <a:pt x="37" y="141"/>
                  </a:cubicBezTo>
                  <a:cubicBezTo>
                    <a:pt x="58" y="141"/>
                    <a:pt x="77" y="133"/>
                    <a:pt x="77" y="111"/>
                  </a:cubicBezTo>
                  <a:cubicBezTo>
                    <a:pt x="77" y="90"/>
                    <a:pt x="58" y="81"/>
                    <a:pt x="37" y="81"/>
                  </a:cubicBezTo>
                  <a:cubicBezTo>
                    <a:pt x="20" y="81"/>
                    <a:pt x="20" y="81"/>
                    <a:pt x="20" y="81"/>
                  </a:cubicBezTo>
                  <a:lnTo>
                    <a:pt x="20" y="14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40" name="Freeform 107">
              <a:extLst>
                <a:ext uri="{FF2B5EF4-FFF2-40B4-BE49-F238E27FC236}">
                  <a16:creationId xmlns:a16="http://schemas.microsoft.com/office/drawing/2014/main" id="{6BC3A041-D12F-0CA8-5FA2-44E4D86CA6D2}"/>
                </a:ext>
              </a:extLst>
            </p:cNvPr>
            <p:cNvSpPr>
              <a:spLocks/>
            </p:cNvSpPr>
            <p:nvPr/>
          </p:nvSpPr>
          <p:spPr bwMode="auto">
            <a:xfrm>
              <a:off x="4673742" y="4935836"/>
              <a:ext cx="144235" cy="194825"/>
            </a:xfrm>
            <a:custGeom>
              <a:avLst/>
              <a:gdLst>
                <a:gd name="T0" fmla="*/ 99 w 99"/>
                <a:gd name="T1" fmla="*/ 128 h 134"/>
                <a:gd name="T2" fmla="*/ 64 w 99"/>
                <a:gd name="T3" fmla="*/ 134 h 134"/>
                <a:gd name="T4" fmla="*/ 0 w 99"/>
                <a:gd name="T5" fmla="*/ 68 h 134"/>
                <a:gd name="T6" fmla="*/ 68 w 99"/>
                <a:gd name="T7" fmla="*/ 0 h 134"/>
                <a:gd name="T8" fmla="*/ 99 w 99"/>
                <a:gd name="T9" fmla="*/ 5 h 134"/>
                <a:gd name="T10" fmla="*/ 95 w 99"/>
                <a:gd name="T11" fmla="*/ 19 h 134"/>
                <a:gd name="T12" fmla="*/ 69 w 99"/>
                <a:gd name="T13" fmla="*/ 14 h 134"/>
                <a:gd name="T14" fmla="*/ 18 w 99"/>
                <a:gd name="T15" fmla="*/ 67 h 134"/>
                <a:gd name="T16" fmla="*/ 68 w 99"/>
                <a:gd name="T17" fmla="*/ 119 h 134"/>
                <a:gd name="T18" fmla="*/ 95 w 99"/>
                <a:gd name="T19" fmla="*/ 114 h 134"/>
                <a:gd name="T20" fmla="*/ 99 w 99"/>
                <a:gd name="T21" fmla="*/ 128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 h="134">
                  <a:moveTo>
                    <a:pt x="99" y="128"/>
                  </a:moveTo>
                  <a:cubicBezTo>
                    <a:pt x="93" y="131"/>
                    <a:pt x="80" y="134"/>
                    <a:pt x="64" y="134"/>
                  </a:cubicBezTo>
                  <a:cubicBezTo>
                    <a:pt x="28" y="134"/>
                    <a:pt x="0" y="111"/>
                    <a:pt x="0" y="68"/>
                  </a:cubicBezTo>
                  <a:cubicBezTo>
                    <a:pt x="0" y="27"/>
                    <a:pt x="28" y="0"/>
                    <a:pt x="68" y="0"/>
                  </a:cubicBezTo>
                  <a:cubicBezTo>
                    <a:pt x="84" y="0"/>
                    <a:pt x="95" y="3"/>
                    <a:pt x="99" y="5"/>
                  </a:cubicBezTo>
                  <a:cubicBezTo>
                    <a:pt x="95" y="19"/>
                    <a:pt x="95" y="19"/>
                    <a:pt x="95" y="19"/>
                  </a:cubicBezTo>
                  <a:cubicBezTo>
                    <a:pt x="89" y="16"/>
                    <a:pt x="80" y="14"/>
                    <a:pt x="69" y="14"/>
                  </a:cubicBezTo>
                  <a:cubicBezTo>
                    <a:pt x="38" y="14"/>
                    <a:pt x="18" y="33"/>
                    <a:pt x="18" y="67"/>
                  </a:cubicBezTo>
                  <a:cubicBezTo>
                    <a:pt x="18" y="99"/>
                    <a:pt x="36" y="119"/>
                    <a:pt x="68" y="119"/>
                  </a:cubicBezTo>
                  <a:cubicBezTo>
                    <a:pt x="78" y="119"/>
                    <a:pt x="89" y="117"/>
                    <a:pt x="95" y="114"/>
                  </a:cubicBezTo>
                  <a:lnTo>
                    <a:pt x="99" y="12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grpSp>
          <p:nvGrpSpPr>
            <p:cNvPr id="141" name="Group 78">
              <a:extLst>
                <a:ext uri="{FF2B5EF4-FFF2-40B4-BE49-F238E27FC236}">
                  <a16:creationId xmlns:a16="http://schemas.microsoft.com/office/drawing/2014/main" id="{384458EC-81C2-779D-5BB2-4848BD8E0EF4}"/>
                </a:ext>
              </a:extLst>
            </p:cNvPr>
            <p:cNvGrpSpPr/>
            <p:nvPr/>
          </p:nvGrpSpPr>
          <p:grpSpPr>
            <a:xfrm>
              <a:off x="4247495" y="3384773"/>
              <a:ext cx="410101" cy="395032"/>
              <a:chOff x="4247495" y="3384773"/>
              <a:chExt cx="410101" cy="395032"/>
            </a:xfrm>
            <a:solidFill>
              <a:schemeClr val="bg1"/>
            </a:solidFill>
          </p:grpSpPr>
          <p:sp>
            <p:nvSpPr>
              <p:cNvPr id="154" name="Freeform 108">
                <a:extLst>
                  <a:ext uri="{FF2B5EF4-FFF2-40B4-BE49-F238E27FC236}">
                    <a16:creationId xmlns:a16="http://schemas.microsoft.com/office/drawing/2014/main" id="{AC5FAC23-8D9A-78CE-5F4E-872A96163A90}"/>
                  </a:ext>
                </a:extLst>
              </p:cNvPr>
              <p:cNvSpPr>
                <a:spLocks noEditPoints="1"/>
              </p:cNvSpPr>
              <p:nvPr/>
            </p:nvSpPr>
            <p:spPr bwMode="auto">
              <a:xfrm>
                <a:off x="4305620" y="3564528"/>
                <a:ext cx="215276" cy="215276"/>
              </a:xfrm>
              <a:custGeom>
                <a:avLst/>
                <a:gdLst>
                  <a:gd name="T0" fmla="*/ 148 w 148"/>
                  <a:gd name="T1" fmla="*/ 145 h 148"/>
                  <a:gd name="T2" fmla="*/ 145 w 148"/>
                  <a:gd name="T3" fmla="*/ 148 h 148"/>
                  <a:gd name="T4" fmla="*/ 3 w 148"/>
                  <a:gd name="T5" fmla="*/ 148 h 148"/>
                  <a:gd name="T6" fmla="*/ 0 w 148"/>
                  <a:gd name="T7" fmla="*/ 145 h 148"/>
                  <a:gd name="T8" fmla="*/ 0 w 148"/>
                  <a:gd name="T9" fmla="*/ 3 h 148"/>
                  <a:gd name="T10" fmla="*/ 3 w 148"/>
                  <a:gd name="T11" fmla="*/ 0 h 148"/>
                  <a:gd name="T12" fmla="*/ 145 w 148"/>
                  <a:gd name="T13" fmla="*/ 0 h 148"/>
                  <a:gd name="T14" fmla="*/ 148 w 148"/>
                  <a:gd name="T15" fmla="*/ 3 h 148"/>
                  <a:gd name="T16" fmla="*/ 148 w 148"/>
                  <a:gd name="T17" fmla="*/ 145 h 148"/>
                  <a:gd name="T18" fmla="*/ 4 w 148"/>
                  <a:gd name="T19" fmla="*/ 140 h 148"/>
                  <a:gd name="T20" fmla="*/ 144 w 148"/>
                  <a:gd name="T21" fmla="*/ 140 h 148"/>
                  <a:gd name="T22" fmla="*/ 144 w 148"/>
                  <a:gd name="T23" fmla="*/ 8 h 148"/>
                  <a:gd name="T24" fmla="*/ 4 w 148"/>
                  <a:gd name="T25" fmla="*/ 8 h 148"/>
                  <a:gd name="T26" fmla="*/ 4 w 148"/>
                  <a:gd name="T27" fmla="*/ 14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8" h="148">
                    <a:moveTo>
                      <a:pt x="148" y="145"/>
                    </a:moveTo>
                    <a:cubicBezTo>
                      <a:pt x="148" y="147"/>
                      <a:pt x="147" y="148"/>
                      <a:pt x="145" y="148"/>
                    </a:cubicBezTo>
                    <a:cubicBezTo>
                      <a:pt x="3" y="148"/>
                      <a:pt x="3" y="148"/>
                      <a:pt x="3" y="148"/>
                    </a:cubicBezTo>
                    <a:cubicBezTo>
                      <a:pt x="1" y="148"/>
                      <a:pt x="0" y="147"/>
                      <a:pt x="0" y="145"/>
                    </a:cubicBezTo>
                    <a:cubicBezTo>
                      <a:pt x="0" y="3"/>
                      <a:pt x="0" y="3"/>
                      <a:pt x="0" y="3"/>
                    </a:cubicBezTo>
                    <a:cubicBezTo>
                      <a:pt x="0" y="1"/>
                      <a:pt x="1" y="0"/>
                      <a:pt x="3" y="0"/>
                    </a:cubicBezTo>
                    <a:cubicBezTo>
                      <a:pt x="145" y="0"/>
                      <a:pt x="145" y="0"/>
                      <a:pt x="145" y="0"/>
                    </a:cubicBezTo>
                    <a:cubicBezTo>
                      <a:pt x="147" y="0"/>
                      <a:pt x="148" y="1"/>
                      <a:pt x="148" y="3"/>
                    </a:cubicBezTo>
                    <a:lnTo>
                      <a:pt x="148" y="145"/>
                    </a:lnTo>
                    <a:close/>
                    <a:moveTo>
                      <a:pt x="4" y="140"/>
                    </a:moveTo>
                    <a:cubicBezTo>
                      <a:pt x="144" y="140"/>
                      <a:pt x="144" y="140"/>
                      <a:pt x="144" y="140"/>
                    </a:cubicBezTo>
                    <a:cubicBezTo>
                      <a:pt x="144" y="8"/>
                      <a:pt x="144" y="8"/>
                      <a:pt x="144" y="8"/>
                    </a:cubicBezTo>
                    <a:cubicBezTo>
                      <a:pt x="4" y="8"/>
                      <a:pt x="4" y="8"/>
                      <a:pt x="4" y="8"/>
                    </a:cubicBezTo>
                    <a:lnTo>
                      <a:pt x="4" y="1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55" name="Freeform 109">
                <a:extLst>
                  <a:ext uri="{FF2B5EF4-FFF2-40B4-BE49-F238E27FC236}">
                    <a16:creationId xmlns:a16="http://schemas.microsoft.com/office/drawing/2014/main" id="{1A0B1DFA-02C6-FC42-1B44-938D7BB92339}"/>
                  </a:ext>
                </a:extLst>
              </p:cNvPr>
              <p:cNvSpPr>
                <a:spLocks/>
              </p:cNvSpPr>
              <p:nvPr/>
            </p:nvSpPr>
            <p:spPr bwMode="auto">
              <a:xfrm>
                <a:off x="4308849" y="3488106"/>
                <a:ext cx="289547" cy="85034"/>
              </a:xfrm>
              <a:custGeom>
                <a:avLst/>
                <a:gdLst>
                  <a:gd name="T0" fmla="*/ 144 w 199"/>
                  <a:gd name="T1" fmla="*/ 59 h 59"/>
                  <a:gd name="T2" fmla="*/ 142 w 199"/>
                  <a:gd name="T3" fmla="*/ 59 h 59"/>
                  <a:gd name="T4" fmla="*/ 142 w 199"/>
                  <a:gd name="T5" fmla="*/ 55 h 59"/>
                  <a:gd name="T6" fmla="*/ 190 w 199"/>
                  <a:gd name="T7" fmla="*/ 5 h 59"/>
                  <a:gd name="T8" fmla="*/ 55 w 199"/>
                  <a:gd name="T9" fmla="*/ 5 h 59"/>
                  <a:gd name="T10" fmla="*/ 5 w 199"/>
                  <a:gd name="T11" fmla="*/ 58 h 59"/>
                  <a:gd name="T12" fmla="*/ 1 w 199"/>
                  <a:gd name="T13" fmla="*/ 58 h 59"/>
                  <a:gd name="T14" fmla="*/ 1 w 199"/>
                  <a:gd name="T15" fmla="*/ 54 h 59"/>
                  <a:gd name="T16" fmla="*/ 52 w 199"/>
                  <a:gd name="T17" fmla="*/ 1 h 59"/>
                  <a:gd name="T18" fmla="*/ 54 w 199"/>
                  <a:gd name="T19" fmla="*/ 1 h 59"/>
                  <a:gd name="T20" fmla="*/ 196 w 199"/>
                  <a:gd name="T21" fmla="*/ 1 h 59"/>
                  <a:gd name="T22" fmla="*/ 199 w 199"/>
                  <a:gd name="T23" fmla="*/ 2 h 59"/>
                  <a:gd name="T24" fmla="*/ 198 w 199"/>
                  <a:gd name="T25" fmla="*/ 4 h 59"/>
                  <a:gd name="T26" fmla="*/ 146 w 199"/>
                  <a:gd name="T27" fmla="*/ 59 h 59"/>
                  <a:gd name="T28" fmla="*/ 144 w 199"/>
                  <a:gd name="T29"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9" h="59">
                    <a:moveTo>
                      <a:pt x="144" y="59"/>
                    </a:moveTo>
                    <a:cubicBezTo>
                      <a:pt x="144" y="59"/>
                      <a:pt x="143" y="59"/>
                      <a:pt x="142" y="59"/>
                    </a:cubicBezTo>
                    <a:cubicBezTo>
                      <a:pt x="141" y="58"/>
                      <a:pt x="141" y="56"/>
                      <a:pt x="142" y="55"/>
                    </a:cubicBezTo>
                    <a:cubicBezTo>
                      <a:pt x="190" y="5"/>
                      <a:pt x="190" y="5"/>
                      <a:pt x="190" y="5"/>
                    </a:cubicBezTo>
                    <a:cubicBezTo>
                      <a:pt x="55" y="5"/>
                      <a:pt x="55" y="5"/>
                      <a:pt x="55" y="5"/>
                    </a:cubicBezTo>
                    <a:cubicBezTo>
                      <a:pt x="5" y="58"/>
                      <a:pt x="5" y="58"/>
                      <a:pt x="5" y="58"/>
                    </a:cubicBezTo>
                    <a:cubicBezTo>
                      <a:pt x="4" y="59"/>
                      <a:pt x="2" y="59"/>
                      <a:pt x="1" y="58"/>
                    </a:cubicBezTo>
                    <a:cubicBezTo>
                      <a:pt x="0" y="57"/>
                      <a:pt x="0" y="55"/>
                      <a:pt x="1" y="54"/>
                    </a:cubicBezTo>
                    <a:cubicBezTo>
                      <a:pt x="52" y="1"/>
                      <a:pt x="52" y="1"/>
                      <a:pt x="52" y="1"/>
                    </a:cubicBezTo>
                    <a:cubicBezTo>
                      <a:pt x="52" y="0"/>
                      <a:pt x="53" y="1"/>
                      <a:pt x="54" y="1"/>
                    </a:cubicBezTo>
                    <a:cubicBezTo>
                      <a:pt x="196" y="1"/>
                      <a:pt x="196" y="1"/>
                      <a:pt x="196" y="1"/>
                    </a:cubicBezTo>
                    <a:cubicBezTo>
                      <a:pt x="197" y="1"/>
                      <a:pt x="198" y="1"/>
                      <a:pt x="199" y="2"/>
                    </a:cubicBezTo>
                    <a:cubicBezTo>
                      <a:pt x="199" y="3"/>
                      <a:pt x="199" y="3"/>
                      <a:pt x="198" y="4"/>
                    </a:cubicBezTo>
                    <a:cubicBezTo>
                      <a:pt x="146" y="59"/>
                      <a:pt x="146" y="59"/>
                      <a:pt x="146" y="59"/>
                    </a:cubicBezTo>
                    <a:cubicBezTo>
                      <a:pt x="146" y="59"/>
                      <a:pt x="145" y="59"/>
                      <a:pt x="144"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56" name="Freeform 110">
                <a:extLst>
                  <a:ext uri="{FF2B5EF4-FFF2-40B4-BE49-F238E27FC236}">
                    <a16:creationId xmlns:a16="http://schemas.microsoft.com/office/drawing/2014/main" id="{4F5616A7-01E3-3A64-A3CE-B0A9C8D5A8AD}"/>
                  </a:ext>
                </a:extLst>
              </p:cNvPr>
              <p:cNvSpPr>
                <a:spLocks/>
              </p:cNvSpPr>
              <p:nvPr/>
            </p:nvSpPr>
            <p:spPr bwMode="auto">
              <a:xfrm>
                <a:off x="4515514" y="3489182"/>
                <a:ext cx="85034" cy="290623"/>
              </a:xfrm>
              <a:custGeom>
                <a:avLst/>
                <a:gdLst>
                  <a:gd name="T0" fmla="*/ 3 w 59"/>
                  <a:gd name="T1" fmla="*/ 200 h 200"/>
                  <a:gd name="T2" fmla="*/ 1 w 59"/>
                  <a:gd name="T3" fmla="*/ 199 h 200"/>
                  <a:gd name="T4" fmla="*/ 1 w 59"/>
                  <a:gd name="T5" fmla="*/ 195 h 200"/>
                  <a:gd name="T6" fmla="*/ 53 w 59"/>
                  <a:gd name="T7" fmla="*/ 138 h 200"/>
                  <a:gd name="T8" fmla="*/ 52 w 59"/>
                  <a:gd name="T9" fmla="*/ 2 h 200"/>
                  <a:gd name="T10" fmla="*/ 54 w 59"/>
                  <a:gd name="T11" fmla="*/ 0 h 200"/>
                  <a:gd name="T12" fmla="*/ 57 w 59"/>
                  <a:gd name="T13" fmla="*/ 2 h 200"/>
                  <a:gd name="T14" fmla="*/ 59 w 59"/>
                  <a:gd name="T15" fmla="*/ 139 h 200"/>
                  <a:gd name="T16" fmla="*/ 58 w 59"/>
                  <a:gd name="T17" fmla="*/ 141 h 200"/>
                  <a:gd name="T18" fmla="*/ 5 w 59"/>
                  <a:gd name="T19" fmla="*/ 199 h 200"/>
                  <a:gd name="T20" fmla="*/ 3 w 59"/>
                  <a:gd name="T21"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 h="200">
                    <a:moveTo>
                      <a:pt x="3" y="200"/>
                    </a:moveTo>
                    <a:cubicBezTo>
                      <a:pt x="2" y="200"/>
                      <a:pt x="2" y="199"/>
                      <a:pt x="1" y="199"/>
                    </a:cubicBezTo>
                    <a:cubicBezTo>
                      <a:pt x="0" y="198"/>
                      <a:pt x="0" y="196"/>
                      <a:pt x="1" y="195"/>
                    </a:cubicBezTo>
                    <a:cubicBezTo>
                      <a:pt x="53" y="138"/>
                      <a:pt x="53" y="138"/>
                      <a:pt x="53" y="138"/>
                    </a:cubicBezTo>
                    <a:cubicBezTo>
                      <a:pt x="52" y="2"/>
                      <a:pt x="52" y="2"/>
                      <a:pt x="52" y="2"/>
                    </a:cubicBezTo>
                    <a:cubicBezTo>
                      <a:pt x="52" y="1"/>
                      <a:pt x="53" y="0"/>
                      <a:pt x="54" y="0"/>
                    </a:cubicBezTo>
                    <a:cubicBezTo>
                      <a:pt x="56" y="0"/>
                      <a:pt x="57" y="1"/>
                      <a:pt x="57" y="2"/>
                    </a:cubicBezTo>
                    <a:cubicBezTo>
                      <a:pt x="59" y="139"/>
                      <a:pt x="59" y="139"/>
                      <a:pt x="59" y="139"/>
                    </a:cubicBezTo>
                    <a:cubicBezTo>
                      <a:pt x="59" y="140"/>
                      <a:pt x="59" y="140"/>
                      <a:pt x="58" y="141"/>
                    </a:cubicBezTo>
                    <a:cubicBezTo>
                      <a:pt x="5" y="199"/>
                      <a:pt x="5" y="199"/>
                      <a:pt x="5" y="199"/>
                    </a:cubicBezTo>
                    <a:cubicBezTo>
                      <a:pt x="4" y="199"/>
                      <a:pt x="4" y="200"/>
                      <a:pt x="3" y="2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57" name="Freeform 111">
                <a:extLst>
                  <a:ext uri="{FF2B5EF4-FFF2-40B4-BE49-F238E27FC236}">
                    <a16:creationId xmlns:a16="http://schemas.microsoft.com/office/drawing/2014/main" id="{C0AAAF08-AF09-DA74-AC17-3C6F6A5C87AA}"/>
                  </a:ext>
                </a:extLst>
              </p:cNvPr>
              <p:cNvSpPr>
                <a:spLocks/>
              </p:cNvSpPr>
              <p:nvPr/>
            </p:nvSpPr>
            <p:spPr bwMode="auto">
              <a:xfrm>
                <a:off x="4384196" y="3488106"/>
                <a:ext cx="8611" cy="18299"/>
              </a:xfrm>
              <a:custGeom>
                <a:avLst/>
                <a:gdLst>
                  <a:gd name="T0" fmla="*/ 3 w 6"/>
                  <a:gd name="T1" fmla="*/ 13 h 13"/>
                  <a:gd name="T2" fmla="*/ 0 w 6"/>
                  <a:gd name="T3" fmla="*/ 9 h 13"/>
                  <a:gd name="T4" fmla="*/ 0 w 6"/>
                  <a:gd name="T5" fmla="*/ 4 h 13"/>
                  <a:gd name="T6" fmla="*/ 3 w 6"/>
                  <a:gd name="T7" fmla="*/ 1 h 13"/>
                  <a:gd name="T8" fmla="*/ 6 w 6"/>
                  <a:gd name="T9" fmla="*/ 3 h 13"/>
                  <a:gd name="T10" fmla="*/ 6 w 6"/>
                  <a:gd name="T11" fmla="*/ 9 h 13"/>
                  <a:gd name="T12" fmla="*/ 3 w 6"/>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6" h="13">
                    <a:moveTo>
                      <a:pt x="3" y="13"/>
                    </a:moveTo>
                    <a:cubicBezTo>
                      <a:pt x="1" y="13"/>
                      <a:pt x="0" y="11"/>
                      <a:pt x="0" y="9"/>
                    </a:cubicBezTo>
                    <a:cubicBezTo>
                      <a:pt x="0" y="4"/>
                      <a:pt x="0" y="4"/>
                      <a:pt x="0" y="4"/>
                    </a:cubicBezTo>
                    <a:cubicBezTo>
                      <a:pt x="0" y="2"/>
                      <a:pt x="1" y="1"/>
                      <a:pt x="3" y="1"/>
                    </a:cubicBezTo>
                    <a:cubicBezTo>
                      <a:pt x="4" y="0"/>
                      <a:pt x="6" y="2"/>
                      <a:pt x="6" y="3"/>
                    </a:cubicBezTo>
                    <a:cubicBezTo>
                      <a:pt x="6" y="9"/>
                      <a:pt x="6" y="9"/>
                      <a:pt x="6" y="9"/>
                    </a:cubicBezTo>
                    <a:cubicBezTo>
                      <a:pt x="6" y="11"/>
                      <a:pt x="4" y="13"/>
                      <a:pt x="3"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58" name="Freeform 112">
                <a:extLst>
                  <a:ext uri="{FF2B5EF4-FFF2-40B4-BE49-F238E27FC236}">
                    <a16:creationId xmlns:a16="http://schemas.microsoft.com/office/drawing/2014/main" id="{9A2EB0BE-BFDD-75B3-6D23-8E66A2FD4CC9}"/>
                  </a:ext>
                </a:extLst>
              </p:cNvPr>
              <p:cNvSpPr>
                <a:spLocks noEditPoints="1"/>
              </p:cNvSpPr>
              <p:nvPr/>
            </p:nvSpPr>
            <p:spPr bwMode="auto">
              <a:xfrm>
                <a:off x="4326071" y="3510709"/>
                <a:ext cx="68888" cy="250797"/>
              </a:xfrm>
              <a:custGeom>
                <a:avLst/>
                <a:gdLst>
                  <a:gd name="T0" fmla="*/ 1 w 47"/>
                  <a:gd name="T1" fmla="*/ 171 h 172"/>
                  <a:gd name="T2" fmla="*/ 8 w 47"/>
                  <a:gd name="T3" fmla="*/ 159 h 172"/>
                  <a:gd name="T4" fmla="*/ 12 w 47"/>
                  <a:gd name="T5" fmla="*/ 163 h 172"/>
                  <a:gd name="T6" fmla="*/ 3 w 47"/>
                  <a:gd name="T7" fmla="*/ 172 h 172"/>
                  <a:gd name="T8" fmla="*/ 15 w 47"/>
                  <a:gd name="T9" fmla="*/ 155 h 172"/>
                  <a:gd name="T10" fmla="*/ 22 w 47"/>
                  <a:gd name="T11" fmla="*/ 144 h 172"/>
                  <a:gd name="T12" fmla="*/ 26 w 47"/>
                  <a:gd name="T13" fmla="*/ 147 h 172"/>
                  <a:gd name="T14" fmla="*/ 17 w 47"/>
                  <a:gd name="T15" fmla="*/ 156 h 172"/>
                  <a:gd name="T16" fmla="*/ 30 w 47"/>
                  <a:gd name="T17" fmla="*/ 139 h 172"/>
                  <a:gd name="T18" fmla="*/ 37 w 47"/>
                  <a:gd name="T19" fmla="*/ 128 h 172"/>
                  <a:gd name="T20" fmla="*/ 41 w 47"/>
                  <a:gd name="T21" fmla="*/ 131 h 172"/>
                  <a:gd name="T22" fmla="*/ 32 w 47"/>
                  <a:gd name="T23" fmla="*/ 140 h 172"/>
                  <a:gd name="T24" fmla="*/ 42 w 47"/>
                  <a:gd name="T25" fmla="*/ 122 h 172"/>
                  <a:gd name="T26" fmla="*/ 45 w 47"/>
                  <a:gd name="T27" fmla="*/ 108 h 172"/>
                  <a:gd name="T28" fmla="*/ 47 w 47"/>
                  <a:gd name="T29" fmla="*/ 122 h 172"/>
                  <a:gd name="T30" fmla="*/ 44 w 47"/>
                  <a:gd name="T31" fmla="*/ 105 h 172"/>
                  <a:gd name="T32" fmla="*/ 42 w 47"/>
                  <a:gd name="T33" fmla="*/ 90 h 172"/>
                  <a:gd name="T34" fmla="*/ 47 w 47"/>
                  <a:gd name="T35" fmla="*/ 89 h 172"/>
                  <a:gd name="T36" fmla="*/ 44 w 47"/>
                  <a:gd name="T37" fmla="*/ 105 h 172"/>
                  <a:gd name="T38" fmla="*/ 41 w 47"/>
                  <a:gd name="T39" fmla="*/ 80 h 172"/>
                  <a:gd name="T40" fmla="*/ 44 w 47"/>
                  <a:gd name="T41" fmla="*/ 65 h 172"/>
                  <a:gd name="T42" fmla="*/ 47 w 47"/>
                  <a:gd name="T43" fmla="*/ 80 h 172"/>
                  <a:gd name="T44" fmla="*/ 44 w 47"/>
                  <a:gd name="T45" fmla="*/ 61 h 172"/>
                  <a:gd name="T46" fmla="*/ 41 w 47"/>
                  <a:gd name="T47" fmla="*/ 47 h 172"/>
                  <a:gd name="T48" fmla="*/ 46 w 47"/>
                  <a:gd name="T49" fmla="*/ 46 h 172"/>
                  <a:gd name="T50" fmla="*/ 44 w 47"/>
                  <a:gd name="T51" fmla="*/ 61 h 172"/>
                  <a:gd name="T52" fmla="*/ 41 w 47"/>
                  <a:gd name="T53" fmla="*/ 35 h 172"/>
                  <a:gd name="T54" fmla="*/ 43 w 47"/>
                  <a:gd name="T55" fmla="*/ 22 h 172"/>
                  <a:gd name="T56" fmla="*/ 46 w 47"/>
                  <a:gd name="T57" fmla="*/ 35 h 172"/>
                  <a:gd name="T58" fmla="*/ 43 w 47"/>
                  <a:gd name="T59" fmla="*/ 37 h 172"/>
                  <a:gd name="T60" fmla="*/ 40 w 47"/>
                  <a:gd name="T61" fmla="*/ 12 h 172"/>
                  <a:gd name="T62" fmla="*/ 43 w 47"/>
                  <a:gd name="T63" fmla="*/ 0 h 172"/>
                  <a:gd name="T64" fmla="*/ 46 w 47"/>
                  <a:gd name="T65" fmla="*/ 1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7" h="172">
                    <a:moveTo>
                      <a:pt x="3" y="172"/>
                    </a:moveTo>
                    <a:cubicBezTo>
                      <a:pt x="2" y="172"/>
                      <a:pt x="1" y="172"/>
                      <a:pt x="1" y="171"/>
                    </a:cubicBezTo>
                    <a:cubicBezTo>
                      <a:pt x="0" y="170"/>
                      <a:pt x="0" y="168"/>
                      <a:pt x="1" y="167"/>
                    </a:cubicBezTo>
                    <a:cubicBezTo>
                      <a:pt x="8" y="159"/>
                      <a:pt x="8" y="159"/>
                      <a:pt x="8" y="159"/>
                    </a:cubicBezTo>
                    <a:cubicBezTo>
                      <a:pt x="9" y="158"/>
                      <a:pt x="11" y="158"/>
                      <a:pt x="12" y="159"/>
                    </a:cubicBezTo>
                    <a:cubicBezTo>
                      <a:pt x="13" y="160"/>
                      <a:pt x="13" y="162"/>
                      <a:pt x="12" y="163"/>
                    </a:cubicBezTo>
                    <a:cubicBezTo>
                      <a:pt x="5" y="171"/>
                      <a:pt x="5" y="171"/>
                      <a:pt x="5" y="171"/>
                    </a:cubicBezTo>
                    <a:cubicBezTo>
                      <a:pt x="4" y="171"/>
                      <a:pt x="3" y="172"/>
                      <a:pt x="3" y="172"/>
                    </a:cubicBezTo>
                    <a:close/>
                    <a:moveTo>
                      <a:pt x="17" y="156"/>
                    </a:moveTo>
                    <a:cubicBezTo>
                      <a:pt x="16" y="156"/>
                      <a:pt x="16" y="156"/>
                      <a:pt x="15" y="155"/>
                    </a:cubicBezTo>
                    <a:cubicBezTo>
                      <a:pt x="14" y="154"/>
                      <a:pt x="14" y="153"/>
                      <a:pt x="15" y="151"/>
                    </a:cubicBezTo>
                    <a:cubicBezTo>
                      <a:pt x="22" y="144"/>
                      <a:pt x="22" y="144"/>
                      <a:pt x="22" y="144"/>
                    </a:cubicBezTo>
                    <a:cubicBezTo>
                      <a:pt x="23" y="142"/>
                      <a:pt x="25" y="142"/>
                      <a:pt x="26" y="143"/>
                    </a:cubicBezTo>
                    <a:cubicBezTo>
                      <a:pt x="27" y="144"/>
                      <a:pt x="27" y="146"/>
                      <a:pt x="26" y="147"/>
                    </a:cubicBezTo>
                    <a:cubicBezTo>
                      <a:pt x="19" y="155"/>
                      <a:pt x="19" y="155"/>
                      <a:pt x="19" y="155"/>
                    </a:cubicBezTo>
                    <a:cubicBezTo>
                      <a:pt x="19" y="156"/>
                      <a:pt x="18" y="156"/>
                      <a:pt x="17" y="156"/>
                    </a:cubicBezTo>
                    <a:close/>
                    <a:moveTo>
                      <a:pt x="32" y="140"/>
                    </a:moveTo>
                    <a:cubicBezTo>
                      <a:pt x="31" y="140"/>
                      <a:pt x="30" y="140"/>
                      <a:pt x="30" y="139"/>
                    </a:cubicBezTo>
                    <a:cubicBezTo>
                      <a:pt x="29" y="138"/>
                      <a:pt x="29" y="137"/>
                      <a:pt x="30" y="136"/>
                    </a:cubicBezTo>
                    <a:cubicBezTo>
                      <a:pt x="37" y="128"/>
                      <a:pt x="37" y="128"/>
                      <a:pt x="37" y="128"/>
                    </a:cubicBezTo>
                    <a:cubicBezTo>
                      <a:pt x="38" y="127"/>
                      <a:pt x="40" y="127"/>
                      <a:pt x="41" y="128"/>
                    </a:cubicBezTo>
                    <a:cubicBezTo>
                      <a:pt x="42" y="129"/>
                      <a:pt x="42" y="130"/>
                      <a:pt x="41" y="131"/>
                    </a:cubicBezTo>
                    <a:cubicBezTo>
                      <a:pt x="34" y="139"/>
                      <a:pt x="34" y="139"/>
                      <a:pt x="34" y="139"/>
                    </a:cubicBezTo>
                    <a:cubicBezTo>
                      <a:pt x="33" y="140"/>
                      <a:pt x="32" y="140"/>
                      <a:pt x="32" y="140"/>
                    </a:cubicBezTo>
                    <a:close/>
                    <a:moveTo>
                      <a:pt x="45" y="125"/>
                    </a:moveTo>
                    <a:cubicBezTo>
                      <a:pt x="43" y="125"/>
                      <a:pt x="42" y="123"/>
                      <a:pt x="42" y="122"/>
                    </a:cubicBezTo>
                    <a:cubicBezTo>
                      <a:pt x="42" y="111"/>
                      <a:pt x="42" y="111"/>
                      <a:pt x="42" y="111"/>
                    </a:cubicBezTo>
                    <a:cubicBezTo>
                      <a:pt x="42" y="109"/>
                      <a:pt x="43" y="108"/>
                      <a:pt x="45" y="108"/>
                    </a:cubicBezTo>
                    <a:cubicBezTo>
                      <a:pt x="46" y="108"/>
                      <a:pt x="47" y="109"/>
                      <a:pt x="47" y="110"/>
                    </a:cubicBezTo>
                    <a:cubicBezTo>
                      <a:pt x="47" y="122"/>
                      <a:pt x="47" y="122"/>
                      <a:pt x="47" y="122"/>
                    </a:cubicBezTo>
                    <a:cubicBezTo>
                      <a:pt x="47" y="123"/>
                      <a:pt x="46" y="125"/>
                      <a:pt x="45" y="125"/>
                    </a:cubicBezTo>
                    <a:close/>
                    <a:moveTo>
                      <a:pt x="44" y="105"/>
                    </a:moveTo>
                    <a:cubicBezTo>
                      <a:pt x="43" y="105"/>
                      <a:pt x="42" y="103"/>
                      <a:pt x="42" y="101"/>
                    </a:cubicBezTo>
                    <a:cubicBezTo>
                      <a:pt x="42" y="90"/>
                      <a:pt x="42" y="90"/>
                      <a:pt x="42" y="90"/>
                    </a:cubicBezTo>
                    <a:cubicBezTo>
                      <a:pt x="42" y="88"/>
                      <a:pt x="43" y="87"/>
                      <a:pt x="44" y="87"/>
                    </a:cubicBezTo>
                    <a:cubicBezTo>
                      <a:pt x="46" y="86"/>
                      <a:pt x="47" y="88"/>
                      <a:pt x="47" y="89"/>
                    </a:cubicBezTo>
                    <a:cubicBezTo>
                      <a:pt x="47" y="101"/>
                      <a:pt x="47" y="101"/>
                      <a:pt x="47" y="101"/>
                    </a:cubicBezTo>
                    <a:cubicBezTo>
                      <a:pt x="47" y="103"/>
                      <a:pt x="46" y="105"/>
                      <a:pt x="44" y="105"/>
                    </a:cubicBezTo>
                    <a:close/>
                    <a:moveTo>
                      <a:pt x="44" y="85"/>
                    </a:moveTo>
                    <a:cubicBezTo>
                      <a:pt x="43" y="85"/>
                      <a:pt x="41" y="82"/>
                      <a:pt x="41" y="80"/>
                    </a:cubicBezTo>
                    <a:cubicBezTo>
                      <a:pt x="41" y="69"/>
                      <a:pt x="41" y="69"/>
                      <a:pt x="41" y="69"/>
                    </a:cubicBezTo>
                    <a:cubicBezTo>
                      <a:pt x="41" y="67"/>
                      <a:pt x="42" y="65"/>
                      <a:pt x="44" y="65"/>
                    </a:cubicBezTo>
                    <a:cubicBezTo>
                      <a:pt x="45" y="65"/>
                      <a:pt x="47" y="66"/>
                      <a:pt x="47" y="68"/>
                    </a:cubicBezTo>
                    <a:cubicBezTo>
                      <a:pt x="47" y="80"/>
                      <a:pt x="47" y="80"/>
                      <a:pt x="47" y="80"/>
                    </a:cubicBezTo>
                    <a:cubicBezTo>
                      <a:pt x="47" y="82"/>
                      <a:pt x="46" y="85"/>
                      <a:pt x="44" y="85"/>
                    </a:cubicBezTo>
                    <a:close/>
                    <a:moveTo>
                      <a:pt x="44" y="61"/>
                    </a:moveTo>
                    <a:cubicBezTo>
                      <a:pt x="42" y="61"/>
                      <a:pt x="41" y="59"/>
                      <a:pt x="41" y="58"/>
                    </a:cubicBezTo>
                    <a:cubicBezTo>
                      <a:pt x="41" y="47"/>
                      <a:pt x="41" y="47"/>
                      <a:pt x="41" y="47"/>
                    </a:cubicBezTo>
                    <a:cubicBezTo>
                      <a:pt x="41" y="45"/>
                      <a:pt x="42" y="44"/>
                      <a:pt x="44" y="44"/>
                    </a:cubicBezTo>
                    <a:cubicBezTo>
                      <a:pt x="45" y="43"/>
                      <a:pt x="46" y="45"/>
                      <a:pt x="46" y="46"/>
                    </a:cubicBezTo>
                    <a:cubicBezTo>
                      <a:pt x="47" y="58"/>
                      <a:pt x="47" y="58"/>
                      <a:pt x="47" y="58"/>
                    </a:cubicBezTo>
                    <a:cubicBezTo>
                      <a:pt x="47" y="59"/>
                      <a:pt x="45" y="61"/>
                      <a:pt x="44" y="61"/>
                    </a:cubicBezTo>
                    <a:close/>
                    <a:moveTo>
                      <a:pt x="43" y="37"/>
                    </a:moveTo>
                    <a:cubicBezTo>
                      <a:pt x="42" y="37"/>
                      <a:pt x="41" y="36"/>
                      <a:pt x="41" y="35"/>
                    </a:cubicBezTo>
                    <a:cubicBezTo>
                      <a:pt x="41" y="24"/>
                      <a:pt x="41" y="24"/>
                      <a:pt x="41" y="24"/>
                    </a:cubicBezTo>
                    <a:cubicBezTo>
                      <a:pt x="41" y="23"/>
                      <a:pt x="42" y="22"/>
                      <a:pt x="43" y="22"/>
                    </a:cubicBezTo>
                    <a:cubicBezTo>
                      <a:pt x="45" y="22"/>
                      <a:pt x="46" y="23"/>
                      <a:pt x="46" y="25"/>
                    </a:cubicBezTo>
                    <a:cubicBezTo>
                      <a:pt x="46" y="35"/>
                      <a:pt x="46" y="35"/>
                      <a:pt x="46" y="35"/>
                    </a:cubicBezTo>
                    <a:cubicBezTo>
                      <a:pt x="46" y="36"/>
                      <a:pt x="45" y="37"/>
                      <a:pt x="44" y="37"/>
                    </a:cubicBezTo>
                    <a:lnTo>
                      <a:pt x="43" y="37"/>
                    </a:lnTo>
                    <a:close/>
                    <a:moveTo>
                      <a:pt x="43" y="13"/>
                    </a:moveTo>
                    <a:cubicBezTo>
                      <a:pt x="42" y="13"/>
                      <a:pt x="40" y="14"/>
                      <a:pt x="40" y="12"/>
                    </a:cubicBezTo>
                    <a:cubicBezTo>
                      <a:pt x="40" y="2"/>
                      <a:pt x="40" y="2"/>
                      <a:pt x="40" y="2"/>
                    </a:cubicBezTo>
                    <a:cubicBezTo>
                      <a:pt x="40" y="1"/>
                      <a:pt x="41" y="0"/>
                      <a:pt x="43" y="0"/>
                    </a:cubicBezTo>
                    <a:cubicBezTo>
                      <a:pt x="44" y="0"/>
                      <a:pt x="46" y="1"/>
                      <a:pt x="46" y="3"/>
                    </a:cubicBezTo>
                    <a:cubicBezTo>
                      <a:pt x="46" y="12"/>
                      <a:pt x="46" y="12"/>
                      <a:pt x="46" y="12"/>
                    </a:cubicBezTo>
                    <a:cubicBezTo>
                      <a:pt x="46" y="13"/>
                      <a:pt x="45" y="13"/>
                      <a:pt x="43"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59" name="Freeform 113">
                <a:extLst>
                  <a:ext uri="{FF2B5EF4-FFF2-40B4-BE49-F238E27FC236}">
                    <a16:creationId xmlns:a16="http://schemas.microsoft.com/office/drawing/2014/main" id="{A324C36B-9264-DD8A-6A58-69D149F749A4}"/>
                  </a:ext>
                </a:extLst>
              </p:cNvPr>
              <p:cNvSpPr>
                <a:spLocks/>
              </p:cNvSpPr>
              <p:nvPr/>
            </p:nvSpPr>
            <p:spPr bwMode="auto">
              <a:xfrm>
                <a:off x="4309925" y="3763659"/>
                <a:ext cx="12917" cy="15069"/>
              </a:xfrm>
              <a:custGeom>
                <a:avLst/>
                <a:gdLst>
                  <a:gd name="T0" fmla="*/ 3 w 9"/>
                  <a:gd name="T1" fmla="*/ 10 h 10"/>
                  <a:gd name="T2" fmla="*/ 1 w 9"/>
                  <a:gd name="T3" fmla="*/ 9 h 10"/>
                  <a:gd name="T4" fmla="*/ 1 w 9"/>
                  <a:gd name="T5" fmla="*/ 5 h 10"/>
                  <a:gd name="T6" fmla="*/ 4 w 9"/>
                  <a:gd name="T7" fmla="*/ 1 h 10"/>
                  <a:gd name="T8" fmla="*/ 8 w 9"/>
                  <a:gd name="T9" fmla="*/ 1 h 10"/>
                  <a:gd name="T10" fmla="*/ 8 w 9"/>
                  <a:gd name="T11" fmla="*/ 5 h 10"/>
                  <a:gd name="T12" fmla="*/ 5 w 9"/>
                  <a:gd name="T13" fmla="*/ 9 h 10"/>
                  <a:gd name="T14" fmla="*/ 3 w 9"/>
                  <a:gd name="T15" fmla="*/ 1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0">
                    <a:moveTo>
                      <a:pt x="3" y="10"/>
                    </a:moveTo>
                    <a:cubicBezTo>
                      <a:pt x="2" y="10"/>
                      <a:pt x="1" y="9"/>
                      <a:pt x="1" y="9"/>
                    </a:cubicBezTo>
                    <a:cubicBezTo>
                      <a:pt x="0" y="8"/>
                      <a:pt x="0" y="6"/>
                      <a:pt x="1" y="5"/>
                    </a:cubicBezTo>
                    <a:cubicBezTo>
                      <a:pt x="4" y="1"/>
                      <a:pt x="4" y="1"/>
                      <a:pt x="4" y="1"/>
                    </a:cubicBezTo>
                    <a:cubicBezTo>
                      <a:pt x="5" y="0"/>
                      <a:pt x="7" y="0"/>
                      <a:pt x="8" y="1"/>
                    </a:cubicBezTo>
                    <a:cubicBezTo>
                      <a:pt x="9" y="2"/>
                      <a:pt x="9" y="4"/>
                      <a:pt x="8" y="5"/>
                    </a:cubicBezTo>
                    <a:cubicBezTo>
                      <a:pt x="5" y="9"/>
                      <a:pt x="5" y="9"/>
                      <a:pt x="5" y="9"/>
                    </a:cubicBezTo>
                    <a:cubicBezTo>
                      <a:pt x="4" y="9"/>
                      <a:pt x="3" y="10"/>
                      <a:pt x="3"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60" name="Freeform 114">
                <a:extLst>
                  <a:ext uri="{FF2B5EF4-FFF2-40B4-BE49-F238E27FC236}">
                    <a16:creationId xmlns:a16="http://schemas.microsoft.com/office/drawing/2014/main" id="{36A266F3-45B6-68AB-106A-D7DB85F91BE3}"/>
                  </a:ext>
                </a:extLst>
              </p:cNvPr>
              <p:cNvSpPr>
                <a:spLocks/>
              </p:cNvSpPr>
              <p:nvPr/>
            </p:nvSpPr>
            <p:spPr bwMode="auto">
              <a:xfrm>
                <a:off x="4387424" y="3687236"/>
                <a:ext cx="16146" cy="5382"/>
              </a:xfrm>
              <a:custGeom>
                <a:avLst/>
                <a:gdLst>
                  <a:gd name="T0" fmla="*/ 8 w 11"/>
                  <a:gd name="T1" fmla="*/ 4 h 4"/>
                  <a:gd name="T2" fmla="*/ 8 w 11"/>
                  <a:gd name="T3" fmla="*/ 4 h 4"/>
                  <a:gd name="T4" fmla="*/ 3 w 11"/>
                  <a:gd name="T5" fmla="*/ 4 h 4"/>
                  <a:gd name="T6" fmla="*/ 0 w 11"/>
                  <a:gd name="T7" fmla="*/ 2 h 4"/>
                  <a:gd name="T8" fmla="*/ 3 w 11"/>
                  <a:gd name="T9" fmla="*/ 0 h 4"/>
                  <a:gd name="T10" fmla="*/ 3 w 11"/>
                  <a:gd name="T11" fmla="*/ 0 h 4"/>
                  <a:gd name="T12" fmla="*/ 8 w 11"/>
                  <a:gd name="T13" fmla="*/ 0 h 4"/>
                  <a:gd name="T14" fmla="*/ 11 w 11"/>
                  <a:gd name="T15" fmla="*/ 2 h 4"/>
                  <a:gd name="T16" fmla="*/ 8 w 11"/>
                  <a:gd name="T1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4">
                    <a:moveTo>
                      <a:pt x="8" y="4"/>
                    </a:moveTo>
                    <a:cubicBezTo>
                      <a:pt x="8" y="4"/>
                      <a:pt x="8" y="4"/>
                      <a:pt x="8" y="4"/>
                    </a:cubicBezTo>
                    <a:cubicBezTo>
                      <a:pt x="3" y="4"/>
                      <a:pt x="3" y="4"/>
                      <a:pt x="3" y="4"/>
                    </a:cubicBezTo>
                    <a:cubicBezTo>
                      <a:pt x="1" y="4"/>
                      <a:pt x="0" y="4"/>
                      <a:pt x="0" y="2"/>
                    </a:cubicBezTo>
                    <a:cubicBezTo>
                      <a:pt x="0" y="1"/>
                      <a:pt x="1" y="0"/>
                      <a:pt x="3" y="0"/>
                    </a:cubicBezTo>
                    <a:cubicBezTo>
                      <a:pt x="3" y="0"/>
                      <a:pt x="3" y="0"/>
                      <a:pt x="3" y="0"/>
                    </a:cubicBezTo>
                    <a:cubicBezTo>
                      <a:pt x="8" y="0"/>
                      <a:pt x="8" y="0"/>
                      <a:pt x="8" y="0"/>
                    </a:cubicBezTo>
                    <a:cubicBezTo>
                      <a:pt x="10" y="0"/>
                      <a:pt x="11" y="0"/>
                      <a:pt x="11" y="2"/>
                    </a:cubicBezTo>
                    <a:cubicBezTo>
                      <a:pt x="11" y="3"/>
                      <a:pt x="10" y="4"/>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61" name="Freeform 115">
                <a:extLst>
                  <a:ext uri="{FF2B5EF4-FFF2-40B4-BE49-F238E27FC236}">
                    <a16:creationId xmlns:a16="http://schemas.microsoft.com/office/drawing/2014/main" id="{4F6BC8F7-60DA-09D6-115B-8BF7CCA1E1AC}"/>
                  </a:ext>
                </a:extLst>
              </p:cNvPr>
              <p:cNvSpPr>
                <a:spLocks noEditPoints="1"/>
              </p:cNvSpPr>
              <p:nvPr/>
            </p:nvSpPr>
            <p:spPr bwMode="auto">
              <a:xfrm>
                <a:off x="4412182" y="3680777"/>
                <a:ext cx="159304" cy="13993"/>
              </a:xfrm>
              <a:custGeom>
                <a:avLst/>
                <a:gdLst>
                  <a:gd name="T0" fmla="*/ 108 w 110"/>
                  <a:gd name="T1" fmla="*/ 8 h 9"/>
                  <a:gd name="T2" fmla="*/ 107 w 110"/>
                  <a:gd name="T3" fmla="*/ 8 h 9"/>
                  <a:gd name="T4" fmla="*/ 96 w 110"/>
                  <a:gd name="T5" fmla="*/ 9 h 9"/>
                  <a:gd name="T6" fmla="*/ 93 w 110"/>
                  <a:gd name="T7" fmla="*/ 6 h 9"/>
                  <a:gd name="T8" fmla="*/ 96 w 110"/>
                  <a:gd name="T9" fmla="*/ 4 h 9"/>
                  <a:gd name="T10" fmla="*/ 108 w 110"/>
                  <a:gd name="T11" fmla="*/ 4 h 9"/>
                  <a:gd name="T12" fmla="*/ 110 w 110"/>
                  <a:gd name="T13" fmla="*/ 6 h 9"/>
                  <a:gd name="T14" fmla="*/ 108 w 110"/>
                  <a:gd name="T15" fmla="*/ 8 h 9"/>
                  <a:gd name="T16" fmla="*/ 84 w 110"/>
                  <a:gd name="T17" fmla="*/ 8 h 9"/>
                  <a:gd name="T18" fmla="*/ 84 w 110"/>
                  <a:gd name="T19" fmla="*/ 8 h 9"/>
                  <a:gd name="T20" fmla="*/ 73 w 110"/>
                  <a:gd name="T21" fmla="*/ 9 h 9"/>
                  <a:gd name="T22" fmla="*/ 70 w 110"/>
                  <a:gd name="T23" fmla="*/ 4 h 9"/>
                  <a:gd name="T24" fmla="*/ 73 w 110"/>
                  <a:gd name="T25" fmla="*/ 0 h 9"/>
                  <a:gd name="T26" fmla="*/ 73 w 110"/>
                  <a:gd name="T27" fmla="*/ 0 h 9"/>
                  <a:gd name="T28" fmla="*/ 84 w 110"/>
                  <a:gd name="T29" fmla="*/ 2 h 9"/>
                  <a:gd name="T30" fmla="*/ 87 w 110"/>
                  <a:gd name="T31" fmla="*/ 5 h 9"/>
                  <a:gd name="T32" fmla="*/ 84 w 110"/>
                  <a:gd name="T33" fmla="*/ 8 h 9"/>
                  <a:gd name="T34" fmla="*/ 61 w 110"/>
                  <a:gd name="T35" fmla="*/ 8 h 9"/>
                  <a:gd name="T36" fmla="*/ 61 w 110"/>
                  <a:gd name="T37" fmla="*/ 8 h 9"/>
                  <a:gd name="T38" fmla="*/ 49 w 110"/>
                  <a:gd name="T39" fmla="*/ 9 h 9"/>
                  <a:gd name="T40" fmla="*/ 47 w 110"/>
                  <a:gd name="T41" fmla="*/ 4 h 9"/>
                  <a:gd name="T42" fmla="*/ 49 w 110"/>
                  <a:gd name="T43" fmla="*/ 0 h 9"/>
                  <a:gd name="T44" fmla="*/ 49 w 110"/>
                  <a:gd name="T45" fmla="*/ 0 h 9"/>
                  <a:gd name="T46" fmla="*/ 61 w 110"/>
                  <a:gd name="T47" fmla="*/ 2 h 9"/>
                  <a:gd name="T48" fmla="*/ 64 w 110"/>
                  <a:gd name="T49" fmla="*/ 5 h 9"/>
                  <a:gd name="T50" fmla="*/ 61 w 110"/>
                  <a:gd name="T51" fmla="*/ 8 h 9"/>
                  <a:gd name="T52" fmla="*/ 38 w 110"/>
                  <a:gd name="T53" fmla="*/ 8 h 9"/>
                  <a:gd name="T54" fmla="*/ 38 w 110"/>
                  <a:gd name="T55" fmla="*/ 8 h 9"/>
                  <a:gd name="T56" fmla="*/ 26 w 110"/>
                  <a:gd name="T57" fmla="*/ 8 h 9"/>
                  <a:gd name="T58" fmla="*/ 23 w 110"/>
                  <a:gd name="T59" fmla="*/ 4 h 9"/>
                  <a:gd name="T60" fmla="*/ 26 w 110"/>
                  <a:gd name="T61" fmla="*/ 0 h 9"/>
                  <a:gd name="T62" fmla="*/ 26 w 110"/>
                  <a:gd name="T63" fmla="*/ 0 h 9"/>
                  <a:gd name="T64" fmla="*/ 38 w 110"/>
                  <a:gd name="T65" fmla="*/ 2 h 9"/>
                  <a:gd name="T66" fmla="*/ 40 w 110"/>
                  <a:gd name="T67" fmla="*/ 5 h 9"/>
                  <a:gd name="T68" fmla="*/ 38 w 110"/>
                  <a:gd name="T69" fmla="*/ 8 h 9"/>
                  <a:gd name="T70" fmla="*/ 14 w 110"/>
                  <a:gd name="T71" fmla="*/ 8 h 9"/>
                  <a:gd name="T72" fmla="*/ 14 w 110"/>
                  <a:gd name="T73" fmla="*/ 8 h 9"/>
                  <a:gd name="T74" fmla="*/ 3 w 110"/>
                  <a:gd name="T75" fmla="*/ 8 h 9"/>
                  <a:gd name="T76" fmla="*/ 0 w 110"/>
                  <a:gd name="T77" fmla="*/ 4 h 9"/>
                  <a:gd name="T78" fmla="*/ 3 w 110"/>
                  <a:gd name="T79" fmla="*/ 0 h 9"/>
                  <a:gd name="T80" fmla="*/ 3 w 110"/>
                  <a:gd name="T81" fmla="*/ 0 h 9"/>
                  <a:gd name="T82" fmla="*/ 15 w 110"/>
                  <a:gd name="T83" fmla="*/ 2 h 9"/>
                  <a:gd name="T84" fmla="*/ 17 w 110"/>
                  <a:gd name="T85" fmla="*/ 5 h 9"/>
                  <a:gd name="T86" fmla="*/ 14 w 110"/>
                  <a:gd name="T87"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0" h="9">
                    <a:moveTo>
                      <a:pt x="108" y="8"/>
                    </a:moveTo>
                    <a:cubicBezTo>
                      <a:pt x="107" y="8"/>
                      <a:pt x="107" y="8"/>
                      <a:pt x="107" y="8"/>
                    </a:cubicBezTo>
                    <a:cubicBezTo>
                      <a:pt x="96" y="9"/>
                      <a:pt x="96" y="9"/>
                      <a:pt x="96" y="9"/>
                    </a:cubicBezTo>
                    <a:cubicBezTo>
                      <a:pt x="94" y="9"/>
                      <a:pt x="93" y="8"/>
                      <a:pt x="93" y="6"/>
                    </a:cubicBezTo>
                    <a:cubicBezTo>
                      <a:pt x="93" y="5"/>
                      <a:pt x="94" y="4"/>
                      <a:pt x="96" y="4"/>
                    </a:cubicBezTo>
                    <a:cubicBezTo>
                      <a:pt x="108" y="4"/>
                      <a:pt x="108" y="4"/>
                      <a:pt x="108" y="4"/>
                    </a:cubicBezTo>
                    <a:cubicBezTo>
                      <a:pt x="109" y="4"/>
                      <a:pt x="110" y="4"/>
                      <a:pt x="110" y="6"/>
                    </a:cubicBezTo>
                    <a:cubicBezTo>
                      <a:pt x="110" y="8"/>
                      <a:pt x="109" y="8"/>
                      <a:pt x="108" y="8"/>
                    </a:cubicBezTo>
                    <a:close/>
                    <a:moveTo>
                      <a:pt x="84" y="8"/>
                    </a:moveTo>
                    <a:cubicBezTo>
                      <a:pt x="84" y="8"/>
                      <a:pt x="84" y="8"/>
                      <a:pt x="84" y="8"/>
                    </a:cubicBezTo>
                    <a:cubicBezTo>
                      <a:pt x="73" y="9"/>
                      <a:pt x="73" y="9"/>
                      <a:pt x="73" y="9"/>
                    </a:cubicBezTo>
                    <a:cubicBezTo>
                      <a:pt x="71" y="9"/>
                      <a:pt x="70" y="6"/>
                      <a:pt x="70" y="4"/>
                    </a:cubicBezTo>
                    <a:cubicBezTo>
                      <a:pt x="70" y="3"/>
                      <a:pt x="71" y="0"/>
                      <a:pt x="73" y="0"/>
                    </a:cubicBezTo>
                    <a:cubicBezTo>
                      <a:pt x="73" y="0"/>
                      <a:pt x="73" y="0"/>
                      <a:pt x="73" y="0"/>
                    </a:cubicBezTo>
                    <a:cubicBezTo>
                      <a:pt x="84" y="2"/>
                      <a:pt x="84" y="2"/>
                      <a:pt x="84" y="2"/>
                    </a:cubicBezTo>
                    <a:cubicBezTo>
                      <a:pt x="86" y="2"/>
                      <a:pt x="87" y="3"/>
                      <a:pt x="87" y="5"/>
                    </a:cubicBezTo>
                    <a:cubicBezTo>
                      <a:pt x="87" y="6"/>
                      <a:pt x="86" y="8"/>
                      <a:pt x="84" y="8"/>
                    </a:cubicBezTo>
                    <a:close/>
                    <a:moveTo>
                      <a:pt x="61" y="8"/>
                    </a:moveTo>
                    <a:cubicBezTo>
                      <a:pt x="61" y="8"/>
                      <a:pt x="61" y="8"/>
                      <a:pt x="61" y="8"/>
                    </a:cubicBezTo>
                    <a:cubicBezTo>
                      <a:pt x="49" y="9"/>
                      <a:pt x="49" y="9"/>
                      <a:pt x="49" y="9"/>
                    </a:cubicBezTo>
                    <a:cubicBezTo>
                      <a:pt x="48" y="9"/>
                      <a:pt x="47" y="6"/>
                      <a:pt x="47" y="4"/>
                    </a:cubicBezTo>
                    <a:cubicBezTo>
                      <a:pt x="47" y="3"/>
                      <a:pt x="48" y="0"/>
                      <a:pt x="49" y="0"/>
                    </a:cubicBezTo>
                    <a:cubicBezTo>
                      <a:pt x="49" y="0"/>
                      <a:pt x="49" y="0"/>
                      <a:pt x="49" y="0"/>
                    </a:cubicBezTo>
                    <a:cubicBezTo>
                      <a:pt x="61" y="2"/>
                      <a:pt x="61" y="2"/>
                      <a:pt x="61" y="2"/>
                    </a:cubicBezTo>
                    <a:cubicBezTo>
                      <a:pt x="63" y="2"/>
                      <a:pt x="64" y="3"/>
                      <a:pt x="64" y="5"/>
                    </a:cubicBezTo>
                    <a:cubicBezTo>
                      <a:pt x="64" y="6"/>
                      <a:pt x="63" y="8"/>
                      <a:pt x="61" y="8"/>
                    </a:cubicBezTo>
                    <a:close/>
                    <a:moveTo>
                      <a:pt x="38" y="8"/>
                    </a:moveTo>
                    <a:cubicBezTo>
                      <a:pt x="38" y="8"/>
                      <a:pt x="38" y="8"/>
                      <a:pt x="38" y="8"/>
                    </a:cubicBezTo>
                    <a:cubicBezTo>
                      <a:pt x="26" y="8"/>
                      <a:pt x="26" y="8"/>
                      <a:pt x="26" y="8"/>
                    </a:cubicBezTo>
                    <a:cubicBezTo>
                      <a:pt x="25" y="8"/>
                      <a:pt x="23" y="6"/>
                      <a:pt x="23" y="4"/>
                    </a:cubicBezTo>
                    <a:cubicBezTo>
                      <a:pt x="23" y="3"/>
                      <a:pt x="25" y="0"/>
                      <a:pt x="26" y="0"/>
                    </a:cubicBezTo>
                    <a:cubicBezTo>
                      <a:pt x="26" y="0"/>
                      <a:pt x="26" y="0"/>
                      <a:pt x="26" y="0"/>
                    </a:cubicBezTo>
                    <a:cubicBezTo>
                      <a:pt x="38" y="2"/>
                      <a:pt x="38" y="2"/>
                      <a:pt x="38" y="2"/>
                    </a:cubicBezTo>
                    <a:cubicBezTo>
                      <a:pt x="39" y="2"/>
                      <a:pt x="40" y="3"/>
                      <a:pt x="40" y="5"/>
                    </a:cubicBezTo>
                    <a:cubicBezTo>
                      <a:pt x="40" y="6"/>
                      <a:pt x="39" y="8"/>
                      <a:pt x="38" y="8"/>
                    </a:cubicBezTo>
                    <a:close/>
                    <a:moveTo>
                      <a:pt x="14" y="8"/>
                    </a:moveTo>
                    <a:cubicBezTo>
                      <a:pt x="14" y="8"/>
                      <a:pt x="14" y="8"/>
                      <a:pt x="14" y="8"/>
                    </a:cubicBezTo>
                    <a:cubicBezTo>
                      <a:pt x="3" y="8"/>
                      <a:pt x="3" y="8"/>
                      <a:pt x="3" y="8"/>
                    </a:cubicBezTo>
                    <a:cubicBezTo>
                      <a:pt x="1" y="8"/>
                      <a:pt x="0" y="6"/>
                      <a:pt x="0" y="4"/>
                    </a:cubicBezTo>
                    <a:cubicBezTo>
                      <a:pt x="0" y="3"/>
                      <a:pt x="1" y="0"/>
                      <a:pt x="3" y="0"/>
                    </a:cubicBezTo>
                    <a:cubicBezTo>
                      <a:pt x="3" y="0"/>
                      <a:pt x="3" y="0"/>
                      <a:pt x="3" y="0"/>
                    </a:cubicBezTo>
                    <a:cubicBezTo>
                      <a:pt x="15" y="2"/>
                      <a:pt x="15" y="2"/>
                      <a:pt x="15" y="2"/>
                    </a:cubicBezTo>
                    <a:cubicBezTo>
                      <a:pt x="16" y="2"/>
                      <a:pt x="17" y="3"/>
                      <a:pt x="17" y="5"/>
                    </a:cubicBezTo>
                    <a:cubicBezTo>
                      <a:pt x="17" y="6"/>
                      <a:pt x="16" y="8"/>
                      <a:pt x="1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62" name="Freeform 116">
                <a:extLst>
                  <a:ext uri="{FF2B5EF4-FFF2-40B4-BE49-F238E27FC236}">
                    <a16:creationId xmlns:a16="http://schemas.microsoft.com/office/drawing/2014/main" id="{1B3F2B6A-154D-258E-DCAF-4F6DBD9F63A4}"/>
                  </a:ext>
                </a:extLst>
              </p:cNvPr>
              <p:cNvSpPr>
                <a:spLocks/>
              </p:cNvSpPr>
              <p:nvPr/>
            </p:nvSpPr>
            <p:spPr bwMode="auto">
              <a:xfrm>
                <a:off x="4581173" y="3687236"/>
                <a:ext cx="15069" cy="7535"/>
              </a:xfrm>
              <a:custGeom>
                <a:avLst/>
                <a:gdLst>
                  <a:gd name="T0" fmla="*/ 9 w 11"/>
                  <a:gd name="T1" fmla="*/ 4 h 5"/>
                  <a:gd name="T2" fmla="*/ 9 w 11"/>
                  <a:gd name="T3" fmla="*/ 4 h 5"/>
                  <a:gd name="T4" fmla="*/ 3 w 11"/>
                  <a:gd name="T5" fmla="*/ 5 h 5"/>
                  <a:gd name="T6" fmla="*/ 0 w 11"/>
                  <a:gd name="T7" fmla="*/ 2 h 5"/>
                  <a:gd name="T8" fmla="*/ 3 w 11"/>
                  <a:gd name="T9" fmla="*/ 0 h 5"/>
                  <a:gd name="T10" fmla="*/ 3 w 11"/>
                  <a:gd name="T11" fmla="*/ 0 h 5"/>
                  <a:gd name="T12" fmla="*/ 9 w 11"/>
                  <a:gd name="T13" fmla="*/ 0 h 5"/>
                  <a:gd name="T14" fmla="*/ 11 w 11"/>
                  <a:gd name="T15" fmla="*/ 2 h 5"/>
                  <a:gd name="T16" fmla="*/ 9 w 11"/>
                  <a:gd name="T17"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
                    <a:moveTo>
                      <a:pt x="9" y="4"/>
                    </a:moveTo>
                    <a:cubicBezTo>
                      <a:pt x="9" y="4"/>
                      <a:pt x="9" y="4"/>
                      <a:pt x="9" y="4"/>
                    </a:cubicBezTo>
                    <a:cubicBezTo>
                      <a:pt x="3" y="5"/>
                      <a:pt x="3" y="5"/>
                      <a:pt x="3" y="5"/>
                    </a:cubicBezTo>
                    <a:cubicBezTo>
                      <a:pt x="2" y="5"/>
                      <a:pt x="0" y="4"/>
                      <a:pt x="0" y="2"/>
                    </a:cubicBezTo>
                    <a:cubicBezTo>
                      <a:pt x="0" y="1"/>
                      <a:pt x="2" y="0"/>
                      <a:pt x="3" y="0"/>
                    </a:cubicBezTo>
                    <a:cubicBezTo>
                      <a:pt x="3" y="0"/>
                      <a:pt x="3" y="0"/>
                      <a:pt x="3" y="0"/>
                    </a:cubicBezTo>
                    <a:cubicBezTo>
                      <a:pt x="9" y="0"/>
                      <a:pt x="9" y="0"/>
                      <a:pt x="9" y="0"/>
                    </a:cubicBezTo>
                    <a:cubicBezTo>
                      <a:pt x="10" y="0"/>
                      <a:pt x="11" y="0"/>
                      <a:pt x="11" y="2"/>
                    </a:cubicBezTo>
                    <a:cubicBezTo>
                      <a:pt x="11" y="3"/>
                      <a:pt x="10" y="4"/>
                      <a:pt x="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63" name="Freeform 117">
                <a:extLst>
                  <a:ext uri="{FF2B5EF4-FFF2-40B4-BE49-F238E27FC236}">
                    <a16:creationId xmlns:a16="http://schemas.microsoft.com/office/drawing/2014/main" id="{17B3027E-A6BC-A815-3453-AC946CE3F778}"/>
                  </a:ext>
                </a:extLst>
              </p:cNvPr>
              <p:cNvSpPr>
                <a:spLocks noEditPoints="1"/>
              </p:cNvSpPr>
              <p:nvPr/>
            </p:nvSpPr>
            <p:spPr bwMode="auto">
              <a:xfrm>
                <a:off x="4247495" y="3489182"/>
                <a:ext cx="59201" cy="49513"/>
              </a:xfrm>
              <a:custGeom>
                <a:avLst/>
                <a:gdLst>
                  <a:gd name="T0" fmla="*/ 2 w 41"/>
                  <a:gd name="T1" fmla="*/ 11 h 34"/>
                  <a:gd name="T2" fmla="*/ 21 w 41"/>
                  <a:gd name="T3" fmla="*/ 0 h 34"/>
                  <a:gd name="T4" fmla="*/ 39 w 41"/>
                  <a:gd name="T5" fmla="*/ 11 h 34"/>
                  <a:gd name="T6" fmla="*/ 39 w 41"/>
                  <a:gd name="T7" fmla="*/ 27 h 34"/>
                  <a:gd name="T8" fmla="*/ 41 w 41"/>
                  <a:gd name="T9" fmla="*/ 33 h 34"/>
                  <a:gd name="T10" fmla="*/ 30 w 41"/>
                  <a:gd name="T11" fmla="*/ 33 h 34"/>
                  <a:gd name="T12" fmla="*/ 29 w 41"/>
                  <a:gd name="T13" fmla="*/ 30 h 34"/>
                  <a:gd name="T14" fmla="*/ 14 w 41"/>
                  <a:gd name="T15" fmla="*/ 34 h 34"/>
                  <a:gd name="T16" fmla="*/ 0 w 41"/>
                  <a:gd name="T17" fmla="*/ 24 h 34"/>
                  <a:gd name="T18" fmla="*/ 13 w 41"/>
                  <a:gd name="T19" fmla="*/ 14 h 34"/>
                  <a:gd name="T20" fmla="*/ 24 w 41"/>
                  <a:gd name="T21" fmla="*/ 13 h 34"/>
                  <a:gd name="T22" fmla="*/ 29 w 41"/>
                  <a:gd name="T23" fmla="*/ 10 h 34"/>
                  <a:gd name="T24" fmla="*/ 20 w 41"/>
                  <a:gd name="T25" fmla="*/ 6 h 34"/>
                  <a:gd name="T26" fmla="*/ 12 w 41"/>
                  <a:gd name="T27" fmla="*/ 11 h 34"/>
                  <a:gd name="T28" fmla="*/ 2 w 41"/>
                  <a:gd name="T29" fmla="*/ 11 h 34"/>
                  <a:gd name="T30" fmla="*/ 29 w 41"/>
                  <a:gd name="T31" fmla="*/ 17 h 34"/>
                  <a:gd name="T32" fmla="*/ 23 w 41"/>
                  <a:gd name="T33" fmla="*/ 19 h 34"/>
                  <a:gd name="T34" fmla="*/ 17 w 41"/>
                  <a:gd name="T35" fmla="*/ 19 h 34"/>
                  <a:gd name="T36" fmla="*/ 11 w 41"/>
                  <a:gd name="T37" fmla="*/ 24 h 34"/>
                  <a:gd name="T38" fmla="*/ 18 w 41"/>
                  <a:gd name="T39" fmla="*/ 28 h 34"/>
                  <a:gd name="T40" fmla="*/ 29 w 41"/>
                  <a:gd name="T41" fmla="*/ 20 h 34"/>
                  <a:gd name="T42" fmla="*/ 29 w 41"/>
                  <a:gd name="T43"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1" h="34">
                    <a:moveTo>
                      <a:pt x="2" y="11"/>
                    </a:moveTo>
                    <a:cubicBezTo>
                      <a:pt x="3" y="1"/>
                      <a:pt x="12" y="0"/>
                      <a:pt x="21" y="0"/>
                    </a:cubicBezTo>
                    <a:cubicBezTo>
                      <a:pt x="36" y="0"/>
                      <a:pt x="39" y="5"/>
                      <a:pt x="39" y="11"/>
                    </a:cubicBezTo>
                    <a:cubicBezTo>
                      <a:pt x="39" y="27"/>
                      <a:pt x="39" y="27"/>
                      <a:pt x="39" y="27"/>
                    </a:cubicBezTo>
                    <a:cubicBezTo>
                      <a:pt x="39" y="29"/>
                      <a:pt x="40" y="31"/>
                      <a:pt x="41" y="33"/>
                    </a:cubicBezTo>
                    <a:cubicBezTo>
                      <a:pt x="30" y="33"/>
                      <a:pt x="30" y="33"/>
                      <a:pt x="30" y="33"/>
                    </a:cubicBezTo>
                    <a:cubicBezTo>
                      <a:pt x="30" y="32"/>
                      <a:pt x="29" y="31"/>
                      <a:pt x="29" y="30"/>
                    </a:cubicBezTo>
                    <a:cubicBezTo>
                      <a:pt x="26" y="33"/>
                      <a:pt x="19" y="34"/>
                      <a:pt x="14" y="34"/>
                    </a:cubicBezTo>
                    <a:cubicBezTo>
                      <a:pt x="6" y="34"/>
                      <a:pt x="0" y="31"/>
                      <a:pt x="0" y="24"/>
                    </a:cubicBezTo>
                    <a:cubicBezTo>
                      <a:pt x="0" y="16"/>
                      <a:pt x="7" y="14"/>
                      <a:pt x="13" y="14"/>
                    </a:cubicBezTo>
                    <a:cubicBezTo>
                      <a:pt x="24" y="13"/>
                      <a:pt x="24" y="13"/>
                      <a:pt x="24" y="13"/>
                    </a:cubicBezTo>
                    <a:cubicBezTo>
                      <a:pt x="28" y="13"/>
                      <a:pt x="29" y="12"/>
                      <a:pt x="29" y="10"/>
                    </a:cubicBezTo>
                    <a:cubicBezTo>
                      <a:pt x="29" y="7"/>
                      <a:pt x="27" y="6"/>
                      <a:pt x="20" y="6"/>
                    </a:cubicBezTo>
                    <a:cubicBezTo>
                      <a:pt x="16" y="6"/>
                      <a:pt x="14" y="6"/>
                      <a:pt x="12" y="11"/>
                    </a:cubicBezTo>
                    <a:lnTo>
                      <a:pt x="2" y="11"/>
                    </a:lnTo>
                    <a:close/>
                    <a:moveTo>
                      <a:pt x="29" y="17"/>
                    </a:moveTo>
                    <a:cubicBezTo>
                      <a:pt x="27" y="18"/>
                      <a:pt x="25" y="19"/>
                      <a:pt x="23" y="19"/>
                    </a:cubicBezTo>
                    <a:cubicBezTo>
                      <a:pt x="17" y="19"/>
                      <a:pt x="17" y="19"/>
                      <a:pt x="17" y="19"/>
                    </a:cubicBezTo>
                    <a:cubicBezTo>
                      <a:pt x="13" y="20"/>
                      <a:pt x="11" y="21"/>
                      <a:pt x="11" y="24"/>
                    </a:cubicBezTo>
                    <a:cubicBezTo>
                      <a:pt x="11" y="26"/>
                      <a:pt x="14" y="28"/>
                      <a:pt x="18" y="28"/>
                    </a:cubicBezTo>
                    <a:cubicBezTo>
                      <a:pt x="23" y="28"/>
                      <a:pt x="29" y="25"/>
                      <a:pt x="29" y="20"/>
                    </a:cubicBezTo>
                    <a:lnTo>
                      <a:pt x="29"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64" name="Freeform 118">
                <a:extLst>
                  <a:ext uri="{FF2B5EF4-FFF2-40B4-BE49-F238E27FC236}">
                    <a16:creationId xmlns:a16="http://schemas.microsoft.com/office/drawing/2014/main" id="{D5FE2161-5568-3446-ECBA-73E8AAA8E32E}"/>
                  </a:ext>
                </a:extLst>
              </p:cNvPr>
              <p:cNvSpPr>
                <a:spLocks noEditPoints="1"/>
              </p:cNvSpPr>
              <p:nvPr/>
            </p:nvSpPr>
            <p:spPr bwMode="auto">
              <a:xfrm>
                <a:off x="4370202" y="3384773"/>
                <a:ext cx="60277" cy="65660"/>
              </a:xfrm>
              <a:custGeom>
                <a:avLst/>
                <a:gdLst>
                  <a:gd name="T0" fmla="*/ 0 w 42"/>
                  <a:gd name="T1" fmla="*/ 0 h 45"/>
                  <a:gd name="T2" fmla="*/ 11 w 42"/>
                  <a:gd name="T3" fmla="*/ 0 h 45"/>
                  <a:gd name="T4" fmla="*/ 11 w 42"/>
                  <a:gd name="T5" fmla="*/ 15 h 45"/>
                  <a:gd name="T6" fmla="*/ 11 w 42"/>
                  <a:gd name="T7" fmla="*/ 15 h 45"/>
                  <a:gd name="T8" fmla="*/ 24 w 42"/>
                  <a:gd name="T9" fmla="*/ 11 h 45"/>
                  <a:gd name="T10" fmla="*/ 42 w 42"/>
                  <a:gd name="T11" fmla="*/ 28 h 45"/>
                  <a:gd name="T12" fmla="*/ 23 w 42"/>
                  <a:gd name="T13" fmla="*/ 45 h 45"/>
                  <a:gd name="T14" fmla="*/ 11 w 42"/>
                  <a:gd name="T15" fmla="*/ 40 h 45"/>
                  <a:gd name="T16" fmla="*/ 11 w 42"/>
                  <a:gd name="T17" fmla="*/ 40 h 45"/>
                  <a:gd name="T18" fmla="*/ 11 w 42"/>
                  <a:gd name="T19" fmla="*/ 44 h 45"/>
                  <a:gd name="T20" fmla="*/ 0 w 42"/>
                  <a:gd name="T21" fmla="*/ 44 h 45"/>
                  <a:gd name="T22" fmla="*/ 0 w 42"/>
                  <a:gd name="T23" fmla="*/ 0 h 45"/>
                  <a:gd name="T24" fmla="*/ 21 w 42"/>
                  <a:gd name="T25" fmla="*/ 37 h 45"/>
                  <a:gd name="T26" fmla="*/ 31 w 42"/>
                  <a:gd name="T27" fmla="*/ 28 h 45"/>
                  <a:gd name="T28" fmla="*/ 21 w 42"/>
                  <a:gd name="T29" fmla="*/ 18 h 45"/>
                  <a:gd name="T30" fmla="*/ 11 w 42"/>
                  <a:gd name="T31" fmla="*/ 28 h 45"/>
                  <a:gd name="T32" fmla="*/ 21 w 42"/>
                  <a:gd name="T33" fmla="*/ 3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45">
                    <a:moveTo>
                      <a:pt x="0" y="0"/>
                    </a:moveTo>
                    <a:cubicBezTo>
                      <a:pt x="11" y="0"/>
                      <a:pt x="11" y="0"/>
                      <a:pt x="11" y="0"/>
                    </a:cubicBezTo>
                    <a:cubicBezTo>
                      <a:pt x="11" y="15"/>
                      <a:pt x="11" y="15"/>
                      <a:pt x="11" y="15"/>
                    </a:cubicBezTo>
                    <a:cubicBezTo>
                      <a:pt x="11" y="15"/>
                      <a:pt x="11" y="15"/>
                      <a:pt x="11" y="15"/>
                    </a:cubicBezTo>
                    <a:cubicBezTo>
                      <a:pt x="13" y="13"/>
                      <a:pt x="18" y="11"/>
                      <a:pt x="24" y="11"/>
                    </a:cubicBezTo>
                    <a:cubicBezTo>
                      <a:pt x="34" y="11"/>
                      <a:pt x="42" y="17"/>
                      <a:pt x="42" y="28"/>
                    </a:cubicBezTo>
                    <a:cubicBezTo>
                      <a:pt x="42" y="39"/>
                      <a:pt x="33" y="45"/>
                      <a:pt x="23" y="45"/>
                    </a:cubicBezTo>
                    <a:cubicBezTo>
                      <a:pt x="18" y="45"/>
                      <a:pt x="15" y="44"/>
                      <a:pt x="11" y="40"/>
                    </a:cubicBezTo>
                    <a:cubicBezTo>
                      <a:pt x="11" y="40"/>
                      <a:pt x="11" y="40"/>
                      <a:pt x="11" y="40"/>
                    </a:cubicBezTo>
                    <a:cubicBezTo>
                      <a:pt x="11" y="44"/>
                      <a:pt x="11" y="44"/>
                      <a:pt x="11" y="44"/>
                    </a:cubicBezTo>
                    <a:cubicBezTo>
                      <a:pt x="0" y="44"/>
                      <a:pt x="0" y="44"/>
                      <a:pt x="0" y="44"/>
                    </a:cubicBezTo>
                    <a:lnTo>
                      <a:pt x="0" y="0"/>
                    </a:lnTo>
                    <a:close/>
                    <a:moveTo>
                      <a:pt x="21" y="37"/>
                    </a:moveTo>
                    <a:cubicBezTo>
                      <a:pt x="26" y="37"/>
                      <a:pt x="31" y="34"/>
                      <a:pt x="31" y="28"/>
                    </a:cubicBezTo>
                    <a:cubicBezTo>
                      <a:pt x="31" y="22"/>
                      <a:pt x="26" y="18"/>
                      <a:pt x="21" y="18"/>
                    </a:cubicBezTo>
                    <a:cubicBezTo>
                      <a:pt x="15" y="18"/>
                      <a:pt x="11" y="22"/>
                      <a:pt x="11" y="28"/>
                    </a:cubicBezTo>
                    <a:cubicBezTo>
                      <a:pt x="11" y="34"/>
                      <a:pt x="15" y="37"/>
                      <a:pt x="21"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65" name="Freeform 119">
                <a:extLst>
                  <a:ext uri="{FF2B5EF4-FFF2-40B4-BE49-F238E27FC236}">
                    <a16:creationId xmlns:a16="http://schemas.microsoft.com/office/drawing/2014/main" id="{4AE76FCD-A37D-5771-FB41-5B8CF9B1D46C}"/>
                  </a:ext>
                </a:extLst>
              </p:cNvPr>
              <p:cNvSpPr>
                <a:spLocks/>
              </p:cNvSpPr>
              <p:nvPr/>
            </p:nvSpPr>
            <p:spPr bwMode="auto">
              <a:xfrm>
                <a:off x="4598395" y="3417065"/>
                <a:ext cx="59201" cy="50590"/>
              </a:xfrm>
              <a:custGeom>
                <a:avLst/>
                <a:gdLst>
                  <a:gd name="T0" fmla="*/ 30 w 41"/>
                  <a:gd name="T1" fmla="*/ 13 h 35"/>
                  <a:gd name="T2" fmla="*/ 21 w 41"/>
                  <a:gd name="T3" fmla="*/ 8 h 35"/>
                  <a:gd name="T4" fmla="*/ 11 w 41"/>
                  <a:gd name="T5" fmla="*/ 17 h 35"/>
                  <a:gd name="T6" fmla="*/ 21 w 41"/>
                  <a:gd name="T7" fmla="*/ 27 h 35"/>
                  <a:gd name="T8" fmla="*/ 30 w 41"/>
                  <a:gd name="T9" fmla="*/ 21 h 35"/>
                  <a:gd name="T10" fmla="*/ 41 w 41"/>
                  <a:gd name="T11" fmla="*/ 21 h 35"/>
                  <a:gd name="T12" fmla="*/ 20 w 41"/>
                  <a:gd name="T13" fmla="*/ 35 h 35"/>
                  <a:gd name="T14" fmla="*/ 0 w 41"/>
                  <a:gd name="T15" fmla="*/ 17 h 35"/>
                  <a:gd name="T16" fmla="*/ 21 w 41"/>
                  <a:gd name="T17" fmla="*/ 0 h 35"/>
                  <a:gd name="T18" fmla="*/ 41 w 41"/>
                  <a:gd name="T19" fmla="*/ 13 h 35"/>
                  <a:gd name="T20" fmla="*/ 30 w 41"/>
                  <a:gd name="T21" fmla="*/ 1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 h="35">
                    <a:moveTo>
                      <a:pt x="30" y="13"/>
                    </a:moveTo>
                    <a:cubicBezTo>
                      <a:pt x="29" y="9"/>
                      <a:pt x="25" y="8"/>
                      <a:pt x="21" y="8"/>
                    </a:cubicBezTo>
                    <a:cubicBezTo>
                      <a:pt x="14" y="8"/>
                      <a:pt x="11" y="11"/>
                      <a:pt x="11" y="17"/>
                    </a:cubicBezTo>
                    <a:cubicBezTo>
                      <a:pt x="11" y="24"/>
                      <a:pt x="14" y="27"/>
                      <a:pt x="21" y="27"/>
                    </a:cubicBezTo>
                    <a:cubicBezTo>
                      <a:pt x="26" y="27"/>
                      <a:pt x="29" y="25"/>
                      <a:pt x="30" y="21"/>
                    </a:cubicBezTo>
                    <a:cubicBezTo>
                      <a:pt x="41" y="21"/>
                      <a:pt x="41" y="21"/>
                      <a:pt x="41" y="21"/>
                    </a:cubicBezTo>
                    <a:cubicBezTo>
                      <a:pt x="39" y="32"/>
                      <a:pt x="31" y="35"/>
                      <a:pt x="20" y="35"/>
                    </a:cubicBezTo>
                    <a:cubicBezTo>
                      <a:pt x="8" y="35"/>
                      <a:pt x="0" y="30"/>
                      <a:pt x="0" y="17"/>
                    </a:cubicBezTo>
                    <a:cubicBezTo>
                      <a:pt x="0" y="5"/>
                      <a:pt x="8" y="0"/>
                      <a:pt x="21" y="0"/>
                    </a:cubicBezTo>
                    <a:cubicBezTo>
                      <a:pt x="29" y="0"/>
                      <a:pt x="39" y="2"/>
                      <a:pt x="41" y="13"/>
                    </a:cubicBezTo>
                    <a:lnTo>
                      <a:pt x="30"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grpSp>
        <p:grpSp>
          <p:nvGrpSpPr>
            <p:cNvPr id="142" name="Group 79">
              <a:extLst>
                <a:ext uri="{FF2B5EF4-FFF2-40B4-BE49-F238E27FC236}">
                  <a16:creationId xmlns:a16="http://schemas.microsoft.com/office/drawing/2014/main" id="{1E6CCD6F-BE13-0184-759F-689D6744A926}"/>
                </a:ext>
              </a:extLst>
            </p:cNvPr>
            <p:cNvGrpSpPr/>
            <p:nvPr/>
          </p:nvGrpSpPr>
          <p:grpSpPr>
            <a:xfrm>
              <a:off x="4762005" y="2566724"/>
              <a:ext cx="466073" cy="345518"/>
              <a:chOff x="4762005" y="2566724"/>
              <a:chExt cx="466073" cy="345518"/>
            </a:xfrm>
            <a:solidFill>
              <a:schemeClr val="bg1"/>
            </a:solidFill>
          </p:grpSpPr>
          <p:sp>
            <p:nvSpPr>
              <p:cNvPr id="143" name="Freeform 120">
                <a:extLst>
                  <a:ext uri="{FF2B5EF4-FFF2-40B4-BE49-F238E27FC236}">
                    <a16:creationId xmlns:a16="http://schemas.microsoft.com/office/drawing/2014/main" id="{1325C3F1-3AF2-798D-64F7-69B652B103BD}"/>
                  </a:ext>
                </a:extLst>
              </p:cNvPr>
              <p:cNvSpPr>
                <a:spLocks noEditPoints="1"/>
              </p:cNvSpPr>
              <p:nvPr/>
            </p:nvSpPr>
            <p:spPr bwMode="auto">
              <a:xfrm>
                <a:off x="4762005" y="2566724"/>
                <a:ext cx="466073" cy="345518"/>
              </a:xfrm>
              <a:custGeom>
                <a:avLst/>
                <a:gdLst>
                  <a:gd name="T0" fmla="*/ 318 w 320"/>
                  <a:gd name="T1" fmla="*/ 85 h 238"/>
                  <a:gd name="T2" fmla="*/ 50 w 320"/>
                  <a:gd name="T3" fmla="*/ 237 h 238"/>
                  <a:gd name="T4" fmla="*/ 44 w 320"/>
                  <a:gd name="T5" fmla="*/ 235 h 238"/>
                  <a:gd name="T6" fmla="*/ 1 w 320"/>
                  <a:gd name="T7" fmla="*/ 158 h 238"/>
                  <a:gd name="T8" fmla="*/ 2 w 320"/>
                  <a:gd name="T9" fmla="*/ 153 h 238"/>
                  <a:gd name="T10" fmla="*/ 270 w 320"/>
                  <a:gd name="T11" fmla="*/ 1 h 238"/>
                  <a:gd name="T12" fmla="*/ 276 w 320"/>
                  <a:gd name="T13" fmla="*/ 3 h 238"/>
                  <a:gd name="T14" fmla="*/ 319 w 320"/>
                  <a:gd name="T15" fmla="*/ 80 h 238"/>
                  <a:gd name="T16" fmla="*/ 318 w 320"/>
                  <a:gd name="T17" fmla="*/ 85 h 238"/>
                  <a:gd name="T18" fmla="*/ 49 w 320"/>
                  <a:gd name="T19" fmla="*/ 228 h 238"/>
                  <a:gd name="T20" fmla="*/ 310 w 320"/>
                  <a:gd name="T21" fmla="*/ 80 h 238"/>
                  <a:gd name="T22" fmla="*/ 271 w 320"/>
                  <a:gd name="T23" fmla="*/ 10 h 238"/>
                  <a:gd name="T24" fmla="*/ 10 w 320"/>
                  <a:gd name="T25" fmla="*/ 158 h 238"/>
                  <a:gd name="T26" fmla="*/ 49 w 320"/>
                  <a:gd name="T27" fmla="*/ 22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0" h="238">
                    <a:moveTo>
                      <a:pt x="318" y="85"/>
                    </a:moveTo>
                    <a:cubicBezTo>
                      <a:pt x="50" y="237"/>
                      <a:pt x="50" y="237"/>
                      <a:pt x="50" y="237"/>
                    </a:cubicBezTo>
                    <a:cubicBezTo>
                      <a:pt x="48" y="238"/>
                      <a:pt x="45" y="237"/>
                      <a:pt x="44" y="235"/>
                    </a:cubicBezTo>
                    <a:cubicBezTo>
                      <a:pt x="1" y="158"/>
                      <a:pt x="1" y="158"/>
                      <a:pt x="1" y="158"/>
                    </a:cubicBezTo>
                    <a:cubicBezTo>
                      <a:pt x="0" y="157"/>
                      <a:pt x="0" y="154"/>
                      <a:pt x="2" y="153"/>
                    </a:cubicBezTo>
                    <a:cubicBezTo>
                      <a:pt x="270" y="1"/>
                      <a:pt x="270" y="1"/>
                      <a:pt x="270" y="1"/>
                    </a:cubicBezTo>
                    <a:cubicBezTo>
                      <a:pt x="272" y="0"/>
                      <a:pt x="275" y="1"/>
                      <a:pt x="276" y="3"/>
                    </a:cubicBezTo>
                    <a:cubicBezTo>
                      <a:pt x="319" y="80"/>
                      <a:pt x="319" y="80"/>
                      <a:pt x="319" y="80"/>
                    </a:cubicBezTo>
                    <a:cubicBezTo>
                      <a:pt x="320" y="81"/>
                      <a:pt x="320" y="84"/>
                      <a:pt x="318" y="85"/>
                    </a:cubicBezTo>
                    <a:close/>
                    <a:moveTo>
                      <a:pt x="49" y="228"/>
                    </a:moveTo>
                    <a:cubicBezTo>
                      <a:pt x="310" y="80"/>
                      <a:pt x="310" y="80"/>
                      <a:pt x="310" y="80"/>
                    </a:cubicBezTo>
                    <a:cubicBezTo>
                      <a:pt x="271" y="10"/>
                      <a:pt x="271" y="10"/>
                      <a:pt x="271" y="10"/>
                    </a:cubicBezTo>
                    <a:cubicBezTo>
                      <a:pt x="10" y="158"/>
                      <a:pt x="10" y="158"/>
                      <a:pt x="10" y="158"/>
                    </a:cubicBezTo>
                    <a:lnTo>
                      <a:pt x="49" y="2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44" name="Freeform 121">
                <a:extLst>
                  <a:ext uri="{FF2B5EF4-FFF2-40B4-BE49-F238E27FC236}">
                    <a16:creationId xmlns:a16="http://schemas.microsoft.com/office/drawing/2014/main" id="{A2B20FAC-07E1-CE12-2F14-BFB3761A433E}"/>
                  </a:ext>
                </a:extLst>
              </p:cNvPr>
              <p:cNvSpPr>
                <a:spLocks/>
              </p:cNvSpPr>
              <p:nvPr/>
            </p:nvSpPr>
            <p:spPr bwMode="auto">
              <a:xfrm>
                <a:off x="4807213" y="2761549"/>
                <a:ext cx="43055" cy="63507"/>
              </a:xfrm>
              <a:custGeom>
                <a:avLst/>
                <a:gdLst>
                  <a:gd name="T0" fmla="*/ 26 w 29"/>
                  <a:gd name="T1" fmla="*/ 43 h 44"/>
                  <a:gd name="T2" fmla="*/ 21 w 29"/>
                  <a:gd name="T3" fmla="*/ 42 h 44"/>
                  <a:gd name="T4" fmla="*/ 1 w 29"/>
                  <a:gd name="T5" fmla="*/ 7 h 44"/>
                  <a:gd name="T6" fmla="*/ 3 w 29"/>
                  <a:gd name="T7" fmla="*/ 1 h 44"/>
                  <a:gd name="T8" fmla="*/ 8 w 29"/>
                  <a:gd name="T9" fmla="*/ 3 h 44"/>
                  <a:gd name="T10" fmla="*/ 28 w 29"/>
                  <a:gd name="T11" fmla="*/ 38 h 44"/>
                  <a:gd name="T12" fmla="*/ 26 w 29"/>
                  <a:gd name="T13" fmla="*/ 43 h 44"/>
                </a:gdLst>
                <a:ahLst/>
                <a:cxnLst>
                  <a:cxn ang="0">
                    <a:pos x="T0" y="T1"/>
                  </a:cxn>
                  <a:cxn ang="0">
                    <a:pos x="T2" y="T3"/>
                  </a:cxn>
                  <a:cxn ang="0">
                    <a:pos x="T4" y="T5"/>
                  </a:cxn>
                  <a:cxn ang="0">
                    <a:pos x="T6" y="T7"/>
                  </a:cxn>
                  <a:cxn ang="0">
                    <a:pos x="T8" y="T9"/>
                  </a:cxn>
                  <a:cxn ang="0">
                    <a:pos x="T10" y="T11"/>
                  </a:cxn>
                  <a:cxn ang="0">
                    <a:pos x="T12" y="T13"/>
                  </a:cxn>
                </a:cxnLst>
                <a:rect l="0" t="0" r="r" b="b"/>
                <a:pathLst>
                  <a:path w="29" h="44">
                    <a:moveTo>
                      <a:pt x="26" y="43"/>
                    </a:moveTo>
                    <a:cubicBezTo>
                      <a:pt x="24" y="44"/>
                      <a:pt x="22" y="43"/>
                      <a:pt x="21" y="42"/>
                    </a:cubicBezTo>
                    <a:cubicBezTo>
                      <a:pt x="1" y="7"/>
                      <a:pt x="1" y="7"/>
                      <a:pt x="1" y="7"/>
                    </a:cubicBezTo>
                    <a:cubicBezTo>
                      <a:pt x="0" y="5"/>
                      <a:pt x="1" y="2"/>
                      <a:pt x="3" y="1"/>
                    </a:cubicBezTo>
                    <a:cubicBezTo>
                      <a:pt x="5" y="0"/>
                      <a:pt x="7" y="1"/>
                      <a:pt x="8" y="3"/>
                    </a:cubicBezTo>
                    <a:cubicBezTo>
                      <a:pt x="28" y="38"/>
                      <a:pt x="28" y="38"/>
                      <a:pt x="28" y="38"/>
                    </a:cubicBezTo>
                    <a:cubicBezTo>
                      <a:pt x="29" y="40"/>
                      <a:pt x="28" y="42"/>
                      <a:pt x="26"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45" name="Freeform 122">
                <a:extLst>
                  <a:ext uri="{FF2B5EF4-FFF2-40B4-BE49-F238E27FC236}">
                    <a16:creationId xmlns:a16="http://schemas.microsoft.com/office/drawing/2014/main" id="{5FA7F6E5-9428-23C6-B36A-7A78AA2C2B3A}"/>
                  </a:ext>
                </a:extLst>
              </p:cNvPr>
              <p:cNvSpPr>
                <a:spLocks/>
              </p:cNvSpPr>
              <p:nvPr/>
            </p:nvSpPr>
            <p:spPr bwMode="auto">
              <a:xfrm>
                <a:off x="4868567" y="2728181"/>
                <a:ext cx="41979" cy="63507"/>
              </a:xfrm>
              <a:custGeom>
                <a:avLst/>
                <a:gdLst>
                  <a:gd name="T0" fmla="*/ 26 w 29"/>
                  <a:gd name="T1" fmla="*/ 42 h 44"/>
                  <a:gd name="T2" fmla="*/ 21 w 29"/>
                  <a:gd name="T3" fmla="*/ 41 h 44"/>
                  <a:gd name="T4" fmla="*/ 1 w 29"/>
                  <a:gd name="T5" fmla="*/ 6 h 44"/>
                  <a:gd name="T6" fmla="*/ 2 w 29"/>
                  <a:gd name="T7" fmla="*/ 1 h 44"/>
                  <a:gd name="T8" fmla="*/ 8 w 29"/>
                  <a:gd name="T9" fmla="*/ 2 h 44"/>
                  <a:gd name="T10" fmla="*/ 28 w 29"/>
                  <a:gd name="T11" fmla="*/ 37 h 44"/>
                  <a:gd name="T12" fmla="*/ 26 w 29"/>
                  <a:gd name="T13" fmla="*/ 42 h 44"/>
                </a:gdLst>
                <a:ahLst/>
                <a:cxnLst>
                  <a:cxn ang="0">
                    <a:pos x="T0" y="T1"/>
                  </a:cxn>
                  <a:cxn ang="0">
                    <a:pos x="T2" y="T3"/>
                  </a:cxn>
                  <a:cxn ang="0">
                    <a:pos x="T4" y="T5"/>
                  </a:cxn>
                  <a:cxn ang="0">
                    <a:pos x="T6" y="T7"/>
                  </a:cxn>
                  <a:cxn ang="0">
                    <a:pos x="T8" y="T9"/>
                  </a:cxn>
                  <a:cxn ang="0">
                    <a:pos x="T10" y="T11"/>
                  </a:cxn>
                  <a:cxn ang="0">
                    <a:pos x="T12" y="T13"/>
                  </a:cxn>
                </a:cxnLst>
                <a:rect l="0" t="0" r="r" b="b"/>
                <a:pathLst>
                  <a:path w="29" h="44">
                    <a:moveTo>
                      <a:pt x="26" y="42"/>
                    </a:moveTo>
                    <a:cubicBezTo>
                      <a:pt x="24" y="44"/>
                      <a:pt x="22" y="43"/>
                      <a:pt x="21" y="41"/>
                    </a:cubicBezTo>
                    <a:cubicBezTo>
                      <a:pt x="1" y="6"/>
                      <a:pt x="1" y="6"/>
                      <a:pt x="1" y="6"/>
                    </a:cubicBezTo>
                    <a:cubicBezTo>
                      <a:pt x="0" y="4"/>
                      <a:pt x="1" y="2"/>
                      <a:pt x="2" y="1"/>
                    </a:cubicBezTo>
                    <a:cubicBezTo>
                      <a:pt x="4" y="0"/>
                      <a:pt x="7" y="0"/>
                      <a:pt x="8" y="2"/>
                    </a:cubicBezTo>
                    <a:cubicBezTo>
                      <a:pt x="28" y="37"/>
                      <a:pt x="28" y="37"/>
                      <a:pt x="28" y="37"/>
                    </a:cubicBezTo>
                    <a:cubicBezTo>
                      <a:pt x="29" y="39"/>
                      <a:pt x="28" y="41"/>
                      <a:pt x="26"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46" name="Freeform 123">
                <a:extLst>
                  <a:ext uri="{FF2B5EF4-FFF2-40B4-BE49-F238E27FC236}">
                    <a16:creationId xmlns:a16="http://schemas.microsoft.com/office/drawing/2014/main" id="{1278409E-FC4A-BA4D-BB4A-3B7D2B6B9A20}"/>
                  </a:ext>
                </a:extLst>
              </p:cNvPr>
              <p:cNvSpPr>
                <a:spLocks/>
              </p:cNvSpPr>
              <p:nvPr/>
            </p:nvSpPr>
            <p:spPr bwMode="auto">
              <a:xfrm>
                <a:off x="4937455" y="2694813"/>
                <a:ext cx="41979" cy="63507"/>
              </a:xfrm>
              <a:custGeom>
                <a:avLst/>
                <a:gdLst>
                  <a:gd name="T0" fmla="*/ 26 w 29"/>
                  <a:gd name="T1" fmla="*/ 43 h 44"/>
                  <a:gd name="T2" fmla="*/ 21 w 29"/>
                  <a:gd name="T3" fmla="*/ 42 h 44"/>
                  <a:gd name="T4" fmla="*/ 1 w 29"/>
                  <a:gd name="T5" fmla="*/ 7 h 44"/>
                  <a:gd name="T6" fmla="*/ 3 w 29"/>
                  <a:gd name="T7" fmla="*/ 2 h 44"/>
                  <a:gd name="T8" fmla="*/ 8 w 29"/>
                  <a:gd name="T9" fmla="*/ 3 h 44"/>
                  <a:gd name="T10" fmla="*/ 28 w 29"/>
                  <a:gd name="T11" fmla="*/ 38 h 44"/>
                  <a:gd name="T12" fmla="*/ 26 w 29"/>
                  <a:gd name="T13" fmla="*/ 43 h 44"/>
                </a:gdLst>
                <a:ahLst/>
                <a:cxnLst>
                  <a:cxn ang="0">
                    <a:pos x="T0" y="T1"/>
                  </a:cxn>
                  <a:cxn ang="0">
                    <a:pos x="T2" y="T3"/>
                  </a:cxn>
                  <a:cxn ang="0">
                    <a:pos x="T4" y="T5"/>
                  </a:cxn>
                  <a:cxn ang="0">
                    <a:pos x="T6" y="T7"/>
                  </a:cxn>
                  <a:cxn ang="0">
                    <a:pos x="T8" y="T9"/>
                  </a:cxn>
                  <a:cxn ang="0">
                    <a:pos x="T10" y="T11"/>
                  </a:cxn>
                  <a:cxn ang="0">
                    <a:pos x="T12" y="T13"/>
                  </a:cxn>
                </a:cxnLst>
                <a:rect l="0" t="0" r="r" b="b"/>
                <a:pathLst>
                  <a:path w="29" h="44">
                    <a:moveTo>
                      <a:pt x="26" y="43"/>
                    </a:moveTo>
                    <a:cubicBezTo>
                      <a:pt x="24" y="44"/>
                      <a:pt x="22" y="44"/>
                      <a:pt x="21" y="42"/>
                    </a:cubicBezTo>
                    <a:cubicBezTo>
                      <a:pt x="1" y="7"/>
                      <a:pt x="1" y="7"/>
                      <a:pt x="1" y="7"/>
                    </a:cubicBezTo>
                    <a:cubicBezTo>
                      <a:pt x="0" y="5"/>
                      <a:pt x="1" y="3"/>
                      <a:pt x="3" y="2"/>
                    </a:cubicBezTo>
                    <a:cubicBezTo>
                      <a:pt x="5" y="0"/>
                      <a:pt x="7" y="1"/>
                      <a:pt x="8" y="3"/>
                    </a:cubicBezTo>
                    <a:cubicBezTo>
                      <a:pt x="28" y="38"/>
                      <a:pt x="28" y="38"/>
                      <a:pt x="28" y="38"/>
                    </a:cubicBezTo>
                    <a:cubicBezTo>
                      <a:pt x="29" y="40"/>
                      <a:pt x="28" y="42"/>
                      <a:pt x="26"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47" name="Freeform 124">
                <a:extLst>
                  <a:ext uri="{FF2B5EF4-FFF2-40B4-BE49-F238E27FC236}">
                    <a16:creationId xmlns:a16="http://schemas.microsoft.com/office/drawing/2014/main" id="{B6BE8F56-01F0-1087-CC17-B2D14A134B1B}"/>
                  </a:ext>
                </a:extLst>
              </p:cNvPr>
              <p:cNvSpPr>
                <a:spLocks/>
              </p:cNvSpPr>
              <p:nvPr/>
            </p:nvSpPr>
            <p:spPr bwMode="auto">
              <a:xfrm>
                <a:off x="4838428" y="2744327"/>
                <a:ext cx="50590" cy="79652"/>
              </a:xfrm>
              <a:custGeom>
                <a:avLst/>
                <a:gdLst>
                  <a:gd name="T0" fmla="*/ 32 w 35"/>
                  <a:gd name="T1" fmla="*/ 54 h 55"/>
                  <a:gd name="T2" fmla="*/ 27 w 35"/>
                  <a:gd name="T3" fmla="*/ 52 h 55"/>
                  <a:gd name="T4" fmla="*/ 1 w 35"/>
                  <a:gd name="T5" fmla="*/ 7 h 55"/>
                  <a:gd name="T6" fmla="*/ 3 w 35"/>
                  <a:gd name="T7" fmla="*/ 1 h 55"/>
                  <a:gd name="T8" fmla="*/ 8 w 35"/>
                  <a:gd name="T9" fmla="*/ 3 h 55"/>
                  <a:gd name="T10" fmla="*/ 34 w 35"/>
                  <a:gd name="T11" fmla="*/ 48 h 55"/>
                  <a:gd name="T12" fmla="*/ 32 w 35"/>
                  <a:gd name="T13" fmla="*/ 54 h 55"/>
                </a:gdLst>
                <a:ahLst/>
                <a:cxnLst>
                  <a:cxn ang="0">
                    <a:pos x="T0" y="T1"/>
                  </a:cxn>
                  <a:cxn ang="0">
                    <a:pos x="T2" y="T3"/>
                  </a:cxn>
                  <a:cxn ang="0">
                    <a:pos x="T4" y="T5"/>
                  </a:cxn>
                  <a:cxn ang="0">
                    <a:pos x="T6" y="T7"/>
                  </a:cxn>
                  <a:cxn ang="0">
                    <a:pos x="T8" y="T9"/>
                  </a:cxn>
                  <a:cxn ang="0">
                    <a:pos x="T10" y="T11"/>
                  </a:cxn>
                  <a:cxn ang="0">
                    <a:pos x="T12" y="T13"/>
                  </a:cxn>
                </a:cxnLst>
                <a:rect l="0" t="0" r="r" b="b"/>
                <a:pathLst>
                  <a:path w="35" h="55">
                    <a:moveTo>
                      <a:pt x="32" y="54"/>
                    </a:moveTo>
                    <a:cubicBezTo>
                      <a:pt x="30" y="55"/>
                      <a:pt x="28" y="54"/>
                      <a:pt x="27" y="52"/>
                    </a:cubicBezTo>
                    <a:cubicBezTo>
                      <a:pt x="1" y="7"/>
                      <a:pt x="1" y="7"/>
                      <a:pt x="1" y="7"/>
                    </a:cubicBezTo>
                    <a:cubicBezTo>
                      <a:pt x="0" y="5"/>
                      <a:pt x="1" y="3"/>
                      <a:pt x="3" y="1"/>
                    </a:cubicBezTo>
                    <a:cubicBezTo>
                      <a:pt x="4" y="0"/>
                      <a:pt x="7" y="1"/>
                      <a:pt x="8" y="3"/>
                    </a:cubicBezTo>
                    <a:cubicBezTo>
                      <a:pt x="34" y="48"/>
                      <a:pt x="34" y="48"/>
                      <a:pt x="34" y="48"/>
                    </a:cubicBezTo>
                    <a:cubicBezTo>
                      <a:pt x="35" y="50"/>
                      <a:pt x="34" y="53"/>
                      <a:pt x="32"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48" name="Freeform 125">
                <a:extLst>
                  <a:ext uri="{FF2B5EF4-FFF2-40B4-BE49-F238E27FC236}">
                    <a16:creationId xmlns:a16="http://schemas.microsoft.com/office/drawing/2014/main" id="{684D7CF8-FF6E-A5F9-1B8A-C51D68ACA1F8}"/>
                  </a:ext>
                </a:extLst>
              </p:cNvPr>
              <p:cNvSpPr>
                <a:spLocks/>
              </p:cNvSpPr>
              <p:nvPr/>
            </p:nvSpPr>
            <p:spPr bwMode="auto">
              <a:xfrm>
                <a:off x="4901934" y="2715265"/>
                <a:ext cx="49513" cy="79652"/>
              </a:xfrm>
              <a:custGeom>
                <a:avLst/>
                <a:gdLst>
                  <a:gd name="T0" fmla="*/ 32 w 34"/>
                  <a:gd name="T1" fmla="*/ 54 h 55"/>
                  <a:gd name="T2" fmla="*/ 26 w 34"/>
                  <a:gd name="T3" fmla="*/ 52 h 55"/>
                  <a:gd name="T4" fmla="*/ 1 w 34"/>
                  <a:gd name="T5" fmla="*/ 7 h 55"/>
                  <a:gd name="T6" fmla="*/ 2 w 34"/>
                  <a:gd name="T7" fmla="*/ 1 h 55"/>
                  <a:gd name="T8" fmla="*/ 8 w 34"/>
                  <a:gd name="T9" fmla="*/ 3 h 55"/>
                  <a:gd name="T10" fmla="*/ 33 w 34"/>
                  <a:gd name="T11" fmla="*/ 48 h 55"/>
                  <a:gd name="T12" fmla="*/ 32 w 34"/>
                  <a:gd name="T13" fmla="*/ 54 h 55"/>
                </a:gdLst>
                <a:ahLst/>
                <a:cxnLst>
                  <a:cxn ang="0">
                    <a:pos x="T0" y="T1"/>
                  </a:cxn>
                  <a:cxn ang="0">
                    <a:pos x="T2" y="T3"/>
                  </a:cxn>
                  <a:cxn ang="0">
                    <a:pos x="T4" y="T5"/>
                  </a:cxn>
                  <a:cxn ang="0">
                    <a:pos x="T6" y="T7"/>
                  </a:cxn>
                  <a:cxn ang="0">
                    <a:pos x="T8" y="T9"/>
                  </a:cxn>
                  <a:cxn ang="0">
                    <a:pos x="T10" y="T11"/>
                  </a:cxn>
                  <a:cxn ang="0">
                    <a:pos x="T12" y="T13"/>
                  </a:cxn>
                </a:cxnLst>
                <a:rect l="0" t="0" r="r" b="b"/>
                <a:pathLst>
                  <a:path w="34" h="55">
                    <a:moveTo>
                      <a:pt x="32" y="54"/>
                    </a:moveTo>
                    <a:cubicBezTo>
                      <a:pt x="30" y="55"/>
                      <a:pt x="27" y="54"/>
                      <a:pt x="26" y="52"/>
                    </a:cubicBezTo>
                    <a:cubicBezTo>
                      <a:pt x="1" y="7"/>
                      <a:pt x="1" y="7"/>
                      <a:pt x="1" y="7"/>
                    </a:cubicBezTo>
                    <a:cubicBezTo>
                      <a:pt x="0" y="5"/>
                      <a:pt x="0" y="2"/>
                      <a:pt x="2" y="1"/>
                    </a:cubicBezTo>
                    <a:cubicBezTo>
                      <a:pt x="4" y="0"/>
                      <a:pt x="7" y="1"/>
                      <a:pt x="8" y="3"/>
                    </a:cubicBezTo>
                    <a:cubicBezTo>
                      <a:pt x="33" y="48"/>
                      <a:pt x="33" y="48"/>
                      <a:pt x="33" y="48"/>
                    </a:cubicBezTo>
                    <a:cubicBezTo>
                      <a:pt x="34" y="50"/>
                      <a:pt x="34" y="52"/>
                      <a:pt x="32"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49" name="Freeform 126">
                <a:extLst>
                  <a:ext uri="{FF2B5EF4-FFF2-40B4-BE49-F238E27FC236}">
                    <a16:creationId xmlns:a16="http://schemas.microsoft.com/office/drawing/2014/main" id="{51995DE0-8E29-7028-4F16-606FFD4B6D40}"/>
                  </a:ext>
                </a:extLst>
              </p:cNvPr>
              <p:cNvSpPr>
                <a:spLocks/>
              </p:cNvSpPr>
              <p:nvPr/>
            </p:nvSpPr>
            <p:spPr bwMode="auto">
              <a:xfrm>
                <a:off x="5008496" y="2656063"/>
                <a:ext cx="41979" cy="63507"/>
              </a:xfrm>
              <a:custGeom>
                <a:avLst/>
                <a:gdLst>
                  <a:gd name="T0" fmla="*/ 26 w 29"/>
                  <a:gd name="T1" fmla="*/ 43 h 44"/>
                  <a:gd name="T2" fmla="*/ 21 w 29"/>
                  <a:gd name="T3" fmla="*/ 41 h 44"/>
                  <a:gd name="T4" fmla="*/ 1 w 29"/>
                  <a:gd name="T5" fmla="*/ 6 h 44"/>
                  <a:gd name="T6" fmla="*/ 2 w 29"/>
                  <a:gd name="T7" fmla="*/ 1 h 44"/>
                  <a:gd name="T8" fmla="*/ 8 w 29"/>
                  <a:gd name="T9" fmla="*/ 3 h 44"/>
                  <a:gd name="T10" fmla="*/ 28 w 29"/>
                  <a:gd name="T11" fmla="*/ 37 h 44"/>
                  <a:gd name="T12" fmla="*/ 26 w 29"/>
                  <a:gd name="T13" fmla="*/ 43 h 44"/>
                </a:gdLst>
                <a:ahLst/>
                <a:cxnLst>
                  <a:cxn ang="0">
                    <a:pos x="T0" y="T1"/>
                  </a:cxn>
                  <a:cxn ang="0">
                    <a:pos x="T2" y="T3"/>
                  </a:cxn>
                  <a:cxn ang="0">
                    <a:pos x="T4" y="T5"/>
                  </a:cxn>
                  <a:cxn ang="0">
                    <a:pos x="T6" y="T7"/>
                  </a:cxn>
                  <a:cxn ang="0">
                    <a:pos x="T8" y="T9"/>
                  </a:cxn>
                  <a:cxn ang="0">
                    <a:pos x="T10" y="T11"/>
                  </a:cxn>
                  <a:cxn ang="0">
                    <a:pos x="T12" y="T13"/>
                  </a:cxn>
                </a:cxnLst>
                <a:rect l="0" t="0" r="r" b="b"/>
                <a:pathLst>
                  <a:path w="29" h="44">
                    <a:moveTo>
                      <a:pt x="26" y="43"/>
                    </a:moveTo>
                    <a:cubicBezTo>
                      <a:pt x="24" y="44"/>
                      <a:pt x="22" y="43"/>
                      <a:pt x="21" y="41"/>
                    </a:cubicBezTo>
                    <a:cubicBezTo>
                      <a:pt x="1" y="6"/>
                      <a:pt x="1" y="6"/>
                      <a:pt x="1" y="6"/>
                    </a:cubicBezTo>
                    <a:cubicBezTo>
                      <a:pt x="0" y="5"/>
                      <a:pt x="1" y="2"/>
                      <a:pt x="2" y="1"/>
                    </a:cubicBezTo>
                    <a:cubicBezTo>
                      <a:pt x="4" y="0"/>
                      <a:pt x="7" y="1"/>
                      <a:pt x="8" y="3"/>
                    </a:cubicBezTo>
                    <a:cubicBezTo>
                      <a:pt x="28" y="37"/>
                      <a:pt x="28" y="37"/>
                      <a:pt x="28" y="37"/>
                    </a:cubicBezTo>
                    <a:cubicBezTo>
                      <a:pt x="29" y="39"/>
                      <a:pt x="28" y="42"/>
                      <a:pt x="26"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50" name="Freeform 127">
                <a:extLst>
                  <a:ext uri="{FF2B5EF4-FFF2-40B4-BE49-F238E27FC236}">
                    <a16:creationId xmlns:a16="http://schemas.microsoft.com/office/drawing/2014/main" id="{2B4E7018-B168-6719-7457-E3E9777ED320}"/>
                  </a:ext>
                </a:extLst>
              </p:cNvPr>
              <p:cNvSpPr>
                <a:spLocks/>
              </p:cNvSpPr>
              <p:nvPr/>
            </p:nvSpPr>
            <p:spPr bwMode="auto">
              <a:xfrm>
                <a:off x="4971899" y="2675438"/>
                <a:ext cx="50590" cy="78576"/>
              </a:xfrm>
              <a:custGeom>
                <a:avLst/>
                <a:gdLst>
                  <a:gd name="T0" fmla="*/ 33 w 35"/>
                  <a:gd name="T1" fmla="*/ 53 h 54"/>
                  <a:gd name="T2" fmla="*/ 27 w 35"/>
                  <a:gd name="T3" fmla="*/ 51 h 54"/>
                  <a:gd name="T4" fmla="*/ 2 w 35"/>
                  <a:gd name="T5" fmla="*/ 6 h 54"/>
                  <a:gd name="T6" fmla="*/ 3 w 35"/>
                  <a:gd name="T7" fmla="*/ 1 h 54"/>
                  <a:gd name="T8" fmla="*/ 9 w 35"/>
                  <a:gd name="T9" fmla="*/ 2 h 54"/>
                  <a:gd name="T10" fmla="*/ 34 w 35"/>
                  <a:gd name="T11" fmla="*/ 48 h 54"/>
                  <a:gd name="T12" fmla="*/ 33 w 35"/>
                  <a:gd name="T13" fmla="*/ 53 h 54"/>
                </a:gdLst>
                <a:ahLst/>
                <a:cxnLst>
                  <a:cxn ang="0">
                    <a:pos x="T0" y="T1"/>
                  </a:cxn>
                  <a:cxn ang="0">
                    <a:pos x="T2" y="T3"/>
                  </a:cxn>
                  <a:cxn ang="0">
                    <a:pos x="T4" y="T5"/>
                  </a:cxn>
                  <a:cxn ang="0">
                    <a:pos x="T6" y="T7"/>
                  </a:cxn>
                  <a:cxn ang="0">
                    <a:pos x="T8" y="T9"/>
                  </a:cxn>
                  <a:cxn ang="0">
                    <a:pos x="T10" y="T11"/>
                  </a:cxn>
                  <a:cxn ang="0">
                    <a:pos x="T12" y="T13"/>
                  </a:cxn>
                </a:cxnLst>
                <a:rect l="0" t="0" r="r" b="b"/>
                <a:pathLst>
                  <a:path w="35" h="54">
                    <a:moveTo>
                      <a:pt x="33" y="53"/>
                    </a:moveTo>
                    <a:cubicBezTo>
                      <a:pt x="31" y="54"/>
                      <a:pt x="28" y="53"/>
                      <a:pt x="27" y="51"/>
                    </a:cubicBezTo>
                    <a:cubicBezTo>
                      <a:pt x="2" y="6"/>
                      <a:pt x="2" y="6"/>
                      <a:pt x="2" y="6"/>
                    </a:cubicBezTo>
                    <a:cubicBezTo>
                      <a:pt x="0" y="4"/>
                      <a:pt x="1" y="2"/>
                      <a:pt x="3" y="1"/>
                    </a:cubicBezTo>
                    <a:cubicBezTo>
                      <a:pt x="5" y="0"/>
                      <a:pt x="7" y="0"/>
                      <a:pt x="9" y="2"/>
                    </a:cubicBezTo>
                    <a:cubicBezTo>
                      <a:pt x="34" y="48"/>
                      <a:pt x="34" y="48"/>
                      <a:pt x="34" y="48"/>
                    </a:cubicBezTo>
                    <a:cubicBezTo>
                      <a:pt x="35" y="49"/>
                      <a:pt x="35" y="52"/>
                      <a:pt x="33"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51" name="Freeform 128">
                <a:extLst>
                  <a:ext uri="{FF2B5EF4-FFF2-40B4-BE49-F238E27FC236}">
                    <a16:creationId xmlns:a16="http://schemas.microsoft.com/office/drawing/2014/main" id="{7671AC19-57A2-3354-A7EA-EB08B719DE21}"/>
                  </a:ext>
                </a:extLst>
              </p:cNvPr>
              <p:cNvSpPr>
                <a:spLocks/>
              </p:cNvSpPr>
              <p:nvPr/>
            </p:nvSpPr>
            <p:spPr bwMode="auto">
              <a:xfrm>
                <a:off x="5079537" y="2615161"/>
                <a:ext cx="40902" cy="63507"/>
              </a:xfrm>
              <a:custGeom>
                <a:avLst/>
                <a:gdLst>
                  <a:gd name="T0" fmla="*/ 26 w 28"/>
                  <a:gd name="T1" fmla="*/ 43 h 44"/>
                  <a:gd name="T2" fmla="*/ 20 w 28"/>
                  <a:gd name="T3" fmla="*/ 42 h 44"/>
                  <a:gd name="T4" fmla="*/ 1 w 28"/>
                  <a:gd name="T5" fmla="*/ 7 h 44"/>
                  <a:gd name="T6" fmla="*/ 2 w 28"/>
                  <a:gd name="T7" fmla="*/ 1 h 44"/>
                  <a:gd name="T8" fmla="*/ 8 w 28"/>
                  <a:gd name="T9" fmla="*/ 3 h 44"/>
                  <a:gd name="T10" fmla="*/ 27 w 28"/>
                  <a:gd name="T11" fmla="*/ 38 h 44"/>
                  <a:gd name="T12" fmla="*/ 26 w 28"/>
                  <a:gd name="T13" fmla="*/ 43 h 44"/>
                </a:gdLst>
                <a:ahLst/>
                <a:cxnLst>
                  <a:cxn ang="0">
                    <a:pos x="T0" y="T1"/>
                  </a:cxn>
                  <a:cxn ang="0">
                    <a:pos x="T2" y="T3"/>
                  </a:cxn>
                  <a:cxn ang="0">
                    <a:pos x="T4" y="T5"/>
                  </a:cxn>
                  <a:cxn ang="0">
                    <a:pos x="T6" y="T7"/>
                  </a:cxn>
                  <a:cxn ang="0">
                    <a:pos x="T8" y="T9"/>
                  </a:cxn>
                  <a:cxn ang="0">
                    <a:pos x="T10" y="T11"/>
                  </a:cxn>
                  <a:cxn ang="0">
                    <a:pos x="T12" y="T13"/>
                  </a:cxn>
                </a:cxnLst>
                <a:rect l="0" t="0" r="r" b="b"/>
                <a:pathLst>
                  <a:path w="28" h="44">
                    <a:moveTo>
                      <a:pt x="26" y="43"/>
                    </a:moveTo>
                    <a:cubicBezTo>
                      <a:pt x="24" y="44"/>
                      <a:pt x="21" y="44"/>
                      <a:pt x="20" y="42"/>
                    </a:cubicBezTo>
                    <a:cubicBezTo>
                      <a:pt x="1" y="7"/>
                      <a:pt x="1" y="7"/>
                      <a:pt x="1" y="7"/>
                    </a:cubicBezTo>
                    <a:cubicBezTo>
                      <a:pt x="0" y="5"/>
                      <a:pt x="0" y="3"/>
                      <a:pt x="2" y="1"/>
                    </a:cubicBezTo>
                    <a:cubicBezTo>
                      <a:pt x="4" y="0"/>
                      <a:pt x="7" y="1"/>
                      <a:pt x="8" y="3"/>
                    </a:cubicBezTo>
                    <a:cubicBezTo>
                      <a:pt x="27" y="38"/>
                      <a:pt x="27" y="38"/>
                      <a:pt x="27" y="38"/>
                    </a:cubicBezTo>
                    <a:cubicBezTo>
                      <a:pt x="28" y="40"/>
                      <a:pt x="28" y="42"/>
                      <a:pt x="26"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52" name="Freeform 129">
                <a:extLst>
                  <a:ext uri="{FF2B5EF4-FFF2-40B4-BE49-F238E27FC236}">
                    <a16:creationId xmlns:a16="http://schemas.microsoft.com/office/drawing/2014/main" id="{3A80891A-4B64-1C7A-1D36-612FB69BF6C3}"/>
                  </a:ext>
                </a:extLst>
              </p:cNvPr>
              <p:cNvSpPr>
                <a:spLocks/>
              </p:cNvSpPr>
              <p:nvPr/>
            </p:nvSpPr>
            <p:spPr bwMode="auto">
              <a:xfrm>
                <a:off x="5042940" y="2635613"/>
                <a:ext cx="51666" cy="79652"/>
              </a:xfrm>
              <a:custGeom>
                <a:avLst/>
                <a:gdLst>
                  <a:gd name="T0" fmla="*/ 32 w 35"/>
                  <a:gd name="T1" fmla="*/ 53 h 55"/>
                  <a:gd name="T2" fmla="*/ 27 w 35"/>
                  <a:gd name="T3" fmla="*/ 52 h 55"/>
                  <a:gd name="T4" fmla="*/ 1 w 35"/>
                  <a:gd name="T5" fmla="*/ 7 h 55"/>
                  <a:gd name="T6" fmla="*/ 3 w 35"/>
                  <a:gd name="T7" fmla="*/ 1 h 55"/>
                  <a:gd name="T8" fmla="*/ 8 w 35"/>
                  <a:gd name="T9" fmla="*/ 3 h 55"/>
                  <a:gd name="T10" fmla="*/ 34 w 35"/>
                  <a:gd name="T11" fmla="*/ 48 h 55"/>
                  <a:gd name="T12" fmla="*/ 32 w 35"/>
                  <a:gd name="T13" fmla="*/ 53 h 55"/>
                </a:gdLst>
                <a:ahLst/>
                <a:cxnLst>
                  <a:cxn ang="0">
                    <a:pos x="T0" y="T1"/>
                  </a:cxn>
                  <a:cxn ang="0">
                    <a:pos x="T2" y="T3"/>
                  </a:cxn>
                  <a:cxn ang="0">
                    <a:pos x="T4" y="T5"/>
                  </a:cxn>
                  <a:cxn ang="0">
                    <a:pos x="T6" y="T7"/>
                  </a:cxn>
                  <a:cxn ang="0">
                    <a:pos x="T8" y="T9"/>
                  </a:cxn>
                  <a:cxn ang="0">
                    <a:pos x="T10" y="T11"/>
                  </a:cxn>
                  <a:cxn ang="0">
                    <a:pos x="T12" y="T13"/>
                  </a:cxn>
                </a:cxnLst>
                <a:rect l="0" t="0" r="r" b="b"/>
                <a:pathLst>
                  <a:path w="35" h="55">
                    <a:moveTo>
                      <a:pt x="32" y="53"/>
                    </a:moveTo>
                    <a:cubicBezTo>
                      <a:pt x="30" y="55"/>
                      <a:pt x="28" y="54"/>
                      <a:pt x="27" y="52"/>
                    </a:cubicBezTo>
                    <a:cubicBezTo>
                      <a:pt x="1" y="7"/>
                      <a:pt x="1" y="7"/>
                      <a:pt x="1" y="7"/>
                    </a:cubicBezTo>
                    <a:cubicBezTo>
                      <a:pt x="0" y="5"/>
                      <a:pt x="1" y="2"/>
                      <a:pt x="3" y="1"/>
                    </a:cubicBezTo>
                    <a:cubicBezTo>
                      <a:pt x="5" y="0"/>
                      <a:pt x="7" y="1"/>
                      <a:pt x="8" y="3"/>
                    </a:cubicBezTo>
                    <a:cubicBezTo>
                      <a:pt x="34" y="48"/>
                      <a:pt x="34" y="48"/>
                      <a:pt x="34" y="48"/>
                    </a:cubicBezTo>
                    <a:cubicBezTo>
                      <a:pt x="35" y="50"/>
                      <a:pt x="34" y="52"/>
                      <a:pt x="32"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53" name="Freeform 130">
                <a:extLst>
                  <a:ext uri="{FF2B5EF4-FFF2-40B4-BE49-F238E27FC236}">
                    <a16:creationId xmlns:a16="http://schemas.microsoft.com/office/drawing/2014/main" id="{C2D05C7C-5E37-7486-22A3-FDB38265F855}"/>
                  </a:ext>
                </a:extLst>
              </p:cNvPr>
              <p:cNvSpPr>
                <a:spLocks/>
              </p:cNvSpPr>
              <p:nvPr/>
            </p:nvSpPr>
            <p:spPr bwMode="auto">
              <a:xfrm>
                <a:off x="5115057" y="2595786"/>
                <a:ext cx="50590" cy="78576"/>
              </a:xfrm>
              <a:custGeom>
                <a:avLst/>
                <a:gdLst>
                  <a:gd name="T0" fmla="*/ 32 w 35"/>
                  <a:gd name="T1" fmla="*/ 53 h 54"/>
                  <a:gd name="T2" fmla="*/ 27 w 35"/>
                  <a:gd name="T3" fmla="*/ 51 h 54"/>
                  <a:gd name="T4" fmla="*/ 1 w 35"/>
                  <a:gd name="T5" fmla="*/ 6 h 54"/>
                  <a:gd name="T6" fmla="*/ 3 w 35"/>
                  <a:gd name="T7" fmla="*/ 1 h 54"/>
                  <a:gd name="T8" fmla="*/ 8 w 35"/>
                  <a:gd name="T9" fmla="*/ 2 h 54"/>
                  <a:gd name="T10" fmla="*/ 34 w 35"/>
                  <a:gd name="T11" fmla="*/ 47 h 54"/>
                  <a:gd name="T12" fmla="*/ 32 w 35"/>
                  <a:gd name="T13" fmla="*/ 53 h 54"/>
                </a:gdLst>
                <a:ahLst/>
                <a:cxnLst>
                  <a:cxn ang="0">
                    <a:pos x="T0" y="T1"/>
                  </a:cxn>
                  <a:cxn ang="0">
                    <a:pos x="T2" y="T3"/>
                  </a:cxn>
                  <a:cxn ang="0">
                    <a:pos x="T4" y="T5"/>
                  </a:cxn>
                  <a:cxn ang="0">
                    <a:pos x="T6" y="T7"/>
                  </a:cxn>
                  <a:cxn ang="0">
                    <a:pos x="T8" y="T9"/>
                  </a:cxn>
                  <a:cxn ang="0">
                    <a:pos x="T10" y="T11"/>
                  </a:cxn>
                  <a:cxn ang="0">
                    <a:pos x="T12" y="T13"/>
                  </a:cxn>
                </a:cxnLst>
                <a:rect l="0" t="0" r="r" b="b"/>
                <a:pathLst>
                  <a:path w="35" h="54">
                    <a:moveTo>
                      <a:pt x="32" y="53"/>
                    </a:moveTo>
                    <a:cubicBezTo>
                      <a:pt x="30" y="54"/>
                      <a:pt x="28" y="53"/>
                      <a:pt x="27" y="51"/>
                    </a:cubicBezTo>
                    <a:cubicBezTo>
                      <a:pt x="1" y="6"/>
                      <a:pt x="1" y="6"/>
                      <a:pt x="1" y="6"/>
                    </a:cubicBezTo>
                    <a:cubicBezTo>
                      <a:pt x="0" y="4"/>
                      <a:pt x="1" y="2"/>
                      <a:pt x="3" y="1"/>
                    </a:cubicBezTo>
                    <a:cubicBezTo>
                      <a:pt x="4" y="0"/>
                      <a:pt x="7" y="0"/>
                      <a:pt x="8" y="2"/>
                    </a:cubicBezTo>
                    <a:cubicBezTo>
                      <a:pt x="34" y="47"/>
                      <a:pt x="34" y="47"/>
                      <a:pt x="34" y="47"/>
                    </a:cubicBezTo>
                    <a:cubicBezTo>
                      <a:pt x="35" y="49"/>
                      <a:pt x="34" y="52"/>
                      <a:pt x="32"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grpSp>
      </p:grpSp>
      <p:pic>
        <p:nvPicPr>
          <p:cNvPr id="461" name="صورة 460">
            <a:extLst>
              <a:ext uri="{FF2B5EF4-FFF2-40B4-BE49-F238E27FC236}">
                <a16:creationId xmlns:a16="http://schemas.microsoft.com/office/drawing/2014/main" id="{CE25D67D-47D1-F0A2-004C-D11702910B65}"/>
              </a:ext>
            </a:extLst>
          </p:cNvPr>
          <p:cNvPicPr>
            <a:picLocks noChangeAspect="1"/>
          </p:cNvPicPr>
          <p:nvPr/>
        </p:nvPicPr>
        <p:blipFill>
          <a:blip r:embed="rId3"/>
          <a:stretch>
            <a:fillRect/>
          </a:stretch>
        </p:blipFill>
        <p:spPr>
          <a:xfrm>
            <a:off x="3567430" y="1011440"/>
            <a:ext cx="3852071" cy="5637844"/>
          </a:xfrm>
          <a:prstGeom prst="rect">
            <a:avLst/>
          </a:prstGeom>
        </p:spPr>
      </p:pic>
      <p:pic>
        <p:nvPicPr>
          <p:cNvPr id="462" name="صورة 461" descr="صورة تحتوي على لقطة شاشة, الخط, نص, الرسومات&#10;&#10;تم إنشاء الوصف تلقائياً">
            <a:extLst>
              <a:ext uri="{FF2B5EF4-FFF2-40B4-BE49-F238E27FC236}">
                <a16:creationId xmlns:a16="http://schemas.microsoft.com/office/drawing/2014/main" id="{8D669037-F363-3B2C-C0BC-14EEFB6DCDFD}"/>
              </a:ext>
            </a:extLst>
          </p:cNvPr>
          <p:cNvPicPr>
            <a:picLocks noChangeAspect="1"/>
          </p:cNvPicPr>
          <p:nvPr/>
        </p:nvPicPr>
        <p:blipFill>
          <a:blip r:embed="rId4"/>
          <a:stretch>
            <a:fillRect/>
          </a:stretch>
        </p:blipFill>
        <p:spPr>
          <a:xfrm>
            <a:off x="59388" y="131758"/>
            <a:ext cx="1713833" cy="917972"/>
          </a:xfrm>
          <a:prstGeom prst="rect">
            <a:avLst/>
          </a:prstGeom>
        </p:spPr>
      </p:pic>
      <p:grpSp>
        <p:nvGrpSpPr>
          <p:cNvPr id="465" name="مجموعة 464">
            <a:extLst>
              <a:ext uri="{FF2B5EF4-FFF2-40B4-BE49-F238E27FC236}">
                <a16:creationId xmlns:a16="http://schemas.microsoft.com/office/drawing/2014/main" id="{E4294CB7-0D49-1BB7-4330-534D38FE3063}"/>
              </a:ext>
            </a:extLst>
          </p:cNvPr>
          <p:cNvGrpSpPr/>
          <p:nvPr/>
        </p:nvGrpSpPr>
        <p:grpSpPr>
          <a:xfrm>
            <a:off x="103011" y="5950741"/>
            <a:ext cx="10852403" cy="826402"/>
            <a:chOff x="103011" y="5950741"/>
            <a:chExt cx="10852403" cy="826402"/>
          </a:xfrm>
        </p:grpSpPr>
        <p:sp>
          <p:nvSpPr>
            <p:cNvPr id="463" name="مستطيل 462">
              <a:extLst>
                <a:ext uri="{FF2B5EF4-FFF2-40B4-BE49-F238E27FC236}">
                  <a16:creationId xmlns:a16="http://schemas.microsoft.com/office/drawing/2014/main" id="{AE9278FD-8D8C-D1ED-5016-9656C097C90E}"/>
                </a:ext>
              </a:extLst>
            </p:cNvPr>
            <p:cNvSpPr/>
            <p:nvPr/>
          </p:nvSpPr>
          <p:spPr>
            <a:xfrm>
              <a:off x="928457" y="6575789"/>
              <a:ext cx="10026957" cy="201354"/>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ar-SA" sz="1800" b="0" i="0" u="none" strike="noStrike" kern="1200" cap="none" spc="0" normalizeH="0" baseline="0" noProof="0" dirty="0">
                <a:ln>
                  <a:noFill/>
                </a:ln>
                <a:solidFill>
                  <a:prstClr val="white"/>
                </a:solidFill>
                <a:effectLst/>
                <a:uLnTx/>
                <a:uFillTx/>
                <a:latin typeface="Century Gothic" panose="020B0502020202020204"/>
                <a:ea typeface="+mn-ea"/>
                <a:cs typeface="Arial" panose="020B0604020202020204" pitchFamily="34" charset="0"/>
              </a:endParaRPr>
            </a:p>
          </p:txBody>
        </p:sp>
        <p:sp>
          <p:nvSpPr>
            <p:cNvPr id="464" name="مثلث قائم الزاوية 463">
              <a:extLst>
                <a:ext uri="{FF2B5EF4-FFF2-40B4-BE49-F238E27FC236}">
                  <a16:creationId xmlns:a16="http://schemas.microsoft.com/office/drawing/2014/main" id="{0A5C3D81-6947-4C76-B50E-2CC905F06DD6}"/>
                </a:ext>
              </a:extLst>
            </p:cNvPr>
            <p:cNvSpPr/>
            <p:nvPr/>
          </p:nvSpPr>
          <p:spPr>
            <a:xfrm>
              <a:off x="103011" y="5950741"/>
              <a:ext cx="1141988" cy="826402"/>
            </a:xfrm>
            <a:prstGeom prst="r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ar-SA" sz="1800" b="0" i="0" u="none" strike="noStrike" kern="1200" cap="none" spc="0" normalizeH="0" baseline="0" noProof="0">
                <a:ln>
                  <a:noFill/>
                </a:ln>
                <a:solidFill>
                  <a:prstClr val="white"/>
                </a:solidFill>
                <a:effectLst/>
                <a:uLnTx/>
                <a:uFillTx/>
                <a:latin typeface="Century Gothic" panose="020B0502020202020204"/>
                <a:ea typeface="+mn-ea"/>
                <a:cs typeface="Arial" panose="020B0604020202020204" pitchFamily="34" charset="0"/>
              </a:endParaRPr>
            </a:p>
          </p:txBody>
        </p:sp>
      </p:grpSp>
    </p:spTree>
    <p:extLst>
      <p:ext uri="{BB962C8B-B14F-4D97-AF65-F5344CB8AC3E}">
        <p14:creationId xmlns:p14="http://schemas.microsoft.com/office/powerpoint/2010/main" val="3313753543"/>
      </p:ext>
    </p:extLst>
  </p:cSld>
  <p:clrMapOvr>
    <a:masterClrMapping/>
  </p:clrMapOvr>
  <mc:AlternateContent xmlns:mc="http://schemas.openxmlformats.org/markup-compatibility/2006" xmlns:p14="http://schemas.microsoft.com/office/powerpoint/2010/main">
    <mc:Choice Requires="p14">
      <p:transition spd="slow" p14:dur="1250" advTm="2000">
        <p14:flip dir="r"/>
      </p:transition>
    </mc:Choice>
    <mc:Fallback xmlns="">
      <p:transition spd="slow" advTm="2000">
        <p:fade/>
      </p:transition>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صورة 2">
            <a:extLst>
              <a:ext uri="{FF2B5EF4-FFF2-40B4-BE49-F238E27FC236}">
                <a16:creationId xmlns:a16="http://schemas.microsoft.com/office/drawing/2014/main" id="{5EC3E7F9-414C-5622-AF55-83B655E00CBD}"/>
              </a:ext>
            </a:extLst>
          </p:cNvPr>
          <p:cNvPicPr>
            <a:picLocks noChangeAspect="1"/>
          </p:cNvPicPr>
          <p:nvPr/>
        </p:nvPicPr>
        <p:blipFill>
          <a:blip r:embed="rId2"/>
          <a:stretch>
            <a:fillRect/>
          </a:stretch>
        </p:blipFill>
        <p:spPr>
          <a:xfrm>
            <a:off x="1121989" y="1080641"/>
            <a:ext cx="7534117" cy="3863131"/>
          </a:xfrm>
          <a:prstGeom prst="rect">
            <a:avLst/>
          </a:prstGeom>
        </p:spPr>
      </p:pic>
      <p:grpSp>
        <p:nvGrpSpPr>
          <p:cNvPr id="6" name="Group 3">
            <a:extLst>
              <a:ext uri="{FF2B5EF4-FFF2-40B4-BE49-F238E27FC236}">
                <a16:creationId xmlns:a16="http://schemas.microsoft.com/office/drawing/2014/main" id="{D0A397A1-CD9A-B0D4-E1BD-E029EF534EE2}"/>
              </a:ext>
            </a:extLst>
          </p:cNvPr>
          <p:cNvGrpSpPr/>
          <p:nvPr/>
        </p:nvGrpSpPr>
        <p:grpSpPr>
          <a:xfrm>
            <a:off x="8593072" y="3331124"/>
            <a:ext cx="3193273" cy="2907354"/>
            <a:chOff x="4094649" y="2398809"/>
            <a:chExt cx="3978302" cy="4469130"/>
          </a:xfrm>
        </p:grpSpPr>
        <p:sp>
          <p:nvSpPr>
            <p:cNvPr id="7" name="Freeform 7">
              <a:extLst>
                <a:ext uri="{FF2B5EF4-FFF2-40B4-BE49-F238E27FC236}">
                  <a16:creationId xmlns:a16="http://schemas.microsoft.com/office/drawing/2014/main" id="{1E0CADC6-F74F-9BD2-338F-420F991CB361}"/>
                </a:ext>
              </a:extLst>
            </p:cNvPr>
            <p:cNvSpPr>
              <a:spLocks/>
            </p:cNvSpPr>
            <p:nvPr/>
          </p:nvSpPr>
          <p:spPr bwMode="auto">
            <a:xfrm>
              <a:off x="6445463" y="4006921"/>
              <a:ext cx="276630" cy="446698"/>
            </a:xfrm>
            <a:custGeom>
              <a:avLst/>
              <a:gdLst>
                <a:gd name="T0" fmla="*/ 257 w 257"/>
                <a:gd name="T1" fmla="*/ 375 h 415"/>
                <a:gd name="T2" fmla="*/ 138 w 257"/>
                <a:gd name="T3" fmla="*/ 0 h 415"/>
                <a:gd name="T4" fmla="*/ 112 w 257"/>
                <a:gd name="T5" fmla="*/ 0 h 415"/>
                <a:gd name="T6" fmla="*/ 0 w 257"/>
                <a:gd name="T7" fmla="*/ 388 h 415"/>
                <a:gd name="T8" fmla="*/ 7 w 257"/>
                <a:gd name="T9" fmla="*/ 415 h 415"/>
                <a:gd name="T10" fmla="*/ 242 w 257"/>
                <a:gd name="T11" fmla="*/ 414 h 415"/>
                <a:gd name="T12" fmla="*/ 257 w 257"/>
                <a:gd name="T13" fmla="*/ 375 h 415"/>
              </a:gdLst>
              <a:ahLst/>
              <a:cxnLst>
                <a:cxn ang="0">
                  <a:pos x="T0" y="T1"/>
                </a:cxn>
                <a:cxn ang="0">
                  <a:pos x="T2" y="T3"/>
                </a:cxn>
                <a:cxn ang="0">
                  <a:pos x="T4" y="T5"/>
                </a:cxn>
                <a:cxn ang="0">
                  <a:pos x="T6" y="T7"/>
                </a:cxn>
                <a:cxn ang="0">
                  <a:pos x="T8" y="T9"/>
                </a:cxn>
                <a:cxn ang="0">
                  <a:pos x="T10" y="T11"/>
                </a:cxn>
                <a:cxn ang="0">
                  <a:pos x="T12" y="T13"/>
                </a:cxn>
              </a:cxnLst>
              <a:rect l="0" t="0" r="r" b="b"/>
              <a:pathLst>
                <a:path w="257" h="415">
                  <a:moveTo>
                    <a:pt x="257" y="375"/>
                  </a:moveTo>
                  <a:lnTo>
                    <a:pt x="138" y="0"/>
                  </a:lnTo>
                  <a:lnTo>
                    <a:pt x="112" y="0"/>
                  </a:lnTo>
                  <a:lnTo>
                    <a:pt x="0" y="388"/>
                  </a:lnTo>
                  <a:lnTo>
                    <a:pt x="7" y="415"/>
                  </a:lnTo>
                  <a:lnTo>
                    <a:pt x="242" y="414"/>
                  </a:lnTo>
                  <a:lnTo>
                    <a:pt x="257" y="37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8" name="Freeform 8">
              <a:extLst>
                <a:ext uri="{FF2B5EF4-FFF2-40B4-BE49-F238E27FC236}">
                  <a16:creationId xmlns:a16="http://schemas.microsoft.com/office/drawing/2014/main" id="{06527CA2-F85F-C66E-2CE0-C40EA863FFE1}"/>
                </a:ext>
              </a:extLst>
            </p:cNvPr>
            <p:cNvSpPr>
              <a:spLocks/>
            </p:cNvSpPr>
            <p:nvPr/>
          </p:nvSpPr>
          <p:spPr bwMode="auto">
            <a:xfrm>
              <a:off x="6445463" y="4006921"/>
              <a:ext cx="276630" cy="446698"/>
            </a:xfrm>
            <a:custGeom>
              <a:avLst/>
              <a:gdLst>
                <a:gd name="T0" fmla="*/ 257 w 257"/>
                <a:gd name="T1" fmla="*/ 375 h 415"/>
                <a:gd name="T2" fmla="*/ 138 w 257"/>
                <a:gd name="T3" fmla="*/ 0 h 415"/>
                <a:gd name="T4" fmla="*/ 112 w 257"/>
                <a:gd name="T5" fmla="*/ 0 h 415"/>
                <a:gd name="T6" fmla="*/ 0 w 257"/>
                <a:gd name="T7" fmla="*/ 388 h 415"/>
                <a:gd name="T8" fmla="*/ 7 w 257"/>
                <a:gd name="T9" fmla="*/ 415 h 415"/>
                <a:gd name="T10" fmla="*/ 242 w 257"/>
                <a:gd name="T11" fmla="*/ 414 h 415"/>
                <a:gd name="T12" fmla="*/ 257 w 257"/>
                <a:gd name="T13" fmla="*/ 375 h 415"/>
              </a:gdLst>
              <a:ahLst/>
              <a:cxnLst>
                <a:cxn ang="0">
                  <a:pos x="T0" y="T1"/>
                </a:cxn>
                <a:cxn ang="0">
                  <a:pos x="T2" y="T3"/>
                </a:cxn>
                <a:cxn ang="0">
                  <a:pos x="T4" y="T5"/>
                </a:cxn>
                <a:cxn ang="0">
                  <a:pos x="T6" y="T7"/>
                </a:cxn>
                <a:cxn ang="0">
                  <a:pos x="T8" y="T9"/>
                </a:cxn>
                <a:cxn ang="0">
                  <a:pos x="T10" y="T11"/>
                </a:cxn>
                <a:cxn ang="0">
                  <a:pos x="T12" y="T13"/>
                </a:cxn>
              </a:cxnLst>
              <a:rect l="0" t="0" r="r" b="b"/>
              <a:pathLst>
                <a:path w="257" h="415">
                  <a:moveTo>
                    <a:pt x="257" y="375"/>
                  </a:moveTo>
                  <a:lnTo>
                    <a:pt x="138" y="0"/>
                  </a:lnTo>
                  <a:lnTo>
                    <a:pt x="112" y="0"/>
                  </a:lnTo>
                  <a:lnTo>
                    <a:pt x="0" y="388"/>
                  </a:lnTo>
                  <a:lnTo>
                    <a:pt x="7" y="415"/>
                  </a:lnTo>
                  <a:lnTo>
                    <a:pt x="242" y="414"/>
                  </a:lnTo>
                  <a:lnTo>
                    <a:pt x="257" y="37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9" name="Freeform 9">
              <a:extLst>
                <a:ext uri="{FF2B5EF4-FFF2-40B4-BE49-F238E27FC236}">
                  <a16:creationId xmlns:a16="http://schemas.microsoft.com/office/drawing/2014/main" id="{A2948DDC-A542-4D76-CA1F-1CC6F5E797AA}"/>
                </a:ext>
              </a:extLst>
            </p:cNvPr>
            <p:cNvSpPr>
              <a:spLocks/>
            </p:cNvSpPr>
            <p:nvPr/>
          </p:nvSpPr>
          <p:spPr bwMode="auto">
            <a:xfrm>
              <a:off x="6525116" y="4391188"/>
              <a:ext cx="115173" cy="2474598"/>
            </a:xfrm>
            <a:custGeom>
              <a:avLst/>
              <a:gdLst>
                <a:gd name="T0" fmla="*/ 79 w 79"/>
                <a:gd name="T1" fmla="*/ 1703 h 1703"/>
                <a:gd name="T2" fmla="*/ 0 w 79"/>
                <a:gd name="T3" fmla="*/ 1703 h 1703"/>
                <a:gd name="T4" fmla="*/ 0 w 79"/>
                <a:gd name="T5" fmla="*/ 33 h 1703"/>
                <a:gd name="T6" fmla="*/ 38 w 79"/>
                <a:gd name="T7" fmla="*/ 1 h 1703"/>
                <a:gd name="T8" fmla="*/ 79 w 79"/>
                <a:gd name="T9" fmla="*/ 33 h 1703"/>
                <a:gd name="T10" fmla="*/ 79 w 79"/>
                <a:gd name="T11" fmla="*/ 1703 h 1703"/>
              </a:gdLst>
              <a:ahLst/>
              <a:cxnLst>
                <a:cxn ang="0">
                  <a:pos x="T0" y="T1"/>
                </a:cxn>
                <a:cxn ang="0">
                  <a:pos x="T2" y="T3"/>
                </a:cxn>
                <a:cxn ang="0">
                  <a:pos x="T4" y="T5"/>
                </a:cxn>
                <a:cxn ang="0">
                  <a:pos x="T6" y="T7"/>
                </a:cxn>
                <a:cxn ang="0">
                  <a:pos x="T8" y="T9"/>
                </a:cxn>
                <a:cxn ang="0">
                  <a:pos x="T10" y="T11"/>
                </a:cxn>
              </a:cxnLst>
              <a:rect l="0" t="0" r="r" b="b"/>
              <a:pathLst>
                <a:path w="79" h="1703">
                  <a:moveTo>
                    <a:pt x="79" y="1703"/>
                  </a:moveTo>
                  <a:cubicBezTo>
                    <a:pt x="0" y="1703"/>
                    <a:pt x="0" y="1703"/>
                    <a:pt x="0" y="1703"/>
                  </a:cubicBezTo>
                  <a:cubicBezTo>
                    <a:pt x="0" y="33"/>
                    <a:pt x="0" y="33"/>
                    <a:pt x="0" y="33"/>
                  </a:cubicBezTo>
                  <a:cubicBezTo>
                    <a:pt x="0" y="33"/>
                    <a:pt x="5" y="2"/>
                    <a:pt x="38" y="1"/>
                  </a:cubicBezTo>
                  <a:cubicBezTo>
                    <a:pt x="72" y="0"/>
                    <a:pt x="79" y="33"/>
                    <a:pt x="79" y="33"/>
                  </a:cubicBezTo>
                  <a:cubicBezTo>
                    <a:pt x="79" y="1703"/>
                    <a:pt x="79" y="1703"/>
                    <a:pt x="79" y="1703"/>
                  </a:cubicBezTo>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0" name="Freeform 10">
              <a:extLst>
                <a:ext uri="{FF2B5EF4-FFF2-40B4-BE49-F238E27FC236}">
                  <a16:creationId xmlns:a16="http://schemas.microsoft.com/office/drawing/2014/main" id="{193CBF56-1FE9-194A-44F1-4B6B4DB3BD35}"/>
                </a:ext>
              </a:extLst>
            </p:cNvPr>
            <p:cNvSpPr>
              <a:spLocks/>
            </p:cNvSpPr>
            <p:nvPr/>
          </p:nvSpPr>
          <p:spPr bwMode="auto">
            <a:xfrm>
              <a:off x="6638136" y="4389035"/>
              <a:ext cx="91493" cy="2474598"/>
            </a:xfrm>
            <a:custGeom>
              <a:avLst/>
              <a:gdLst>
                <a:gd name="T0" fmla="*/ 63 w 63"/>
                <a:gd name="T1" fmla="*/ 1704 h 1704"/>
                <a:gd name="T2" fmla="*/ 0 w 63"/>
                <a:gd name="T3" fmla="*/ 1704 h 1704"/>
                <a:gd name="T4" fmla="*/ 0 w 63"/>
                <a:gd name="T5" fmla="*/ 33 h 1704"/>
                <a:gd name="T6" fmla="*/ 31 w 63"/>
                <a:gd name="T7" fmla="*/ 1 h 1704"/>
                <a:gd name="T8" fmla="*/ 63 w 63"/>
                <a:gd name="T9" fmla="*/ 33 h 1704"/>
                <a:gd name="T10" fmla="*/ 63 w 63"/>
                <a:gd name="T11" fmla="*/ 1704 h 1704"/>
              </a:gdLst>
              <a:ahLst/>
              <a:cxnLst>
                <a:cxn ang="0">
                  <a:pos x="T0" y="T1"/>
                </a:cxn>
                <a:cxn ang="0">
                  <a:pos x="T2" y="T3"/>
                </a:cxn>
                <a:cxn ang="0">
                  <a:pos x="T4" y="T5"/>
                </a:cxn>
                <a:cxn ang="0">
                  <a:pos x="T6" y="T7"/>
                </a:cxn>
                <a:cxn ang="0">
                  <a:pos x="T8" y="T9"/>
                </a:cxn>
                <a:cxn ang="0">
                  <a:pos x="T10" y="T11"/>
                </a:cxn>
              </a:cxnLst>
              <a:rect l="0" t="0" r="r" b="b"/>
              <a:pathLst>
                <a:path w="63" h="1704">
                  <a:moveTo>
                    <a:pt x="63" y="1704"/>
                  </a:moveTo>
                  <a:cubicBezTo>
                    <a:pt x="0" y="1704"/>
                    <a:pt x="0" y="1704"/>
                    <a:pt x="0" y="1704"/>
                  </a:cubicBezTo>
                  <a:cubicBezTo>
                    <a:pt x="0" y="33"/>
                    <a:pt x="0" y="33"/>
                    <a:pt x="0" y="33"/>
                  </a:cubicBezTo>
                  <a:cubicBezTo>
                    <a:pt x="0" y="33"/>
                    <a:pt x="4" y="1"/>
                    <a:pt x="31" y="1"/>
                  </a:cubicBezTo>
                  <a:cubicBezTo>
                    <a:pt x="58" y="0"/>
                    <a:pt x="63" y="33"/>
                    <a:pt x="63" y="33"/>
                  </a:cubicBezTo>
                  <a:cubicBezTo>
                    <a:pt x="63" y="1704"/>
                    <a:pt x="63" y="1704"/>
                    <a:pt x="63" y="1704"/>
                  </a:cubicBezTo>
                </a:path>
              </a:pathLst>
            </a:custGeom>
            <a:solidFill>
              <a:srgbClr val="3DCE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1" name="Freeform 11">
              <a:extLst>
                <a:ext uri="{FF2B5EF4-FFF2-40B4-BE49-F238E27FC236}">
                  <a16:creationId xmlns:a16="http://schemas.microsoft.com/office/drawing/2014/main" id="{369E7592-35A3-B6DA-FB86-6B13DA58CD62}"/>
                </a:ext>
              </a:extLst>
            </p:cNvPr>
            <p:cNvSpPr>
              <a:spLocks/>
            </p:cNvSpPr>
            <p:nvPr/>
          </p:nvSpPr>
          <p:spPr bwMode="auto">
            <a:xfrm>
              <a:off x="6435776" y="4389035"/>
              <a:ext cx="91493" cy="2474598"/>
            </a:xfrm>
            <a:custGeom>
              <a:avLst/>
              <a:gdLst>
                <a:gd name="T0" fmla="*/ 63 w 63"/>
                <a:gd name="T1" fmla="*/ 1704 h 1704"/>
                <a:gd name="T2" fmla="*/ 0 w 63"/>
                <a:gd name="T3" fmla="*/ 1704 h 1704"/>
                <a:gd name="T4" fmla="*/ 0 w 63"/>
                <a:gd name="T5" fmla="*/ 33 h 1704"/>
                <a:gd name="T6" fmla="*/ 31 w 63"/>
                <a:gd name="T7" fmla="*/ 1 h 1704"/>
                <a:gd name="T8" fmla="*/ 63 w 63"/>
                <a:gd name="T9" fmla="*/ 33 h 1704"/>
                <a:gd name="T10" fmla="*/ 63 w 63"/>
                <a:gd name="T11" fmla="*/ 1704 h 1704"/>
              </a:gdLst>
              <a:ahLst/>
              <a:cxnLst>
                <a:cxn ang="0">
                  <a:pos x="T0" y="T1"/>
                </a:cxn>
                <a:cxn ang="0">
                  <a:pos x="T2" y="T3"/>
                </a:cxn>
                <a:cxn ang="0">
                  <a:pos x="T4" y="T5"/>
                </a:cxn>
                <a:cxn ang="0">
                  <a:pos x="T6" y="T7"/>
                </a:cxn>
                <a:cxn ang="0">
                  <a:pos x="T8" y="T9"/>
                </a:cxn>
                <a:cxn ang="0">
                  <a:pos x="T10" y="T11"/>
                </a:cxn>
              </a:cxnLst>
              <a:rect l="0" t="0" r="r" b="b"/>
              <a:pathLst>
                <a:path w="63" h="1704">
                  <a:moveTo>
                    <a:pt x="63" y="1704"/>
                  </a:moveTo>
                  <a:cubicBezTo>
                    <a:pt x="0" y="1704"/>
                    <a:pt x="0" y="1704"/>
                    <a:pt x="0" y="1704"/>
                  </a:cubicBezTo>
                  <a:cubicBezTo>
                    <a:pt x="0" y="33"/>
                    <a:pt x="0" y="33"/>
                    <a:pt x="0" y="33"/>
                  </a:cubicBezTo>
                  <a:cubicBezTo>
                    <a:pt x="0" y="33"/>
                    <a:pt x="4" y="1"/>
                    <a:pt x="31" y="1"/>
                  </a:cubicBezTo>
                  <a:cubicBezTo>
                    <a:pt x="58" y="0"/>
                    <a:pt x="63" y="33"/>
                    <a:pt x="63" y="33"/>
                  </a:cubicBezTo>
                  <a:lnTo>
                    <a:pt x="63" y="1704"/>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2" name="Freeform 12">
              <a:extLst>
                <a:ext uri="{FF2B5EF4-FFF2-40B4-BE49-F238E27FC236}">
                  <a16:creationId xmlns:a16="http://schemas.microsoft.com/office/drawing/2014/main" id="{FB2B0D1E-BDF3-6097-E228-E9D14C80C7BA}"/>
                </a:ext>
              </a:extLst>
            </p:cNvPr>
            <p:cNvSpPr>
              <a:spLocks/>
            </p:cNvSpPr>
            <p:nvPr/>
          </p:nvSpPr>
          <p:spPr bwMode="auto">
            <a:xfrm>
              <a:off x="6522963" y="3999386"/>
              <a:ext cx="120555" cy="174374"/>
            </a:xfrm>
            <a:custGeom>
              <a:avLst/>
              <a:gdLst>
                <a:gd name="T0" fmla="*/ 0 w 83"/>
                <a:gd name="T1" fmla="*/ 111 h 120"/>
                <a:gd name="T2" fmla="*/ 83 w 83"/>
                <a:gd name="T3" fmla="*/ 113 h 120"/>
                <a:gd name="T4" fmla="*/ 50 w 83"/>
                <a:gd name="T5" fmla="*/ 0 h 120"/>
                <a:gd name="T6" fmla="*/ 29 w 83"/>
                <a:gd name="T7" fmla="*/ 0 h 120"/>
                <a:gd name="T8" fmla="*/ 0 w 83"/>
                <a:gd name="T9" fmla="*/ 111 h 120"/>
              </a:gdLst>
              <a:ahLst/>
              <a:cxnLst>
                <a:cxn ang="0">
                  <a:pos x="T0" y="T1"/>
                </a:cxn>
                <a:cxn ang="0">
                  <a:pos x="T2" y="T3"/>
                </a:cxn>
                <a:cxn ang="0">
                  <a:pos x="T4" y="T5"/>
                </a:cxn>
                <a:cxn ang="0">
                  <a:pos x="T6" y="T7"/>
                </a:cxn>
                <a:cxn ang="0">
                  <a:pos x="T8" y="T9"/>
                </a:cxn>
              </a:cxnLst>
              <a:rect l="0" t="0" r="r" b="b"/>
              <a:pathLst>
                <a:path w="83" h="120">
                  <a:moveTo>
                    <a:pt x="0" y="111"/>
                  </a:moveTo>
                  <a:cubicBezTo>
                    <a:pt x="0" y="111"/>
                    <a:pt x="40" y="120"/>
                    <a:pt x="83" y="113"/>
                  </a:cubicBezTo>
                  <a:cubicBezTo>
                    <a:pt x="50" y="0"/>
                    <a:pt x="50" y="0"/>
                    <a:pt x="50" y="0"/>
                  </a:cubicBezTo>
                  <a:cubicBezTo>
                    <a:pt x="29" y="0"/>
                    <a:pt x="29" y="0"/>
                    <a:pt x="29" y="0"/>
                  </a:cubicBezTo>
                  <a:cubicBezTo>
                    <a:pt x="0" y="111"/>
                    <a:pt x="0" y="111"/>
                    <a:pt x="0" y="111"/>
                  </a:cubicBezTo>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3" name="Freeform 13">
              <a:extLst>
                <a:ext uri="{FF2B5EF4-FFF2-40B4-BE49-F238E27FC236}">
                  <a16:creationId xmlns:a16="http://schemas.microsoft.com/office/drawing/2014/main" id="{B1FB71FB-35F6-6B82-E90C-83136092F9AB}"/>
                </a:ext>
              </a:extLst>
            </p:cNvPr>
            <p:cNvSpPr>
              <a:spLocks/>
            </p:cNvSpPr>
            <p:nvPr/>
          </p:nvSpPr>
          <p:spPr bwMode="auto">
            <a:xfrm>
              <a:off x="5075232" y="5215695"/>
              <a:ext cx="274477" cy="446698"/>
            </a:xfrm>
            <a:custGeom>
              <a:avLst/>
              <a:gdLst>
                <a:gd name="T0" fmla="*/ 255 w 255"/>
                <a:gd name="T1" fmla="*/ 376 h 415"/>
                <a:gd name="T2" fmla="*/ 138 w 255"/>
                <a:gd name="T3" fmla="*/ 0 h 415"/>
                <a:gd name="T4" fmla="*/ 112 w 255"/>
                <a:gd name="T5" fmla="*/ 0 h 415"/>
                <a:gd name="T6" fmla="*/ 0 w 255"/>
                <a:gd name="T7" fmla="*/ 388 h 415"/>
                <a:gd name="T8" fmla="*/ 7 w 255"/>
                <a:gd name="T9" fmla="*/ 415 h 415"/>
                <a:gd name="T10" fmla="*/ 242 w 255"/>
                <a:gd name="T11" fmla="*/ 415 h 415"/>
                <a:gd name="T12" fmla="*/ 255 w 255"/>
                <a:gd name="T13" fmla="*/ 376 h 415"/>
              </a:gdLst>
              <a:ahLst/>
              <a:cxnLst>
                <a:cxn ang="0">
                  <a:pos x="T0" y="T1"/>
                </a:cxn>
                <a:cxn ang="0">
                  <a:pos x="T2" y="T3"/>
                </a:cxn>
                <a:cxn ang="0">
                  <a:pos x="T4" y="T5"/>
                </a:cxn>
                <a:cxn ang="0">
                  <a:pos x="T6" y="T7"/>
                </a:cxn>
                <a:cxn ang="0">
                  <a:pos x="T8" y="T9"/>
                </a:cxn>
                <a:cxn ang="0">
                  <a:pos x="T10" y="T11"/>
                </a:cxn>
                <a:cxn ang="0">
                  <a:pos x="T12" y="T13"/>
                </a:cxn>
              </a:cxnLst>
              <a:rect l="0" t="0" r="r" b="b"/>
              <a:pathLst>
                <a:path w="255" h="415">
                  <a:moveTo>
                    <a:pt x="255" y="376"/>
                  </a:moveTo>
                  <a:lnTo>
                    <a:pt x="138" y="0"/>
                  </a:lnTo>
                  <a:lnTo>
                    <a:pt x="112" y="0"/>
                  </a:lnTo>
                  <a:lnTo>
                    <a:pt x="0" y="388"/>
                  </a:lnTo>
                  <a:lnTo>
                    <a:pt x="7" y="415"/>
                  </a:lnTo>
                  <a:lnTo>
                    <a:pt x="242" y="415"/>
                  </a:lnTo>
                  <a:lnTo>
                    <a:pt x="255" y="376"/>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4" name="Freeform 14">
              <a:extLst>
                <a:ext uri="{FF2B5EF4-FFF2-40B4-BE49-F238E27FC236}">
                  <a16:creationId xmlns:a16="http://schemas.microsoft.com/office/drawing/2014/main" id="{5E56850B-6BC3-E885-CE1C-72B3B3F3BDF4}"/>
                </a:ext>
              </a:extLst>
            </p:cNvPr>
            <p:cNvSpPr>
              <a:spLocks/>
            </p:cNvSpPr>
            <p:nvPr/>
          </p:nvSpPr>
          <p:spPr bwMode="auto">
            <a:xfrm>
              <a:off x="5075232" y="5215695"/>
              <a:ext cx="274477" cy="446698"/>
            </a:xfrm>
            <a:custGeom>
              <a:avLst/>
              <a:gdLst>
                <a:gd name="T0" fmla="*/ 255 w 255"/>
                <a:gd name="T1" fmla="*/ 376 h 415"/>
                <a:gd name="T2" fmla="*/ 138 w 255"/>
                <a:gd name="T3" fmla="*/ 0 h 415"/>
                <a:gd name="T4" fmla="*/ 112 w 255"/>
                <a:gd name="T5" fmla="*/ 0 h 415"/>
                <a:gd name="T6" fmla="*/ 0 w 255"/>
                <a:gd name="T7" fmla="*/ 388 h 415"/>
                <a:gd name="T8" fmla="*/ 7 w 255"/>
                <a:gd name="T9" fmla="*/ 415 h 415"/>
                <a:gd name="T10" fmla="*/ 242 w 255"/>
                <a:gd name="T11" fmla="*/ 415 h 415"/>
                <a:gd name="T12" fmla="*/ 255 w 255"/>
                <a:gd name="T13" fmla="*/ 376 h 415"/>
              </a:gdLst>
              <a:ahLst/>
              <a:cxnLst>
                <a:cxn ang="0">
                  <a:pos x="T0" y="T1"/>
                </a:cxn>
                <a:cxn ang="0">
                  <a:pos x="T2" y="T3"/>
                </a:cxn>
                <a:cxn ang="0">
                  <a:pos x="T4" y="T5"/>
                </a:cxn>
                <a:cxn ang="0">
                  <a:pos x="T6" y="T7"/>
                </a:cxn>
                <a:cxn ang="0">
                  <a:pos x="T8" y="T9"/>
                </a:cxn>
                <a:cxn ang="0">
                  <a:pos x="T10" y="T11"/>
                </a:cxn>
                <a:cxn ang="0">
                  <a:pos x="T12" y="T13"/>
                </a:cxn>
              </a:cxnLst>
              <a:rect l="0" t="0" r="r" b="b"/>
              <a:pathLst>
                <a:path w="255" h="415">
                  <a:moveTo>
                    <a:pt x="255" y="376"/>
                  </a:moveTo>
                  <a:lnTo>
                    <a:pt x="138" y="0"/>
                  </a:lnTo>
                  <a:lnTo>
                    <a:pt x="112" y="0"/>
                  </a:lnTo>
                  <a:lnTo>
                    <a:pt x="0" y="388"/>
                  </a:lnTo>
                  <a:lnTo>
                    <a:pt x="7" y="415"/>
                  </a:lnTo>
                  <a:lnTo>
                    <a:pt x="242" y="415"/>
                  </a:lnTo>
                  <a:lnTo>
                    <a:pt x="255" y="37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5" name="Freeform 15">
              <a:extLst>
                <a:ext uri="{FF2B5EF4-FFF2-40B4-BE49-F238E27FC236}">
                  <a16:creationId xmlns:a16="http://schemas.microsoft.com/office/drawing/2014/main" id="{507C470F-2D07-D2CC-8548-46AEAE105CB1}"/>
                </a:ext>
              </a:extLst>
            </p:cNvPr>
            <p:cNvSpPr>
              <a:spLocks/>
            </p:cNvSpPr>
            <p:nvPr/>
          </p:nvSpPr>
          <p:spPr bwMode="auto">
            <a:xfrm>
              <a:off x="5153807" y="5599963"/>
              <a:ext cx="115173" cy="1265823"/>
            </a:xfrm>
            <a:custGeom>
              <a:avLst/>
              <a:gdLst>
                <a:gd name="T0" fmla="*/ 79 w 79"/>
                <a:gd name="T1" fmla="*/ 871 h 871"/>
                <a:gd name="T2" fmla="*/ 0 w 79"/>
                <a:gd name="T3" fmla="*/ 871 h 871"/>
                <a:gd name="T4" fmla="*/ 0 w 79"/>
                <a:gd name="T5" fmla="*/ 33 h 871"/>
                <a:gd name="T6" fmla="*/ 39 w 79"/>
                <a:gd name="T7" fmla="*/ 1 h 871"/>
                <a:gd name="T8" fmla="*/ 79 w 79"/>
                <a:gd name="T9" fmla="*/ 33 h 871"/>
                <a:gd name="T10" fmla="*/ 79 w 79"/>
                <a:gd name="T11" fmla="*/ 871 h 871"/>
              </a:gdLst>
              <a:ahLst/>
              <a:cxnLst>
                <a:cxn ang="0">
                  <a:pos x="T0" y="T1"/>
                </a:cxn>
                <a:cxn ang="0">
                  <a:pos x="T2" y="T3"/>
                </a:cxn>
                <a:cxn ang="0">
                  <a:pos x="T4" y="T5"/>
                </a:cxn>
                <a:cxn ang="0">
                  <a:pos x="T6" y="T7"/>
                </a:cxn>
                <a:cxn ang="0">
                  <a:pos x="T8" y="T9"/>
                </a:cxn>
                <a:cxn ang="0">
                  <a:pos x="T10" y="T11"/>
                </a:cxn>
              </a:cxnLst>
              <a:rect l="0" t="0" r="r" b="b"/>
              <a:pathLst>
                <a:path w="79" h="871">
                  <a:moveTo>
                    <a:pt x="79" y="871"/>
                  </a:moveTo>
                  <a:cubicBezTo>
                    <a:pt x="0" y="871"/>
                    <a:pt x="0" y="871"/>
                    <a:pt x="0" y="871"/>
                  </a:cubicBezTo>
                  <a:cubicBezTo>
                    <a:pt x="0" y="33"/>
                    <a:pt x="0" y="33"/>
                    <a:pt x="0" y="33"/>
                  </a:cubicBezTo>
                  <a:cubicBezTo>
                    <a:pt x="0" y="33"/>
                    <a:pt x="5" y="2"/>
                    <a:pt x="39" y="1"/>
                  </a:cubicBezTo>
                  <a:cubicBezTo>
                    <a:pt x="73" y="0"/>
                    <a:pt x="79" y="33"/>
                    <a:pt x="79" y="33"/>
                  </a:cubicBezTo>
                  <a:cubicBezTo>
                    <a:pt x="79" y="871"/>
                    <a:pt x="79" y="871"/>
                    <a:pt x="79" y="871"/>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6" name="Freeform 16">
              <a:extLst>
                <a:ext uri="{FF2B5EF4-FFF2-40B4-BE49-F238E27FC236}">
                  <a16:creationId xmlns:a16="http://schemas.microsoft.com/office/drawing/2014/main" id="{4D48CD19-73FD-4EC2-7F6D-CB49863A0872}"/>
                </a:ext>
              </a:extLst>
            </p:cNvPr>
            <p:cNvSpPr>
              <a:spLocks/>
            </p:cNvSpPr>
            <p:nvPr/>
          </p:nvSpPr>
          <p:spPr bwMode="auto">
            <a:xfrm>
              <a:off x="5265751" y="5596734"/>
              <a:ext cx="93645" cy="1266900"/>
            </a:xfrm>
            <a:custGeom>
              <a:avLst/>
              <a:gdLst>
                <a:gd name="T0" fmla="*/ 64 w 64"/>
                <a:gd name="T1" fmla="*/ 872 h 872"/>
                <a:gd name="T2" fmla="*/ 0 w 64"/>
                <a:gd name="T3" fmla="*/ 872 h 872"/>
                <a:gd name="T4" fmla="*/ 0 w 64"/>
                <a:gd name="T5" fmla="*/ 33 h 872"/>
                <a:gd name="T6" fmla="*/ 31 w 64"/>
                <a:gd name="T7" fmla="*/ 1 h 872"/>
                <a:gd name="T8" fmla="*/ 64 w 64"/>
                <a:gd name="T9" fmla="*/ 33 h 872"/>
                <a:gd name="T10" fmla="*/ 64 w 64"/>
                <a:gd name="T11" fmla="*/ 872 h 872"/>
              </a:gdLst>
              <a:ahLst/>
              <a:cxnLst>
                <a:cxn ang="0">
                  <a:pos x="T0" y="T1"/>
                </a:cxn>
                <a:cxn ang="0">
                  <a:pos x="T2" y="T3"/>
                </a:cxn>
                <a:cxn ang="0">
                  <a:pos x="T4" y="T5"/>
                </a:cxn>
                <a:cxn ang="0">
                  <a:pos x="T6" y="T7"/>
                </a:cxn>
                <a:cxn ang="0">
                  <a:pos x="T8" y="T9"/>
                </a:cxn>
                <a:cxn ang="0">
                  <a:pos x="T10" y="T11"/>
                </a:cxn>
              </a:cxnLst>
              <a:rect l="0" t="0" r="r" b="b"/>
              <a:pathLst>
                <a:path w="64" h="872">
                  <a:moveTo>
                    <a:pt x="64" y="872"/>
                  </a:moveTo>
                  <a:cubicBezTo>
                    <a:pt x="0" y="872"/>
                    <a:pt x="0" y="872"/>
                    <a:pt x="0" y="872"/>
                  </a:cubicBezTo>
                  <a:cubicBezTo>
                    <a:pt x="0" y="33"/>
                    <a:pt x="0" y="33"/>
                    <a:pt x="0" y="33"/>
                  </a:cubicBezTo>
                  <a:cubicBezTo>
                    <a:pt x="0" y="33"/>
                    <a:pt x="4" y="2"/>
                    <a:pt x="31" y="1"/>
                  </a:cubicBezTo>
                  <a:cubicBezTo>
                    <a:pt x="58" y="0"/>
                    <a:pt x="64" y="33"/>
                    <a:pt x="64" y="33"/>
                  </a:cubicBezTo>
                  <a:cubicBezTo>
                    <a:pt x="64" y="872"/>
                    <a:pt x="64" y="872"/>
                    <a:pt x="64" y="872"/>
                  </a:cubicBezTo>
                </a:path>
              </a:pathLst>
            </a:custGeom>
            <a:solidFill>
              <a:srgbClr val="ABA0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7" name="Freeform 17">
              <a:extLst>
                <a:ext uri="{FF2B5EF4-FFF2-40B4-BE49-F238E27FC236}">
                  <a16:creationId xmlns:a16="http://schemas.microsoft.com/office/drawing/2014/main" id="{DA6B6718-A93D-99AF-FFE8-52893CC0FA4E}"/>
                </a:ext>
              </a:extLst>
            </p:cNvPr>
            <p:cNvSpPr>
              <a:spLocks/>
            </p:cNvSpPr>
            <p:nvPr/>
          </p:nvSpPr>
          <p:spPr bwMode="auto">
            <a:xfrm>
              <a:off x="5065544" y="5596734"/>
              <a:ext cx="91493" cy="1266900"/>
            </a:xfrm>
            <a:custGeom>
              <a:avLst/>
              <a:gdLst>
                <a:gd name="T0" fmla="*/ 63 w 63"/>
                <a:gd name="T1" fmla="*/ 872 h 872"/>
                <a:gd name="T2" fmla="*/ 0 w 63"/>
                <a:gd name="T3" fmla="*/ 872 h 872"/>
                <a:gd name="T4" fmla="*/ 0 w 63"/>
                <a:gd name="T5" fmla="*/ 33 h 872"/>
                <a:gd name="T6" fmla="*/ 31 w 63"/>
                <a:gd name="T7" fmla="*/ 1 h 872"/>
                <a:gd name="T8" fmla="*/ 63 w 63"/>
                <a:gd name="T9" fmla="*/ 33 h 872"/>
                <a:gd name="T10" fmla="*/ 63 w 63"/>
                <a:gd name="T11" fmla="*/ 872 h 872"/>
              </a:gdLst>
              <a:ahLst/>
              <a:cxnLst>
                <a:cxn ang="0">
                  <a:pos x="T0" y="T1"/>
                </a:cxn>
                <a:cxn ang="0">
                  <a:pos x="T2" y="T3"/>
                </a:cxn>
                <a:cxn ang="0">
                  <a:pos x="T4" y="T5"/>
                </a:cxn>
                <a:cxn ang="0">
                  <a:pos x="T6" y="T7"/>
                </a:cxn>
                <a:cxn ang="0">
                  <a:pos x="T8" y="T9"/>
                </a:cxn>
                <a:cxn ang="0">
                  <a:pos x="T10" y="T11"/>
                </a:cxn>
              </a:cxnLst>
              <a:rect l="0" t="0" r="r" b="b"/>
              <a:pathLst>
                <a:path w="63" h="872">
                  <a:moveTo>
                    <a:pt x="63" y="872"/>
                  </a:moveTo>
                  <a:cubicBezTo>
                    <a:pt x="0" y="872"/>
                    <a:pt x="0" y="872"/>
                    <a:pt x="0" y="872"/>
                  </a:cubicBezTo>
                  <a:cubicBezTo>
                    <a:pt x="0" y="33"/>
                    <a:pt x="0" y="33"/>
                    <a:pt x="0" y="33"/>
                  </a:cubicBezTo>
                  <a:cubicBezTo>
                    <a:pt x="0" y="33"/>
                    <a:pt x="4" y="2"/>
                    <a:pt x="31" y="1"/>
                  </a:cubicBezTo>
                  <a:cubicBezTo>
                    <a:pt x="57" y="0"/>
                    <a:pt x="63" y="33"/>
                    <a:pt x="63" y="33"/>
                  </a:cubicBezTo>
                  <a:lnTo>
                    <a:pt x="63" y="87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8" name="Freeform 18">
              <a:extLst>
                <a:ext uri="{FF2B5EF4-FFF2-40B4-BE49-F238E27FC236}">
                  <a16:creationId xmlns:a16="http://schemas.microsoft.com/office/drawing/2014/main" id="{A18BDE10-D25A-6388-2069-B4757B183BD9}"/>
                </a:ext>
              </a:extLst>
            </p:cNvPr>
            <p:cNvSpPr>
              <a:spLocks/>
            </p:cNvSpPr>
            <p:nvPr/>
          </p:nvSpPr>
          <p:spPr bwMode="auto">
            <a:xfrm>
              <a:off x="5152731" y="5208161"/>
              <a:ext cx="120555" cy="175450"/>
            </a:xfrm>
            <a:custGeom>
              <a:avLst/>
              <a:gdLst>
                <a:gd name="T0" fmla="*/ 0 w 83"/>
                <a:gd name="T1" fmla="*/ 111 h 121"/>
                <a:gd name="T2" fmla="*/ 83 w 83"/>
                <a:gd name="T3" fmla="*/ 113 h 121"/>
                <a:gd name="T4" fmla="*/ 49 w 83"/>
                <a:gd name="T5" fmla="*/ 0 h 121"/>
                <a:gd name="T6" fmla="*/ 29 w 83"/>
                <a:gd name="T7" fmla="*/ 0 h 121"/>
                <a:gd name="T8" fmla="*/ 0 w 83"/>
                <a:gd name="T9" fmla="*/ 111 h 121"/>
              </a:gdLst>
              <a:ahLst/>
              <a:cxnLst>
                <a:cxn ang="0">
                  <a:pos x="T0" y="T1"/>
                </a:cxn>
                <a:cxn ang="0">
                  <a:pos x="T2" y="T3"/>
                </a:cxn>
                <a:cxn ang="0">
                  <a:pos x="T4" y="T5"/>
                </a:cxn>
                <a:cxn ang="0">
                  <a:pos x="T6" y="T7"/>
                </a:cxn>
                <a:cxn ang="0">
                  <a:pos x="T8" y="T9"/>
                </a:cxn>
              </a:cxnLst>
              <a:rect l="0" t="0" r="r" b="b"/>
              <a:pathLst>
                <a:path w="83" h="121">
                  <a:moveTo>
                    <a:pt x="0" y="111"/>
                  </a:moveTo>
                  <a:cubicBezTo>
                    <a:pt x="0" y="111"/>
                    <a:pt x="40" y="121"/>
                    <a:pt x="83" y="113"/>
                  </a:cubicBezTo>
                  <a:cubicBezTo>
                    <a:pt x="49" y="0"/>
                    <a:pt x="49" y="0"/>
                    <a:pt x="49" y="0"/>
                  </a:cubicBezTo>
                  <a:cubicBezTo>
                    <a:pt x="29" y="0"/>
                    <a:pt x="29" y="0"/>
                    <a:pt x="29" y="0"/>
                  </a:cubicBezTo>
                  <a:cubicBezTo>
                    <a:pt x="0" y="111"/>
                    <a:pt x="0" y="111"/>
                    <a:pt x="0" y="111"/>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9" name="Freeform 19">
              <a:extLst>
                <a:ext uri="{FF2B5EF4-FFF2-40B4-BE49-F238E27FC236}">
                  <a16:creationId xmlns:a16="http://schemas.microsoft.com/office/drawing/2014/main" id="{9C274413-6AD9-9730-B30A-E25D96B73809}"/>
                </a:ext>
              </a:extLst>
            </p:cNvPr>
            <p:cNvSpPr>
              <a:spLocks/>
            </p:cNvSpPr>
            <p:nvPr/>
          </p:nvSpPr>
          <p:spPr bwMode="auto">
            <a:xfrm>
              <a:off x="6883551" y="5505242"/>
              <a:ext cx="276630" cy="447774"/>
            </a:xfrm>
            <a:custGeom>
              <a:avLst/>
              <a:gdLst>
                <a:gd name="T0" fmla="*/ 257 w 257"/>
                <a:gd name="T1" fmla="*/ 376 h 416"/>
                <a:gd name="T2" fmla="*/ 138 w 257"/>
                <a:gd name="T3" fmla="*/ 0 h 416"/>
                <a:gd name="T4" fmla="*/ 112 w 257"/>
                <a:gd name="T5" fmla="*/ 0 h 416"/>
                <a:gd name="T6" fmla="*/ 0 w 257"/>
                <a:gd name="T7" fmla="*/ 389 h 416"/>
                <a:gd name="T8" fmla="*/ 7 w 257"/>
                <a:gd name="T9" fmla="*/ 416 h 416"/>
                <a:gd name="T10" fmla="*/ 242 w 257"/>
                <a:gd name="T11" fmla="*/ 415 h 416"/>
                <a:gd name="T12" fmla="*/ 257 w 257"/>
                <a:gd name="T13" fmla="*/ 376 h 416"/>
              </a:gdLst>
              <a:ahLst/>
              <a:cxnLst>
                <a:cxn ang="0">
                  <a:pos x="T0" y="T1"/>
                </a:cxn>
                <a:cxn ang="0">
                  <a:pos x="T2" y="T3"/>
                </a:cxn>
                <a:cxn ang="0">
                  <a:pos x="T4" y="T5"/>
                </a:cxn>
                <a:cxn ang="0">
                  <a:pos x="T6" y="T7"/>
                </a:cxn>
                <a:cxn ang="0">
                  <a:pos x="T8" y="T9"/>
                </a:cxn>
                <a:cxn ang="0">
                  <a:pos x="T10" y="T11"/>
                </a:cxn>
                <a:cxn ang="0">
                  <a:pos x="T12" y="T13"/>
                </a:cxn>
              </a:cxnLst>
              <a:rect l="0" t="0" r="r" b="b"/>
              <a:pathLst>
                <a:path w="257" h="416">
                  <a:moveTo>
                    <a:pt x="257" y="376"/>
                  </a:moveTo>
                  <a:lnTo>
                    <a:pt x="138" y="0"/>
                  </a:lnTo>
                  <a:lnTo>
                    <a:pt x="112" y="0"/>
                  </a:lnTo>
                  <a:lnTo>
                    <a:pt x="0" y="389"/>
                  </a:lnTo>
                  <a:lnTo>
                    <a:pt x="7" y="416"/>
                  </a:lnTo>
                  <a:lnTo>
                    <a:pt x="242" y="415"/>
                  </a:lnTo>
                  <a:lnTo>
                    <a:pt x="257" y="376"/>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0" name="Freeform 20">
              <a:extLst>
                <a:ext uri="{FF2B5EF4-FFF2-40B4-BE49-F238E27FC236}">
                  <a16:creationId xmlns:a16="http://schemas.microsoft.com/office/drawing/2014/main" id="{E7AADDCA-0EFE-10EE-E1C0-04AFB841B88A}"/>
                </a:ext>
              </a:extLst>
            </p:cNvPr>
            <p:cNvSpPr>
              <a:spLocks/>
            </p:cNvSpPr>
            <p:nvPr/>
          </p:nvSpPr>
          <p:spPr bwMode="auto">
            <a:xfrm>
              <a:off x="6883551" y="5505242"/>
              <a:ext cx="276630" cy="447774"/>
            </a:xfrm>
            <a:custGeom>
              <a:avLst/>
              <a:gdLst>
                <a:gd name="T0" fmla="*/ 257 w 257"/>
                <a:gd name="T1" fmla="*/ 376 h 416"/>
                <a:gd name="T2" fmla="*/ 138 w 257"/>
                <a:gd name="T3" fmla="*/ 0 h 416"/>
                <a:gd name="T4" fmla="*/ 112 w 257"/>
                <a:gd name="T5" fmla="*/ 0 h 416"/>
                <a:gd name="T6" fmla="*/ 0 w 257"/>
                <a:gd name="T7" fmla="*/ 389 h 416"/>
                <a:gd name="T8" fmla="*/ 7 w 257"/>
                <a:gd name="T9" fmla="*/ 416 h 416"/>
                <a:gd name="T10" fmla="*/ 242 w 257"/>
                <a:gd name="T11" fmla="*/ 415 h 416"/>
                <a:gd name="T12" fmla="*/ 257 w 257"/>
                <a:gd name="T13" fmla="*/ 376 h 416"/>
              </a:gdLst>
              <a:ahLst/>
              <a:cxnLst>
                <a:cxn ang="0">
                  <a:pos x="T0" y="T1"/>
                </a:cxn>
                <a:cxn ang="0">
                  <a:pos x="T2" y="T3"/>
                </a:cxn>
                <a:cxn ang="0">
                  <a:pos x="T4" y="T5"/>
                </a:cxn>
                <a:cxn ang="0">
                  <a:pos x="T6" y="T7"/>
                </a:cxn>
                <a:cxn ang="0">
                  <a:pos x="T8" y="T9"/>
                </a:cxn>
                <a:cxn ang="0">
                  <a:pos x="T10" y="T11"/>
                </a:cxn>
                <a:cxn ang="0">
                  <a:pos x="T12" y="T13"/>
                </a:cxn>
              </a:cxnLst>
              <a:rect l="0" t="0" r="r" b="b"/>
              <a:pathLst>
                <a:path w="257" h="416">
                  <a:moveTo>
                    <a:pt x="257" y="376"/>
                  </a:moveTo>
                  <a:lnTo>
                    <a:pt x="138" y="0"/>
                  </a:lnTo>
                  <a:lnTo>
                    <a:pt x="112" y="0"/>
                  </a:lnTo>
                  <a:lnTo>
                    <a:pt x="0" y="389"/>
                  </a:lnTo>
                  <a:lnTo>
                    <a:pt x="7" y="416"/>
                  </a:lnTo>
                  <a:lnTo>
                    <a:pt x="242" y="415"/>
                  </a:lnTo>
                  <a:lnTo>
                    <a:pt x="257" y="37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1" name="Freeform 21">
              <a:extLst>
                <a:ext uri="{FF2B5EF4-FFF2-40B4-BE49-F238E27FC236}">
                  <a16:creationId xmlns:a16="http://schemas.microsoft.com/office/drawing/2014/main" id="{F44C8871-5D20-C0A9-DE3B-96D7F8DF37FD}"/>
                </a:ext>
              </a:extLst>
            </p:cNvPr>
            <p:cNvSpPr>
              <a:spLocks/>
            </p:cNvSpPr>
            <p:nvPr/>
          </p:nvSpPr>
          <p:spPr bwMode="auto">
            <a:xfrm>
              <a:off x="6963203" y="5890586"/>
              <a:ext cx="114096" cy="975200"/>
            </a:xfrm>
            <a:custGeom>
              <a:avLst/>
              <a:gdLst>
                <a:gd name="T0" fmla="*/ 78 w 78"/>
                <a:gd name="T1" fmla="*/ 671 h 671"/>
                <a:gd name="T2" fmla="*/ 0 w 78"/>
                <a:gd name="T3" fmla="*/ 671 h 671"/>
                <a:gd name="T4" fmla="*/ 0 w 78"/>
                <a:gd name="T5" fmla="*/ 32 h 671"/>
                <a:gd name="T6" fmla="*/ 38 w 78"/>
                <a:gd name="T7" fmla="*/ 1 h 671"/>
                <a:gd name="T8" fmla="*/ 78 w 78"/>
                <a:gd name="T9" fmla="*/ 32 h 671"/>
                <a:gd name="T10" fmla="*/ 78 w 78"/>
                <a:gd name="T11" fmla="*/ 671 h 671"/>
              </a:gdLst>
              <a:ahLst/>
              <a:cxnLst>
                <a:cxn ang="0">
                  <a:pos x="T0" y="T1"/>
                </a:cxn>
                <a:cxn ang="0">
                  <a:pos x="T2" y="T3"/>
                </a:cxn>
                <a:cxn ang="0">
                  <a:pos x="T4" y="T5"/>
                </a:cxn>
                <a:cxn ang="0">
                  <a:pos x="T6" y="T7"/>
                </a:cxn>
                <a:cxn ang="0">
                  <a:pos x="T8" y="T9"/>
                </a:cxn>
                <a:cxn ang="0">
                  <a:pos x="T10" y="T11"/>
                </a:cxn>
              </a:cxnLst>
              <a:rect l="0" t="0" r="r" b="b"/>
              <a:pathLst>
                <a:path w="78" h="671">
                  <a:moveTo>
                    <a:pt x="78" y="671"/>
                  </a:moveTo>
                  <a:cubicBezTo>
                    <a:pt x="0" y="671"/>
                    <a:pt x="0" y="671"/>
                    <a:pt x="0" y="671"/>
                  </a:cubicBezTo>
                  <a:cubicBezTo>
                    <a:pt x="0" y="32"/>
                    <a:pt x="0" y="32"/>
                    <a:pt x="0" y="32"/>
                  </a:cubicBezTo>
                  <a:cubicBezTo>
                    <a:pt x="0" y="32"/>
                    <a:pt x="4" y="1"/>
                    <a:pt x="38" y="1"/>
                  </a:cubicBezTo>
                  <a:cubicBezTo>
                    <a:pt x="72" y="0"/>
                    <a:pt x="78" y="32"/>
                    <a:pt x="78" y="32"/>
                  </a:cubicBezTo>
                  <a:cubicBezTo>
                    <a:pt x="78" y="671"/>
                    <a:pt x="78" y="671"/>
                    <a:pt x="78" y="671"/>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2" name="Freeform 22">
              <a:extLst>
                <a:ext uri="{FF2B5EF4-FFF2-40B4-BE49-F238E27FC236}">
                  <a16:creationId xmlns:a16="http://schemas.microsoft.com/office/drawing/2014/main" id="{673258E4-CF77-6025-D3DF-42B6756FC2F4}"/>
                </a:ext>
              </a:extLst>
            </p:cNvPr>
            <p:cNvSpPr>
              <a:spLocks/>
            </p:cNvSpPr>
            <p:nvPr/>
          </p:nvSpPr>
          <p:spPr bwMode="auto">
            <a:xfrm>
              <a:off x="7075146" y="5887356"/>
              <a:ext cx="91493" cy="976277"/>
            </a:xfrm>
            <a:custGeom>
              <a:avLst/>
              <a:gdLst>
                <a:gd name="T0" fmla="*/ 63 w 63"/>
                <a:gd name="T1" fmla="*/ 672 h 672"/>
                <a:gd name="T2" fmla="*/ 0 w 63"/>
                <a:gd name="T3" fmla="*/ 672 h 672"/>
                <a:gd name="T4" fmla="*/ 0 w 63"/>
                <a:gd name="T5" fmla="*/ 32 h 672"/>
                <a:gd name="T6" fmla="*/ 31 w 63"/>
                <a:gd name="T7" fmla="*/ 0 h 672"/>
                <a:gd name="T8" fmla="*/ 63 w 63"/>
                <a:gd name="T9" fmla="*/ 32 h 672"/>
                <a:gd name="T10" fmla="*/ 63 w 63"/>
                <a:gd name="T11" fmla="*/ 672 h 672"/>
              </a:gdLst>
              <a:ahLst/>
              <a:cxnLst>
                <a:cxn ang="0">
                  <a:pos x="T0" y="T1"/>
                </a:cxn>
                <a:cxn ang="0">
                  <a:pos x="T2" y="T3"/>
                </a:cxn>
                <a:cxn ang="0">
                  <a:pos x="T4" y="T5"/>
                </a:cxn>
                <a:cxn ang="0">
                  <a:pos x="T6" y="T7"/>
                </a:cxn>
                <a:cxn ang="0">
                  <a:pos x="T8" y="T9"/>
                </a:cxn>
                <a:cxn ang="0">
                  <a:pos x="T10" y="T11"/>
                </a:cxn>
              </a:cxnLst>
              <a:rect l="0" t="0" r="r" b="b"/>
              <a:pathLst>
                <a:path w="63" h="672">
                  <a:moveTo>
                    <a:pt x="63" y="672"/>
                  </a:moveTo>
                  <a:cubicBezTo>
                    <a:pt x="0" y="672"/>
                    <a:pt x="0" y="672"/>
                    <a:pt x="0" y="672"/>
                  </a:cubicBezTo>
                  <a:cubicBezTo>
                    <a:pt x="0" y="32"/>
                    <a:pt x="0" y="32"/>
                    <a:pt x="0" y="32"/>
                  </a:cubicBezTo>
                  <a:cubicBezTo>
                    <a:pt x="0" y="32"/>
                    <a:pt x="4" y="1"/>
                    <a:pt x="31" y="0"/>
                  </a:cubicBezTo>
                  <a:cubicBezTo>
                    <a:pt x="57" y="0"/>
                    <a:pt x="63" y="32"/>
                    <a:pt x="63" y="32"/>
                  </a:cubicBezTo>
                  <a:cubicBezTo>
                    <a:pt x="63" y="672"/>
                    <a:pt x="63" y="672"/>
                    <a:pt x="63" y="672"/>
                  </a:cubicBezTo>
                </a:path>
              </a:pathLst>
            </a:custGeom>
            <a:solidFill>
              <a:srgbClr val="F778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3" name="Freeform 23">
              <a:extLst>
                <a:ext uri="{FF2B5EF4-FFF2-40B4-BE49-F238E27FC236}">
                  <a16:creationId xmlns:a16="http://schemas.microsoft.com/office/drawing/2014/main" id="{8866F990-D148-297E-8DC1-8355F951036A}"/>
                </a:ext>
              </a:extLst>
            </p:cNvPr>
            <p:cNvSpPr>
              <a:spLocks/>
            </p:cNvSpPr>
            <p:nvPr/>
          </p:nvSpPr>
          <p:spPr bwMode="auto">
            <a:xfrm>
              <a:off x="6872787" y="5887356"/>
              <a:ext cx="92569" cy="976277"/>
            </a:xfrm>
            <a:custGeom>
              <a:avLst/>
              <a:gdLst>
                <a:gd name="T0" fmla="*/ 63 w 63"/>
                <a:gd name="T1" fmla="*/ 672 h 672"/>
                <a:gd name="T2" fmla="*/ 0 w 63"/>
                <a:gd name="T3" fmla="*/ 672 h 672"/>
                <a:gd name="T4" fmla="*/ 0 w 63"/>
                <a:gd name="T5" fmla="*/ 32 h 672"/>
                <a:gd name="T6" fmla="*/ 31 w 63"/>
                <a:gd name="T7" fmla="*/ 0 h 672"/>
                <a:gd name="T8" fmla="*/ 63 w 63"/>
                <a:gd name="T9" fmla="*/ 32 h 672"/>
                <a:gd name="T10" fmla="*/ 63 w 63"/>
                <a:gd name="T11" fmla="*/ 672 h 672"/>
              </a:gdLst>
              <a:ahLst/>
              <a:cxnLst>
                <a:cxn ang="0">
                  <a:pos x="T0" y="T1"/>
                </a:cxn>
                <a:cxn ang="0">
                  <a:pos x="T2" y="T3"/>
                </a:cxn>
                <a:cxn ang="0">
                  <a:pos x="T4" y="T5"/>
                </a:cxn>
                <a:cxn ang="0">
                  <a:pos x="T6" y="T7"/>
                </a:cxn>
                <a:cxn ang="0">
                  <a:pos x="T8" y="T9"/>
                </a:cxn>
                <a:cxn ang="0">
                  <a:pos x="T10" y="T11"/>
                </a:cxn>
              </a:cxnLst>
              <a:rect l="0" t="0" r="r" b="b"/>
              <a:pathLst>
                <a:path w="63" h="672">
                  <a:moveTo>
                    <a:pt x="63" y="672"/>
                  </a:moveTo>
                  <a:cubicBezTo>
                    <a:pt x="0" y="672"/>
                    <a:pt x="0" y="672"/>
                    <a:pt x="0" y="672"/>
                  </a:cubicBezTo>
                  <a:cubicBezTo>
                    <a:pt x="0" y="32"/>
                    <a:pt x="0" y="32"/>
                    <a:pt x="0" y="32"/>
                  </a:cubicBezTo>
                  <a:cubicBezTo>
                    <a:pt x="0" y="32"/>
                    <a:pt x="4" y="1"/>
                    <a:pt x="31" y="0"/>
                  </a:cubicBezTo>
                  <a:cubicBezTo>
                    <a:pt x="58" y="0"/>
                    <a:pt x="63" y="32"/>
                    <a:pt x="63" y="32"/>
                  </a:cubicBezTo>
                  <a:lnTo>
                    <a:pt x="63" y="672"/>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4" name="Freeform 24">
              <a:extLst>
                <a:ext uri="{FF2B5EF4-FFF2-40B4-BE49-F238E27FC236}">
                  <a16:creationId xmlns:a16="http://schemas.microsoft.com/office/drawing/2014/main" id="{CF5FD6F3-A7C3-0297-432C-3721CBCBEBEB}"/>
                </a:ext>
              </a:extLst>
            </p:cNvPr>
            <p:cNvSpPr>
              <a:spLocks/>
            </p:cNvSpPr>
            <p:nvPr/>
          </p:nvSpPr>
          <p:spPr bwMode="auto">
            <a:xfrm>
              <a:off x="6962126" y="5498784"/>
              <a:ext cx="119479" cy="174374"/>
            </a:xfrm>
            <a:custGeom>
              <a:avLst/>
              <a:gdLst>
                <a:gd name="T0" fmla="*/ 0 w 82"/>
                <a:gd name="T1" fmla="*/ 110 h 120"/>
                <a:gd name="T2" fmla="*/ 82 w 82"/>
                <a:gd name="T3" fmla="*/ 112 h 120"/>
                <a:gd name="T4" fmla="*/ 48 w 82"/>
                <a:gd name="T5" fmla="*/ 0 h 120"/>
                <a:gd name="T6" fmla="*/ 28 w 82"/>
                <a:gd name="T7" fmla="*/ 0 h 120"/>
                <a:gd name="T8" fmla="*/ 0 w 82"/>
                <a:gd name="T9" fmla="*/ 110 h 120"/>
              </a:gdLst>
              <a:ahLst/>
              <a:cxnLst>
                <a:cxn ang="0">
                  <a:pos x="T0" y="T1"/>
                </a:cxn>
                <a:cxn ang="0">
                  <a:pos x="T2" y="T3"/>
                </a:cxn>
                <a:cxn ang="0">
                  <a:pos x="T4" y="T5"/>
                </a:cxn>
                <a:cxn ang="0">
                  <a:pos x="T6" y="T7"/>
                </a:cxn>
                <a:cxn ang="0">
                  <a:pos x="T8" y="T9"/>
                </a:cxn>
              </a:cxnLst>
              <a:rect l="0" t="0" r="r" b="b"/>
              <a:pathLst>
                <a:path w="82" h="120">
                  <a:moveTo>
                    <a:pt x="0" y="110"/>
                  </a:moveTo>
                  <a:cubicBezTo>
                    <a:pt x="0" y="110"/>
                    <a:pt x="39" y="120"/>
                    <a:pt x="82" y="112"/>
                  </a:cubicBezTo>
                  <a:cubicBezTo>
                    <a:pt x="48" y="0"/>
                    <a:pt x="48" y="0"/>
                    <a:pt x="48" y="0"/>
                  </a:cubicBezTo>
                  <a:cubicBezTo>
                    <a:pt x="28" y="0"/>
                    <a:pt x="28" y="0"/>
                    <a:pt x="28" y="0"/>
                  </a:cubicBezTo>
                  <a:cubicBezTo>
                    <a:pt x="0" y="110"/>
                    <a:pt x="0" y="110"/>
                    <a:pt x="0" y="110"/>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5" name="Freeform 25">
              <a:extLst>
                <a:ext uri="{FF2B5EF4-FFF2-40B4-BE49-F238E27FC236}">
                  <a16:creationId xmlns:a16="http://schemas.microsoft.com/office/drawing/2014/main" id="{61600DBF-2725-BD66-DEE4-76AAF730779F}"/>
                </a:ext>
              </a:extLst>
            </p:cNvPr>
            <p:cNvSpPr>
              <a:spLocks/>
            </p:cNvSpPr>
            <p:nvPr/>
          </p:nvSpPr>
          <p:spPr bwMode="auto">
            <a:xfrm>
              <a:off x="5552068" y="5505242"/>
              <a:ext cx="276630" cy="447774"/>
            </a:xfrm>
            <a:custGeom>
              <a:avLst/>
              <a:gdLst>
                <a:gd name="T0" fmla="*/ 257 w 257"/>
                <a:gd name="T1" fmla="*/ 376 h 416"/>
                <a:gd name="T2" fmla="*/ 138 w 257"/>
                <a:gd name="T3" fmla="*/ 0 h 416"/>
                <a:gd name="T4" fmla="*/ 112 w 257"/>
                <a:gd name="T5" fmla="*/ 0 h 416"/>
                <a:gd name="T6" fmla="*/ 0 w 257"/>
                <a:gd name="T7" fmla="*/ 389 h 416"/>
                <a:gd name="T8" fmla="*/ 7 w 257"/>
                <a:gd name="T9" fmla="*/ 416 h 416"/>
                <a:gd name="T10" fmla="*/ 242 w 257"/>
                <a:gd name="T11" fmla="*/ 415 h 416"/>
                <a:gd name="T12" fmla="*/ 257 w 257"/>
                <a:gd name="T13" fmla="*/ 376 h 416"/>
              </a:gdLst>
              <a:ahLst/>
              <a:cxnLst>
                <a:cxn ang="0">
                  <a:pos x="T0" y="T1"/>
                </a:cxn>
                <a:cxn ang="0">
                  <a:pos x="T2" y="T3"/>
                </a:cxn>
                <a:cxn ang="0">
                  <a:pos x="T4" y="T5"/>
                </a:cxn>
                <a:cxn ang="0">
                  <a:pos x="T6" y="T7"/>
                </a:cxn>
                <a:cxn ang="0">
                  <a:pos x="T8" y="T9"/>
                </a:cxn>
                <a:cxn ang="0">
                  <a:pos x="T10" y="T11"/>
                </a:cxn>
                <a:cxn ang="0">
                  <a:pos x="T12" y="T13"/>
                </a:cxn>
              </a:cxnLst>
              <a:rect l="0" t="0" r="r" b="b"/>
              <a:pathLst>
                <a:path w="257" h="416">
                  <a:moveTo>
                    <a:pt x="257" y="376"/>
                  </a:moveTo>
                  <a:lnTo>
                    <a:pt x="138" y="0"/>
                  </a:lnTo>
                  <a:lnTo>
                    <a:pt x="112" y="0"/>
                  </a:lnTo>
                  <a:lnTo>
                    <a:pt x="0" y="389"/>
                  </a:lnTo>
                  <a:lnTo>
                    <a:pt x="7" y="416"/>
                  </a:lnTo>
                  <a:lnTo>
                    <a:pt x="242" y="415"/>
                  </a:lnTo>
                  <a:lnTo>
                    <a:pt x="257" y="376"/>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6" name="Freeform 26">
              <a:extLst>
                <a:ext uri="{FF2B5EF4-FFF2-40B4-BE49-F238E27FC236}">
                  <a16:creationId xmlns:a16="http://schemas.microsoft.com/office/drawing/2014/main" id="{E96EA553-791D-E6EE-8CD2-BFFE6DF7E4AC}"/>
                </a:ext>
              </a:extLst>
            </p:cNvPr>
            <p:cNvSpPr>
              <a:spLocks/>
            </p:cNvSpPr>
            <p:nvPr/>
          </p:nvSpPr>
          <p:spPr bwMode="auto">
            <a:xfrm>
              <a:off x="5552068" y="5505242"/>
              <a:ext cx="276630" cy="447774"/>
            </a:xfrm>
            <a:custGeom>
              <a:avLst/>
              <a:gdLst>
                <a:gd name="T0" fmla="*/ 257 w 257"/>
                <a:gd name="T1" fmla="*/ 376 h 416"/>
                <a:gd name="T2" fmla="*/ 138 w 257"/>
                <a:gd name="T3" fmla="*/ 0 h 416"/>
                <a:gd name="T4" fmla="*/ 112 w 257"/>
                <a:gd name="T5" fmla="*/ 0 h 416"/>
                <a:gd name="T6" fmla="*/ 0 w 257"/>
                <a:gd name="T7" fmla="*/ 389 h 416"/>
                <a:gd name="T8" fmla="*/ 7 w 257"/>
                <a:gd name="T9" fmla="*/ 416 h 416"/>
                <a:gd name="T10" fmla="*/ 242 w 257"/>
                <a:gd name="T11" fmla="*/ 415 h 416"/>
                <a:gd name="T12" fmla="*/ 257 w 257"/>
                <a:gd name="T13" fmla="*/ 376 h 416"/>
              </a:gdLst>
              <a:ahLst/>
              <a:cxnLst>
                <a:cxn ang="0">
                  <a:pos x="T0" y="T1"/>
                </a:cxn>
                <a:cxn ang="0">
                  <a:pos x="T2" y="T3"/>
                </a:cxn>
                <a:cxn ang="0">
                  <a:pos x="T4" y="T5"/>
                </a:cxn>
                <a:cxn ang="0">
                  <a:pos x="T6" y="T7"/>
                </a:cxn>
                <a:cxn ang="0">
                  <a:pos x="T8" y="T9"/>
                </a:cxn>
                <a:cxn ang="0">
                  <a:pos x="T10" y="T11"/>
                </a:cxn>
                <a:cxn ang="0">
                  <a:pos x="T12" y="T13"/>
                </a:cxn>
              </a:cxnLst>
              <a:rect l="0" t="0" r="r" b="b"/>
              <a:pathLst>
                <a:path w="257" h="416">
                  <a:moveTo>
                    <a:pt x="257" y="376"/>
                  </a:moveTo>
                  <a:lnTo>
                    <a:pt x="138" y="0"/>
                  </a:lnTo>
                  <a:lnTo>
                    <a:pt x="112" y="0"/>
                  </a:lnTo>
                  <a:lnTo>
                    <a:pt x="0" y="389"/>
                  </a:lnTo>
                  <a:lnTo>
                    <a:pt x="7" y="416"/>
                  </a:lnTo>
                  <a:lnTo>
                    <a:pt x="242" y="415"/>
                  </a:lnTo>
                  <a:lnTo>
                    <a:pt x="257" y="37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7" name="Freeform 27">
              <a:extLst>
                <a:ext uri="{FF2B5EF4-FFF2-40B4-BE49-F238E27FC236}">
                  <a16:creationId xmlns:a16="http://schemas.microsoft.com/office/drawing/2014/main" id="{019B3461-8E36-D8AD-1E6A-B9EF2D360DAA}"/>
                </a:ext>
              </a:extLst>
            </p:cNvPr>
            <p:cNvSpPr>
              <a:spLocks/>
            </p:cNvSpPr>
            <p:nvPr/>
          </p:nvSpPr>
          <p:spPr bwMode="auto">
            <a:xfrm>
              <a:off x="5632797" y="5890586"/>
              <a:ext cx="114096" cy="975200"/>
            </a:xfrm>
            <a:custGeom>
              <a:avLst/>
              <a:gdLst>
                <a:gd name="T0" fmla="*/ 79 w 79"/>
                <a:gd name="T1" fmla="*/ 671 h 671"/>
                <a:gd name="T2" fmla="*/ 0 w 79"/>
                <a:gd name="T3" fmla="*/ 671 h 671"/>
                <a:gd name="T4" fmla="*/ 0 w 79"/>
                <a:gd name="T5" fmla="*/ 32 h 671"/>
                <a:gd name="T6" fmla="*/ 38 w 79"/>
                <a:gd name="T7" fmla="*/ 1 h 671"/>
                <a:gd name="T8" fmla="*/ 79 w 79"/>
                <a:gd name="T9" fmla="*/ 32 h 671"/>
                <a:gd name="T10" fmla="*/ 79 w 79"/>
                <a:gd name="T11" fmla="*/ 671 h 671"/>
              </a:gdLst>
              <a:ahLst/>
              <a:cxnLst>
                <a:cxn ang="0">
                  <a:pos x="T0" y="T1"/>
                </a:cxn>
                <a:cxn ang="0">
                  <a:pos x="T2" y="T3"/>
                </a:cxn>
                <a:cxn ang="0">
                  <a:pos x="T4" y="T5"/>
                </a:cxn>
                <a:cxn ang="0">
                  <a:pos x="T6" y="T7"/>
                </a:cxn>
                <a:cxn ang="0">
                  <a:pos x="T8" y="T9"/>
                </a:cxn>
                <a:cxn ang="0">
                  <a:pos x="T10" y="T11"/>
                </a:cxn>
              </a:cxnLst>
              <a:rect l="0" t="0" r="r" b="b"/>
              <a:pathLst>
                <a:path w="79" h="671">
                  <a:moveTo>
                    <a:pt x="79" y="671"/>
                  </a:moveTo>
                  <a:cubicBezTo>
                    <a:pt x="0" y="671"/>
                    <a:pt x="0" y="671"/>
                    <a:pt x="0" y="671"/>
                  </a:cubicBezTo>
                  <a:cubicBezTo>
                    <a:pt x="0" y="32"/>
                    <a:pt x="0" y="32"/>
                    <a:pt x="0" y="32"/>
                  </a:cubicBezTo>
                  <a:cubicBezTo>
                    <a:pt x="0" y="32"/>
                    <a:pt x="5" y="1"/>
                    <a:pt x="38" y="1"/>
                  </a:cubicBezTo>
                  <a:cubicBezTo>
                    <a:pt x="72" y="0"/>
                    <a:pt x="79" y="32"/>
                    <a:pt x="79" y="32"/>
                  </a:cubicBezTo>
                  <a:cubicBezTo>
                    <a:pt x="79" y="671"/>
                    <a:pt x="79" y="671"/>
                    <a:pt x="79" y="671"/>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8" name="Freeform 28">
              <a:extLst>
                <a:ext uri="{FF2B5EF4-FFF2-40B4-BE49-F238E27FC236}">
                  <a16:creationId xmlns:a16="http://schemas.microsoft.com/office/drawing/2014/main" id="{EA5E0793-1396-1661-4ED6-DB400FBB1697}"/>
                </a:ext>
              </a:extLst>
            </p:cNvPr>
            <p:cNvSpPr>
              <a:spLocks/>
            </p:cNvSpPr>
            <p:nvPr/>
          </p:nvSpPr>
          <p:spPr bwMode="auto">
            <a:xfrm>
              <a:off x="5744740" y="5887356"/>
              <a:ext cx="91493" cy="976277"/>
            </a:xfrm>
            <a:custGeom>
              <a:avLst/>
              <a:gdLst>
                <a:gd name="T0" fmla="*/ 63 w 63"/>
                <a:gd name="T1" fmla="*/ 672 h 672"/>
                <a:gd name="T2" fmla="*/ 0 w 63"/>
                <a:gd name="T3" fmla="*/ 672 h 672"/>
                <a:gd name="T4" fmla="*/ 0 w 63"/>
                <a:gd name="T5" fmla="*/ 32 h 672"/>
                <a:gd name="T6" fmla="*/ 31 w 63"/>
                <a:gd name="T7" fmla="*/ 0 h 672"/>
                <a:gd name="T8" fmla="*/ 63 w 63"/>
                <a:gd name="T9" fmla="*/ 32 h 672"/>
                <a:gd name="T10" fmla="*/ 63 w 63"/>
                <a:gd name="T11" fmla="*/ 672 h 672"/>
              </a:gdLst>
              <a:ahLst/>
              <a:cxnLst>
                <a:cxn ang="0">
                  <a:pos x="T0" y="T1"/>
                </a:cxn>
                <a:cxn ang="0">
                  <a:pos x="T2" y="T3"/>
                </a:cxn>
                <a:cxn ang="0">
                  <a:pos x="T4" y="T5"/>
                </a:cxn>
                <a:cxn ang="0">
                  <a:pos x="T6" y="T7"/>
                </a:cxn>
                <a:cxn ang="0">
                  <a:pos x="T8" y="T9"/>
                </a:cxn>
                <a:cxn ang="0">
                  <a:pos x="T10" y="T11"/>
                </a:cxn>
              </a:cxnLst>
              <a:rect l="0" t="0" r="r" b="b"/>
              <a:pathLst>
                <a:path w="63" h="672">
                  <a:moveTo>
                    <a:pt x="63" y="672"/>
                  </a:moveTo>
                  <a:cubicBezTo>
                    <a:pt x="0" y="672"/>
                    <a:pt x="0" y="672"/>
                    <a:pt x="0" y="672"/>
                  </a:cubicBezTo>
                  <a:cubicBezTo>
                    <a:pt x="0" y="32"/>
                    <a:pt x="0" y="32"/>
                    <a:pt x="0" y="32"/>
                  </a:cubicBezTo>
                  <a:cubicBezTo>
                    <a:pt x="0" y="32"/>
                    <a:pt x="4" y="1"/>
                    <a:pt x="31" y="0"/>
                  </a:cubicBezTo>
                  <a:cubicBezTo>
                    <a:pt x="57" y="0"/>
                    <a:pt x="63" y="32"/>
                    <a:pt x="63" y="32"/>
                  </a:cubicBezTo>
                  <a:cubicBezTo>
                    <a:pt x="63" y="672"/>
                    <a:pt x="63" y="672"/>
                    <a:pt x="63" y="672"/>
                  </a:cubicBezTo>
                </a:path>
              </a:pathLst>
            </a:custGeom>
            <a:solidFill>
              <a:srgbClr val="B59B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9" name="Freeform 29">
              <a:extLst>
                <a:ext uri="{FF2B5EF4-FFF2-40B4-BE49-F238E27FC236}">
                  <a16:creationId xmlns:a16="http://schemas.microsoft.com/office/drawing/2014/main" id="{BA8E06EF-C8B9-B760-837F-FF54A9C81D8F}"/>
                </a:ext>
              </a:extLst>
            </p:cNvPr>
            <p:cNvSpPr>
              <a:spLocks/>
            </p:cNvSpPr>
            <p:nvPr/>
          </p:nvSpPr>
          <p:spPr bwMode="auto">
            <a:xfrm>
              <a:off x="5542381" y="5887356"/>
              <a:ext cx="91493" cy="976277"/>
            </a:xfrm>
            <a:custGeom>
              <a:avLst/>
              <a:gdLst>
                <a:gd name="T0" fmla="*/ 63 w 63"/>
                <a:gd name="T1" fmla="*/ 672 h 672"/>
                <a:gd name="T2" fmla="*/ 0 w 63"/>
                <a:gd name="T3" fmla="*/ 672 h 672"/>
                <a:gd name="T4" fmla="*/ 0 w 63"/>
                <a:gd name="T5" fmla="*/ 32 h 672"/>
                <a:gd name="T6" fmla="*/ 31 w 63"/>
                <a:gd name="T7" fmla="*/ 0 h 672"/>
                <a:gd name="T8" fmla="*/ 63 w 63"/>
                <a:gd name="T9" fmla="*/ 32 h 672"/>
                <a:gd name="T10" fmla="*/ 63 w 63"/>
                <a:gd name="T11" fmla="*/ 672 h 672"/>
              </a:gdLst>
              <a:ahLst/>
              <a:cxnLst>
                <a:cxn ang="0">
                  <a:pos x="T0" y="T1"/>
                </a:cxn>
                <a:cxn ang="0">
                  <a:pos x="T2" y="T3"/>
                </a:cxn>
                <a:cxn ang="0">
                  <a:pos x="T4" y="T5"/>
                </a:cxn>
                <a:cxn ang="0">
                  <a:pos x="T6" y="T7"/>
                </a:cxn>
                <a:cxn ang="0">
                  <a:pos x="T8" y="T9"/>
                </a:cxn>
                <a:cxn ang="0">
                  <a:pos x="T10" y="T11"/>
                </a:cxn>
              </a:cxnLst>
              <a:rect l="0" t="0" r="r" b="b"/>
              <a:pathLst>
                <a:path w="63" h="672">
                  <a:moveTo>
                    <a:pt x="63" y="672"/>
                  </a:moveTo>
                  <a:cubicBezTo>
                    <a:pt x="0" y="672"/>
                    <a:pt x="0" y="672"/>
                    <a:pt x="0" y="672"/>
                  </a:cubicBezTo>
                  <a:cubicBezTo>
                    <a:pt x="0" y="32"/>
                    <a:pt x="0" y="32"/>
                    <a:pt x="0" y="32"/>
                  </a:cubicBezTo>
                  <a:cubicBezTo>
                    <a:pt x="0" y="32"/>
                    <a:pt x="4" y="1"/>
                    <a:pt x="31" y="0"/>
                  </a:cubicBezTo>
                  <a:cubicBezTo>
                    <a:pt x="58" y="0"/>
                    <a:pt x="63" y="32"/>
                    <a:pt x="63" y="32"/>
                  </a:cubicBezTo>
                  <a:lnTo>
                    <a:pt x="63" y="67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30" name="Freeform 30">
              <a:extLst>
                <a:ext uri="{FF2B5EF4-FFF2-40B4-BE49-F238E27FC236}">
                  <a16:creationId xmlns:a16="http://schemas.microsoft.com/office/drawing/2014/main" id="{C314CABB-C0C8-824B-4898-5A46B03B5F95}"/>
                </a:ext>
              </a:extLst>
            </p:cNvPr>
            <p:cNvSpPr>
              <a:spLocks/>
            </p:cNvSpPr>
            <p:nvPr/>
          </p:nvSpPr>
          <p:spPr bwMode="auto">
            <a:xfrm>
              <a:off x="5630644" y="5498784"/>
              <a:ext cx="119479" cy="172221"/>
            </a:xfrm>
            <a:custGeom>
              <a:avLst/>
              <a:gdLst>
                <a:gd name="T0" fmla="*/ 0 w 82"/>
                <a:gd name="T1" fmla="*/ 110 h 119"/>
                <a:gd name="T2" fmla="*/ 82 w 82"/>
                <a:gd name="T3" fmla="*/ 111 h 119"/>
                <a:gd name="T4" fmla="*/ 48 w 82"/>
                <a:gd name="T5" fmla="*/ 0 h 119"/>
                <a:gd name="T6" fmla="*/ 28 w 82"/>
                <a:gd name="T7" fmla="*/ 0 h 119"/>
                <a:gd name="T8" fmla="*/ 0 w 82"/>
                <a:gd name="T9" fmla="*/ 110 h 119"/>
              </a:gdLst>
              <a:ahLst/>
              <a:cxnLst>
                <a:cxn ang="0">
                  <a:pos x="T0" y="T1"/>
                </a:cxn>
                <a:cxn ang="0">
                  <a:pos x="T2" y="T3"/>
                </a:cxn>
                <a:cxn ang="0">
                  <a:pos x="T4" y="T5"/>
                </a:cxn>
                <a:cxn ang="0">
                  <a:pos x="T6" y="T7"/>
                </a:cxn>
                <a:cxn ang="0">
                  <a:pos x="T8" y="T9"/>
                </a:cxn>
              </a:cxnLst>
              <a:rect l="0" t="0" r="r" b="b"/>
              <a:pathLst>
                <a:path w="82" h="119">
                  <a:moveTo>
                    <a:pt x="0" y="110"/>
                  </a:moveTo>
                  <a:cubicBezTo>
                    <a:pt x="0" y="110"/>
                    <a:pt x="39" y="119"/>
                    <a:pt x="82" y="111"/>
                  </a:cubicBezTo>
                  <a:cubicBezTo>
                    <a:pt x="48" y="0"/>
                    <a:pt x="48" y="0"/>
                    <a:pt x="48" y="0"/>
                  </a:cubicBezTo>
                  <a:cubicBezTo>
                    <a:pt x="28" y="0"/>
                    <a:pt x="28" y="0"/>
                    <a:pt x="28" y="0"/>
                  </a:cubicBezTo>
                  <a:cubicBezTo>
                    <a:pt x="0" y="110"/>
                    <a:pt x="0" y="110"/>
                    <a:pt x="0" y="110"/>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31" name="Freeform 31">
              <a:extLst>
                <a:ext uri="{FF2B5EF4-FFF2-40B4-BE49-F238E27FC236}">
                  <a16:creationId xmlns:a16="http://schemas.microsoft.com/office/drawing/2014/main" id="{862D13E3-D7A8-2CBB-538A-EA8501167BB7}"/>
                </a:ext>
              </a:extLst>
            </p:cNvPr>
            <p:cNvSpPr>
              <a:spLocks/>
            </p:cNvSpPr>
            <p:nvPr/>
          </p:nvSpPr>
          <p:spPr bwMode="auto">
            <a:xfrm>
              <a:off x="6013835" y="4509590"/>
              <a:ext cx="274477" cy="446698"/>
            </a:xfrm>
            <a:custGeom>
              <a:avLst/>
              <a:gdLst>
                <a:gd name="T0" fmla="*/ 255 w 255"/>
                <a:gd name="T1" fmla="*/ 375 h 415"/>
                <a:gd name="T2" fmla="*/ 138 w 255"/>
                <a:gd name="T3" fmla="*/ 0 h 415"/>
                <a:gd name="T4" fmla="*/ 112 w 255"/>
                <a:gd name="T5" fmla="*/ 0 h 415"/>
                <a:gd name="T6" fmla="*/ 0 w 255"/>
                <a:gd name="T7" fmla="*/ 388 h 415"/>
                <a:gd name="T8" fmla="*/ 6 w 255"/>
                <a:gd name="T9" fmla="*/ 415 h 415"/>
                <a:gd name="T10" fmla="*/ 242 w 255"/>
                <a:gd name="T11" fmla="*/ 414 h 415"/>
                <a:gd name="T12" fmla="*/ 255 w 255"/>
                <a:gd name="T13" fmla="*/ 375 h 415"/>
              </a:gdLst>
              <a:ahLst/>
              <a:cxnLst>
                <a:cxn ang="0">
                  <a:pos x="T0" y="T1"/>
                </a:cxn>
                <a:cxn ang="0">
                  <a:pos x="T2" y="T3"/>
                </a:cxn>
                <a:cxn ang="0">
                  <a:pos x="T4" y="T5"/>
                </a:cxn>
                <a:cxn ang="0">
                  <a:pos x="T6" y="T7"/>
                </a:cxn>
                <a:cxn ang="0">
                  <a:pos x="T8" y="T9"/>
                </a:cxn>
                <a:cxn ang="0">
                  <a:pos x="T10" y="T11"/>
                </a:cxn>
                <a:cxn ang="0">
                  <a:pos x="T12" y="T13"/>
                </a:cxn>
              </a:cxnLst>
              <a:rect l="0" t="0" r="r" b="b"/>
              <a:pathLst>
                <a:path w="255" h="415">
                  <a:moveTo>
                    <a:pt x="255" y="375"/>
                  </a:moveTo>
                  <a:lnTo>
                    <a:pt x="138" y="0"/>
                  </a:lnTo>
                  <a:lnTo>
                    <a:pt x="112" y="0"/>
                  </a:lnTo>
                  <a:lnTo>
                    <a:pt x="0" y="388"/>
                  </a:lnTo>
                  <a:lnTo>
                    <a:pt x="6" y="415"/>
                  </a:lnTo>
                  <a:lnTo>
                    <a:pt x="242" y="414"/>
                  </a:lnTo>
                  <a:lnTo>
                    <a:pt x="255" y="37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32" name="Freeform 32">
              <a:extLst>
                <a:ext uri="{FF2B5EF4-FFF2-40B4-BE49-F238E27FC236}">
                  <a16:creationId xmlns:a16="http://schemas.microsoft.com/office/drawing/2014/main" id="{32B3B727-74DC-C5CE-3ED6-C8352A502E54}"/>
                </a:ext>
              </a:extLst>
            </p:cNvPr>
            <p:cNvSpPr>
              <a:spLocks/>
            </p:cNvSpPr>
            <p:nvPr/>
          </p:nvSpPr>
          <p:spPr bwMode="auto">
            <a:xfrm>
              <a:off x="6013835" y="4509590"/>
              <a:ext cx="274477" cy="446698"/>
            </a:xfrm>
            <a:custGeom>
              <a:avLst/>
              <a:gdLst>
                <a:gd name="T0" fmla="*/ 255 w 255"/>
                <a:gd name="T1" fmla="*/ 375 h 415"/>
                <a:gd name="T2" fmla="*/ 138 w 255"/>
                <a:gd name="T3" fmla="*/ 0 h 415"/>
                <a:gd name="T4" fmla="*/ 112 w 255"/>
                <a:gd name="T5" fmla="*/ 0 h 415"/>
                <a:gd name="T6" fmla="*/ 0 w 255"/>
                <a:gd name="T7" fmla="*/ 388 h 415"/>
                <a:gd name="T8" fmla="*/ 6 w 255"/>
                <a:gd name="T9" fmla="*/ 415 h 415"/>
                <a:gd name="T10" fmla="*/ 242 w 255"/>
                <a:gd name="T11" fmla="*/ 414 h 415"/>
                <a:gd name="T12" fmla="*/ 255 w 255"/>
                <a:gd name="T13" fmla="*/ 375 h 415"/>
              </a:gdLst>
              <a:ahLst/>
              <a:cxnLst>
                <a:cxn ang="0">
                  <a:pos x="T0" y="T1"/>
                </a:cxn>
                <a:cxn ang="0">
                  <a:pos x="T2" y="T3"/>
                </a:cxn>
                <a:cxn ang="0">
                  <a:pos x="T4" y="T5"/>
                </a:cxn>
                <a:cxn ang="0">
                  <a:pos x="T6" y="T7"/>
                </a:cxn>
                <a:cxn ang="0">
                  <a:pos x="T8" y="T9"/>
                </a:cxn>
                <a:cxn ang="0">
                  <a:pos x="T10" y="T11"/>
                </a:cxn>
                <a:cxn ang="0">
                  <a:pos x="T12" y="T13"/>
                </a:cxn>
              </a:cxnLst>
              <a:rect l="0" t="0" r="r" b="b"/>
              <a:pathLst>
                <a:path w="255" h="415">
                  <a:moveTo>
                    <a:pt x="255" y="375"/>
                  </a:moveTo>
                  <a:lnTo>
                    <a:pt x="138" y="0"/>
                  </a:lnTo>
                  <a:lnTo>
                    <a:pt x="112" y="0"/>
                  </a:lnTo>
                  <a:lnTo>
                    <a:pt x="0" y="388"/>
                  </a:lnTo>
                  <a:lnTo>
                    <a:pt x="6" y="415"/>
                  </a:lnTo>
                  <a:lnTo>
                    <a:pt x="242" y="414"/>
                  </a:lnTo>
                  <a:lnTo>
                    <a:pt x="255" y="37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33" name="Freeform 33">
              <a:extLst>
                <a:ext uri="{FF2B5EF4-FFF2-40B4-BE49-F238E27FC236}">
                  <a16:creationId xmlns:a16="http://schemas.microsoft.com/office/drawing/2014/main" id="{FDDCECEA-52D4-0BE3-54FB-338F85891601}"/>
                </a:ext>
              </a:extLst>
            </p:cNvPr>
            <p:cNvSpPr>
              <a:spLocks/>
            </p:cNvSpPr>
            <p:nvPr/>
          </p:nvSpPr>
          <p:spPr bwMode="auto">
            <a:xfrm>
              <a:off x="6092411" y="4893858"/>
              <a:ext cx="114096" cy="1971928"/>
            </a:xfrm>
            <a:custGeom>
              <a:avLst/>
              <a:gdLst>
                <a:gd name="T0" fmla="*/ 79 w 79"/>
                <a:gd name="T1" fmla="*/ 1357 h 1357"/>
                <a:gd name="T2" fmla="*/ 0 w 79"/>
                <a:gd name="T3" fmla="*/ 1357 h 1357"/>
                <a:gd name="T4" fmla="*/ 0 w 79"/>
                <a:gd name="T5" fmla="*/ 32 h 1357"/>
                <a:gd name="T6" fmla="*/ 39 w 79"/>
                <a:gd name="T7" fmla="*/ 1 h 1357"/>
                <a:gd name="T8" fmla="*/ 79 w 79"/>
                <a:gd name="T9" fmla="*/ 32 h 1357"/>
                <a:gd name="T10" fmla="*/ 79 w 79"/>
                <a:gd name="T11" fmla="*/ 1357 h 1357"/>
              </a:gdLst>
              <a:ahLst/>
              <a:cxnLst>
                <a:cxn ang="0">
                  <a:pos x="T0" y="T1"/>
                </a:cxn>
                <a:cxn ang="0">
                  <a:pos x="T2" y="T3"/>
                </a:cxn>
                <a:cxn ang="0">
                  <a:pos x="T4" y="T5"/>
                </a:cxn>
                <a:cxn ang="0">
                  <a:pos x="T6" y="T7"/>
                </a:cxn>
                <a:cxn ang="0">
                  <a:pos x="T8" y="T9"/>
                </a:cxn>
                <a:cxn ang="0">
                  <a:pos x="T10" y="T11"/>
                </a:cxn>
              </a:cxnLst>
              <a:rect l="0" t="0" r="r" b="b"/>
              <a:pathLst>
                <a:path w="79" h="1357">
                  <a:moveTo>
                    <a:pt x="79" y="1357"/>
                  </a:moveTo>
                  <a:cubicBezTo>
                    <a:pt x="0" y="1357"/>
                    <a:pt x="0" y="1357"/>
                    <a:pt x="0" y="1357"/>
                  </a:cubicBezTo>
                  <a:cubicBezTo>
                    <a:pt x="0" y="32"/>
                    <a:pt x="0" y="32"/>
                    <a:pt x="0" y="32"/>
                  </a:cubicBezTo>
                  <a:cubicBezTo>
                    <a:pt x="0" y="32"/>
                    <a:pt x="5" y="1"/>
                    <a:pt x="39" y="1"/>
                  </a:cubicBezTo>
                  <a:cubicBezTo>
                    <a:pt x="73" y="0"/>
                    <a:pt x="79" y="32"/>
                    <a:pt x="79" y="32"/>
                  </a:cubicBezTo>
                  <a:cubicBezTo>
                    <a:pt x="79" y="1357"/>
                    <a:pt x="79" y="1357"/>
                    <a:pt x="79" y="1357"/>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34" name="Freeform 34">
              <a:extLst>
                <a:ext uri="{FF2B5EF4-FFF2-40B4-BE49-F238E27FC236}">
                  <a16:creationId xmlns:a16="http://schemas.microsoft.com/office/drawing/2014/main" id="{309DC482-6AD6-E4E4-F72A-F0F0124C985E}"/>
                </a:ext>
              </a:extLst>
            </p:cNvPr>
            <p:cNvSpPr>
              <a:spLocks/>
            </p:cNvSpPr>
            <p:nvPr/>
          </p:nvSpPr>
          <p:spPr bwMode="auto">
            <a:xfrm>
              <a:off x="6205431" y="4891705"/>
              <a:ext cx="91493" cy="1971928"/>
            </a:xfrm>
            <a:custGeom>
              <a:avLst/>
              <a:gdLst>
                <a:gd name="T0" fmla="*/ 63 w 63"/>
                <a:gd name="T1" fmla="*/ 1358 h 1358"/>
                <a:gd name="T2" fmla="*/ 0 w 63"/>
                <a:gd name="T3" fmla="*/ 1358 h 1358"/>
                <a:gd name="T4" fmla="*/ 0 w 63"/>
                <a:gd name="T5" fmla="*/ 32 h 1358"/>
                <a:gd name="T6" fmla="*/ 30 w 63"/>
                <a:gd name="T7" fmla="*/ 0 h 1358"/>
                <a:gd name="T8" fmla="*/ 63 w 63"/>
                <a:gd name="T9" fmla="*/ 32 h 1358"/>
                <a:gd name="T10" fmla="*/ 63 w 63"/>
                <a:gd name="T11" fmla="*/ 1358 h 1358"/>
              </a:gdLst>
              <a:ahLst/>
              <a:cxnLst>
                <a:cxn ang="0">
                  <a:pos x="T0" y="T1"/>
                </a:cxn>
                <a:cxn ang="0">
                  <a:pos x="T2" y="T3"/>
                </a:cxn>
                <a:cxn ang="0">
                  <a:pos x="T4" y="T5"/>
                </a:cxn>
                <a:cxn ang="0">
                  <a:pos x="T6" y="T7"/>
                </a:cxn>
                <a:cxn ang="0">
                  <a:pos x="T8" y="T9"/>
                </a:cxn>
                <a:cxn ang="0">
                  <a:pos x="T10" y="T11"/>
                </a:cxn>
              </a:cxnLst>
              <a:rect l="0" t="0" r="r" b="b"/>
              <a:pathLst>
                <a:path w="63" h="1358">
                  <a:moveTo>
                    <a:pt x="63" y="1358"/>
                  </a:moveTo>
                  <a:cubicBezTo>
                    <a:pt x="0" y="1358"/>
                    <a:pt x="0" y="1358"/>
                    <a:pt x="0" y="1358"/>
                  </a:cubicBezTo>
                  <a:cubicBezTo>
                    <a:pt x="0" y="32"/>
                    <a:pt x="0" y="32"/>
                    <a:pt x="0" y="32"/>
                  </a:cubicBezTo>
                  <a:cubicBezTo>
                    <a:pt x="0" y="32"/>
                    <a:pt x="4" y="1"/>
                    <a:pt x="30" y="0"/>
                  </a:cubicBezTo>
                  <a:cubicBezTo>
                    <a:pt x="57" y="0"/>
                    <a:pt x="63" y="32"/>
                    <a:pt x="63" y="32"/>
                  </a:cubicBezTo>
                  <a:cubicBezTo>
                    <a:pt x="63" y="1358"/>
                    <a:pt x="63" y="1358"/>
                    <a:pt x="63" y="1358"/>
                  </a:cubicBezTo>
                </a:path>
              </a:pathLst>
            </a:custGeom>
            <a:solidFill>
              <a:srgbClr val="FFB1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35" name="Freeform 35">
              <a:extLst>
                <a:ext uri="{FF2B5EF4-FFF2-40B4-BE49-F238E27FC236}">
                  <a16:creationId xmlns:a16="http://schemas.microsoft.com/office/drawing/2014/main" id="{95C935E4-0F4F-2AD4-BFE7-A0F0A105B270}"/>
                </a:ext>
              </a:extLst>
            </p:cNvPr>
            <p:cNvSpPr>
              <a:spLocks/>
            </p:cNvSpPr>
            <p:nvPr/>
          </p:nvSpPr>
          <p:spPr bwMode="auto">
            <a:xfrm>
              <a:off x="6003071" y="4891705"/>
              <a:ext cx="91493" cy="1971928"/>
            </a:xfrm>
            <a:custGeom>
              <a:avLst/>
              <a:gdLst>
                <a:gd name="T0" fmla="*/ 63 w 63"/>
                <a:gd name="T1" fmla="*/ 1358 h 1358"/>
                <a:gd name="T2" fmla="*/ 0 w 63"/>
                <a:gd name="T3" fmla="*/ 1358 h 1358"/>
                <a:gd name="T4" fmla="*/ 0 w 63"/>
                <a:gd name="T5" fmla="*/ 32 h 1358"/>
                <a:gd name="T6" fmla="*/ 31 w 63"/>
                <a:gd name="T7" fmla="*/ 0 h 1358"/>
                <a:gd name="T8" fmla="*/ 63 w 63"/>
                <a:gd name="T9" fmla="*/ 32 h 1358"/>
                <a:gd name="T10" fmla="*/ 63 w 63"/>
                <a:gd name="T11" fmla="*/ 1358 h 1358"/>
              </a:gdLst>
              <a:ahLst/>
              <a:cxnLst>
                <a:cxn ang="0">
                  <a:pos x="T0" y="T1"/>
                </a:cxn>
                <a:cxn ang="0">
                  <a:pos x="T2" y="T3"/>
                </a:cxn>
                <a:cxn ang="0">
                  <a:pos x="T4" y="T5"/>
                </a:cxn>
                <a:cxn ang="0">
                  <a:pos x="T6" y="T7"/>
                </a:cxn>
                <a:cxn ang="0">
                  <a:pos x="T8" y="T9"/>
                </a:cxn>
                <a:cxn ang="0">
                  <a:pos x="T10" y="T11"/>
                </a:cxn>
              </a:cxnLst>
              <a:rect l="0" t="0" r="r" b="b"/>
              <a:pathLst>
                <a:path w="63" h="1358">
                  <a:moveTo>
                    <a:pt x="63" y="1358"/>
                  </a:moveTo>
                  <a:cubicBezTo>
                    <a:pt x="0" y="1358"/>
                    <a:pt x="0" y="1358"/>
                    <a:pt x="0" y="1358"/>
                  </a:cubicBezTo>
                  <a:cubicBezTo>
                    <a:pt x="0" y="32"/>
                    <a:pt x="0" y="32"/>
                    <a:pt x="0" y="32"/>
                  </a:cubicBezTo>
                  <a:cubicBezTo>
                    <a:pt x="0" y="32"/>
                    <a:pt x="4" y="1"/>
                    <a:pt x="31" y="0"/>
                  </a:cubicBezTo>
                  <a:cubicBezTo>
                    <a:pt x="58" y="0"/>
                    <a:pt x="63" y="32"/>
                    <a:pt x="63" y="32"/>
                  </a:cubicBezTo>
                  <a:lnTo>
                    <a:pt x="63" y="1358"/>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36" name="Freeform 36">
              <a:extLst>
                <a:ext uri="{FF2B5EF4-FFF2-40B4-BE49-F238E27FC236}">
                  <a16:creationId xmlns:a16="http://schemas.microsoft.com/office/drawing/2014/main" id="{7F506994-B1F0-931B-0605-D96AF2F264FF}"/>
                </a:ext>
              </a:extLst>
            </p:cNvPr>
            <p:cNvSpPr>
              <a:spLocks/>
            </p:cNvSpPr>
            <p:nvPr/>
          </p:nvSpPr>
          <p:spPr bwMode="auto">
            <a:xfrm>
              <a:off x="6092411" y="4505284"/>
              <a:ext cx="117326" cy="168992"/>
            </a:xfrm>
            <a:custGeom>
              <a:avLst/>
              <a:gdLst>
                <a:gd name="T0" fmla="*/ 0 w 81"/>
                <a:gd name="T1" fmla="*/ 107 h 117"/>
                <a:gd name="T2" fmla="*/ 81 w 81"/>
                <a:gd name="T3" fmla="*/ 109 h 117"/>
                <a:gd name="T4" fmla="*/ 48 w 81"/>
                <a:gd name="T5" fmla="*/ 0 h 117"/>
                <a:gd name="T6" fmla="*/ 28 w 81"/>
                <a:gd name="T7" fmla="*/ 0 h 117"/>
                <a:gd name="T8" fmla="*/ 0 w 81"/>
                <a:gd name="T9" fmla="*/ 107 h 117"/>
              </a:gdLst>
              <a:ahLst/>
              <a:cxnLst>
                <a:cxn ang="0">
                  <a:pos x="T0" y="T1"/>
                </a:cxn>
                <a:cxn ang="0">
                  <a:pos x="T2" y="T3"/>
                </a:cxn>
                <a:cxn ang="0">
                  <a:pos x="T4" y="T5"/>
                </a:cxn>
                <a:cxn ang="0">
                  <a:pos x="T6" y="T7"/>
                </a:cxn>
                <a:cxn ang="0">
                  <a:pos x="T8" y="T9"/>
                </a:cxn>
              </a:cxnLst>
              <a:rect l="0" t="0" r="r" b="b"/>
              <a:pathLst>
                <a:path w="81" h="117">
                  <a:moveTo>
                    <a:pt x="0" y="107"/>
                  </a:moveTo>
                  <a:cubicBezTo>
                    <a:pt x="0" y="107"/>
                    <a:pt x="39" y="117"/>
                    <a:pt x="81" y="109"/>
                  </a:cubicBezTo>
                  <a:cubicBezTo>
                    <a:pt x="48" y="0"/>
                    <a:pt x="48" y="0"/>
                    <a:pt x="48" y="0"/>
                  </a:cubicBezTo>
                  <a:cubicBezTo>
                    <a:pt x="28" y="0"/>
                    <a:pt x="28" y="0"/>
                    <a:pt x="28" y="0"/>
                  </a:cubicBezTo>
                  <a:cubicBezTo>
                    <a:pt x="0" y="107"/>
                    <a:pt x="0" y="107"/>
                    <a:pt x="0" y="107"/>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37" name="Freeform 37">
              <a:extLst>
                <a:ext uri="{FF2B5EF4-FFF2-40B4-BE49-F238E27FC236}">
                  <a16:creationId xmlns:a16="http://schemas.microsoft.com/office/drawing/2014/main" id="{1D210647-CF9F-8BCB-5908-7931849E94C3}"/>
                </a:ext>
              </a:extLst>
            </p:cNvPr>
            <p:cNvSpPr>
              <a:spLocks/>
            </p:cNvSpPr>
            <p:nvPr/>
          </p:nvSpPr>
          <p:spPr bwMode="auto">
            <a:xfrm>
              <a:off x="5213008" y="6865786"/>
              <a:ext cx="229269" cy="2153"/>
            </a:xfrm>
            <a:custGeom>
              <a:avLst/>
              <a:gdLst>
                <a:gd name="T0" fmla="*/ 213 w 213"/>
                <a:gd name="T1" fmla="*/ 0 h 2"/>
                <a:gd name="T2" fmla="*/ 0 w 213"/>
                <a:gd name="T3" fmla="*/ 0 h 2"/>
                <a:gd name="T4" fmla="*/ 0 w 213"/>
                <a:gd name="T5" fmla="*/ 2 h 2"/>
                <a:gd name="T6" fmla="*/ 213 w 213"/>
                <a:gd name="T7" fmla="*/ 0 h 2"/>
              </a:gdLst>
              <a:ahLst/>
              <a:cxnLst>
                <a:cxn ang="0">
                  <a:pos x="T0" y="T1"/>
                </a:cxn>
                <a:cxn ang="0">
                  <a:pos x="T2" y="T3"/>
                </a:cxn>
                <a:cxn ang="0">
                  <a:pos x="T4" y="T5"/>
                </a:cxn>
                <a:cxn ang="0">
                  <a:pos x="T6" y="T7"/>
                </a:cxn>
              </a:cxnLst>
              <a:rect l="0" t="0" r="r" b="b"/>
              <a:pathLst>
                <a:path w="213" h="2">
                  <a:moveTo>
                    <a:pt x="213" y="0"/>
                  </a:moveTo>
                  <a:lnTo>
                    <a:pt x="0" y="0"/>
                  </a:lnTo>
                  <a:lnTo>
                    <a:pt x="0" y="2"/>
                  </a:lnTo>
                  <a:lnTo>
                    <a:pt x="213" y="0"/>
                  </a:lnTo>
                  <a:close/>
                </a:path>
              </a:pathLst>
            </a:custGeom>
            <a:solidFill>
              <a:srgbClr val="9C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38" name="Freeform 38">
              <a:extLst>
                <a:ext uri="{FF2B5EF4-FFF2-40B4-BE49-F238E27FC236}">
                  <a16:creationId xmlns:a16="http://schemas.microsoft.com/office/drawing/2014/main" id="{0E947122-7C36-C13D-7530-9A5D2C3B493B}"/>
                </a:ext>
              </a:extLst>
            </p:cNvPr>
            <p:cNvSpPr>
              <a:spLocks/>
            </p:cNvSpPr>
            <p:nvPr/>
          </p:nvSpPr>
          <p:spPr bwMode="auto">
            <a:xfrm>
              <a:off x="5213008" y="6865786"/>
              <a:ext cx="229269" cy="2153"/>
            </a:xfrm>
            <a:custGeom>
              <a:avLst/>
              <a:gdLst>
                <a:gd name="T0" fmla="*/ 213 w 213"/>
                <a:gd name="T1" fmla="*/ 0 h 2"/>
                <a:gd name="T2" fmla="*/ 0 w 213"/>
                <a:gd name="T3" fmla="*/ 0 h 2"/>
                <a:gd name="T4" fmla="*/ 0 w 213"/>
                <a:gd name="T5" fmla="*/ 2 h 2"/>
                <a:gd name="T6" fmla="*/ 213 w 213"/>
                <a:gd name="T7" fmla="*/ 0 h 2"/>
              </a:gdLst>
              <a:ahLst/>
              <a:cxnLst>
                <a:cxn ang="0">
                  <a:pos x="T0" y="T1"/>
                </a:cxn>
                <a:cxn ang="0">
                  <a:pos x="T2" y="T3"/>
                </a:cxn>
                <a:cxn ang="0">
                  <a:pos x="T4" y="T5"/>
                </a:cxn>
                <a:cxn ang="0">
                  <a:pos x="T6" y="T7"/>
                </a:cxn>
              </a:cxnLst>
              <a:rect l="0" t="0" r="r" b="b"/>
              <a:pathLst>
                <a:path w="213" h="2">
                  <a:moveTo>
                    <a:pt x="213" y="0"/>
                  </a:moveTo>
                  <a:lnTo>
                    <a:pt x="0" y="0"/>
                  </a:lnTo>
                  <a:lnTo>
                    <a:pt x="0" y="2"/>
                  </a:lnTo>
                  <a:lnTo>
                    <a:pt x="21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39" name="Freeform 40">
              <a:extLst>
                <a:ext uri="{FF2B5EF4-FFF2-40B4-BE49-F238E27FC236}">
                  <a16:creationId xmlns:a16="http://schemas.microsoft.com/office/drawing/2014/main" id="{B1A0D7FA-14DB-5BC0-7B03-95ACB96177BC}"/>
                </a:ext>
              </a:extLst>
            </p:cNvPr>
            <p:cNvSpPr>
              <a:spLocks/>
            </p:cNvSpPr>
            <p:nvPr/>
          </p:nvSpPr>
          <p:spPr bwMode="auto">
            <a:xfrm>
              <a:off x="5213008" y="5371771"/>
              <a:ext cx="136701" cy="269095"/>
            </a:xfrm>
            <a:custGeom>
              <a:avLst/>
              <a:gdLst>
                <a:gd name="T0" fmla="*/ 41 w 94"/>
                <a:gd name="T1" fmla="*/ 0 h 185"/>
                <a:gd name="T2" fmla="*/ 6 w 94"/>
                <a:gd name="T3" fmla="*/ 3 h 185"/>
                <a:gd name="T4" fmla="*/ 0 w 94"/>
                <a:gd name="T5" fmla="*/ 3 h 185"/>
                <a:gd name="T6" fmla="*/ 0 w 94"/>
                <a:gd name="T7" fmla="*/ 158 h 185"/>
                <a:gd name="T8" fmla="*/ 37 w 94"/>
                <a:gd name="T9" fmla="*/ 185 h 185"/>
                <a:gd name="T10" fmla="*/ 67 w 94"/>
                <a:gd name="T11" fmla="*/ 156 h 185"/>
                <a:gd name="T12" fmla="*/ 68 w 94"/>
                <a:gd name="T13" fmla="*/ 156 h 185"/>
                <a:gd name="T14" fmla="*/ 94 w 94"/>
                <a:gd name="T15" fmla="*/ 172 h 185"/>
                <a:gd name="T16" fmla="*/ 94 w 94"/>
                <a:gd name="T17" fmla="*/ 171 h 185"/>
                <a:gd name="T18" fmla="*/ 41 w 94"/>
                <a:gd name="T19" fmla="*/ 0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 h="185">
                  <a:moveTo>
                    <a:pt x="41" y="0"/>
                  </a:moveTo>
                  <a:cubicBezTo>
                    <a:pt x="28" y="2"/>
                    <a:pt x="16" y="3"/>
                    <a:pt x="6" y="3"/>
                  </a:cubicBezTo>
                  <a:cubicBezTo>
                    <a:pt x="4" y="3"/>
                    <a:pt x="2" y="3"/>
                    <a:pt x="0" y="3"/>
                  </a:cubicBezTo>
                  <a:cubicBezTo>
                    <a:pt x="0" y="158"/>
                    <a:pt x="0" y="158"/>
                    <a:pt x="0" y="158"/>
                  </a:cubicBezTo>
                  <a:cubicBezTo>
                    <a:pt x="24" y="159"/>
                    <a:pt x="34" y="177"/>
                    <a:pt x="37" y="185"/>
                  </a:cubicBezTo>
                  <a:cubicBezTo>
                    <a:pt x="38" y="178"/>
                    <a:pt x="45" y="157"/>
                    <a:pt x="67" y="156"/>
                  </a:cubicBezTo>
                  <a:cubicBezTo>
                    <a:pt x="68" y="156"/>
                    <a:pt x="68" y="156"/>
                    <a:pt x="68" y="156"/>
                  </a:cubicBezTo>
                  <a:cubicBezTo>
                    <a:pt x="81" y="156"/>
                    <a:pt x="89" y="164"/>
                    <a:pt x="94" y="172"/>
                  </a:cubicBezTo>
                  <a:cubicBezTo>
                    <a:pt x="94" y="171"/>
                    <a:pt x="94" y="171"/>
                    <a:pt x="94" y="171"/>
                  </a:cubicBezTo>
                  <a:cubicBezTo>
                    <a:pt x="41" y="0"/>
                    <a:pt x="41" y="0"/>
                    <a:pt x="41" y="0"/>
                  </a:cubicBezTo>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40" name="Freeform 41">
              <a:extLst>
                <a:ext uri="{FF2B5EF4-FFF2-40B4-BE49-F238E27FC236}">
                  <a16:creationId xmlns:a16="http://schemas.microsoft.com/office/drawing/2014/main" id="{0825A241-230D-0AA6-74B5-1138A121AA8D}"/>
                </a:ext>
              </a:extLst>
            </p:cNvPr>
            <p:cNvSpPr>
              <a:spLocks/>
            </p:cNvSpPr>
            <p:nvPr/>
          </p:nvSpPr>
          <p:spPr bwMode="auto">
            <a:xfrm>
              <a:off x="5213008" y="5601039"/>
              <a:ext cx="55972" cy="1264747"/>
            </a:xfrm>
            <a:custGeom>
              <a:avLst/>
              <a:gdLst>
                <a:gd name="T0" fmla="*/ 0 w 38"/>
                <a:gd name="T1" fmla="*/ 0 h 870"/>
                <a:gd name="T2" fmla="*/ 0 w 38"/>
                <a:gd name="T3" fmla="*/ 870 h 870"/>
                <a:gd name="T4" fmla="*/ 38 w 38"/>
                <a:gd name="T5" fmla="*/ 870 h 870"/>
                <a:gd name="T6" fmla="*/ 38 w 38"/>
                <a:gd name="T7" fmla="*/ 869 h 870"/>
                <a:gd name="T8" fmla="*/ 36 w 38"/>
                <a:gd name="T9" fmla="*/ 869 h 870"/>
                <a:gd name="T10" fmla="*/ 36 w 38"/>
                <a:gd name="T11" fmla="*/ 30 h 870"/>
                <a:gd name="T12" fmla="*/ 37 w 38"/>
                <a:gd name="T13" fmla="*/ 27 h 870"/>
                <a:gd name="T14" fmla="*/ 0 w 38"/>
                <a:gd name="T15" fmla="*/ 0 h 8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870">
                  <a:moveTo>
                    <a:pt x="0" y="0"/>
                  </a:moveTo>
                  <a:cubicBezTo>
                    <a:pt x="0" y="870"/>
                    <a:pt x="0" y="870"/>
                    <a:pt x="0" y="870"/>
                  </a:cubicBezTo>
                  <a:cubicBezTo>
                    <a:pt x="38" y="870"/>
                    <a:pt x="38" y="870"/>
                    <a:pt x="38" y="870"/>
                  </a:cubicBezTo>
                  <a:cubicBezTo>
                    <a:pt x="38" y="869"/>
                    <a:pt x="38" y="869"/>
                    <a:pt x="38" y="869"/>
                  </a:cubicBezTo>
                  <a:cubicBezTo>
                    <a:pt x="36" y="869"/>
                    <a:pt x="36" y="869"/>
                    <a:pt x="36" y="869"/>
                  </a:cubicBezTo>
                  <a:cubicBezTo>
                    <a:pt x="36" y="30"/>
                    <a:pt x="36" y="30"/>
                    <a:pt x="36" y="30"/>
                  </a:cubicBezTo>
                  <a:cubicBezTo>
                    <a:pt x="36" y="30"/>
                    <a:pt x="37" y="29"/>
                    <a:pt x="37" y="27"/>
                  </a:cubicBezTo>
                  <a:cubicBezTo>
                    <a:pt x="34" y="19"/>
                    <a:pt x="24" y="1"/>
                    <a:pt x="0" y="0"/>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41" name="Freeform 42">
              <a:extLst>
                <a:ext uri="{FF2B5EF4-FFF2-40B4-BE49-F238E27FC236}">
                  <a16:creationId xmlns:a16="http://schemas.microsoft.com/office/drawing/2014/main" id="{A627EC8C-AB7D-D5EF-E27C-389F47AFC628}"/>
                </a:ext>
              </a:extLst>
            </p:cNvPr>
            <p:cNvSpPr>
              <a:spLocks/>
            </p:cNvSpPr>
            <p:nvPr/>
          </p:nvSpPr>
          <p:spPr bwMode="auto">
            <a:xfrm>
              <a:off x="5265751" y="5598887"/>
              <a:ext cx="93645" cy="1264747"/>
            </a:xfrm>
            <a:custGeom>
              <a:avLst/>
              <a:gdLst>
                <a:gd name="T0" fmla="*/ 32 w 64"/>
                <a:gd name="T1" fmla="*/ 0 h 871"/>
                <a:gd name="T2" fmla="*/ 31 w 64"/>
                <a:gd name="T3" fmla="*/ 0 h 871"/>
                <a:gd name="T4" fmla="*/ 1 w 64"/>
                <a:gd name="T5" fmla="*/ 29 h 871"/>
                <a:gd name="T6" fmla="*/ 0 w 64"/>
                <a:gd name="T7" fmla="*/ 32 h 871"/>
                <a:gd name="T8" fmla="*/ 0 w 64"/>
                <a:gd name="T9" fmla="*/ 871 h 871"/>
                <a:gd name="T10" fmla="*/ 2 w 64"/>
                <a:gd name="T11" fmla="*/ 871 h 871"/>
                <a:gd name="T12" fmla="*/ 64 w 64"/>
                <a:gd name="T13" fmla="*/ 871 h 871"/>
                <a:gd name="T14" fmla="*/ 64 w 64"/>
                <a:gd name="T15" fmla="*/ 32 h 871"/>
                <a:gd name="T16" fmla="*/ 58 w 64"/>
                <a:gd name="T17" fmla="*/ 16 h 871"/>
                <a:gd name="T18" fmla="*/ 32 w 64"/>
                <a:gd name="T19" fmla="*/ 0 h 8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871">
                  <a:moveTo>
                    <a:pt x="32" y="0"/>
                  </a:moveTo>
                  <a:cubicBezTo>
                    <a:pt x="32" y="0"/>
                    <a:pt x="32" y="0"/>
                    <a:pt x="31" y="0"/>
                  </a:cubicBezTo>
                  <a:cubicBezTo>
                    <a:pt x="9" y="1"/>
                    <a:pt x="2" y="22"/>
                    <a:pt x="1" y="29"/>
                  </a:cubicBezTo>
                  <a:cubicBezTo>
                    <a:pt x="1" y="31"/>
                    <a:pt x="0" y="32"/>
                    <a:pt x="0" y="32"/>
                  </a:cubicBezTo>
                  <a:cubicBezTo>
                    <a:pt x="0" y="871"/>
                    <a:pt x="0" y="871"/>
                    <a:pt x="0" y="871"/>
                  </a:cubicBezTo>
                  <a:cubicBezTo>
                    <a:pt x="2" y="871"/>
                    <a:pt x="2" y="871"/>
                    <a:pt x="2" y="871"/>
                  </a:cubicBezTo>
                  <a:cubicBezTo>
                    <a:pt x="64" y="871"/>
                    <a:pt x="64" y="871"/>
                    <a:pt x="64" y="871"/>
                  </a:cubicBezTo>
                  <a:cubicBezTo>
                    <a:pt x="64" y="32"/>
                    <a:pt x="64" y="32"/>
                    <a:pt x="64" y="32"/>
                  </a:cubicBezTo>
                  <a:cubicBezTo>
                    <a:pt x="64" y="32"/>
                    <a:pt x="62" y="24"/>
                    <a:pt x="58" y="16"/>
                  </a:cubicBezTo>
                  <a:cubicBezTo>
                    <a:pt x="53" y="8"/>
                    <a:pt x="45" y="0"/>
                    <a:pt x="32" y="0"/>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42" name="Freeform 43">
              <a:extLst>
                <a:ext uri="{FF2B5EF4-FFF2-40B4-BE49-F238E27FC236}">
                  <a16:creationId xmlns:a16="http://schemas.microsoft.com/office/drawing/2014/main" id="{E6A1F3CA-7225-B394-B372-A989D1EF7B27}"/>
                </a:ext>
              </a:extLst>
            </p:cNvPr>
            <p:cNvSpPr>
              <a:spLocks/>
            </p:cNvSpPr>
            <p:nvPr/>
          </p:nvSpPr>
          <p:spPr bwMode="auto">
            <a:xfrm>
              <a:off x="5213008" y="5208161"/>
              <a:ext cx="60277" cy="167915"/>
            </a:xfrm>
            <a:custGeom>
              <a:avLst/>
              <a:gdLst>
                <a:gd name="T0" fmla="*/ 7 w 41"/>
                <a:gd name="T1" fmla="*/ 0 h 116"/>
                <a:gd name="T2" fmla="*/ 0 w 41"/>
                <a:gd name="T3" fmla="*/ 0 h 116"/>
                <a:gd name="T4" fmla="*/ 0 w 41"/>
                <a:gd name="T5" fmla="*/ 116 h 116"/>
                <a:gd name="T6" fmla="*/ 6 w 41"/>
                <a:gd name="T7" fmla="*/ 116 h 116"/>
                <a:gd name="T8" fmla="*/ 41 w 41"/>
                <a:gd name="T9" fmla="*/ 113 h 116"/>
                <a:gd name="T10" fmla="*/ 41 w 41"/>
                <a:gd name="T11" fmla="*/ 113 h 116"/>
                <a:gd name="T12" fmla="*/ 7 w 41"/>
                <a:gd name="T13" fmla="*/ 0 h 116"/>
              </a:gdLst>
              <a:ahLst/>
              <a:cxnLst>
                <a:cxn ang="0">
                  <a:pos x="T0" y="T1"/>
                </a:cxn>
                <a:cxn ang="0">
                  <a:pos x="T2" y="T3"/>
                </a:cxn>
                <a:cxn ang="0">
                  <a:pos x="T4" y="T5"/>
                </a:cxn>
                <a:cxn ang="0">
                  <a:pos x="T6" y="T7"/>
                </a:cxn>
                <a:cxn ang="0">
                  <a:pos x="T8" y="T9"/>
                </a:cxn>
                <a:cxn ang="0">
                  <a:pos x="T10" y="T11"/>
                </a:cxn>
                <a:cxn ang="0">
                  <a:pos x="T12" y="T13"/>
                </a:cxn>
              </a:cxnLst>
              <a:rect l="0" t="0" r="r" b="b"/>
              <a:pathLst>
                <a:path w="41" h="116">
                  <a:moveTo>
                    <a:pt x="7" y="0"/>
                  </a:moveTo>
                  <a:cubicBezTo>
                    <a:pt x="0" y="0"/>
                    <a:pt x="0" y="0"/>
                    <a:pt x="0" y="0"/>
                  </a:cubicBezTo>
                  <a:cubicBezTo>
                    <a:pt x="0" y="116"/>
                    <a:pt x="0" y="116"/>
                    <a:pt x="0" y="116"/>
                  </a:cubicBezTo>
                  <a:cubicBezTo>
                    <a:pt x="2" y="116"/>
                    <a:pt x="4" y="116"/>
                    <a:pt x="6" y="116"/>
                  </a:cubicBezTo>
                  <a:cubicBezTo>
                    <a:pt x="16" y="116"/>
                    <a:pt x="28" y="115"/>
                    <a:pt x="41" y="113"/>
                  </a:cubicBezTo>
                  <a:cubicBezTo>
                    <a:pt x="41" y="113"/>
                    <a:pt x="41" y="113"/>
                    <a:pt x="41" y="113"/>
                  </a:cubicBezTo>
                  <a:cubicBezTo>
                    <a:pt x="7" y="0"/>
                    <a:pt x="7" y="0"/>
                    <a:pt x="7" y="0"/>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43" name="Freeform 44">
              <a:extLst>
                <a:ext uri="{FF2B5EF4-FFF2-40B4-BE49-F238E27FC236}">
                  <a16:creationId xmlns:a16="http://schemas.microsoft.com/office/drawing/2014/main" id="{067F367E-1D3A-3D97-D76C-BCD2982719D9}"/>
                </a:ext>
              </a:extLst>
            </p:cNvPr>
            <p:cNvSpPr>
              <a:spLocks/>
            </p:cNvSpPr>
            <p:nvPr/>
          </p:nvSpPr>
          <p:spPr bwMode="auto">
            <a:xfrm>
              <a:off x="5690921" y="6865786"/>
              <a:ext cx="228193" cy="2153"/>
            </a:xfrm>
            <a:custGeom>
              <a:avLst/>
              <a:gdLst>
                <a:gd name="T0" fmla="*/ 212 w 212"/>
                <a:gd name="T1" fmla="*/ 0 h 2"/>
                <a:gd name="T2" fmla="*/ 0 w 212"/>
                <a:gd name="T3" fmla="*/ 0 h 2"/>
                <a:gd name="T4" fmla="*/ 0 w 212"/>
                <a:gd name="T5" fmla="*/ 2 h 2"/>
                <a:gd name="T6" fmla="*/ 212 w 212"/>
                <a:gd name="T7" fmla="*/ 0 h 2"/>
              </a:gdLst>
              <a:ahLst/>
              <a:cxnLst>
                <a:cxn ang="0">
                  <a:pos x="T0" y="T1"/>
                </a:cxn>
                <a:cxn ang="0">
                  <a:pos x="T2" y="T3"/>
                </a:cxn>
                <a:cxn ang="0">
                  <a:pos x="T4" y="T5"/>
                </a:cxn>
                <a:cxn ang="0">
                  <a:pos x="T6" y="T7"/>
                </a:cxn>
              </a:cxnLst>
              <a:rect l="0" t="0" r="r" b="b"/>
              <a:pathLst>
                <a:path w="212" h="2">
                  <a:moveTo>
                    <a:pt x="212" y="0"/>
                  </a:moveTo>
                  <a:lnTo>
                    <a:pt x="0" y="0"/>
                  </a:lnTo>
                  <a:lnTo>
                    <a:pt x="0" y="2"/>
                  </a:lnTo>
                  <a:lnTo>
                    <a:pt x="212" y="0"/>
                  </a:lnTo>
                  <a:close/>
                </a:path>
              </a:pathLst>
            </a:custGeom>
            <a:solidFill>
              <a:srgbClr val="9C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44" name="Freeform 45">
              <a:extLst>
                <a:ext uri="{FF2B5EF4-FFF2-40B4-BE49-F238E27FC236}">
                  <a16:creationId xmlns:a16="http://schemas.microsoft.com/office/drawing/2014/main" id="{88E5AADC-CF9D-C60E-F05F-B58BE2AC773E}"/>
                </a:ext>
              </a:extLst>
            </p:cNvPr>
            <p:cNvSpPr>
              <a:spLocks/>
            </p:cNvSpPr>
            <p:nvPr/>
          </p:nvSpPr>
          <p:spPr bwMode="auto">
            <a:xfrm>
              <a:off x="5690921" y="6865786"/>
              <a:ext cx="228193" cy="2153"/>
            </a:xfrm>
            <a:custGeom>
              <a:avLst/>
              <a:gdLst>
                <a:gd name="T0" fmla="*/ 212 w 212"/>
                <a:gd name="T1" fmla="*/ 0 h 2"/>
                <a:gd name="T2" fmla="*/ 0 w 212"/>
                <a:gd name="T3" fmla="*/ 0 h 2"/>
                <a:gd name="T4" fmla="*/ 0 w 212"/>
                <a:gd name="T5" fmla="*/ 2 h 2"/>
                <a:gd name="T6" fmla="*/ 212 w 212"/>
                <a:gd name="T7" fmla="*/ 0 h 2"/>
              </a:gdLst>
              <a:ahLst/>
              <a:cxnLst>
                <a:cxn ang="0">
                  <a:pos x="T0" y="T1"/>
                </a:cxn>
                <a:cxn ang="0">
                  <a:pos x="T2" y="T3"/>
                </a:cxn>
                <a:cxn ang="0">
                  <a:pos x="T4" y="T5"/>
                </a:cxn>
                <a:cxn ang="0">
                  <a:pos x="T6" y="T7"/>
                </a:cxn>
              </a:cxnLst>
              <a:rect l="0" t="0" r="r" b="b"/>
              <a:pathLst>
                <a:path w="212" h="2">
                  <a:moveTo>
                    <a:pt x="212" y="0"/>
                  </a:moveTo>
                  <a:lnTo>
                    <a:pt x="0" y="0"/>
                  </a:lnTo>
                  <a:lnTo>
                    <a:pt x="0" y="2"/>
                  </a:lnTo>
                  <a:lnTo>
                    <a:pt x="2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45" name="Freeform 47">
              <a:extLst>
                <a:ext uri="{FF2B5EF4-FFF2-40B4-BE49-F238E27FC236}">
                  <a16:creationId xmlns:a16="http://schemas.microsoft.com/office/drawing/2014/main" id="{6AED5372-9424-0422-33EC-73AEA0F53B5D}"/>
                </a:ext>
              </a:extLst>
            </p:cNvPr>
            <p:cNvSpPr>
              <a:spLocks/>
            </p:cNvSpPr>
            <p:nvPr/>
          </p:nvSpPr>
          <p:spPr bwMode="auto">
            <a:xfrm>
              <a:off x="5690921" y="5661317"/>
              <a:ext cx="137777" cy="270172"/>
            </a:xfrm>
            <a:custGeom>
              <a:avLst/>
              <a:gdLst>
                <a:gd name="T0" fmla="*/ 40 w 95"/>
                <a:gd name="T1" fmla="*/ 0 h 186"/>
                <a:gd name="T2" fmla="*/ 6 w 95"/>
                <a:gd name="T3" fmla="*/ 2 h 186"/>
                <a:gd name="T4" fmla="*/ 0 w 95"/>
                <a:gd name="T5" fmla="*/ 2 h 186"/>
                <a:gd name="T6" fmla="*/ 0 w 95"/>
                <a:gd name="T7" fmla="*/ 159 h 186"/>
                <a:gd name="T8" fmla="*/ 37 w 95"/>
                <a:gd name="T9" fmla="*/ 186 h 186"/>
                <a:gd name="T10" fmla="*/ 68 w 95"/>
                <a:gd name="T11" fmla="*/ 156 h 186"/>
                <a:gd name="T12" fmla="*/ 68 w 95"/>
                <a:gd name="T13" fmla="*/ 156 h 186"/>
                <a:gd name="T14" fmla="*/ 94 w 95"/>
                <a:gd name="T15" fmla="*/ 173 h 186"/>
                <a:gd name="T16" fmla="*/ 95 w 95"/>
                <a:gd name="T17" fmla="*/ 171 h 186"/>
                <a:gd name="T18" fmla="*/ 40 w 95"/>
                <a:gd name="T19"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186">
                  <a:moveTo>
                    <a:pt x="40" y="0"/>
                  </a:moveTo>
                  <a:cubicBezTo>
                    <a:pt x="28" y="2"/>
                    <a:pt x="16" y="2"/>
                    <a:pt x="6" y="2"/>
                  </a:cubicBezTo>
                  <a:cubicBezTo>
                    <a:pt x="4" y="2"/>
                    <a:pt x="2" y="2"/>
                    <a:pt x="0" y="2"/>
                  </a:cubicBezTo>
                  <a:cubicBezTo>
                    <a:pt x="0" y="159"/>
                    <a:pt x="0" y="159"/>
                    <a:pt x="0" y="159"/>
                  </a:cubicBezTo>
                  <a:cubicBezTo>
                    <a:pt x="24" y="159"/>
                    <a:pt x="34" y="177"/>
                    <a:pt x="37" y="186"/>
                  </a:cubicBezTo>
                  <a:cubicBezTo>
                    <a:pt x="39" y="179"/>
                    <a:pt x="45" y="157"/>
                    <a:pt x="68" y="156"/>
                  </a:cubicBezTo>
                  <a:cubicBezTo>
                    <a:pt x="68" y="156"/>
                    <a:pt x="68" y="156"/>
                    <a:pt x="68" y="156"/>
                  </a:cubicBezTo>
                  <a:cubicBezTo>
                    <a:pt x="82" y="156"/>
                    <a:pt x="89" y="165"/>
                    <a:pt x="94" y="173"/>
                  </a:cubicBezTo>
                  <a:cubicBezTo>
                    <a:pt x="95" y="171"/>
                    <a:pt x="95" y="171"/>
                    <a:pt x="95" y="171"/>
                  </a:cubicBezTo>
                  <a:cubicBezTo>
                    <a:pt x="40" y="0"/>
                    <a:pt x="40" y="0"/>
                    <a:pt x="40" y="0"/>
                  </a:cubicBezTo>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46" name="Freeform 48">
              <a:extLst>
                <a:ext uri="{FF2B5EF4-FFF2-40B4-BE49-F238E27FC236}">
                  <a16:creationId xmlns:a16="http://schemas.microsoft.com/office/drawing/2014/main" id="{64D325A0-3A9C-82D5-008D-3A25BFF1D6D1}"/>
                </a:ext>
              </a:extLst>
            </p:cNvPr>
            <p:cNvSpPr>
              <a:spLocks/>
            </p:cNvSpPr>
            <p:nvPr/>
          </p:nvSpPr>
          <p:spPr bwMode="auto">
            <a:xfrm>
              <a:off x="5690921" y="5891662"/>
              <a:ext cx="55972" cy="974124"/>
            </a:xfrm>
            <a:custGeom>
              <a:avLst/>
              <a:gdLst>
                <a:gd name="T0" fmla="*/ 0 w 39"/>
                <a:gd name="T1" fmla="*/ 0 h 670"/>
                <a:gd name="T2" fmla="*/ 0 w 39"/>
                <a:gd name="T3" fmla="*/ 670 h 670"/>
                <a:gd name="T4" fmla="*/ 39 w 39"/>
                <a:gd name="T5" fmla="*/ 670 h 670"/>
                <a:gd name="T6" fmla="*/ 39 w 39"/>
                <a:gd name="T7" fmla="*/ 669 h 670"/>
                <a:gd name="T8" fmla="*/ 37 w 39"/>
                <a:gd name="T9" fmla="*/ 669 h 670"/>
                <a:gd name="T10" fmla="*/ 37 w 39"/>
                <a:gd name="T11" fmla="*/ 29 h 670"/>
                <a:gd name="T12" fmla="*/ 37 w 39"/>
                <a:gd name="T13" fmla="*/ 27 h 670"/>
                <a:gd name="T14" fmla="*/ 0 w 39"/>
                <a:gd name="T15" fmla="*/ 0 h 6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670">
                  <a:moveTo>
                    <a:pt x="0" y="0"/>
                  </a:moveTo>
                  <a:cubicBezTo>
                    <a:pt x="0" y="670"/>
                    <a:pt x="0" y="670"/>
                    <a:pt x="0" y="670"/>
                  </a:cubicBezTo>
                  <a:cubicBezTo>
                    <a:pt x="39" y="670"/>
                    <a:pt x="39" y="670"/>
                    <a:pt x="39" y="670"/>
                  </a:cubicBezTo>
                  <a:cubicBezTo>
                    <a:pt x="39" y="669"/>
                    <a:pt x="39" y="669"/>
                    <a:pt x="39" y="669"/>
                  </a:cubicBezTo>
                  <a:cubicBezTo>
                    <a:pt x="37" y="669"/>
                    <a:pt x="37" y="669"/>
                    <a:pt x="37" y="669"/>
                  </a:cubicBezTo>
                  <a:cubicBezTo>
                    <a:pt x="37" y="29"/>
                    <a:pt x="37" y="29"/>
                    <a:pt x="37" y="29"/>
                  </a:cubicBezTo>
                  <a:cubicBezTo>
                    <a:pt x="37" y="29"/>
                    <a:pt x="37" y="28"/>
                    <a:pt x="37" y="27"/>
                  </a:cubicBezTo>
                  <a:cubicBezTo>
                    <a:pt x="34" y="18"/>
                    <a:pt x="24" y="0"/>
                    <a:pt x="0" y="0"/>
                  </a:cubicBezTo>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47" name="Freeform 49">
              <a:extLst>
                <a:ext uri="{FF2B5EF4-FFF2-40B4-BE49-F238E27FC236}">
                  <a16:creationId xmlns:a16="http://schemas.microsoft.com/office/drawing/2014/main" id="{E481AFA3-3BB2-4AF0-B51D-4D23FAFB997E}"/>
                </a:ext>
              </a:extLst>
            </p:cNvPr>
            <p:cNvSpPr>
              <a:spLocks/>
            </p:cNvSpPr>
            <p:nvPr/>
          </p:nvSpPr>
          <p:spPr bwMode="auto">
            <a:xfrm>
              <a:off x="5744740" y="5887356"/>
              <a:ext cx="91493" cy="976277"/>
            </a:xfrm>
            <a:custGeom>
              <a:avLst/>
              <a:gdLst>
                <a:gd name="T0" fmla="*/ 31 w 63"/>
                <a:gd name="T1" fmla="*/ 0 h 672"/>
                <a:gd name="T2" fmla="*/ 31 w 63"/>
                <a:gd name="T3" fmla="*/ 0 h 672"/>
                <a:gd name="T4" fmla="*/ 0 w 63"/>
                <a:gd name="T5" fmla="*/ 30 h 672"/>
                <a:gd name="T6" fmla="*/ 0 w 63"/>
                <a:gd name="T7" fmla="*/ 32 h 672"/>
                <a:gd name="T8" fmla="*/ 0 w 63"/>
                <a:gd name="T9" fmla="*/ 672 h 672"/>
                <a:gd name="T10" fmla="*/ 2 w 63"/>
                <a:gd name="T11" fmla="*/ 672 h 672"/>
                <a:gd name="T12" fmla="*/ 63 w 63"/>
                <a:gd name="T13" fmla="*/ 672 h 672"/>
                <a:gd name="T14" fmla="*/ 63 w 63"/>
                <a:gd name="T15" fmla="*/ 32 h 672"/>
                <a:gd name="T16" fmla="*/ 57 w 63"/>
                <a:gd name="T17" fmla="*/ 17 h 672"/>
                <a:gd name="T18" fmla="*/ 31 w 63"/>
                <a:gd name="T19" fmla="*/ 0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672">
                  <a:moveTo>
                    <a:pt x="31" y="0"/>
                  </a:moveTo>
                  <a:cubicBezTo>
                    <a:pt x="31" y="0"/>
                    <a:pt x="31" y="0"/>
                    <a:pt x="31" y="0"/>
                  </a:cubicBezTo>
                  <a:cubicBezTo>
                    <a:pt x="8" y="1"/>
                    <a:pt x="2" y="23"/>
                    <a:pt x="0" y="30"/>
                  </a:cubicBezTo>
                  <a:cubicBezTo>
                    <a:pt x="0" y="31"/>
                    <a:pt x="0" y="32"/>
                    <a:pt x="0" y="32"/>
                  </a:cubicBezTo>
                  <a:cubicBezTo>
                    <a:pt x="0" y="672"/>
                    <a:pt x="0" y="672"/>
                    <a:pt x="0" y="672"/>
                  </a:cubicBezTo>
                  <a:cubicBezTo>
                    <a:pt x="2" y="672"/>
                    <a:pt x="2" y="672"/>
                    <a:pt x="2" y="672"/>
                  </a:cubicBezTo>
                  <a:cubicBezTo>
                    <a:pt x="63" y="672"/>
                    <a:pt x="63" y="672"/>
                    <a:pt x="63" y="672"/>
                  </a:cubicBezTo>
                  <a:cubicBezTo>
                    <a:pt x="63" y="32"/>
                    <a:pt x="63" y="32"/>
                    <a:pt x="63" y="32"/>
                  </a:cubicBezTo>
                  <a:cubicBezTo>
                    <a:pt x="63" y="32"/>
                    <a:pt x="61" y="24"/>
                    <a:pt x="57" y="17"/>
                  </a:cubicBezTo>
                  <a:cubicBezTo>
                    <a:pt x="52" y="9"/>
                    <a:pt x="45" y="0"/>
                    <a:pt x="31" y="0"/>
                  </a:cubicBezTo>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48" name="Freeform 50">
              <a:extLst>
                <a:ext uri="{FF2B5EF4-FFF2-40B4-BE49-F238E27FC236}">
                  <a16:creationId xmlns:a16="http://schemas.microsoft.com/office/drawing/2014/main" id="{BF9469D7-AA87-080D-A72B-E5A9BFE3BCEE}"/>
                </a:ext>
              </a:extLst>
            </p:cNvPr>
            <p:cNvSpPr>
              <a:spLocks/>
            </p:cNvSpPr>
            <p:nvPr/>
          </p:nvSpPr>
          <p:spPr bwMode="auto">
            <a:xfrm>
              <a:off x="5690921" y="5498784"/>
              <a:ext cx="59201" cy="165763"/>
            </a:xfrm>
            <a:custGeom>
              <a:avLst/>
              <a:gdLst>
                <a:gd name="T0" fmla="*/ 7 w 41"/>
                <a:gd name="T1" fmla="*/ 0 h 114"/>
                <a:gd name="T2" fmla="*/ 0 w 41"/>
                <a:gd name="T3" fmla="*/ 0 h 114"/>
                <a:gd name="T4" fmla="*/ 0 w 41"/>
                <a:gd name="T5" fmla="*/ 114 h 114"/>
                <a:gd name="T6" fmla="*/ 6 w 41"/>
                <a:gd name="T7" fmla="*/ 114 h 114"/>
                <a:gd name="T8" fmla="*/ 40 w 41"/>
                <a:gd name="T9" fmla="*/ 112 h 114"/>
                <a:gd name="T10" fmla="*/ 41 w 41"/>
                <a:gd name="T11" fmla="*/ 111 h 114"/>
                <a:gd name="T12" fmla="*/ 7 w 41"/>
                <a:gd name="T13" fmla="*/ 0 h 114"/>
              </a:gdLst>
              <a:ahLst/>
              <a:cxnLst>
                <a:cxn ang="0">
                  <a:pos x="T0" y="T1"/>
                </a:cxn>
                <a:cxn ang="0">
                  <a:pos x="T2" y="T3"/>
                </a:cxn>
                <a:cxn ang="0">
                  <a:pos x="T4" y="T5"/>
                </a:cxn>
                <a:cxn ang="0">
                  <a:pos x="T6" y="T7"/>
                </a:cxn>
                <a:cxn ang="0">
                  <a:pos x="T8" y="T9"/>
                </a:cxn>
                <a:cxn ang="0">
                  <a:pos x="T10" y="T11"/>
                </a:cxn>
                <a:cxn ang="0">
                  <a:pos x="T12" y="T13"/>
                </a:cxn>
              </a:cxnLst>
              <a:rect l="0" t="0" r="r" b="b"/>
              <a:pathLst>
                <a:path w="41" h="114">
                  <a:moveTo>
                    <a:pt x="7" y="0"/>
                  </a:moveTo>
                  <a:cubicBezTo>
                    <a:pt x="0" y="0"/>
                    <a:pt x="0" y="0"/>
                    <a:pt x="0" y="0"/>
                  </a:cubicBezTo>
                  <a:cubicBezTo>
                    <a:pt x="0" y="114"/>
                    <a:pt x="0" y="114"/>
                    <a:pt x="0" y="114"/>
                  </a:cubicBezTo>
                  <a:cubicBezTo>
                    <a:pt x="2" y="114"/>
                    <a:pt x="4" y="114"/>
                    <a:pt x="6" y="114"/>
                  </a:cubicBezTo>
                  <a:cubicBezTo>
                    <a:pt x="16" y="114"/>
                    <a:pt x="28" y="114"/>
                    <a:pt x="40" y="112"/>
                  </a:cubicBezTo>
                  <a:cubicBezTo>
                    <a:pt x="41" y="112"/>
                    <a:pt x="41" y="111"/>
                    <a:pt x="41" y="111"/>
                  </a:cubicBezTo>
                  <a:cubicBezTo>
                    <a:pt x="7" y="0"/>
                    <a:pt x="7" y="0"/>
                    <a:pt x="7" y="0"/>
                  </a:cubicBezTo>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49" name="Freeform 51">
              <a:extLst>
                <a:ext uri="{FF2B5EF4-FFF2-40B4-BE49-F238E27FC236}">
                  <a16:creationId xmlns:a16="http://schemas.microsoft.com/office/drawing/2014/main" id="{CA1573BC-AA5D-4A55-9859-34CF9441C296}"/>
                </a:ext>
              </a:extLst>
            </p:cNvPr>
            <p:cNvSpPr>
              <a:spLocks/>
            </p:cNvSpPr>
            <p:nvPr/>
          </p:nvSpPr>
          <p:spPr bwMode="auto">
            <a:xfrm>
              <a:off x="7017022" y="6865786"/>
              <a:ext cx="228193" cy="2153"/>
            </a:xfrm>
            <a:custGeom>
              <a:avLst/>
              <a:gdLst>
                <a:gd name="T0" fmla="*/ 212 w 212"/>
                <a:gd name="T1" fmla="*/ 0 h 2"/>
                <a:gd name="T2" fmla="*/ 0 w 212"/>
                <a:gd name="T3" fmla="*/ 0 h 2"/>
                <a:gd name="T4" fmla="*/ 0 w 212"/>
                <a:gd name="T5" fmla="*/ 2 h 2"/>
                <a:gd name="T6" fmla="*/ 212 w 212"/>
                <a:gd name="T7" fmla="*/ 0 h 2"/>
              </a:gdLst>
              <a:ahLst/>
              <a:cxnLst>
                <a:cxn ang="0">
                  <a:pos x="T0" y="T1"/>
                </a:cxn>
                <a:cxn ang="0">
                  <a:pos x="T2" y="T3"/>
                </a:cxn>
                <a:cxn ang="0">
                  <a:pos x="T4" y="T5"/>
                </a:cxn>
                <a:cxn ang="0">
                  <a:pos x="T6" y="T7"/>
                </a:cxn>
              </a:cxnLst>
              <a:rect l="0" t="0" r="r" b="b"/>
              <a:pathLst>
                <a:path w="212" h="2">
                  <a:moveTo>
                    <a:pt x="212" y="0"/>
                  </a:moveTo>
                  <a:lnTo>
                    <a:pt x="0" y="0"/>
                  </a:lnTo>
                  <a:lnTo>
                    <a:pt x="0" y="2"/>
                  </a:lnTo>
                  <a:lnTo>
                    <a:pt x="212" y="0"/>
                  </a:lnTo>
                  <a:close/>
                </a:path>
              </a:pathLst>
            </a:custGeom>
            <a:solidFill>
              <a:srgbClr val="9C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50" name="Freeform 52">
              <a:extLst>
                <a:ext uri="{FF2B5EF4-FFF2-40B4-BE49-F238E27FC236}">
                  <a16:creationId xmlns:a16="http://schemas.microsoft.com/office/drawing/2014/main" id="{4350A53C-64AA-354C-4735-099DE5E74E60}"/>
                </a:ext>
              </a:extLst>
            </p:cNvPr>
            <p:cNvSpPr>
              <a:spLocks/>
            </p:cNvSpPr>
            <p:nvPr/>
          </p:nvSpPr>
          <p:spPr bwMode="auto">
            <a:xfrm>
              <a:off x="7017022" y="6865786"/>
              <a:ext cx="228193" cy="2153"/>
            </a:xfrm>
            <a:custGeom>
              <a:avLst/>
              <a:gdLst>
                <a:gd name="T0" fmla="*/ 212 w 212"/>
                <a:gd name="T1" fmla="*/ 0 h 2"/>
                <a:gd name="T2" fmla="*/ 0 w 212"/>
                <a:gd name="T3" fmla="*/ 0 h 2"/>
                <a:gd name="T4" fmla="*/ 0 w 212"/>
                <a:gd name="T5" fmla="*/ 2 h 2"/>
                <a:gd name="T6" fmla="*/ 212 w 212"/>
                <a:gd name="T7" fmla="*/ 0 h 2"/>
              </a:gdLst>
              <a:ahLst/>
              <a:cxnLst>
                <a:cxn ang="0">
                  <a:pos x="T0" y="T1"/>
                </a:cxn>
                <a:cxn ang="0">
                  <a:pos x="T2" y="T3"/>
                </a:cxn>
                <a:cxn ang="0">
                  <a:pos x="T4" y="T5"/>
                </a:cxn>
                <a:cxn ang="0">
                  <a:pos x="T6" y="T7"/>
                </a:cxn>
              </a:cxnLst>
              <a:rect l="0" t="0" r="r" b="b"/>
              <a:pathLst>
                <a:path w="212" h="2">
                  <a:moveTo>
                    <a:pt x="212" y="0"/>
                  </a:moveTo>
                  <a:lnTo>
                    <a:pt x="0" y="0"/>
                  </a:lnTo>
                  <a:lnTo>
                    <a:pt x="0" y="2"/>
                  </a:lnTo>
                  <a:lnTo>
                    <a:pt x="2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51" name="Freeform 54">
              <a:extLst>
                <a:ext uri="{FF2B5EF4-FFF2-40B4-BE49-F238E27FC236}">
                  <a16:creationId xmlns:a16="http://schemas.microsoft.com/office/drawing/2014/main" id="{9F0FE435-CDBF-7C7F-950F-94A866F041B1}"/>
                </a:ext>
              </a:extLst>
            </p:cNvPr>
            <p:cNvSpPr>
              <a:spLocks/>
            </p:cNvSpPr>
            <p:nvPr/>
          </p:nvSpPr>
          <p:spPr bwMode="auto">
            <a:xfrm>
              <a:off x="7017022" y="5661317"/>
              <a:ext cx="143159" cy="270172"/>
            </a:xfrm>
            <a:custGeom>
              <a:avLst/>
              <a:gdLst>
                <a:gd name="T0" fmla="*/ 44 w 98"/>
                <a:gd name="T1" fmla="*/ 0 h 186"/>
                <a:gd name="T2" fmla="*/ 9 w 98"/>
                <a:gd name="T3" fmla="*/ 3 h 186"/>
                <a:gd name="T4" fmla="*/ 0 w 98"/>
                <a:gd name="T5" fmla="*/ 3 h 186"/>
                <a:gd name="T6" fmla="*/ 0 w 98"/>
                <a:gd name="T7" fmla="*/ 159 h 186"/>
                <a:gd name="T8" fmla="*/ 1 w 98"/>
                <a:gd name="T9" fmla="*/ 159 h 186"/>
                <a:gd name="T10" fmla="*/ 2 w 98"/>
                <a:gd name="T11" fmla="*/ 159 h 186"/>
                <a:gd name="T12" fmla="*/ 40 w 98"/>
                <a:gd name="T13" fmla="*/ 186 h 186"/>
                <a:gd name="T14" fmla="*/ 71 w 98"/>
                <a:gd name="T15" fmla="*/ 156 h 186"/>
                <a:gd name="T16" fmla="*/ 71 w 98"/>
                <a:gd name="T17" fmla="*/ 156 h 186"/>
                <a:gd name="T18" fmla="*/ 97 w 98"/>
                <a:gd name="T19" fmla="*/ 173 h 186"/>
                <a:gd name="T20" fmla="*/ 98 w 98"/>
                <a:gd name="T21" fmla="*/ 171 h 186"/>
                <a:gd name="T22" fmla="*/ 44 w 98"/>
                <a:gd name="T23"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8" h="186">
                  <a:moveTo>
                    <a:pt x="44" y="0"/>
                  </a:moveTo>
                  <a:cubicBezTo>
                    <a:pt x="31" y="2"/>
                    <a:pt x="20" y="3"/>
                    <a:pt x="9" y="3"/>
                  </a:cubicBezTo>
                  <a:cubicBezTo>
                    <a:pt x="6" y="3"/>
                    <a:pt x="3" y="3"/>
                    <a:pt x="0" y="3"/>
                  </a:cubicBezTo>
                  <a:cubicBezTo>
                    <a:pt x="0" y="159"/>
                    <a:pt x="0" y="159"/>
                    <a:pt x="0" y="159"/>
                  </a:cubicBezTo>
                  <a:cubicBezTo>
                    <a:pt x="0" y="159"/>
                    <a:pt x="1" y="159"/>
                    <a:pt x="1" y="159"/>
                  </a:cubicBezTo>
                  <a:cubicBezTo>
                    <a:pt x="2" y="159"/>
                    <a:pt x="2" y="159"/>
                    <a:pt x="2" y="159"/>
                  </a:cubicBezTo>
                  <a:cubicBezTo>
                    <a:pt x="27" y="159"/>
                    <a:pt x="37" y="177"/>
                    <a:pt x="40" y="186"/>
                  </a:cubicBezTo>
                  <a:cubicBezTo>
                    <a:pt x="42" y="179"/>
                    <a:pt x="48" y="157"/>
                    <a:pt x="71" y="156"/>
                  </a:cubicBezTo>
                  <a:cubicBezTo>
                    <a:pt x="71" y="156"/>
                    <a:pt x="71" y="156"/>
                    <a:pt x="71" y="156"/>
                  </a:cubicBezTo>
                  <a:cubicBezTo>
                    <a:pt x="85" y="156"/>
                    <a:pt x="92" y="165"/>
                    <a:pt x="97" y="173"/>
                  </a:cubicBezTo>
                  <a:cubicBezTo>
                    <a:pt x="98" y="171"/>
                    <a:pt x="98" y="171"/>
                    <a:pt x="98" y="171"/>
                  </a:cubicBezTo>
                  <a:cubicBezTo>
                    <a:pt x="44" y="0"/>
                    <a:pt x="44" y="0"/>
                    <a:pt x="44" y="0"/>
                  </a:cubicBezTo>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52" name="Freeform 55">
              <a:extLst>
                <a:ext uri="{FF2B5EF4-FFF2-40B4-BE49-F238E27FC236}">
                  <a16:creationId xmlns:a16="http://schemas.microsoft.com/office/drawing/2014/main" id="{1986490F-6DA1-FB39-9CD8-411CFCE53DDD}"/>
                </a:ext>
              </a:extLst>
            </p:cNvPr>
            <p:cNvSpPr>
              <a:spLocks/>
            </p:cNvSpPr>
            <p:nvPr/>
          </p:nvSpPr>
          <p:spPr bwMode="auto">
            <a:xfrm>
              <a:off x="7017022" y="5891662"/>
              <a:ext cx="60277" cy="974124"/>
            </a:xfrm>
            <a:custGeom>
              <a:avLst/>
              <a:gdLst>
                <a:gd name="T0" fmla="*/ 2 w 41"/>
                <a:gd name="T1" fmla="*/ 0 h 670"/>
                <a:gd name="T2" fmla="*/ 1 w 41"/>
                <a:gd name="T3" fmla="*/ 0 h 670"/>
                <a:gd name="T4" fmla="*/ 0 w 41"/>
                <a:gd name="T5" fmla="*/ 0 h 670"/>
                <a:gd name="T6" fmla="*/ 0 w 41"/>
                <a:gd name="T7" fmla="*/ 670 h 670"/>
                <a:gd name="T8" fmla="*/ 41 w 41"/>
                <a:gd name="T9" fmla="*/ 670 h 670"/>
                <a:gd name="T10" fmla="*/ 41 w 41"/>
                <a:gd name="T11" fmla="*/ 669 h 670"/>
                <a:gd name="T12" fmla="*/ 40 w 41"/>
                <a:gd name="T13" fmla="*/ 669 h 670"/>
                <a:gd name="T14" fmla="*/ 40 w 41"/>
                <a:gd name="T15" fmla="*/ 29 h 670"/>
                <a:gd name="T16" fmla="*/ 40 w 41"/>
                <a:gd name="T17" fmla="*/ 27 h 670"/>
                <a:gd name="T18" fmla="*/ 2 w 41"/>
                <a:gd name="T19" fmla="*/ 0 h 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670">
                  <a:moveTo>
                    <a:pt x="2" y="0"/>
                  </a:moveTo>
                  <a:cubicBezTo>
                    <a:pt x="2" y="0"/>
                    <a:pt x="2" y="0"/>
                    <a:pt x="1" y="0"/>
                  </a:cubicBezTo>
                  <a:cubicBezTo>
                    <a:pt x="1" y="0"/>
                    <a:pt x="0" y="0"/>
                    <a:pt x="0" y="0"/>
                  </a:cubicBezTo>
                  <a:cubicBezTo>
                    <a:pt x="0" y="670"/>
                    <a:pt x="0" y="670"/>
                    <a:pt x="0" y="670"/>
                  </a:cubicBezTo>
                  <a:cubicBezTo>
                    <a:pt x="41" y="670"/>
                    <a:pt x="41" y="670"/>
                    <a:pt x="41" y="670"/>
                  </a:cubicBezTo>
                  <a:cubicBezTo>
                    <a:pt x="41" y="669"/>
                    <a:pt x="41" y="669"/>
                    <a:pt x="41" y="669"/>
                  </a:cubicBezTo>
                  <a:cubicBezTo>
                    <a:pt x="40" y="669"/>
                    <a:pt x="40" y="669"/>
                    <a:pt x="40" y="669"/>
                  </a:cubicBezTo>
                  <a:cubicBezTo>
                    <a:pt x="40" y="29"/>
                    <a:pt x="40" y="29"/>
                    <a:pt x="40" y="29"/>
                  </a:cubicBezTo>
                  <a:cubicBezTo>
                    <a:pt x="40" y="29"/>
                    <a:pt x="40" y="28"/>
                    <a:pt x="40" y="27"/>
                  </a:cubicBezTo>
                  <a:cubicBezTo>
                    <a:pt x="37" y="18"/>
                    <a:pt x="27" y="0"/>
                    <a:pt x="2" y="0"/>
                  </a:cubicBezTo>
                </a:path>
              </a:pathLst>
            </a:custGeom>
            <a:solidFill>
              <a:schemeClr val="accent5">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53" name="Freeform 56">
              <a:extLst>
                <a:ext uri="{FF2B5EF4-FFF2-40B4-BE49-F238E27FC236}">
                  <a16:creationId xmlns:a16="http://schemas.microsoft.com/office/drawing/2014/main" id="{558D7371-1CF2-D9FD-A3D3-318FAC0401AB}"/>
                </a:ext>
              </a:extLst>
            </p:cNvPr>
            <p:cNvSpPr>
              <a:spLocks/>
            </p:cNvSpPr>
            <p:nvPr/>
          </p:nvSpPr>
          <p:spPr bwMode="auto">
            <a:xfrm>
              <a:off x="7075146" y="5887356"/>
              <a:ext cx="91493" cy="976277"/>
            </a:xfrm>
            <a:custGeom>
              <a:avLst/>
              <a:gdLst>
                <a:gd name="T0" fmla="*/ 31 w 63"/>
                <a:gd name="T1" fmla="*/ 0 h 672"/>
                <a:gd name="T2" fmla="*/ 31 w 63"/>
                <a:gd name="T3" fmla="*/ 0 h 672"/>
                <a:gd name="T4" fmla="*/ 0 w 63"/>
                <a:gd name="T5" fmla="*/ 30 h 672"/>
                <a:gd name="T6" fmla="*/ 0 w 63"/>
                <a:gd name="T7" fmla="*/ 32 h 672"/>
                <a:gd name="T8" fmla="*/ 0 w 63"/>
                <a:gd name="T9" fmla="*/ 672 h 672"/>
                <a:gd name="T10" fmla="*/ 1 w 63"/>
                <a:gd name="T11" fmla="*/ 672 h 672"/>
                <a:gd name="T12" fmla="*/ 63 w 63"/>
                <a:gd name="T13" fmla="*/ 672 h 672"/>
                <a:gd name="T14" fmla="*/ 63 w 63"/>
                <a:gd name="T15" fmla="*/ 32 h 672"/>
                <a:gd name="T16" fmla="*/ 57 w 63"/>
                <a:gd name="T17" fmla="*/ 17 h 672"/>
                <a:gd name="T18" fmla="*/ 31 w 63"/>
                <a:gd name="T19" fmla="*/ 0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672">
                  <a:moveTo>
                    <a:pt x="31" y="0"/>
                  </a:moveTo>
                  <a:cubicBezTo>
                    <a:pt x="31" y="0"/>
                    <a:pt x="31" y="0"/>
                    <a:pt x="31" y="0"/>
                  </a:cubicBezTo>
                  <a:cubicBezTo>
                    <a:pt x="8" y="1"/>
                    <a:pt x="2" y="23"/>
                    <a:pt x="0" y="30"/>
                  </a:cubicBezTo>
                  <a:cubicBezTo>
                    <a:pt x="0" y="31"/>
                    <a:pt x="0" y="32"/>
                    <a:pt x="0" y="32"/>
                  </a:cubicBezTo>
                  <a:cubicBezTo>
                    <a:pt x="0" y="672"/>
                    <a:pt x="0" y="672"/>
                    <a:pt x="0" y="672"/>
                  </a:cubicBezTo>
                  <a:cubicBezTo>
                    <a:pt x="1" y="672"/>
                    <a:pt x="1" y="672"/>
                    <a:pt x="1" y="672"/>
                  </a:cubicBezTo>
                  <a:cubicBezTo>
                    <a:pt x="63" y="672"/>
                    <a:pt x="63" y="672"/>
                    <a:pt x="63" y="672"/>
                  </a:cubicBezTo>
                  <a:cubicBezTo>
                    <a:pt x="63" y="32"/>
                    <a:pt x="63" y="32"/>
                    <a:pt x="63" y="32"/>
                  </a:cubicBezTo>
                  <a:cubicBezTo>
                    <a:pt x="63" y="32"/>
                    <a:pt x="61" y="24"/>
                    <a:pt x="57" y="17"/>
                  </a:cubicBezTo>
                  <a:cubicBezTo>
                    <a:pt x="52" y="9"/>
                    <a:pt x="45" y="0"/>
                    <a:pt x="31" y="0"/>
                  </a:cubicBezTo>
                </a:path>
              </a:pathLst>
            </a:custGeom>
            <a:solidFill>
              <a:schemeClr val="accent5">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54" name="Freeform 57">
              <a:extLst>
                <a:ext uri="{FF2B5EF4-FFF2-40B4-BE49-F238E27FC236}">
                  <a16:creationId xmlns:a16="http://schemas.microsoft.com/office/drawing/2014/main" id="{522544DA-4BF2-3227-1CB5-8C238D4AB736}"/>
                </a:ext>
              </a:extLst>
            </p:cNvPr>
            <p:cNvSpPr>
              <a:spLocks/>
            </p:cNvSpPr>
            <p:nvPr/>
          </p:nvSpPr>
          <p:spPr bwMode="auto">
            <a:xfrm>
              <a:off x="7017022" y="5498784"/>
              <a:ext cx="64583" cy="166839"/>
            </a:xfrm>
            <a:custGeom>
              <a:avLst/>
              <a:gdLst>
                <a:gd name="T0" fmla="*/ 10 w 44"/>
                <a:gd name="T1" fmla="*/ 0 h 115"/>
                <a:gd name="T2" fmla="*/ 0 w 44"/>
                <a:gd name="T3" fmla="*/ 0 h 115"/>
                <a:gd name="T4" fmla="*/ 0 w 44"/>
                <a:gd name="T5" fmla="*/ 115 h 115"/>
                <a:gd name="T6" fmla="*/ 9 w 44"/>
                <a:gd name="T7" fmla="*/ 115 h 115"/>
                <a:gd name="T8" fmla="*/ 44 w 44"/>
                <a:gd name="T9" fmla="*/ 112 h 115"/>
                <a:gd name="T10" fmla="*/ 44 w 44"/>
                <a:gd name="T11" fmla="*/ 112 h 115"/>
                <a:gd name="T12" fmla="*/ 10 w 44"/>
                <a:gd name="T13" fmla="*/ 0 h 115"/>
              </a:gdLst>
              <a:ahLst/>
              <a:cxnLst>
                <a:cxn ang="0">
                  <a:pos x="T0" y="T1"/>
                </a:cxn>
                <a:cxn ang="0">
                  <a:pos x="T2" y="T3"/>
                </a:cxn>
                <a:cxn ang="0">
                  <a:pos x="T4" y="T5"/>
                </a:cxn>
                <a:cxn ang="0">
                  <a:pos x="T6" y="T7"/>
                </a:cxn>
                <a:cxn ang="0">
                  <a:pos x="T8" y="T9"/>
                </a:cxn>
                <a:cxn ang="0">
                  <a:pos x="T10" y="T11"/>
                </a:cxn>
                <a:cxn ang="0">
                  <a:pos x="T12" y="T13"/>
                </a:cxn>
              </a:cxnLst>
              <a:rect l="0" t="0" r="r" b="b"/>
              <a:pathLst>
                <a:path w="44" h="115">
                  <a:moveTo>
                    <a:pt x="10" y="0"/>
                  </a:moveTo>
                  <a:cubicBezTo>
                    <a:pt x="0" y="0"/>
                    <a:pt x="0" y="0"/>
                    <a:pt x="0" y="0"/>
                  </a:cubicBezTo>
                  <a:cubicBezTo>
                    <a:pt x="0" y="115"/>
                    <a:pt x="0" y="115"/>
                    <a:pt x="0" y="115"/>
                  </a:cubicBezTo>
                  <a:cubicBezTo>
                    <a:pt x="3" y="115"/>
                    <a:pt x="6" y="115"/>
                    <a:pt x="9" y="115"/>
                  </a:cubicBezTo>
                  <a:cubicBezTo>
                    <a:pt x="20" y="115"/>
                    <a:pt x="31" y="114"/>
                    <a:pt x="44" y="112"/>
                  </a:cubicBezTo>
                  <a:cubicBezTo>
                    <a:pt x="44" y="112"/>
                    <a:pt x="44" y="112"/>
                    <a:pt x="44" y="112"/>
                  </a:cubicBezTo>
                  <a:cubicBezTo>
                    <a:pt x="10" y="0"/>
                    <a:pt x="10" y="0"/>
                    <a:pt x="10" y="0"/>
                  </a:cubicBezTo>
                </a:path>
              </a:pathLst>
            </a:custGeom>
            <a:solidFill>
              <a:schemeClr val="accent5">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55" name="Freeform 59">
              <a:extLst>
                <a:ext uri="{FF2B5EF4-FFF2-40B4-BE49-F238E27FC236}">
                  <a16:creationId xmlns:a16="http://schemas.microsoft.com/office/drawing/2014/main" id="{0F7F6599-47BB-0789-E8C8-A33EC4AA149A}"/>
                </a:ext>
              </a:extLst>
            </p:cNvPr>
            <p:cNvSpPr>
              <a:spLocks/>
            </p:cNvSpPr>
            <p:nvPr/>
          </p:nvSpPr>
          <p:spPr bwMode="auto">
            <a:xfrm>
              <a:off x="6144077" y="4663513"/>
              <a:ext cx="144235" cy="271248"/>
            </a:xfrm>
            <a:custGeom>
              <a:avLst/>
              <a:gdLst>
                <a:gd name="T0" fmla="*/ 45 w 99"/>
                <a:gd name="T1" fmla="*/ 0 h 187"/>
                <a:gd name="T2" fmla="*/ 45 w 99"/>
                <a:gd name="T3" fmla="*/ 0 h 187"/>
                <a:gd name="T4" fmla="*/ 11 w 99"/>
                <a:gd name="T5" fmla="*/ 3 h 187"/>
                <a:gd name="T6" fmla="*/ 0 w 99"/>
                <a:gd name="T7" fmla="*/ 3 h 187"/>
                <a:gd name="T8" fmla="*/ 0 w 99"/>
                <a:gd name="T9" fmla="*/ 160 h 187"/>
                <a:gd name="T10" fmla="*/ 3 w 99"/>
                <a:gd name="T11" fmla="*/ 160 h 187"/>
                <a:gd name="T12" fmla="*/ 4 w 99"/>
                <a:gd name="T13" fmla="*/ 160 h 187"/>
                <a:gd name="T14" fmla="*/ 42 w 99"/>
                <a:gd name="T15" fmla="*/ 187 h 187"/>
                <a:gd name="T16" fmla="*/ 72 w 99"/>
                <a:gd name="T17" fmla="*/ 157 h 187"/>
                <a:gd name="T18" fmla="*/ 73 w 99"/>
                <a:gd name="T19" fmla="*/ 157 h 187"/>
                <a:gd name="T20" fmla="*/ 99 w 99"/>
                <a:gd name="T21" fmla="*/ 174 h 187"/>
                <a:gd name="T22" fmla="*/ 99 w 99"/>
                <a:gd name="T23" fmla="*/ 172 h 187"/>
                <a:gd name="T24" fmla="*/ 45 w 99"/>
                <a:gd name="T25" fmla="*/ 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 h="187">
                  <a:moveTo>
                    <a:pt x="45" y="0"/>
                  </a:moveTo>
                  <a:cubicBezTo>
                    <a:pt x="45" y="0"/>
                    <a:pt x="45" y="0"/>
                    <a:pt x="45" y="0"/>
                  </a:cubicBezTo>
                  <a:cubicBezTo>
                    <a:pt x="33" y="2"/>
                    <a:pt x="21" y="3"/>
                    <a:pt x="11" y="3"/>
                  </a:cubicBezTo>
                  <a:cubicBezTo>
                    <a:pt x="7" y="3"/>
                    <a:pt x="3" y="3"/>
                    <a:pt x="0" y="3"/>
                  </a:cubicBezTo>
                  <a:cubicBezTo>
                    <a:pt x="0" y="160"/>
                    <a:pt x="0" y="160"/>
                    <a:pt x="0" y="160"/>
                  </a:cubicBezTo>
                  <a:cubicBezTo>
                    <a:pt x="1" y="160"/>
                    <a:pt x="2" y="160"/>
                    <a:pt x="3" y="160"/>
                  </a:cubicBezTo>
                  <a:cubicBezTo>
                    <a:pt x="3" y="160"/>
                    <a:pt x="4" y="160"/>
                    <a:pt x="4" y="160"/>
                  </a:cubicBezTo>
                  <a:cubicBezTo>
                    <a:pt x="29" y="160"/>
                    <a:pt x="39" y="178"/>
                    <a:pt x="42" y="187"/>
                  </a:cubicBezTo>
                  <a:cubicBezTo>
                    <a:pt x="44" y="179"/>
                    <a:pt x="50" y="158"/>
                    <a:pt x="72" y="157"/>
                  </a:cubicBezTo>
                  <a:cubicBezTo>
                    <a:pt x="73" y="157"/>
                    <a:pt x="73" y="157"/>
                    <a:pt x="73" y="157"/>
                  </a:cubicBezTo>
                  <a:cubicBezTo>
                    <a:pt x="87" y="157"/>
                    <a:pt x="94" y="166"/>
                    <a:pt x="99" y="174"/>
                  </a:cubicBezTo>
                  <a:cubicBezTo>
                    <a:pt x="99" y="172"/>
                    <a:pt x="99" y="172"/>
                    <a:pt x="99" y="172"/>
                  </a:cubicBezTo>
                  <a:cubicBezTo>
                    <a:pt x="45" y="0"/>
                    <a:pt x="45" y="0"/>
                    <a:pt x="45" y="0"/>
                  </a:cubicBezTo>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56" name="Freeform 60">
              <a:extLst>
                <a:ext uri="{FF2B5EF4-FFF2-40B4-BE49-F238E27FC236}">
                  <a16:creationId xmlns:a16="http://schemas.microsoft.com/office/drawing/2014/main" id="{2E59EC3C-53D9-E262-933C-A851CACEFEEB}"/>
                </a:ext>
              </a:extLst>
            </p:cNvPr>
            <p:cNvSpPr>
              <a:spLocks/>
            </p:cNvSpPr>
            <p:nvPr/>
          </p:nvSpPr>
          <p:spPr bwMode="auto">
            <a:xfrm>
              <a:off x="6144077" y="4896011"/>
              <a:ext cx="62430" cy="1969776"/>
            </a:xfrm>
            <a:custGeom>
              <a:avLst/>
              <a:gdLst>
                <a:gd name="T0" fmla="*/ 4 w 43"/>
                <a:gd name="T1" fmla="*/ 0 h 1356"/>
                <a:gd name="T2" fmla="*/ 3 w 43"/>
                <a:gd name="T3" fmla="*/ 0 h 1356"/>
                <a:gd name="T4" fmla="*/ 0 w 43"/>
                <a:gd name="T5" fmla="*/ 0 h 1356"/>
                <a:gd name="T6" fmla="*/ 0 w 43"/>
                <a:gd name="T7" fmla="*/ 1356 h 1356"/>
                <a:gd name="T8" fmla="*/ 43 w 43"/>
                <a:gd name="T9" fmla="*/ 1356 h 1356"/>
                <a:gd name="T10" fmla="*/ 43 w 43"/>
                <a:gd name="T11" fmla="*/ 1355 h 1356"/>
                <a:gd name="T12" fmla="*/ 42 w 43"/>
                <a:gd name="T13" fmla="*/ 1355 h 1356"/>
                <a:gd name="T14" fmla="*/ 42 w 43"/>
                <a:gd name="T15" fmla="*/ 29 h 1356"/>
                <a:gd name="T16" fmla="*/ 42 w 43"/>
                <a:gd name="T17" fmla="*/ 27 h 1356"/>
                <a:gd name="T18" fmla="*/ 4 w 43"/>
                <a:gd name="T19" fmla="*/ 0 h 1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1356">
                  <a:moveTo>
                    <a:pt x="4" y="0"/>
                  </a:moveTo>
                  <a:cubicBezTo>
                    <a:pt x="4" y="0"/>
                    <a:pt x="3" y="0"/>
                    <a:pt x="3" y="0"/>
                  </a:cubicBezTo>
                  <a:cubicBezTo>
                    <a:pt x="2" y="0"/>
                    <a:pt x="1" y="0"/>
                    <a:pt x="0" y="0"/>
                  </a:cubicBezTo>
                  <a:cubicBezTo>
                    <a:pt x="0" y="1356"/>
                    <a:pt x="0" y="1356"/>
                    <a:pt x="0" y="1356"/>
                  </a:cubicBezTo>
                  <a:cubicBezTo>
                    <a:pt x="43" y="1356"/>
                    <a:pt x="43" y="1356"/>
                    <a:pt x="43" y="1356"/>
                  </a:cubicBezTo>
                  <a:cubicBezTo>
                    <a:pt x="43" y="1355"/>
                    <a:pt x="43" y="1355"/>
                    <a:pt x="43" y="1355"/>
                  </a:cubicBezTo>
                  <a:cubicBezTo>
                    <a:pt x="42" y="1355"/>
                    <a:pt x="42" y="1355"/>
                    <a:pt x="42" y="1355"/>
                  </a:cubicBezTo>
                  <a:cubicBezTo>
                    <a:pt x="42" y="29"/>
                    <a:pt x="42" y="29"/>
                    <a:pt x="42" y="29"/>
                  </a:cubicBezTo>
                  <a:cubicBezTo>
                    <a:pt x="42" y="29"/>
                    <a:pt x="42" y="28"/>
                    <a:pt x="42" y="27"/>
                  </a:cubicBezTo>
                  <a:cubicBezTo>
                    <a:pt x="39" y="18"/>
                    <a:pt x="29" y="0"/>
                    <a:pt x="4" y="0"/>
                  </a:cubicBezTo>
                </a:path>
              </a:pathLst>
            </a:cu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57" name="Freeform 61">
              <a:extLst>
                <a:ext uri="{FF2B5EF4-FFF2-40B4-BE49-F238E27FC236}">
                  <a16:creationId xmlns:a16="http://schemas.microsoft.com/office/drawing/2014/main" id="{C9E435D2-3E7C-4FDD-E70F-66EE478382E3}"/>
                </a:ext>
              </a:extLst>
            </p:cNvPr>
            <p:cNvSpPr>
              <a:spLocks/>
            </p:cNvSpPr>
            <p:nvPr/>
          </p:nvSpPr>
          <p:spPr bwMode="auto">
            <a:xfrm>
              <a:off x="6205431" y="4891705"/>
              <a:ext cx="91493" cy="1971928"/>
            </a:xfrm>
            <a:custGeom>
              <a:avLst/>
              <a:gdLst>
                <a:gd name="T0" fmla="*/ 31 w 63"/>
                <a:gd name="T1" fmla="*/ 0 h 1358"/>
                <a:gd name="T2" fmla="*/ 30 w 63"/>
                <a:gd name="T3" fmla="*/ 0 h 1358"/>
                <a:gd name="T4" fmla="*/ 0 w 63"/>
                <a:gd name="T5" fmla="*/ 30 h 1358"/>
                <a:gd name="T6" fmla="*/ 0 w 63"/>
                <a:gd name="T7" fmla="*/ 32 h 1358"/>
                <a:gd name="T8" fmla="*/ 0 w 63"/>
                <a:gd name="T9" fmla="*/ 1358 h 1358"/>
                <a:gd name="T10" fmla="*/ 1 w 63"/>
                <a:gd name="T11" fmla="*/ 1358 h 1358"/>
                <a:gd name="T12" fmla="*/ 63 w 63"/>
                <a:gd name="T13" fmla="*/ 1358 h 1358"/>
                <a:gd name="T14" fmla="*/ 63 w 63"/>
                <a:gd name="T15" fmla="*/ 32 h 1358"/>
                <a:gd name="T16" fmla="*/ 57 w 63"/>
                <a:gd name="T17" fmla="*/ 17 h 1358"/>
                <a:gd name="T18" fmla="*/ 31 w 63"/>
                <a:gd name="T19" fmla="*/ 0 h 1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1358">
                  <a:moveTo>
                    <a:pt x="31" y="0"/>
                  </a:moveTo>
                  <a:cubicBezTo>
                    <a:pt x="31" y="0"/>
                    <a:pt x="31" y="0"/>
                    <a:pt x="30" y="0"/>
                  </a:cubicBezTo>
                  <a:cubicBezTo>
                    <a:pt x="8" y="1"/>
                    <a:pt x="2" y="22"/>
                    <a:pt x="0" y="30"/>
                  </a:cubicBezTo>
                  <a:cubicBezTo>
                    <a:pt x="0" y="31"/>
                    <a:pt x="0" y="32"/>
                    <a:pt x="0" y="32"/>
                  </a:cubicBezTo>
                  <a:cubicBezTo>
                    <a:pt x="0" y="1358"/>
                    <a:pt x="0" y="1358"/>
                    <a:pt x="0" y="1358"/>
                  </a:cubicBezTo>
                  <a:cubicBezTo>
                    <a:pt x="1" y="1358"/>
                    <a:pt x="1" y="1358"/>
                    <a:pt x="1" y="1358"/>
                  </a:cubicBezTo>
                  <a:cubicBezTo>
                    <a:pt x="63" y="1358"/>
                    <a:pt x="63" y="1358"/>
                    <a:pt x="63" y="1358"/>
                  </a:cubicBezTo>
                  <a:cubicBezTo>
                    <a:pt x="63" y="32"/>
                    <a:pt x="63" y="32"/>
                    <a:pt x="63" y="32"/>
                  </a:cubicBezTo>
                  <a:cubicBezTo>
                    <a:pt x="63" y="32"/>
                    <a:pt x="61" y="24"/>
                    <a:pt x="57" y="17"/>
                  </a:cubicBezTo>
                  <a:cubicBezTo>
                    <a:pt x="52" y="9"/>
                    <a:pt x="45" y="0"/>
                    <a:pt x="31" y="0"/>
                  </a:cubicBezTo>
                </a:path>
              </a:pathLst>
            </a:cu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58" name="Freeform 62">
              <a:extLst>
                <a:ext uri="{FF2B5EF4-FFF2-40B4-BE49-F238E27FC236}">
                  <a16:creationId xmlns:a16="http://schemas.microsoft.com/office/drawing/2014/main" id="{739F98DB-2551-88C8-FF41-8AFAF5E9BD17}"/>
                </a:ext>
              </a:extLst>
            </p:cNvPr>
            <p:cNvSpPr>
              <a:spLocks/>
            </p:cNvSpPr>
            <p:nvPr/>
          </p:nvSpPr>
          <p:spPr bwMode="auto">
            <a:xfrm>
              <a:off x="6144077" y="4505284"/>
              <a:ext cx="65660" cy="162534"/>
            </a:xfrm>
            <a:custGeom>
              <a:avLst/>
              <a:gdLst>
                <a:gd name="T0" fmla="*/ 12 w 45"/>
                <a:gd name="T1" fmla="*/ 0 h 112"/>
                <a:gd name="T2" fmla="*/ 7 w 45"/>
                <a:gd name="T3" fmla="*/ 0 h 112"/>
                <a:gd name="T4" fmla="*/ 0 w 45"/>
                <a:gd name="T5" fmla="*/ 0 h 112"/>
                <a:gd name="T6" fmla="*/ 0 w 45"/>
                <a:gd name="T7" fmla="*/ 112 h 112"/>
                <a:gd name="T8" fmla="*/ 11 w 45"/>
                <a:gd name="T9" fmla="*/ 112 h 112"/>
                <a:gd name="T10" fmla="*/ 45 w 45"/>
                <a:gd name="T11" fmla="*/ 109 h 112"/>
                <a:gd name="T12" fmla="*/ 45 w 45"/>
                <a:gd name="T13" fmla="*/ 109 h 112"/>
                <a:gd name="T14" fmla="*/ 12 w 45"/>
                <a:gd name="T15" fmla="*/ 0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 h="112">
                  <a:moveTo>
                    <a:pt x="12" y="0"/>
                  </a:moveTo>
                  <a:cubicBezTo>
                    <a:pt x="7" y="0"/>
                    <a:pt x="7" y="0"/>
                    <a:pt x="7" y="0"/>
                  </a:cubicBezTo>
                  <a:cubicBezTo>
                    <a:pt x="0" y="0"/>
                    <a:pt x="0" y="0"/>
                    <a:pt x="0" y="0"/>
                  </a:cubicBezTo>
                  <a:cubicBezTo>
                    <a:pt x="0" y="112"/>
                    <a:pt x="0" y="112"/>
                    <a:pt x="0" y="112"/>
                  </a:cubicBezTo>
                  <a:cubicBezTo>
                    <a:pt x="3" y="112"/>
                    <a:pt x="7" y="112"/>
                    <a:pt x="11" y="112"/>
                  </a:cubicBezTo>
                  <a:cubicBezTo>
                    <a:pt x="21" y="112"/>
                    <a:pt x="33" y="111"/>
                    <a:pt x="45" y="109"/>
                  </a:cubicBezTo>
                  <a:cubicBezTo>
                    <a:pt x="45" y="109"/>
                    <a:pt x="45" y="109"/>
                    <a:pt x="45" y="109"/>
                  </a:cubicBezTo>
                  <a:cubicBezTo>
                    <a:pt x="12" y="0"/>
                    <a:pt x="12" y="0"/>
                    <a:pt x="12" y="0"/>
                  </a:cubicBezTo>
                </a:path>
              </a:pathLst>
            </a:cu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59" name="Freeform 64">
              <a:extLst>
                <a:ext uri="{FF2B5EF4-FFF2-40B4-BE49-F238E27FC236}">
                  <a16:creationId xmlns:a16="http://schemas.microsoft.com/office/drawing/2014/main" id="{9F118812-99F7-24D7-12F3-460F5C69A4E6}"/>
                </a:ext>
              </a:extLst>
            </p:cNvPr>
            <p:cNvSpPr>
              <a:spLocks/>
            </p:cNvSpPr>
            <p:nvPr/>
          </p:nvSpPr>
          <p:spPr bwMode="auto">
            <a:xfrm>
              <a:off x="6581087" y="4162996"/>
              <a:ext cx="141006" cy="269095"/>
            </a:xfrm>
            <a:custGeom>
              <a:avLst/>
              <a:gdLst>
                <a:gd name="T0" fmla="*/ 43 w 97"/>
                <a:gd name="T1" fmla="*/ 0 h 185"/>
                <a:gd name="T2" fmla="*/ 8 w 97"/>
                <a:gd name="T3" fmla="*/ 3 h 185"/>
                <a:gd name="T4" fmla="*/ 0 w 97"/>
                <a:gd name="T5" fmla="*/ 3 h 185"/>
                <a:gd name="T6" fmla="*/ 0 w 97"/>
                <a:gd name="T7" fmla="*/ 158 h 185"/>
                <a:gd name="T8" fmla="*/ 0 w 97"/>
                <a:gd name="T9" fmla="*/ 158 h 185"/>
                <a:gd name="T10" fmla="*/ 1 w 97"/>
                <a:gd name="T11" fmla="*/ 158 h 185"/>
                <a:gd name="T12" fmla="*/ 39 w 97"/>
                <a:gd name="T13" fmla="*/ 185 h 185"/>
                <a:gd name="T14" fmla="*/ 70 w 97"/>
                <a:gd name="T15" fmla="*/ 156 h 185"/>
                <a:gd name="T16" fmla="*/ 70 w 97"/>
                <a:gd name="T17" fmla="*/ 156 h 185"/>
                <a:gd name="T18" fmla="*/ 96 w 97"/>
                <a:gd name="T19" fmla="*/ 172 h 185"/>
                <a:gd name="T20" fmla="*/ 97 w 97"/>
                <a:gd name="T21" fmla="*/ 170 h 185"/>
                <a:gd name="T22" fmla="*/ 43 w 97"/>
                <a:gd name="T23" fmla="*/ 0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7" h="185">
                  <a:moveTo>
                    <a:pt x="43" y="0"/>
                  </a:moveTo>
                  <a:cubicBezTo>
                    <a:pt x="31" y="2"/>
                    <a:pt x="19" y="3"/>
                    <a:pt x="8" y="3"/>
                  </a:cubicBezTo>
                  <a:cubicBezTo>
                    <a:pt x="5" y="3"/>
                    <a:pt x="3" y="3"/>
                    <a:pt x="0" y="3"/>
                  </a:cubicBezTo>
                  <a:cubicBezTo>
                    <a:pt x="0" y="158"/>
                    <a:pt x="0" y="158"/>
                    <a:pt x="0" y="158"/>
                  </a:cubicBezTo>
                  <a:cubicBezTo>
                    <a:pt x="0" y="158"/>
                    <a:pt x="0" y="158"/>
                    <a:pt x="0" y="158"/>
                  </a:cubicBezTo>
                  <a:cubicBezTo>
                    <a:pt x="1" y="158"/>
                    <a:pt x="1" y="158"/>
                    <a:pt x="1" y="158"/>
                  </a:cubicBezTo>
                  <a:cubicBezTo>
                    <a:pt x="26" y="158"/>
                    <a:pt x="36" y="176"/>
                    <a:pt x="39" y="185"/>
                  </a:cubicBezTo>
                  <a:cubicBezTo>
                    <a:pt x="41" y="178"/>
                    <a:pt x="47" y="156"/>
                    <a:pt x="70" y="156"/>
                  </a:cubicBezTo>
                  <a:cubicBezTo>
                    <a:pt x="70" y="156"/>
                    <a:pt x="70" y="156"/>
                    <a:pt x="70" y="156"/>
                  </a:cubicBezTo>
                  <a:cubicBezTo>
                    <a:pt x="84" y="156"/>
                    <a:pt x="92" y="164"/>
                    <a:pt x="96" y="172"/>
                  </a:cubicBezTo>
                  <a:cubicBezTo>
                    <a:pt x="97" y="170"/>
                    <a:pt x="97" y="170"/>
                    <a:pt x="97" y="170"/>
                  </a:cubicBezTo>
                  <a:cubicBezTo>
                    <a:pt x="43" y="0"/>
                    <a:pt x="43" y="0"/>
                    <a:pt x="43" y="0"/>
                  </a:cubicBezTo>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60" name="Freeform 65">
              <a:extLst>
                <a:ext uri="{FF2B5EF4-FFF2-40B4-BE49-F238E27FC236}">
                  <a16:creationId xmlns:a16="http://schemas.microsoft.com/office/drawing/2014/main" id="{5A63880D-0235-9292-B569-3F3150D084C1}"/>
                </a:ext>
              </a:extLst>
            </p:cNvPr>
            <p:cNvSpPr>
              <a:spLocks/>
            </p:cNvSpPr>
            <p:nvPr/>
          </p:nvSpPr>
          <p:spPr bwMode="auto">
            <a:xfrm>
              <a:off x="6581087" y="4393341"/>
              <a:ext cx="59201" cy="2472445"/>
            </a:xfrm>
            <a:custGeom>
              <a:avLst/>
              <a:gdLst>
                <a:gd name="T0" fmla="*/ 1 w 41"/>
                <a:gd name="T1" fmla="*/ 0 h 1702"/>
                <a:gd name="T2" fmla="*/ 0 w 41"/>
                <a:gd name="T3" fmla="*/ 0 h 1702"/>
                <a:gd name="T4" fmla="*/ 0 w 41"/>
                <a:gd name="T5" fmla="*/ 0 h 1702"/>
                <a:gd name="T6" fmla="*/ 0 w 41"/>
                <a:gd name="T7" fmla="*/ 1702 h 1702"/>
                <a:gd name="T8" fmla="*/ 41 w 41"/>
                <a:gd name="T9" fmla="*/ 1702 h 1702"/>
                <a:gd name="T10" fmla="*/ 41 w 41"/>
                <a:gd name="T11" fmla="*/ 1701 h 1702"/>
                <a:gd name="T12" fmla="*/ 39 w 41"/>
                <a:gd name="T13" fmla="*/ 1701 h 1702"/>
                <a:gd name="T14" fmla="*/ 39 w 41"/>
                <a:gd name="T15" fmla="*/ 30 h 1702"/>
                <a:gd name="T16" fmla="*/ 39 w 41"/>
                <a:gd name="T17" fmla="*/ 27 h 1702"/>
                <a:gd name="T18" fmla="*/ 1 w 41"/>
                <a:gd name="T19" fmla="*/ 0 h 1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1702">
                  <a:moveTo>
                    <a:pt x="1" y="0"/>
                  </a:moveTo>
                  <a:cubicBezTo>
                    <a:pt x="1" y="0"/>
                    <a:pt x="1" y="0"/>
                    <a:pt x="0" y="0"/>
                  </a:cubicBezTo>
                  <a:cubicBezTo>
                    <a:pt x="0" y="0"/>
                    <a:pt x="0" y="0"/>
                    <a:pt x="0" y="0"/>
                  </a:cubicBezTo>
                  <a:cubicBezTo>
                    <a:pt x="0" y="1702"/>
                    <a:pt x="0" y="1702"/>
                    <a:pt x="0" y="1702"/>
                  </a:cubicBezTo>
                  <a:cubicBezTo>
                    <a:pt x="41" y="1702"/>
                    <a:pt x="41" y="1702"/>
                    <a:pt x="41" y="1702"/>
                  </a:cubicBezTo>
                  <a:cubicBezTo>
                    <a:pt x="41" y="1701"/>
                    <a:pt x="41" y="1701"/>
                    <a:pt x="41" y="1701"/>
                  </a:cubicBezTo>
                  <a:cubicBezTo>
                    <a:pt x="39" y="1701"/>
                    <a:pt x="39" y="1701"/>
                    <a:pt x="39" y="1701"/>
                  </a:cubicBezTo>
                  <a:cubicBezTo>
                    <a:pt x="39" y="30"/>
                    <a:pt x="39" y="30"/>
                    <a:pt x="39" y="30"/>
                  </a:cubicBezTo>
                  <a:cubicBezTo>
                    <a:pt x="39" y="30"/>
                    <a:pt x="39" y="29"/>
                    <a:pt x="39" y="27"/>
                  </a:cubicBezTo>
                  <a:cubicBezTo>
                    <a:pt x="36" y="18"/>
                    <a:pt x="26" y="0"/>
                    <a:pt x="1" y="0"/>
                  </a:cubicBezTo>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61" name="Freeform 66">
              <a:extLst>
                <a:ext uri="{FF2B5EF4-FFF2-40B4-BE49-F238E27FC236}">
                  <a16:creationId xmlns:a16="http://schemas.microsoft.com/office/drawing/2014/main" id="{11621C76-4E2B-8DF6-EBF5-A2431FAD5CB1}"/>
                </a:ext>
              </a:extLst>
            </p:cNvPr>
            <p:cNvSpPr>
              <a:spLocks/>
            </p:cNvSpPr>
            <p:nvPr/>
          </p:nvSpPr>
          <p:spPr bwMode="auto">
            <a:xfrm>
              <a:off x="6638136" y="4390112"/>
              <a:ext cx="91493" cy="2473521"/>
            </a:xfrm>
            <a:custGeom>
              <a:avLst/>
              <a:gdLst>
                <a:gd name="T0" fmla="*/ 31 w 63"/>
                <a:gd name="T1" fmla="*/ 0 h 1703"/>
                <a:gd name="T2" fmla="*/ 31 w 63"/>
                <a:gd name="T3" fmla="*/ 0 h 1703"/>
                <a:gd name="T4" fmla="*/ 0 w 63"/>
                <a:gd name="T5" fmla="*/ 29 h 1703"/>
                <a:gd name="T6" fmla="*/ 0 w 63"/>
                <a:gd name="T7" fmla="*/ 32 h 1703"/>
                <a:gd name="T8" fmla="*/ 0 w 63"/>
                <a:gd name="T9" fmla="*/ 1703 h 1703"/>
                <a:gd name="T10" fmla="*/ 2 w 63"/>
                <a:gd name="T11" fmla="*/ 1703 h 1703"/>
                <a:gd name="T12" fmla="*/ 63 w 63"/>
                <a:gd name="T13" fmla="*/ 1703 h 1703"/>
                <a:gd name="T14" fmla="*/ 63 w 63"/>
                <a:gd name="T15" fmla="*/ 32 h 1703"/>
                <a:gd name="T16" fmla="*/ 57 w 63"/>
                <a:gd name="T17" fmla="*/ 16 h 1703"/>
                <a:gd name="T18" fmla="*/ 31 w 63"/>
                <a:gd name="T19" fmla="*/ 0 h 1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1703">
                  <a:moveTo>
                    <a:pt x="31" y="0"/>
                  </a:moveTo>
                  <a:cubicBezTo>
                    <a:pt x="31" y="0"/>
                    <a:pt x="31" y="0"/>
                    <a:pt x="31" y="0"/>
                  </a:cubicBezTo>
                  <a:cubicBezTo>
                    <a:pt x="8" y="0"/>
                    <a:pt x="2" y="22"/>
                    <a:pt x="0" y="29"/>
                  </a:cubicBezTo>
                  <a:cubicBezTo>
                    <a:pt x="0" y="31"/>
                    <a:pt x="0" y="32"/>
                    <a:pt x="0" y="32"/>
                  </a:cubicBezTo>
                  <a:cubicBezTo>
                    <a:pt x="0" y="1703"/>
                    <a:pt x="0" y="1703"/>
                    <a:pt x="0" y="1703"/>
                  </a:cubicBezTo>
                  <a:cubicBezTo>
                    <a:pt x="2" y="1703"/>
                    <a:pt x="2" y="1703"/>
                    <a:pt x="2" y="1703"/>
                  </a:cubicBezTo>
                  <a:cubicBezTo>
                    <a:pt x="63" y="1703"/>
                    <a:pt x="63" y="1703"/>
                    <a:pt x="63" y="1703"/>
                  </a:cubicBezTo>
                  <a:cubicBezTo>
                    <a:pt x="63" y="32"/>
                    <a:pt x="63" y="32"/>
                    <a:pt x="63" y="32"/>
                  </a:cubicBezTo>
                  <a:cubicBezTo>
                    <a:pt x="63" y="32"/>
                    <a:pt x="62" y="24"/>
                    <a:pt x="57" y="16"/>
                  </a:cubicBezTo>
                  <a:cubicBezTo>
                    <a:pt x="53" y="8"/>
                    <a:pt x="45" y="0"/>
                    <a:pt x="31" y="0"/>
                  </a:cubicBezTo>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62" name="Freeform 67">
              <a:extLst>
                <a:ext uri="{FF2B5EF4-FFF2-40B4-BE49-F238E27FC236}">
                  <a16:creationId xmlns:a16="http://schemas.microsoft.com/office/drawing/2014/main" id="{568A70F9-A553-6513-B1CE-F1835CACC9D7}"/>
                </a:ext>
              </a:extLst>
            </p:cNvPr>
            <p:cNvSpPr>
              <a:spLocks/>
            </p:cNvSpPr>
            <p:nvPr/>
          </p:nvSpPr>
          <p:spPr bwMode="auto">
            <a:xfrm>
              <a:off x="6581087" y="3999386"/>
              <a:ext cx="62430" cy="167915"/>
            </a:xfrm>
            <a:custGeom>
              <a:avLst/>
              <a:gdLst>
                <a:gd name="T0" fmla="*/ 10 w 43"/>
                <a:gd name="T1" fmla="*/ 0 h 116"/>
                <a:gd name="T2" fmla="*/ 0 w 43"/>
                <a:gd name="T3" fmla="*/ 0 h 116"/>
                <a:gd name="T4" fmla="*/ 0 w 43"/>
                <a:gd name="T5" fmla="*/ 116 h 116"/>
                <a:gd name="T6" fmla="*/ 8 w 43"/>
                <a:gd name="T7" fmla="*/ 116 h 116"/>
                <a:gd name="T8" fmla="*/ 43 w 43"/>
                <a:gd name="T9" fmla="*/ 113 h 116"/>
                <a:gd name="T10" fmla="*/ 43 w 43"/>
                <a:gd name="T11" fmla="*/ 113 h 116"/>
                <a:gd name="T12" fmla="*/ 10 w 43"/>
                <a:gd name="T13" fmla="*/ 0 h 116"/>
              </a:gdLst>
              <a:ahLst/>
              <a:cxnLst>
                <a:cxn ang="0">
                  <a:pos x="T0" y="T1"/>
                </a:cxn>
                <a:cxn ang="0">
                  <a:pos x="T2" y="T3"/>
                </a:cxn>
                <a:cxn ang="0">
                  <a:pos x="T4" y="T5"/>
                </a:cxn>
                <a:cxn ang="0">
                  <a:pos x="T6" y="T7"/>
                </a:cxn>
                <a:cxn ang="0">
                  <a:pos x="T8" y="T9"/>
                </a:cxn>
                <a:cxn ang="0">
                  <a:pos x="T10" y="T11"/>
                </a:cxn>
                <a:cxn ang="0">
                  <a:pos x="T12" y="T13"/>
                </a:cxn>
              </a:cxnLst>
              <a:rect l="0" t="0" r="r" b="b"/>
              <a:pathLst>
                <a:path w="43" h="116">
                  <a:moveTo>
                    <a:pt x="10" y="0"/>
                  </a:moveTo>
                  <a:cubicBezTo>
                    <a:pt x="0" y="0"/>
                    <a:pt x="0" y="0"/>
                    <a:pt x="0" y="0"/>
                  </a:cubicBezTo>
                  <a:cubicBezTo>
                    <a:pt x="0" y="116"/>
                    <a:pt x="0" y="116"/>
                    <a:pt x="0" y="116"/>
                  </a:cubicBezTo>
                  <a:cubicBezTo>
                    <a:pt x="3" y="116"/>
                    <a:pt x="5" y="116"/>
                    <a:pt x="8" y="116"/>
                  </a:cubicBezTo>
                  <a:cubicBezTo>
                    <a:pt x="19" y="116"/>
                    <a:pt x="31" y="115"/>
                    <a:pt x="43" y="113"/>
                  </a:cubicBezTo>
                  <a:cubicBezTo>
                    <a:pt x="43" y="113"/>
                    <a:pt x="43" y="113"/>
                    <a:pt x="43" y="113"/>
                  </a:cubicBezTo>
                  <a:cubicBezTo>
                    <a:pt x="10" y="0"/>
                    <a:pt x="10" y="0"/>
                    <a:pt x="10" y="0"/>
                  </a:cubicBezTo>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63" name="Freeform 71">
              <a:extLst>
                <a:ext uri="{FF2B5EF4-FFF2-40B4-BE49-F238E27FC236}">
                  <a16:creationId xmlns:a16="http://schemas.microsoft.com/office/drawing/2014/main" id="{6002540E-695F-FC58-59D6-A01F2026CE6D}"/>
                </a:ext>
              </a:extLst>
            </p:cNvPr>
            <p:cNvSpPr>
              <a:spLocks/>
            </p:cNvSpPr>
            <p:nvPr/>
          </p:nvSpPr>
          <p:spPr bwMode="auto">
            <a:xfrm>
              <a:off x="5870676" y="2496759"/>
              <a:ext cx="893396" cy="1045165"/>
            </a:xfrm>
            <a:custGeom>
              <a:avLst/>
              <a:gdLst>
                <a:gd name="T0" fmla="*/ 614 w 614"/>
                <a:gd name="T1" fmla="*/ 307 h 719"/>
                <a:gd name="T2" fmla="*/ 307 w 614"/>
                <a:gd name="T3" fmla="*/ 0 h 719"/>
                <a:gd name="T4" fmla="*/ 0 w 614"/>
                <a:gd name="T5" fmla="*/ 307 h 719"/>
                <a:gd name="T6" fmla="*/ 307 w 614"/>
                <a:gd name="T7" fmla="*/ 614 h 719"/>
                <a:gd name="T8" fmla="*/ 321 w 614"/>
                <a:gd name="T9" fmla="*/ 614 h 719"/>
                <a:gd name="T10" fmla="*/ 445 w 614"/>
                <a:gd name="T11" fmla="*/ 719 h 719"/>
                <a:gd name="T12" fmla="*/ 458 w 614"/>
                <a:gd name="T13" fmla="*/ 575 h 719"/>
                <a:gd name="T14" fmla="*/ 614 w 614"/>
                <a:gd name="T15" fmla="*/ 307 h 7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4" h="719">
                  <a:moveTo>
                    <a:pt x="614" y="307"/>
                  </a:moveTo>
                  <a:cubicBezTo>
                    <a:pt x="614" y="138"/>
                    <a:pt x="477" y="0"/>
                    <a:pt x="307" y="0"/>
                  </a:cubicBezTo>
                  <a:cubicBezTo>
                    <a:pt x="137" y="0"/>
                    <a:pt x="0" y="138"/>
                    <a:pt x="0" y="307"/>
                  </a:cubicBezTo>
                  <a:cubicBezTo>
                    <a:pt x="0" y="477"/>
                    <a:pt x="137" y="614"/>
                    <a:pt x="307" y="614"/>
                  </a:cubicBezTo>
                  <a:cubicBezTo>
                    <a:pt x="312" y="614"/>
                    <a:pt x="316" y="614"/>
                    <a:pt x="321" y="614"/>
                  </a:cubicBezTo>
                  <a:cubicBezTo>
                    <a:pt x="445" y="719"/>
                    <a:pt x="445" y="719"/>
                    <a:pt x="445" y="719"/>
                  </a:cubicBezTo>
                  <a:cubicBezTo>
                    <a:pt x="458" y="575"/>
                    <a:pt x="458" y="575"/>
                    <a:pt x="458" y="575"/>
                  </a:cubicBezTo>
                  <a:cubicBezTo>
                    <a:pt x="551" y="522"/>
                    <a:pt x="614" y="422"/>
                    <a:pt x="614" y="30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64" name="Freeform 74">
              <a:extLst>
                <a:ext uri="{FF2B5EF4-FFF2-40B4-BE49-F238E27FC236}">
                  <a16:creationId xmlns:a16="http://schemas.microsoft.com/office/drawing/2014/main" id="{C5AFC1AD-43F2-95BB-5DEE-FFA123A0B2B2}"/>
                </a:ext>
              </a:extLst>
            </p:cNvPr>
            <p:cNvSpPr>
              <a:spLocks/>
            </p:cNvSpPr>
            <p:nvPr/>
          </p:nvSpPr>
          <p:spPr bwMode="auto">
            <a:xfrm>
              <a:off x="4259336" y="4505284"/>
              <a:ext cx="811591" cy="948291"/>
            </a:xfrm>
            <a:custGeom>
              <a:avLst/>
              <a:gdLst>
                <a:gd name="T0" fmla="*/ 558 w 558"/>
                <a:gd name="T1" fmla="*/ 279 h 653"/>
                <a:gd name="T2" fmla="*/ 279 w 558"/>
                <a:gd name="T3" fmla="*/ 0 h 653"/>
                <a:gd name="T4" fmla="*/ 0 w 558"/>
                <a:gd name="T5" fmla="*/ 279 h 653"/>
                <a:gd name="T6" fmla="*/ 279 w 558"/>
                <a:gd name="T7" fmla="*/ 558 h 653"/>
                <a:gd name="T8" fmla="*/ 292 w 558"/>
                <a:gd name="T9" fmla="*/ 558 h 653"/>
                <a:gd name="T10" fmla="*/ 404 w 558"/>
                <a:gd name="T11" fmla="*/ 653 h 653"/>
                <a:gd name="T12" fmla="*/ 416 w 558"/>
                <a:gd name="T13" fmla="*/ 522 h 653"/>
                <a:gd name="T14" fmla="*/ 558 w 558"/>
                <a:gd name="T15" fmla="*/ 279 h 6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8" h="653">
                  <a:moveTo>
                    <a:pt x="558" y="279"/>
                  </a:moveTo>
                  <a:cubicBezTo>
                    <a:pt x="558" y="125"/>
                    <a:pt x="433" y="0"/>
                    <a:pt x="279" y="0"/>
                  </a:cubicBezTo>
                  <a:cubicBezTo>
                    <a:pt x="125" y="0"/>
                    <a:pt x="0" y="125"/>
                    <a:pt x="0" y="279"/>
                  </a:cubicBezTo>
                  <a:cubicBezTo>
                    <a:pt x="0" y="433"/>
                    <a:pt x="125" y="558"/>
                    <a:pt x="279" y="558"/>
                  </a:cubicBezTo>
                  <a:cubicBezTo>
                    <a:pt x="283" y="558"/>
                    <a:pt x="287" y="558"/>
                    <a:pt x="292" y="558"/>
                  </a:cubicBezTo>
                  <a:cubicBezTo>
                    <a:pt x="404" y="653"/>
                    <a:pt x="404" y="653"/>
                    <a:pt x="404" y="653"/>
                  </a:cubicBezTo>
                  <a:cubicBezTo>
                    <a:pt x="416" y="522"/>
                    <a:pt x="416" y="522"/>
                    <a:pt x="416" y="522"/>
                  </a:cubicBezTo>
                  <a:cubicBezTo>
                    <a:pt x="501" y="474"/>
                    <a:pt x="558" y="383"/>
                    <a:pt x="558" y="27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65" name="Freeform 76">
              <a:extLst>
                <a:ext uri="{FF2B5EF4-FFF2-40B4-BE49-F238E27FC236}">
                  <a16:creationId xmlns:a16="http://schemas.microsoft.com/office/drawing/2014/main" id="{F3854335-6973-2AD9-7531-E2BAE089440A}"/>
                </a:ext>
              </a:extLst>
            </p:cNvPr>
            <p:cNvSpPr>
              <a:spLocks/>
            </p:cNvSpPr>
            <p:nvPr/>
          </p:nvSpPr>
          <p:spPr bwMode="auto">
            <a:xfrm>
              <a:off x="6913689" y="4385807"/>
              <a:ext cx="748085" cy="874021"/>
            </a:xfrm>
            <a:custGeom>
              <a:avLst/>
              <a:gdLst>
                <a:gd name="T0" fmla="*/ 257 w 514"/>
                <a:gd name="T1" fmla="*/ 0 h 602"/>
                <a:gd name="T2" fmla="*/ 0 w 514"/>
                <a:gd name="T3" fmla="*/ 257 h 602"/>
                <a:gd name="T4" fmla="*/ 131 w 514"/>
                <a:gd name="T5" fmla="*/ 481 h 602"/>
                <a:gd name="T6" fmla="*/ 142 w 514"/>
                <a:gd name="T7" fmla="*/ 602 h 602"/>
                <a:gd name="T8" fmla="*/ 246 w 514"/>
                <a:gd name="T9" fmla="*/ 514 h 602"/>
                <a:gd name="T10" fmla="*/ 257 w 514"/>
                <a:gd name="T11" fmla="*/ 514 h 602"/>
                <a:gd name="T12" fmla="*/ 514 w 514"/>
                <a:gd name="T13" fmla="*/ 257 h 602"/>
                <a:gd name="T14" fmla="*/ 257 w 514"/>
                <a:gd name="T15" fmla="*/ 0 h 6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4" h="602">
                  <a:moveTo>
                    <a:pt x="257" y="0"/>
                  </a:moveTo>
                  <a:cubicBezTo>
                    <a:pt x="115" y="0"/>
                    <a:pt x="0" y="115"/>
                    <a:pt x="0" y="257"/>
                  </a:cubicBezTo>
                  <a:cubicBezTo>
                    <a:pt x="0" y="353"/>
                    <a:pt x="53" y="437"/>
                    <a:pt x="131" y="481"/>
                  </a:cubicBezTo>
                  <a:cubicBezTo>
                    <a:pt x="142" y="602"/>
                    <a:pt x="142" y="602"/>
                    <a:pt x="142" y="602"/>
                  </a:cubicBezTo>
                  <a:cubicBezTo>
                    <a:pt x="246" y="514"/>
                    <a:pt x="246" y="514"/>
                    <a:pt x="246" y="514"/>
                  </a:cubicBezTo>
                  <a:cubicBezTo>
                    <a:pt x="249" y="514"/>
                    <a:pt x="253" y="514"/>
                    <a:pt x="257" y="514"/>
                  </a:cubicBezTo>
                  <a:cubicBezTo>
                    <a:pt x="399" y="514"/>
                    <a:pt x="514" y="399"/>
                    <a:pt x="514" y="257"/>
                  </a:cubicBezTo>
                  <a:cubicBezTo>
                    <a:pt x="514" y="115"/>
                    <a:pt x="399" y="0"/>
                    <a:pt x="257" y="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66" name="Freeform 77">
              <a:extLst>
                <a:ext uri="{FF2B5EF4-FFF2-40B4-BE49-F238E27FC236}">
                  <a16:creationId xmlns:a16="http://schemas.microsoft.com/office/drawing/2014/main" id="{2A3386E2-3510-5FE4-0ADE-71016727C5DF}"/>
                </a:ext>
              </a:extLst>
            </p:cNvPr>
            <p:cNvSpPr>
              <a:spLocks/>
            </p:cNvSpPr>
            <p:nvPr/>
          </p:nvSpPr>
          <p:spPr bwMode="auto">
            <a:xfrm>
              <a:off x="5174259" y="4353515"/>
              <a:ext cx="651210" cy="761001"/>
            </a:xfrm>
            <a:custGeom>
              <a:avLst/>
              <a:gdLst>
                <a:gd name="T0" fmla="*/ 448 w 448"/>
                <a:gd name="T1" fmla="*/ 224 h 524"/>
                <a:gd name="T2" fmla="*/ 224 w 448"/>
                <a:gd name="T3" fmla="*/ 0 h 524"/>
                <a:gd name="T4" fmla="*/ 0 w 448"/>
                <a:gd name="T5" fmla="*/ 224 h 524"/>
                <a:gd name="T6" fmla="*/ 224 w 448"/>
                <a:gd name="T7" fmla="*/ 448 h 524"/>
                <a:gd name="T8" fmla="*/ 234 w 448"/>
                <a:gd name="T9" fmla="*/ 448 h 524"/>
                <a:gd name="T10" fmla="*/ 324 w 448"/>
                <a:gd name="T11" fmla="*/ 524 h 524"/>
                <a:gd name="T12" fmla="*/ 334 w 448"/>
                <a:gd name="T13" fmla="*/ 419 h 524"/>
                <a:gd name="T14" fmla="*/ 448 w 448"/>
                <a:gd name="T15" fmla="*/ 224 h 5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8" h="524">
                  <a:moveTo>
                    <a:pt x="448" y="224"/>
                  </a:moveTo>
                  <a:cubicBezTo>
                    <a:pt x="448" y="100"/>
                    <a:pt x="348" y="0"/>
                    <a:pt x="224" y="0"/>
                  </a:cubicBezTo>
                  <a:cubicBezTo>
                    <a:pt x="100" y="0"/>
                    <a:pt x="0" y="100"/>
                    <a:pt x="0" y="224"/>
                  </a:cubicBezTo>
                  <a:cubicBezTo>
                    <a:pt x="0" y="347"/>
                    <a:pt x="100" y="448"/>
                    <a:pt x="224" y="448"/>
                  </a:cubicBezTo>
                  <a:cubicBezTo>
                    <a:pt x="227" y="448"/>
                    <a:pt x="231" y="448"/>
                    <a:pt x="234" y="448"/>
                  </a:cubicBezTo>
                  <a:cubicBezTo>
                    <a:pt x="324" y="524"/>
                    <a:pt x="324" y="524"/>
                    <a:pt x="324" y="524"/>
                  </a:cubicBezTo>
                  <a:cubicBezTo>
                    <a:pt x="334" y="419"/>
                    <a:pt x="334" y="419"/>
                    <a:pt x="334" y="419"/>
                  </a:cubicBezTo>
                  <a:cubicBezTo>
                    <a:pt x="402" y="380"/>
                    <a:pt x="448" y="307"/>
                    <a:pt x="448" y="22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67" name="Freeform 79">
              <a:extLst>
                <a:ext uri="{FF2B5EF4-FFF2-40B4-BE49-F238E27FC236}">
                  <a16:creationId xmlns:a16="http://schemas.microsoft.com/office/drawing/2014/main" id="{F613BBF7-FE38-7459-22EC-0FF7DAA55456}"/>
                </a:ext>
              </a:extLst>
            </p:cNvPr>
            <p:cNvSpPr>
              <a:spLocks/>
            </p:cNvSpPr>
            <p:nvPr/>
          </p:nvSpPr>
          <p:spPr bwMode="auto">
            <a:xfrm>
              <a:off x="4659749" y="2398809"/>
              <a:ext cx="652286" cy="761001"/>
            </a:xfrm>
            <a:custGeom>
              <a:avLst/>
              <a:gdLst>
                <a:gd name="T0" fmla="*/ 449 w 449"/>
                <a:gd name="T1" fmla="*/ 224 h 524"/>
                <a:gd name="T2" fmla="*/ 225 w 449"/>
                <a:gd name="T3" fmla="*/ 0 h 524"/>
                <a:gd name="T4" fmla="*/ 0 w 449"/>
                <a:gd name="T5" fmla="*/ 224 h 524"/>
                <a:gd name="T6" fmla="*/ 225 w 449"/>
                <a:gd name="T7" fmla="*/ 448 h 524"/>
                <a:gd name="T8" fmla="*/ 235 w 449"/>
                <a:gd name="T9" fmla="*/ 448 h 524"/>
                <a:gd name="T10" fmla="*/ 325 w 449"/>
                <a:gd name="T11" fmla="*/ 524 h 524"/>
                <a:gd name="T12" fmla="*/ 335 w 449"/>
                <a:gd name="T13" fmla="*/ 419 h 524"/>
                <a:gd name="T14" fmla="*/ 449 w 449"/>
                <a:gd name="T15" fmla="*/ 224 h 5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9" h="524">
                  <a:moveTo>
                    <a:pt x="449" y="224"/>
                  </a:moveTo>
                  <a:cubicBezTo>
                    <a:pt x="449" y="100"/>
                    <a:pt x="348" y="0"/>
                    <a:pt x="225" y="0"/>
                  </a:cubicBezTo>
                  <a:cubicBezTo>
                    <a:pt x="101" y="0"/>
                    <a:pt x="0" y="100"/>
                    <a:pt x="0" y="224"/>
                  </a:cubicBezTo>
                  <a:cubicBezTo>
                    <a:pt x="0" y="348"/>
                    <a:pt x="101" y="448"/>
                    <a:pt x="225" y="448"/>
                  </a:cubicBezTo>
                  <a:cubicBezTo>
                    <a:pt x="228" y="448"/>
                    <a:pt x="231" y="448"/>
                    <a:pt x="235" y="448"/>
                  </a:cubicBezTo>
                  <a:cubicBezTo>
                    <a:pt x="325" y="524"/>
                    <a:pt x="325" y="524"/>
                    <a:pt x="325" y="524"/>
                  </a:cubicBezTo>
                  <a:cubicBezTo>
                    <a:pt x="335" y="419"/>
                    <a:pt x="335" y="419"/>
                    <a:pt x="335" y="419"/>
                  </a:cubicBezTo>
                  <a:cubicBezTo>
                    <a:pt x="403" y="380"/>
                    <a:pt x="449" y="307"/>
                    <a:pt x="449" y="22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68" name="Freeform 81">
              <a:extLst>
                <a:ext uri="{FF2B5EF4-FFF2-40B4-BE49-F238E27FC236}">
                  <a16:creationId xmlns:a16="http://schemas.microsoft.com/office/drawing/2014/main" id="{74D9F68D-A370-0EE8-885F-48A09E36D55C}"/>
                </a:ext>
              </a:extLst>
            </p:cNvPr>
            <p:cNvSpPr>
              <a:spLocks/>
            </p:cNvSpPr>
            <p:nvPr/>
          </p:nvSpPr>
          <p:spPr bwMode="auto">
            <a:xfrm>
              <a:off x="4094649" y="3230850"/>
              <a:ext cx="720099" cy="839576"/>
            </a:xfrm>
            <a:custGeom>
              <a:avLst/>
              <a:gdLst>
                <a:gd name="T0" fmla="*/ 495 w 495"/>
                <a:gd name="T1" fmla="*/ 247 h 578"/>
                <a:gd name="T2" fmla="*/ 248 w 495"/>
                <a:gd name="T3" fmla="*/ 0 h 578"/>
                <a:gd name="T4" fmla="*/ 0 w 495"/>
                <a:gd name="T5" fmla="*/ 247 h 578"/>
                <a:gd name="T6" fmla="*/ 248 w 495"/>
                <a:gd name="T7" fmla="*/ 494 h 578"/>
                <a:gd name="T8" fmla="*/ 259 w 495"/>
                <a:gd name="T9" fmla="*/ 494 h 578"/>
                <a:gd name="T10" fmla="*/ 359 w 495"/>
                <a:gd name="T11" fmla="*/ 578 h 578"/>
                <a:gd name="T12" fmla="*/ 369 w 495"/>
                <a:gd name="T13" fmla="*/ 462 h 578"/>
                <a:gd name="T14" fmla="*/ 495 w 495"/>
                <a:gd name="T15" fmla="*/ 247 h 5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5" h="578">
                  <a:moveTo>
                    <a:pt x="495" y="247"/>
                  </a:moveTo>
                  <a:cubicBezTo>
                    <a:pt x="495" y="110"/>
                    <a:pt x="384" y="0"/>
                    <a:pt x="248" y="0"/>
                  </a:cubicBezTo>
                  <a:cubicBezTo>
                    <a:pt x="111" y="0"/>
                    <a:pt x="0" y="110"/>
                    <a:pt x="0" y="247"/>
                  </a:cubicBezTo>
                  <a:cubicBezTo>
                    <a:pt x="0" y="383"/>
                    <a:pt x="111" y="494"/>
                    <a:pt x="248" y="494"/>
                  </a:cubicBezTo>
                  <a:cubicBezTo>
                    <a:pt x="251" y="494"/>
                    <a:pt x="255" y="494"/>
                    <a:pt x="259" y="494"/>
                  </a:cubicBezTo>
                  <a:cubicBezTo>
                    <a:pt x="359" y="578"/>
                    <a:pt x="359" y="578"/>
                    <a:pt x="359" y="578"/>
                  </a:cubicBezTo>
                  <a:cubicBezTo>
                    <a:pt x="369" y="462"/>
                    <a:pt x="369" y="462"/>
                    <a:pt x="369" y="462"/>
                  </a:cubicBezTo>
                  <a:cubicBezTo>
                    <a:pt x="444" y="419"/>
                    <a:pt x="495" y="339"/>
                    <a:pt x="495" y="24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69" name="Freeform 83">
              <a:extLst>
                <a:ext uri="{FF2B5EF4-FFF2-40B4-BE49-F238E27FC236}">
                  <a16:creationId xmlns:a16="http://schemas.microsoft.com/office/drawing/2014/main" id="{6A9949FA-F589-6442-8A57-D8B6115C4691}"/>
                </a:ext>
              </a:extLst>
            </p:cNvPr>
            <p:cNvSpPr>
              <a:spLocks/>
            </p:cNvSpPr>
            <p:nvPr/>
          </p:nvSpPr>
          <p:spPr bwMode="auto">
            <a:xfrm>
              <a:off x="4976205" y="3169497"/>
              <a:ext cx="1033325" cy="1075304"/>
            </a:xfrm>
            <a:custGeom>
              <a:avLst/>
              <a:gdLst>
                <a:gd name="T0" fmla="*/ 675 w 710"/>
                <a:gd name="T1" fmla="*/ 271 h 740"/>
                <a:gd name="T2" fmla="*/ 270 w 710"/>
                <a:gd name="T3" fmla="*/ 52 h 740"/>
                <a:gd name="T4" fmla="*/ 52 w 710"/>
                <a:gd name="T5" fmla="*/ 457 h 740"/>
                <a:gd name="T6" fmla="*/ 456 w 710"/>
                <a:gd name="T7" fmla="*/ 676 h 740"/>
                <a:gd name="T8" fmla="*/ 471 w 710"/>
                <a:gd name="T9" fmla="*/ 671 h 740"/>
                <a:gd name="T10" fmla="*/ 628 w 710"/>
                <a:gd name="T11" fmla="*/ 740 h 740"/>
                <a:gd name="T12" fmla="*/ 598 w 710"/>
                <a:gd name="T13" fmla="*/ 589 h 740"/>
                <a:gd name="T14" fmla="*/ 675 w 710"/>
                <a:gd name="T15" fmla="*/ 271 h 7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0" h="740">
                  <a:moveTo>
                    <a:pt x="675" y="271"/>
                  </a:moveTo>
                  <a:cubicBezTo>
                    <a:pt x="624" y="98"/>
                    <a:pt x="443" y="0"/>
                    <a:pt x="270" y="52"/>
                  </a:cubicBezTo>
                  <a:cubicBezTo>
                    <a:pt x="98" y="103"/>
                    <a:pt x="0" y="285"/>
                    <a:pt x="52" y="457"/>
                  </a:cubicBezTo>
                  <a:cubicBezTo>
                    <a:pt x="103" y="629"/>
                    <a:pt x="284" y="727"/>
                    <a:pt x="456" y="676"/>
                  </a:cubicBezTo>
                  <a:cubicBezTo>
                    <a:pt x="461" y="674"/>
                    <a:pt x="466" y="673"/>
                    <a:pt x="471" y="671"/>
                  </a:cubicBezTo>
                  <a:cubicBezTo>
                    <a:pt x="628" y="740"/>
                    <a:pt x="628" y="740"/>
                    <a:pt x="628" y="740"/>
                  </a:cubicBezTo>
                  <a:cubicBezTo>
                    <a:pt x="598" y="589"/>
                    <a:pt x="598" y="589"/>
                    <a:pt x="598" y="589"/>
                  </a:cubicBezTo>
                  <a:cubicBezTo>
                    <a:pt x="676" y="508"/>
                    <a:pt x="710" y="387"/>
                    <a:pt x="675" y="271"/>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70" name="Freeform 85">
              <a:extLst>
                <a:ext uri="{FF2B5EF4-FFF2-40B4-BE49-F238E27FC236}">
                  <a16:creationId xmlns:a16="http://schemas.microsoft.com/office/drawing/2014/main" id="{F7DD0B59-D55E-69D4-0F0D-B8E49287FF79}"/>
                </a:ext>
              </a:extLst>
            </p:cNvPr>
            <p:cNvSpPr>
              <a:spLocks/>
            </p:cNvSpPr>
            <p:nvPr/>
          </p:nvSpPr>
          <p:spPr bwMode="auto">
            <a:xfrm>
              <a:off x="6866328" y="2825056"/>
              <a:ext cx="1206623" cy="1290580"/>
            </a:xfrm>
            <a:custGeom>
              <a:avLst/>
              <a:gdLst>
                <a:gd name="T0" fmla="*/ 492 w 830"/>
                <a:gd name="T1" fmla="*/ 46 h 888"/>
                <a:gd name="T2" fmla="*/ 32 w 830"/>
                <a:gd name="T3" fmla="*/ 338 h 888"/>
                <a:gd name="T4" fmla="*/ 149 w 830"/>
                <a:gd name="T5" fmla="*/ 708 h 888"/>
                <a:gd name="T6" fmla="*/ 126 w 830"/>
                <a:gd name="T7" fmla="*/ 888 h 888"/>
                <a:gd name="T8" fmla="*/ 306 w 830"/>
                <a:gd name="T9" fmla="*/ 793 h 888"/>
                <a:gd name="T10" fmla="*/ 323 w 830"/>
                <a:gd name="T11" fmla="*/ 798 h 888"/>
                <a:gd name="T12" fmla="*/ 783 w 830"/>
                <a:gd name="T13" fmla="*/ 506 h 888"/>
                <a:gd name="T14" fmla="*/ 492 w 830"/>
                <a:gd name="T15" fmla="*/ 46 h 8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30" h="888">
                  <a:moveTo>
                    <a:pt x="492" y="46"/>
                  </a:moveTo>
                  <a:cubicBezTo>
                    <a:pt x="284" y="0"/>
                    <a:pt x="78" y="130"/>
                    <a:pt x="32" y="338"/>
                  </a:cubicBezTo>
                  <a:cubicBezTo>
                    <a:pt x="0" y="478"/>
                    <a:pt x="50" y="618"/>
                    <a:pt x="149" y="708"/>
                  </a:cubicBezTo>
                  <a:cubicBezTo>
                    <a:pt x="126" y="888"/>
                    <a:pt x="126" y="888"/>
                    <a:pt x="126" y="888"/>
                  </a:cubicBezTo>
                  <a:cubicBezTo>
                    <a:pt x="306" y="793"/>
                    <a:pt x="306" y="793"/>
                    <a:pt x="306" y="793"/>
                  </a:cubicBezTo>
                  <a:cubicBezTo>
                    <a:pt x="312" y="795"/>
                    <a:pt x="317" y="796"/>
                    <a:pt x="323" y="798"/>
                  </a:cubicBezTo>
                  <a:cubicBezTo>
                    <a:pt x="531" y="844"/>
                    <a:pt x="737" y="714"/>
                    <a:pt x="783" y="506"/>
                  </a:cubicBezTo>
                  <a:cubicBezTo>
                    <a:pt x="830" y="299"/>
                    <a:pt x="699" y="93"/>
                    <a:pt x="492" y="46"/>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grpSp>
          <p:nvGrpSpPr>
            <p:cNvPr id="71" name="Group 70">
              <a:extLst>
                <a:ext uri="{FF2B5EF4-FFF2-40B4-BE49-F238E27FC236}">
                  <a16:creationId xmlns:a16="http://schemas.microsoft.com/office/drawing/2014/main" id="{47FF98D9-1BA7-4765-722D-95E5BFAA165B}"/>
                </a:ext>
              </a:extLst>
            </p:cNvPr>
            <p:cNvGrpSpPr/>
            <p:nvPr/>
          </p:nvGrpSpPr>
          <p:grpSpPr>
            <a:xfrm>
              <a:off x="5257140" y="3489182"/>
              <a:ext cx="529579" cy="406871"/>
              <a:chOff x="5257140" y="3489182"/>
              <a:chExt cx="529579" cy="406871"/>
            </a:xfrm>
            <a:solidFill>
              <a:schemeClr val="bg1"/>
            </a:solidFill>
          </p:grpSpPr>
          <p:sp>
            <p:nvSpPr>
              <p:cNvPr id="121" name="Freeform 86">
                <a:extLst>
                  <a:ext uri="{FF2B5EF4-FFF2-40B4-BE49-F238E27FC236}">
                    <a16:creationId xmlns:a16="http://schemas.microsoft.com/office/drawing/2014/main" id="{100FA4A8-3F21-BE54-6E6B-9D1BC6359B02}"/>
                  </a:ext>
                </a:extLst>
              </p:cNvPr>
              <p:cNvSpPr>
                <a:spLocks noEditPoints="1"/>
              </p:cNvSpPr>
              <p:nvPr/>
            </p:nvSpPr>
            <p:spPr bwMode="auto">
              <a:xfrm>
                <a:off x="5335716" y="3489182"/>
                <a:ext cx="372428" cy="273401"/>
              </a:xfrm>
              <a:custGeom>
                <a:avLst/>
                <a:gdLst>
                  <a:gd name="T0" fmla="*/ 256 w 256"/>
                  <a:gd name="T1" fmla="*/ 7 h 188"/>
                  <a:gd name="T2" fmla="*/ 249 w 256"/>
                  <a:gd name="T3" fmla="*/ 0 h 188"/>
                  <a:gd name="T4" fmla="*/ 7 w 256"/>
                  <a:gd name="T5" fmla="*/ 0 h 188"/>
                  <a:gd name="T6" fmla="*/ 0 w 256"/>
                  <a:gd name="T7" fmla="*/ 7 h 188"/>
                  <a:gd name="T8" fmla="*/ 0 w 256"/>
                  <a:gd name="T9" fmla="*/ 181 h 188"/>
                  <a:gd name="T10" fmla="*/ 7 w 256"/>
                  <a:gd name="T11" fmla="*/ 188 h 188"/>
                  <a:gd name="T12" fmla="*/ 249 w 256"/>
                  <a:gd name="T13" fmla="*/ 188 h 188"/>
                  <a:gd name="T14" fmla="*/ 256 w 256"/>
                  <a:gd name="T15" fmla="*/ 181 h 188"/>
                  <a:gd name="T16" fmla="*/ 256 w 256"/>
                  <a:gd name="T17" fmla="*/ 7 h 188"/>
                  <a:gd name="T18" fmla="*/ 219 w 256"/>
                  <a:gd name="T19" fmla="*/ 155 h 188"/>
                  <a:gd name="T20" fmla="*/ 214 w 256"/>
                  <a:gd name="T21" fmla="*/ 160 h 188"/>
                  <a:gd name="T22" fmla="*/ 37 w 256"/>
                  <a:gd name="T23" fmla="*/ 160 h 188"/>
                  <a:gd name="T24" fmla="*/ 32 w 256"/>
                  <a:gd name="T25" fmla="*/ 155 h 188"/>
                  <a:gd name="T26" fmla="*/ 32 w 256"/>
                  <a:gd name="T27" fmla="*/ 29 h 188"/>
                  <a:gd name="T28" fmla="*/ 37 w 256"/>
                  <a:gd name="T29" fmla="*/ 24 h 188"/>
                  <a:gd name="T30" fmla="*/ 214 w 256"/>
                  <a:gd name="T31" fmla="*/ 24 h 188"/>
                  <a:gd name="T32" fmla="*/ 219 w 256"/>
                  <a:gd name="T33" fmla="*/ 29 h 188"/>
                  <a:gd name="T34" fmla="*/ 219 w 256"/>
                  <a:gd name="T35" fmla="*/ 155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6" h="188">
                    <a:moveTo>
                      <a:pt x="256" y="7"/>
                    </a:moveTo>
                    <a:cubicBezTo>
                      <a:pt x="256" y="3"/>
                      <a:pt x="253" y="0"/>
                      <a:pt x="249" y="0"/>
                    </a:cubicBezTo>
                    <a:cubicBezTo>
                      <a:pt x="7" y="0"/>
                      <a:pt x="7" y="0"/>
                      <a:pt x="7" y="0"/>
                    </a:cubicBezTo>
                    <a:cubicBezTo>
                      <a:pt x="3" y="0"/>
                      <a:pt x="0" y="3"/>
                      <a:pt x="0" y="7"/>
                    </a:cubicBezTo>
                    <a:cubicBezTo>
                      <a:pt x="0" y="181"/>
                      <a:pt x="0" y="181"/>
                      <a:pt x="0" y="181"/>
                    </a:cubicBezTo>
                    <a:cubicBezTo>
                      <a:pt x="0" y="185"/>
                      <a:pt x="3" y="188"/>
                      <a:pt x="7" y="188"/>
                    </a:cubicBezTo>
                    <a:cubicBezTo>
                      <a:pt x="249" y="188"/>
                      <a:pt x="249" y="188"/>
                      <a:pt x="249" y="188"/>
                    </a:cubicBezTo>
                    <a:cubicBezTo>
                      <a:pt x="253" y="188"/>
                      <a:pt x="256" y="185"/>
                      <a:pt x="256" y="181"/>
                    </a:cubicBezTo>
                    <a:lnTo>
                      <a:pt x="256" y="7"/>
                    </a:lnTo>
                    <a:close/>
                    <a:moveTo>
                      <a:pt x="219" y="155"/>
                    </a:moveTo>
                    <a:cubicBezTo>
                      <a:pt x="219" y="158"/>
                      <a:pt x="217" y="160"/>
                      <a:pt x="214" y="160"/>
                    </a:cubicBezTo>
                    <a:cubicBezTo>
                      <a:pt x="37" y="160"/>
                      <a:pt x="37" y="160"/>
                      <a:pt x="37" y="160"/>
                    </a:cubicBezTo>
                    <a:cubicBezTo>
                      <a:pt x="34" y="160"/>
                      <a:pt x="32" y="158"/>
                      <a:pt x="32" y="155"/>
                    </a:cubicBezTo>
                    <a:cubicBezTo>
                      <a:pt x="32" y="29"/>
                      <a:pt x="32" y="29"/>
                      <a:pt x="32" y="29"/>
                    </a:cubicBezTo>
                    <a:cubicBezTo>
                      <a:pt x="32" y="26"/>
                      <a:pt x="34" y="24"/>
                      <a:pt x="37" y="24"/>
                    </a:cubicBezTo>
                    <a:cubicBezTo>
                      <a:pt x="214" y="24"/>
                      <a:pt x="214" y="24"/>
                      <a:pt x="214" y="24"/>
                    </a:cubicBezTo>
                    <a:cubicBezTo>
                      <a:pt x="217" y="24"/>
                      <a:pt x="219" y="26"/>
                      <a:pt x="219" y="29"/>
                    </a:cubicBezTo>
                    <a:lnTo>
                      <a:pt x="219" y="1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22" name="Freeform 87">
                <a:extLst>
                  <a:ext uri="{FF2B5EF4-FFF2-40B4-BE49-F238E27FC236}">
                    <a16:creationId xmlns:a16="http://schemas.microsoft.com/office/drawing/2014/main" id="{0E361B7B-0E4D-8753-5D1A-23101F6645E1}"/>
                  </a:ext>
                </a:extLst>
              </p:cNvPr>
              <p:cNvSpPr>
                <a:spLocks noEditPoints="1"/>
              </p:cNvSpPr>
              <p:nvPr/>
            </p:nvSpPr>
            <p:spPr bwMode="auto">
              <a:xfrm>
                <a:off x="5257140" y="3779804"/>
                <a:ext cx="529579" cy="116249"/>
              </a:xfrm>
              <a:custGeom>
                <a:avLst/>
                <a:gdLst>
                  <a:gd name="T0" fmla="*/ 317 w 364"/>
                  <a:gd name="T1" fmla="*/ 7 h 80"/>
                  <a:gd name="T2" fmla="*/ 310 w 364"/>
                  <a:gd name="T3" fmla="*/ 0 h 80"/>
                  <a:gd name="T4" fmla="*/ 54 w 364"/>
                  <a:gd name="T5" fmla="*/ 0 h 80"/>
                  <a:gd name="T6" fmla="*/ 47 w 364"/>
                  <a:gd name="T7" fmla="*/ 7 h 80"/>
                  <a:gd name="T8" fmla="*/ 0 w 364"/>
                  <a:gd name="T9" fmla="*/ 74 h 80"/>
                  <a:gd name="T10" fmla="*/ 7 w 364"/>
                  <a:gd name="T11" fmla="*/ 80 h 80"/>
                  <a:gd name="T12" fmla="*/ 357 w 364"/>
                  <a:gd name="T13" fmla="*/ 80 h 80"/>
                  <a:gd name="T14" fmla="*/ 364 w 364"/>
                  <a:gd name="T15" fmla="*/ 74 h 80"/>
                  <a:gd name="T16" fmla="*/ 317 w 364"/>
                  <a:gd name="T17" fmla="*/ 7 h 80"/>
                  <a:gd name="T18" fmla="*/ 162 w 364"/>
                  <a:gd name="T19" fmla="*/ 75 h 80"/>
                  <a:gd name="T20" fmla="*/ 162 w 364"/>
                  <a:gd name="T21" fmla="*/ 60 h 80"/>
                  <a:gd name="T22" fmla="*/ 203 w 364"/>
                  <a:gd name="T23" fmla="*/ 60 h 80"/>
                  <a:gd name="T24" fmla="*/ 205 w 364"/>
                  <a:gd name="T25" fmla="*/ 74 h 80"/>
                  <a:gd name="T26" fmla="*/ 162 w 364"/>
                  <a:gd name="T27" fmla="*/ 75 h 80"/>
                  <a:gd name="T28" fmla="*/ 322 w 364"/>
                  <a:gd name="T29" fmla="*/ 56 h 80"/>
                  <a:gd name="T30" fmla="*/ 46 w 364"/>
                  <a:gd name="T31" fmla="*/ 56 h 80"/>
                  <a:gd name="T32" fmla="*/ 41 w 364"/>
                  <a:gd name="T33" fmla="*/ 52 h 80"/>
                  <a:gd name="T34" fmla="*/ 60 w 364"/>
                  <a:gd name="T35" fmla="*/ 12 h 80"/>
                  <a:gd name="T36" fmla="*/ 65 w 364"/>
                  <a:gd name="T37" fmla="*/ 8 h 80"/>
                  <a:gd name="T38" fmla="*/ 299 w 364"/>
                  <a:gd name="T39" fmla="*/ 8 h 80"/>
                  <a:gd name="T40" fmla="*/ 304 w 364"/>
                  <a:gd name="T41" fmla="*/ 11 h 80"/>
                  <a:gd name="T42" fmla="*/ 328 w 364"/>
                  <a:gd name="T43" fmla="*/ 52 h 80"/>
                  <a:gd name="T44" fmla="*/ 322 w 364"/>
                  <a:gd name="T45" fmla="*/ 56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4" h="80">
                    <a:moveTo>
                      <a:pt x="317" y="7"/>
                    </a:moveTo>
                    <a:cubicBezTo>
                      <a:pt x="317" y="3"/>
                      <a:pt x="314" y="0"/>
                      <a:pt x="310" y="0"/>
                    </a:cubicBezTo>
                    <a:cubicBezTo>
                      <a:pt x="54" y="0"/>
                      <a:pt x="54" y="0"/>
                      <a:pt x="54" y="0"/>
                    </a:cubicBezTo>
                    <a:cubicBezTo>
                      <a:pt x="50" y="0"/>
                      <a:pt x="47" y="3"/>
                      <a:pt x="47" y="7"/>
                    </a:cubicBezTo>
                    <a:cubicBezTo>
                      <a:pt x="0" y="74"/>
                      <a:pt x="0" y="74"/>
                      <a:pt x="0" y="74"/>
                    </a:cubicBezTo>
                    <a:cubicBezTo>
                      <a:pt x="0" y="78"/>
                      <a:pt x="3" y="80"/>
                      <a:pt x="7" y="80"/>
                    </a:cubicBezTo>
                    <a:cubicBezTo>
                      <a:pt x="357" y="80"/>
                      <a:pt x="357" y="80"/>
                      <a:pt x="357" y="80"/>
                    </a:cubicBezTo>
                    <a:cubicBezTo>
                      <a:pt x="361" y="80"/>
                      <a:pt x="364" y="78"/>
                      <a:pt x="364" y="74"/>
                    </a:cubicBezTo>
                    <a:lnTo>
                      <a:pt x="317" y="7"/>
                    </a:lnTo>
                    <a:close/>
                    <a:moveTo>
                      <a:pt x="162" y="75"/>
                    </a:moveTo>
                    <a:cubicBezTo>
                      <a:pt x="162" y="60"/>
                      <a:pt x="162" y="60"/>
                      <a:pt x="162" y="60"/>
                    </a:cubicBezTo>
                    <a:cubicBezTo>
                      <a:pt x="203" y="60"/>
                      <a:pt x="203" y="60"/>
                      <a:pt x="203" y="60"/>
                    </a:cubicBezTo>
                    <a:cubicBezTo>
                      <a:pt x="205" y="74"/>
                      <a:pt x="205" y="74"/>
                      <a:pt x="205" y="74"/>
                    </a:cubicBezTo>
                    <a:lnTo>
                      <a:pt x="162" y="75"/>
                    </a:lnTo>
                    <a:close/>
                    <a:moveTo>
                      <a:pt x="322" y="56"/>
                    </a:moveTo>
                    <a:cubicBezTo>
                      <a:pt x="46" y="56"/>
                      <a:pt x="46" y="56"/>
                      <a:pt x="46" y="56"/>
                    </a:cubicBezTo>
                    <a:cubicBezTo>
                      <a:pt x="43" y="56"/>
                      <a:pt x="41" y="54"/>
                      <a:pt x="41" y="52"/>
                    </a:cubicBezTo>
                    <a:cubicBezTo>
                      <a:pt x="60" y="12"/>
                      <a:pt x="60" y="12"/>
                      <a:pt x="60" y="12"/>
                    </a:cubicBezTo>
                    <a:cubicBezTo>
                      <a:pt x="60" y="10"/>
                      <a:pt x="62" y="8"/>
                      <a:pt x="65" y="8"/>
                    </a:cubicBezTo>
                    <a:cubicBezTo>
                      <a:pt x="299" y="8"/>
                      <a:pt x="299" y="8"/>
                      <a:pt x="299" y="8"/>
                    </a:cubicBezTo>
                    <a:cubicBezTo>
                      <a:pt x="301" y="8"/>
                      <a:pt x="304" y="9"/>
                      <a:pt x="304" y="11"/>
                    </a:cubicBezTo>
                    <a:cubicBezTo>
                      <a:pt x="328" y="52"/>
                      <a:pt x="328" y="52"/>
                      <a:pt x="328" y="52"/>
                    </a:cubicBezTo>
                    <a:cubicBezTo>
                      <a:pt x="328" y="54"/>
                      <a:pt x="325" y="56"/>
                      <a:pt x="322"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grpSp>
        <p:grpSp>
          <p:nvGrpSpPr>
            <p:cNvPr id="72" name="Group 71">
              <a:extLst>
                <a:ext uri="{FF2B5EF4-FFF2-40B4-BE49-F238E27FC236}">
                  <a16:creationId xmlns:a16="http://schemas.microsoft.com/office/drawing/2014/main" id="{4A3B3C3B-0E72-6F13-8E13-B515835B9F82}"/>
                </a:ext>
              </a:extLst>
            </p:cNvPr>
            <p:cNvGrpSpPr/>
            <p:nvPr/>
          </p:nvGrpSpPr>
          <p:grpSpPr>
            <a:xfrm>
              <a:off x="5411062" y="4510667"/>
              <a:ext cx="189443" cy="354129"/>
              <a:chOff x="5411062" y="4510667"/>
              <a:chExt cx="189443" cy="354129"/>
            </a:xfrm>
            <a:solidFill>
              <a:schemeClr val="bg1"/>
            </a:solidFill>
          </p:grpSpPr>
          <p:sp>
            <p:nvSpPr>
              <p:cNvPr id="115" name="Freeform 88">
                <a:extLst>
                  <a:ext uri="{FF2B5EF4-FFF2-40B4-BE49-F238E27FC236}">
                    <a16:creationId xmlns:a16="http://schemas.microsoft.com/office/drawing/2014/main" id="{033FDE5F-FD97-9CD1-DC25-67912ED16AB8}"/>
                  </a:ext>
                </a:extLst>
              </p:cNvPr>
              <p:cNvSpPr>
                <a:spLocks/>
              </p:cNvSpPr>
              <p:nvPr/>
            </p:nvSpPr>
            <p:spPr bwMode="auto">
              <a:xfrm>
                <a:off x="5413215" y="4510667"/>
                <a:ext cx="187290" cy="354129"/>
              </a:xfrm>
              <a:custGeom>
                <a:avLst/>
                <a:gdLst>
                  <a:gd name="T0" fmla="*/ 8 w 129"/>
                  <a:gd name="T1" fmla="*/ 244 h 244"/>
                  <a:gd name="T2" fmla="*/ 8 w 129"/>
                  <a:gd name="T3" fmla="*/ 244 h 244"/>
                  <a:gd name="T4" fmla="*/ 0 w 129"/>
                  <a:gd name="T5" fmla="*/ 236 h 244"/>
                  <a:gd name="T6" fmla="*/ 67 w 129"/>
                  <a:gd name="T7" fmla="*/ 163 h 244"/>
                  <a:gd name="T8" fmla="*/ 112 w 129"/>
                  <a:gd name="T9" fmla="*/ 119 h 244"/>
                  <a:gd name="T10" fmla="*/ 64 w 129"/>
                  <a:gd name="T11" fmla="*/ 75 h 244"/>
                  <a:gd name="T12" fmla="*/ 3 w 129"/>
                  <a:gd name="T13" fmla="*/ 7 h 244"/>
                  <a:gd name="T14" fmla="*/ 12 w 129"/>
                  <a:gd name="T15" fmla="*/ 0 h 244"/>
                  <a:gd name="T16" fmla="*/ 19 w 129"/>
                  <a:gd name="T17" fmla="*/ 9 h 244"/>
                  <a:gd name="T18" fmla="*/ 71 w 129"/>
                  <a:gd name="T19" fmla="*/ 61 h 244"/>
                  <a:gd name="T20" fmla="*/ 127 w 129"/>
                  <a:gd name="T21" fmla="*/ 119 h 244"/>
                  <a:gd name="T22" fmla="*/ 72 w 129"/>
                  <a:gd name="T23" fmla="*/ 178 h 244"/>
                  <a:gd name="T24" fmla="*/ 16 w 129"/>
                  <a:gd name="T25" fmla="*/ 237 h 244"/>
                  <a:gd name="T26" fmla="*/ 8 w 129"/>
                  <a:gd name="T27" fmla="*/ 2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9" h="244">
                    <a:moveTo>
                      <a:pt x="8" y="244"/>
                    </a:moveTo>
                    <a:cubicBezTo>
                      <a:pt x="8" y="244"/>
                      <a:pt x="8" y="244"/>
                      <a:pt x="8" y="244"/>
                    </a:cubicBezTo>
                    <a:cubicBezTo>
                      <a:pt x="3" y="244"/>
                      <a:pt x="0" y="240"/>
                      <a:pt x="0" y="236"/>
                    </a:cubicBezTo>
                    <a:cubicBezTo>
                      <a:pt x="4" y="186"/>
                      <a:pt x="39" y="174"/>
                      <a:pt x="67" y="163"/>
                    </a:cubicBezTo>
                    <a:cubicBezTo>
                      <a:pt x="95" y="153"/>
                      <a:pt x="112" y="146"/>
                      <a:pt x="112" y="119"/>
                    </a:cubicBezTo>
                    <a:cubicBezTo>
                      <a:pt x="113" y="98"/>
                      <a:pt x="94" y="88"/>
                      <a:pt x="64" y="75"/>
                    </a:cubicBezTo>
                    <a:cubicBezTo>
                      <a:pt x="34" y="63"/>
                      <a:pt x="0" y="48"/>
                      <a:pt x="3" y="7"/>
                    </a:cubicBezTo>
                    <a:cubicBezTo>
                      <a:pt x="4" y="3"/>
                      <a:pt x="8" y="0"/>
                      <a:pt x="12" y="0"/>
                    </a:cubicBezTo>
                    <a:cubicBezTo>
                      <a:pt x="16" y="0"/>
                      <a:pt x="20" y="4"/>
                      <a:pt x="19" y="9"/>
                    </a:cubicBezTo>
                    <a:cubicBezTo>
                      <a:pt x="17" y="36"/>
                      <a:pt x="37" y="46"/>
                      <a:pt x="71" y="61"/>
                    </a:cubicBezTo>
                    <a:cubicBezTo>
                      <a:pt x="98" y="73"/>
                      <a:pt x="129" y="86"/>
                      <a:pt x="127" y="119"/>
                    </a:cubicBezTo>
                    <a:cubicBezTo>
                      <a:pt x="127" y="158"/>
                      <a:pt x="98" y="169"/>
                      <a:pt x="72" y="178"/>
                    </a:cubicBezTo>
                    <a:cubicBezTo>
                      <a:pt x="45" y="188"/>
                      <a:pt x="19" y="198"/>
                      <a:pt x="16" y="237"/>
                    </a:cubicBezTo>
                    <a:cubicBezTo>
                      <a:pt x="16" y="241"/>
                      <a:pt x="12" y="244"/>
                      <a:pt x="8" y="2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16" name="Freeform 89">
                <a:extLst>
                  <a:ext uri="{FF2B5EF4-FFF2-40B4-BE49-F238E27FC236}">
                    <a16:creationId xmlns:a16="http://schemas.microsoft.com/office/drawing/2014/main" id="{A6D33579-B5E1-29B7-1E9B-CB0DB2882362}"/>
                  </a:ext>
                </a:extLst>
              </p:cNvPr>
              <p:cNvSpPr>
                <a:spLocks/>
              </p:cNvSpPr>
              <p:nvPr/>
            </p:nvSpPr>
            <p:spPr bwMode="auto">
              <a:xfrm>
                <a:off x="5411062" y="4510667"/>
                <a:ext cx="188367" cy="354129"/>
              </a:xfrm>
              <a:custGeom>
                <a:avLst/>
                <a:gdLst>
                  <a:gd name="T0" fmla="*/ 121 w 129"/>
                  <a:gd name="T1" fmla="*/ 244 h 244"/>
                  <a:gd name="T2" fmla="*/ 113 w 129"/>
                  <a:gd name="T3" fmla="*/ 237 h 244"/>
                  <a:gd name="T4" fmla="*/ 57 w 129"/>
                  <a:gd name="T5" fmla="*/ 178 h 244"/>
                  <a:gd name="T6" fmla="*/ 1 w 129"/>
                  <a:gd name="T7" fmla="*/ 119 h 244"/>
                  <a:gd name="T8" fmla="*/ 58 w 129"/>
                  <a:gd name="T9" fmla="*/ 61 h 244"/>
                  <a:gd name="T10" fmla="*/ 110 w 129"/>
                  <a:gd name="T11" fmla="*/ 9 h 244"/>
                  <a:gd name="T12" fmla="*/ 117 w 129"/>
                  <a:gd name="T13" fmla="*/ 0 h 244"/>
                  <a:gd name="T14" fmla="*/ 126 w 129"/>
                  <a:gd name="T15" fmla="*/ 7 h 244"/>
                  <a:gd name="T16" fmla="*/ 64 w 129"/>
                  <a:gd name="T17" fmla="*/ 75 h 244"/>
                  <a:gd name="T18" fmla="*/ 17 w 129"/>
                  <a:gd name="T19" fmla="*/ 119 h 244"/>
                  <a:gd name="T20" fmla="*/ 62 w 129"/>
                  <a:gd name="T21" fmla="*/ 163 h 244"/>
                  <a:gd name="T22" fmla="*/ 129 w 129"/>
                  <a:gd name="T23" fmla="*/ 236 h 244"/>
                  <a:gd name="T24" fmla="*/ 121 w 129"/>
                  <a:gd name="T25" fmla="*/ 2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9" h="244">
                    <a:moveTo>
                      <a:pt x="121" y="244"/>
                    </a:moveTo>
                    <a:cubicBezTo>
                      <a:pt x="116" y="244"/>
                      <a:pt x="113" y="241"/>
                      <a:pt x="113" y="237"/>
                    </a:cubicBezTo>
                    <a:cubicBezTo>
                      <a:pt x="110" y="198"/>
                      <a:pt x="84" y="188"/>
                      <a:pt x="57" y="178"/>
                    </a:cubicBezTo>
                    <a:cubicBezTo>
                      <a:pt x="31" y="169"/>
                      <a:pt x="1" y="158"/>
                      <a:pt x="1" y="119"/>
                    </a:cubicBezTo>
                    <a:cubicBezTo>
                      <a:pt x="0" y="86"/>
                      <a:pt x="31" y="73"/>
                      <a:pt x="58" y="61"/>
                    </a:cubicBezTo>
                    <a:cubicBezTo>
                      <a:pt x="92" y="46"/>
                      <a:pt x="112" y="36"/>
                      <a:pt x="110" y="9"/>
                    </a:cubicBezTo>
                    <a:cubicBezTo>
                      <a:pt x="109" y="4"/>
                      <a:pt x="113" y="0"/>
                      <a:pt x="117" y="0"/>
                    </a:cubicBezTo>
                    <a:cubicBezTo>
                      <a:pt x="121" y="0"/>
                      <a:pt x="125" y="3"/>
                      <a:pt x="126" y="7"/>
                    </a:cubicBezTo>
                    <a:cubicBezTo>
                      <a:pt x="129" y="48"/>
                      <a:pt x="95" y="63"/>
                      <a:pt x="64" y="75"/>
                    </a:cubicBezTo>
                    <a:cubicBezTo>
                      <a:pt x="34" y="88"/>
                      <a:pt x="16" y="98"/>
                      <a:pt x="17" y="119"/>
                    </a:cubicBezTo>
                    <a:cubicBezTo>
                      <a:pt x="17" y="146"/>
                      <a:pt x="34" y="153"/>
                      <a:pt x="62" y="163"/>
                    </a:cubicBezTo>
                    <a:cubicBezTo>
                      <a:pt x="90" y="174"/>
                      <a:pt x="125" y="186"/>
                      <a:pt x="129" y="236"/>
                    </a:cubicBezTo>
                    <a:cubicBezTo>
                      <a:pt x="129" y="240"/>
                      <a:pt x="126" y="244"/>
                      <a:pt x="121" y="2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17" name="Freeform 90">
                <a:extLst>
                  <a:ext uri="{FF2B5EF4-FFF2-40B4-BE49-F238E27FC236}">
                    <a16:creationId xmlns:a16="http://schemas.microsoft.com/office/drawing/2014/main" id="{2018EDC2-2983-259C-E1E7-05388005987F}"/>
                  </a:ext>
                </a:extLst>
              </p:cNvPr>
              <p:cNvSpPr>
                <a:spLocks/>
              </p:cNvSpPr>
              <p:nvPr/>
            </p:nvSpPr>
            <p:spPr bwMode="auto">
              <a:xfrm>
                <a:off x="5455194" y="4535423"/>
                <a:ext cx="105485" cy="17222"/>
              </a:xfrm>
              <a:custGeom>
                <a:avLst/>
                <a:gdLst>
                  <a:gd name="T0" fmla="*/ 68 w 73"/>
                  <a:gd name="T1" fmla="*/ 12 h 12"/>
                  <a:gd name="T2" fmla="*/ 5 w 73"/>
                  <a:gd name="T3" fmla="*/ 12 h 12"/>
                  <a:gd name="T4" fmla="*/ 0 w 73"/>
                  <a:gd name="T5" fmla="*/ 6 h 12"/>
                  <a:gd name="T6" fmla="*/ 5 w 73"/>
                  <a:gd name="T7" fmla="*/ 0 h 12"/>
                  <a:gd name="T8" fmla="*/ 68 w 73"/>
                  <a:gd name="T9" fmla="*/ 0 h 12"/>
                  <a:gd name="T10" fmla="*/ 73 w 73"/>
                  <a:gd name="T11" fmla="*/ 6 h 12"/>
                  <a:gd name="T12" fmla="*/ 68 w 73"/>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3" h="12">
                    <a:moveTo>
                      <a:pt x="68" y="12"/>
                    </a:moveTo>
                    <a:cubicBezTo>
                      <a:pt x="5" y="12"/>
                      <a:pt x="5" y="12"/>
                      <a:pt x="5" y="12"/>
                    </a:cubicBezTo>
                    <a:cubicBezTo>
                      <a:pt x="2" y="12"/>
                      <a:pt x="0" y="9"/>
                      <a:pt x="0" y="6"/>
                    </a:cubicBezTo>
                    <a:cubicBezTo>
                      <a:pt x="0" y="3"/>
                      <a:pt x="2" y="0"/>
                      <a:pt x="5" y="0"/>
                    </a:cubicBezTo>
                    <a:cubicBezTo>
                      <a:pt x="68" y="0"/>
                      <a:pt x="68" y="0"/>
                      <a:pt x="68" y="0"/>
                    </a:cubicBezTo>
                    <a:cubicBezTo>
                      <a:pt x="71" y="0"/>
                      <a:pt x="73" y="3"/>
                      <a:pt x="73" y="6"/>
                    </a:cubicBezTo>
                    <a:cubicBezTo>
                      <a:pt x="73" y="9"/>
                      <a:pt x="71" y="12"/>
                      <a:pt x="6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18" name="Freeform 91">
                <a:extLst>
                  <a:ext uri="{FF2B5EF4-FFF2-40B4-BE49-F238E27FC236}">
                    <a16:creationId xmlns:a16="http://schemas.microsoft.com/office/drawing/2014/main" id="{FA43DBC2-6CA1-4AA0-F8FC-9066B55E6348}"/>
                  </a:ext>
                </a:extLst>
              </p:cNvPr>
              <p:cNvSpPr>
                <a:spLocks/>
              </p:cNvSpPr>
              <p:nvPr/>
            </p:nvSpPr>
            <p:spPr bwMode="auto">
              <a:xfrm>
                <a:off x="5455194" y="4819587"/>
                <a:ext cx="105485" cy="11841"/>
              </a:xfrm>
              <a:custGeom>
                <a:avLst/>
                <a:gdLst>
                  <a:gd name="T0" fmla="*/ 68 w 73"/>
                  <a:gd name="T1" fmla="*/ 8 h 8"/>
                  <a:gd name="T2" fmla="*/ 5 w 73"/>
                  <a:gd name="T3" fmla="*/ 8 h 8"/>
                  <a:gd name="T4" fmla="*/ 0 w 73"/>
                  <a:gd name="T5" fmla="*/ 4 h 8"/>
                  <a:gd name="T6" fmla="*/ 5 w 73"/>
                  <a:gd name="T7" fmla="*/ 0 h 8"/>
                  <a:gd name="T8" fmla="*/ 68 w 73"/>
                  <a:gd name="T9" fmla="*/ 0 h 8"/>
                  <a:gd name="T10" fmla="*/ 73 w 73"/>
                  <a:gd name="T11" fmla="*/ 4 h 8"/>
                  <a:gd name="T12" fmla="*/ 68 w 73"/>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73" h="8">
                    <a:moveTo>
                      <a:pt x="68" y="8"/>
                    </a:moveTo>
                    <a:cubicBezTo>
                      <a:pt x="5" y="8"/>
                      <a:pt x="5" y="8"/>
                      <a:pt x="5" y="8"/>
                    </a:cubicBezTo>
                    <a:cubicBezTo>
                      <a:pt x="2" y="8"/>
                      <a:pt x="0" y="7"/>
                      <a:pt x="0" y="4"/>
                    </a:cubicBezTo>
                    <a:cubicBezTo>
                      <a:pt x="0" y="1"/>
                      <a:pt x="2" y="0"/>
                      <a:pt x="5" y="0"/>
                    </a:cubicBezTo>
                    <a:cubicBezTo>
                      <a:pt x="68" y="0"/>
                      <a:pt x="68" y="0"/>
                      <a:pt x="68" y="0"/>
                    </a:cubicBezTo>
                    <a:cubicBezTo>
                      <a:pt x="71" y="0"/>
                      <a:pt x="73" y="1"/>
                      <a:pt x="73" y="4"/>
                    </a:cubicBezTo>
                    <a:cubicBezTo>
                      <a:pt x="73" y="7"/>
                      <a:pt x="71" y="8"/>
                      <a:pt x="68"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19" name="Freeform 92">
                <a:extLst>
                  <a:ext uri="{FF2B5EF4-FFF2-40B4-BE49-F238E27FC236}">
                    <a16:creationId xmlns:a16="http://schemas.microsoft.com/office/drawing/2014/main" id="{66676E73-AAB3-1C99-805D-B93A7E5D66F9}"/>
                  </a:ext>
                </a:extLst>
              </p:cNvPr>
              <p:cNvSpPr>
                <a:spLocks/>
              </p:cNvSpPr>
              <p:nvPr/>
            </p:nvSpPr>
            <p:spPr bwMode="auto">
              <a:xfrm>
                <a:off x="5455194" y="4651672"/>
                <a:ext cx="105485" cy="17222"/>
              </a:xfrm>
              <a:custGeom>
                <a:avLst/>
                <a:gdLst>
                  <a:gd name="T0" fmla="*/ 68 w 73"/>
                  <a:gd name="T1" fmla="*/ 12 h 12"/>
                  <a:gd name="T2" fmla="*/ 5 w 73"/>
                  <a:gd name="T3" fmla="*/ 12 h 12"/>
                  <a:gd name="T4" fmla="*/ 0 w 73"/>
                  <a:gd name="T5" fmla="*/ 6 h 12"/>
                  <a:gd name="T6" fmla="*/ 5 w 73"/>
                  <a:gd name="T7" fmla="*/ 0 h 12"/>
                  <a:gd name="T8" fmla="*/ 68 w 73"/>
                  <a:gd name="T9" fmla="*/ 0 h 12"/>
                  <a:gd name="T10" fmla="*/ 73 w 73"/>
                  <a:gd name="T11" fmla="*/ 6 h 12"/>
                  <a:gd name="T12" fmla="*/ 68 w 73"/>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3" h="12">
                    <a:moveTo>
                      <a:pt x="68" y="12"/>
                    </a:moveTo>
                    <a:cubicBezTo>
                      <a:pt x="5" y="12"/>
                      <a:pt x="5" y="12"/>
                      <a:pt x="5" y="12"/>
                    </a:cubicBezTo>
                    <a:cubicBezTo>
                      <a:pt x="2" y="12"/>
                      <a:pt x="0" y="9"/>
                      <a:pt x="0" y="6"/>
                    </a:cubicBezTo>
                    <a:cubicBezTo>
                      <a:pt x="0" y="3"/>
                      <a:pt x="2" y="0"/>
                      <a:pt x="5" y="0"/>
                    </a:cubicBezTo>
                    <a:cubicBezTo>
                      <a:pt x="68" y="0"/>
                      <a:pt x="68" y="0"/>
                      <a:pt x="68" y="0"/>
                    </a:cubicBezTo>
                    <a:cubicBezTo>
                      <a:pt x="71" y="0"/>
                      <a:pt x="73" y="3"/>
                      <a:pt x="73" y="6"/>
                    </a:cubicBezTo>
                    <a:cubicBezTo>
                      <a:pt x="73" y="9"/>
                      <a:pt x="71" y="12"/>
                      <a:pt x="6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20" name="Freeform 93">
                <a:extLst>
                  <a:ext uri="{FF2B5EF4-FFF2-40B4-BE49-F238E27FC236}">
                    <a16:creationId xmlns:a16="http://schemas.microsoft.com/office/drawing/2014/main" id="{60AC7E1E-3F6D-E645-DC3F-B2F2C3702797}"/>
                  </a:ext>
                </a:extLst>
              </p:cNvPr>
              <p:cNvSpPr>
                <a:spLocks/>
              </p:cNvSpPr>
              <p:nvPr/>
            </p:nvSpPr>
            <p:spPr bwMode="auto">
              <a:xfrm>
                <a:off x="5455194" y="4692575"/>
                <a:ext cx="105485" cy="17222"/>
              </a:xfrm>
              <a:custGeom>
                <a:avLst/>
                <a:gdLst>
                  <a:gd name="T0" fmla="*/ 68 w 73"/>
                  <a:gd name="T1" fmla="*/ 12 h 12"/>
                  <a:gd name="T2" fmla="*/ 5 w 73"/>
                  <a:gd name="T3" fmla="*/ 12 h 12"/>
                  <a:gd name="T4" fmla="*/ 0 w 73"/>
                  <a:gd name="T5" fmla="*/ 6 h 12"/>
                  <a:gd name="T6" fmla="*/ 5 w 73"/>
                  <a:gd name="T7" fmla="*/ 0 h 12"/>
                  <a:gd name="T8" fmla="*/ 68 w 73"/>
                  <a:gd name="T9" fmla="*/ 0 h 12"/>
                  <a:gd name="T10" fmla="*/ 73 w 73"/>
                  <a:gd name="T11" fmla="*/ 6 h 12"/>
                  <a:gd name="T12" fmla="*/ 68 w 73"/>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3" h="12">
                    <a:moveTo>
                      <a:pt x="68" y="12"/>
                    </a:moveTo>
                    <a:cubicBezTo>
                      <a:pt x="5" y="12"/>
                      <a:pt x="5" y="12"/>
                      <a:pt x="5" y="12"/>
                    </a:cubicBezTo>
                    <a:cubicBezTo>
                      <a:pt x="2" y="12"/>
                      <a:pt x="0" y="9"/>
                      <a:pt x="0" y="6"/>
                    </a:cubicBezTo>
                    <a:cubicBezTo>
                      <a:pt x="0" y="3"/>
                      <a:pt x="2" y="0"/>
                      <a:pt x="5" y="0"/>
                    </a:cubicBezTo>
                    <a:cubicBezTo>
                      <a:pt x="68" y="0"/>
                      <a:pt x="68" y="0"/>
                      <a:pt x="68" y="0"/>
                    </a:cubicBezTo>
                    <a:cubicBezTo>
                      <a:pt x="71" y="0"/>
                      <a:pt x="73" y="3"/>
                      <a:pt x="73" y="6"/>
                    </a:cubicBezTo>
                    <a:cubicBezTo>
                      <a:pt x="73" y="9"/>
                      <a:pt x="71" y="12"/>
                      <a:pt x="6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grpSp>
        <p:grpSp>
          <p:nvGrpSpPr>
            <p:cNvPr id="73" name="Group 72">
              <a:extLst>
                <a:ext uri="{FF2B5EF4-FFF2-40B4-BE49-F238E27FC236}">
                  <a16:creationId xmlns:a16="http://schemas.microsoft.com/office/drawing/2014/main" id="{25015C8C-EE9F-4847-42EA-B4DCFE14D987}"/>
                </a:ext>
              </a:extLst>
            </p:cNvPr>
            <p:cNvGrpSpPr/>
            <p:nvPr/>
          </p:nvGrpSpPr>
          <p:grpSpPr>
            <a:xfrm>
              <a:off x="7238756" y="3123212"/>
              <a:ext cx="451004" cy="622148"/>
              <a:chOff x="7238756" y="3123212"/>
              <a:chExt cx="451004" cy="622148"/>
            </a:xfrm>
            <a:solidFill>
              <a:schemeClr val="bg1"/>
            </a:solidFill>
          </p:grpSpPr>
          <p:sp>
            <p:nvSpPr>
              <p:cNvPr id="112" name="Freeform 94">
                <a:extLst>
                  <a:ext uri="{FF2B5EF4-FFF2-40B4-BE49-F238E27FC236}">
                    <a16:creationId xmlns:a16="http://schemas.microsoft.com/office/drawing/2014/main" id="{E2453E0E-1522-B0F4-BF74-BB5D46E0555E}"/>
                  </a:ext>
                </a:extLst>
              </p:cNvPr>
              <p:cNvSpPr>
                <a:spLocks/>
              </p:cNvSpPr>
              <p:nvPr/>
            </p:nvSpPr>
            <p:spPr bwMode="auto">
              <a:xfrm>
                <a:off x="7238756" y="3123212"/>
                <a:ext cx="451004" cy="622148"/>
              </a:xfrm>
              <a:custGeom>
                <a:avLst/>
                <a:gdLst>
                  <a:gd name="T0" fmla="*/ 200 w 310"/>
                  <a:gd name="T1" fmla="*/ 39 h 428"/>
                  <a:gd name="T2" fmla="*/ 205 w 310"/>
                  <a:gd name="T3" fmla="*/ 40 h 428"/>
                  <a:gd name="T4" fmla="*/ 215 w 310"/>
                  <a:gd name="T5" fmla="*/ 23 h 428"/>
                  <a:gd name="T6" fmla="*/ 206 w 310"/>
                  <a:gd name="T7" fmla="*/ 5 h 428"/>
                  <a:gd name="T8" fmla="*/ 196 w 310"/>
                  <a:gd name="T9" fmla="*/ 9 h 428"/>
                  <a:gd name="T10" fmla="*/ 123 w 310"/>
                  <a:gd name="T11" fmla="*/ 0 h 428"/>
                  <a:gd name="T12" fmla="*/ 97 w 310"/>
                  <a:gd name="T13" fmla="*/ 11 h 428"/>
                  <a:gd name="T14" fmla="*/ 104 w 310"/>
                  <a:gd name="T15" fmla="*/ 17 h 428"/>
                  <a:gd name="T16" fmla="*/ 99 w 310"/>
                  <a:gd name="T17" fmla="*/ 35 h 428"/>
                  <a:gd name="T18" fmla="*/ 120 w 310"/>
                  <a:gd name="T19" fmla="*/ 38 h 428"/>
                  <a:gd name="T20" fmla="*/ 120 w 310"/>
                  <a:gd name="T21" fmla="*/ 182 h 428"/>
                  <a:gd name="T22" fmla="*/ 13 w 310"/>
                  <a:gd name="T23" fmla="*/ 347 h 428"/>
                  <a:gd name="T24" fmla="*/ 3 w 310"/>
                  <a:gd name="T25" fmla="*/ 399 h 428"/>
                  <a:gd name="T26" fmla="*/ 89 w 310"/>
                  <a:gd name="T27" fmla="*/ 426 h 428"/>
                  <a:gd name="T28" fmla="*/ 286 w 310"/>
                  <a:gd name="T29" fmla="*/ 414 h 428"/>
                  <a:gd name="T30" fmla="*/ 310 w 310"/>
                  <a:gd name="T31" fmla="*/ 388 h 428"/>
                  <a:gd name="T32" fmla="*/ 199 w 310"/>
                  <a:gd name="T33" fmla="*/ 178 h 428"/>
                  <a:gd name="T34" fmla="*/ 192 w 310"/>
                  <a:gd name="T35" fmla="*/ 182 h 428"/>
                  <a:gd name="T36" fmla="*/ 284 w 310"/>
                  <a:gd name="T37" fmla="*/ 354 h 428"/>
                  <a:gd name="T38" fmla="*/ 293 w 310"/>
                  <a:gd name="T39" fmla="*/ 391 h 428"/>
                  <a:gd name="T40" fmla="*/ 219 w 310"/>
                  <a:gd name="T41" fmla="*/ 410 h 428"/>
                  <a:gd name="T42" fmla="*/ 29 w 310"/>
                  <a:gd name="T43" fmla="*/ 399 h 428"/>
                  <a:gd name="T44" fmla="*/ 16 w 310"/>
                  <a:gd name="T45" fmla="*/ 388 h 428"/>
                  <a:gd name="T46" fmla="*/ 81 w 310"/>
                  <a:gd name="T47" fmla="*/ 260 h 428"/>
                  <a:gd name="T48" fmla="*/ 128 w 310"/>
                  <a:gd name="T49" fmla="*/ 38 h 428"/>
                  <a:gd name="T50" fmla="*/ 121 w 310"/>
                  <a:gd name="T51" fmla="*/ 30 h 428"/>
                  <a:gd name="T52" fmla="*/ 121 w 310"/>
                  <a:gd name="T53" fmla="*/ 30 h 428"/>
                  <a:gd name="T54" fmla="*/ 112 w 310"/>
                  <a:gd name="T55" fmla="*/ 25 h 428"/>
                  <a:gd name="T56" fmla="*/ 112 w 310"/>
                  <a:gd name="T57" fmla="*/ 17 h 428"/>
                  <a:gd name="T58" fmla="*/ 112 w 310"/>
                  <a:gd name="T59" fmla="*/ 18 h 428"/>
                  <a:gd name="T60" fmla="*/ 112 w 310"/>
                  <a:gd name="T61" fmla="*/ 18 h 428"/>
                  <a:gd name="T62" fmla="*/ 112 w 310"/>
                  <a:gd name="T63" fmla="*/ 18 h 428"/>
                  <a:gd name="T64" fmla="*/ 111 w 310"/>
                  <a:gd name="T65" fmla="*/ 18 h 428"/>
                  <a:gd name="T66" fmla="*/ 111 w 310"/>
                  <a:gd name="T67" fmla="*/ 18 h 428"/>
                  <a:gd name="T68" fmla="*/ 117 w 310"/>
                  <a:gd name="T69" fmla="*/ 16 h 428"/>
                  <a:gd name="T70" fmla="*/ 122 w 310"/>
                  <a:gd name="T71" fmla="*/ 16 h 428"/>
                  <a:gd name="T72" fmla="*/ 196 w 310"/>
                  <a:gd name="T73" fmla="*/ 14 h 428"/>
                  <a:gd name="T74" fmla="*/ 196 w 310"/>
                  <a:gd name="T75" fmla="*/ 14 h 428"/>
                  <a:gd name="T76" fmla="*/ 195 w 310"/>
                  <a:gd name="T77" fmla="*/ 17 h 428"/>
                  <a:gd name="T78" fmla="*/ 195 w 310"/>
                  <a:gd name="T79" fmla="*/ 17 h 428"/>
                  <a:gd name="T80" fmla="*/ 199 w 310"/>
                  <a:gd name="T81" fmla="*/ 23 h 428"/>
                  <a:gd name="T82" fmla="*/ 200 w 310"/>
                  <a:gd name="T83" fmla="*/ 25 h 428"/>
                  <a:gd name="T84" fmla="*/ 200 w 310"/>
                  <a:gd name="T85" fmla="*/ 25 h 428"/>
                  <a:gd name="T86" fmla="*/ 207 w 310"/>
                  <a:gd name="T87" fmla="*/ 23 h 428"/>
                  <a:gd name="T88" fmla="*/ 200 w 310"/>
                  <a:gd name="T89" fmla="*/ 22 h 428"/>
                  <a:gd name="T90" fmla="*/ 200 w 310"/>
                  <a:gd name="T91" fmla="*/ 22 h 428"/>
                  <a:gd name="T92" fmla="*/ 200 w 310"/>
                  <a:gd name="T93" fmla="*/ 22 h 428"/>
                  <a:gd name="T94" fmla="*/ 200 w 310"/>
                  <a:gd name="T95" fmla="*/ 22 h 428"/>
                  <a:gd name="T96" fmla="*/ 200 w 310"/>
                  <a:gd name="T97" fmla="*/ 22 h 428"/>
                  <a:gd name="T98" fmla="*/ 192 w 310"/>
                  <a:gd name="T99" fmla="*/ 29 h 428"/>
                  <a:gd name="T100" fmla="*/ 188 w 310"/>
                  <a:gd name="T101" fmla="*/ 32 h 428"/>
                  <a:gd name="T102" fmla="*/ 188 w 310"/>
                  <a:gd name="T103" fmla="*/ 32 h 428"/>
                  <a:gd name="T104" fmla="*/ 188 w 310"/>
                  <a:gd name="T105" fmla="*/ 32 h 428"/>
                  <a:gd name="T106" fmla="*/ 185 w 310"/>
                  <a:gd name="T107" fmla="*/ 187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0" h="428">
                    <a:moveTo>
                      <a:pt x="192" y="182"/>
                    </a:moveTo>
                    <a:cubicBezTo>
                      <a:pt x="200" y="182"/>
                      <a:pt x="200" y="182"/>
                      <a:pt x="200" y="182"/>
                    </a:cubicBezTo>
                    <a:cubicBezTo>
                      <a:pt x="200" y="39"/>
                      <a:pt x="200" y="39"/>
                      <a:pt x="200" y="39"/>
                    </a:cubicBezTo>
                    <a:cubicBezTo>
                      <a:pt x="192" y="39"/>
                      <a:pt x="192" y="39"/>
                      <a:pt x="192" y="39"/>
                    </a:cubicBezTo>
                    <a:cubicBezTo>
                      <a:pt x="196" y="46"/>
                      <a:pt x="196" y="46"/>
                      <a:pt x="196" y="46"/>
                    </a:cubicBezTo>
                    <a:cubicBezTo>
                      <a:pt x="196" y="45"/>
                      <a:pt x="200" y="43"/>
                      <a:pt x="205" y="40"/>
                    </a:cubicBezTo>
                    <a:cubicBezTo>
                      <a:pt x="207" y="38"/>
                      <a:pt x="209" y="36"/>
                      <a:pt x="211" y="34"/>
                    </a:cubicBezTo>
                    <a:cubicBezTo>
                      <a:pt x="212" y="32"/>
                      <a:pt x="213" y="31"/>
                      <a:pt x="214" y="29"/>
                    </a:cubicBezTo>
                    <a:cubicBezTo>
                      <a:pt x="215" y="28"/>
                      <a:pt x="215" y="25"/>
                      <a:pt x="215" y="23"/>
                    </a:cubicBezTo>
                    <a:cubicBezTo>
                      <a:pt x="215" y="22"/>
                      <a:pt x="215" y="22"/>
                      <a:pt x="215" y="21"/>
                    </a:cubicBezTo>
                    <a:cubicBezTo>
                      <a:pt x="215" y="21"/>
                      <a:pt x="214" y="17"/>
                      <a:pt x="211" y="12"/>
                    </a:cubicBezTo>
                    <a:cubicBezTo>
                      <a:pt x="210" y="10"/>
                      <a:pt x="209" y="7"/>
                      <a:pt x="206" y="5"/>
                    </a:cubicBezTo>
                    <a:cubicBezTo>
                      <a:pt x="205" y="4"/>
                      <a:pt x="204" y="3"/>
                      <a:pt x="202" y="2"/>
                    </a:cubicBezTo>
                    <a:cubicBezTo>
                      <a:pt x="200" y="1"/>
                      <a:pt x="198" y="1"/>
                      <a:pt x="196" y="1"/>
                    </a:cubicBezTo>
                    <a:cubicBezTo>
                      <a:pt x="196" y="9"/>
                      <a:pt x="196" y="9"/>
                      <a:pt x="196" y="9"/>
                    </a:cubicBezTo>
                    <a:cubicBezTo>
                      <a:pt x="196" y="1"/>
                      <a:pt x="196" y="1"/>
                      <a:pt x="196" y="1"/>
                    </a:cubicBezTo>
                    <a:cubicBezTo>
                      <a:pt x="123" y="0"/>
                      <a:pt x="123" y="0"/>
                      <a:pt x="123" y="0"/>
                    </a:cubicBezTo>
                    <a:cubicBezTo>
                      <a:pt x="123" y="0"/>
                      <a:pt x="123" y="0"/>
                      <a:pt x="123" y="0"/>
                    </a:cubicBezTo>
                    <a:cubicBezTo>
                      <a:pt x="118" y="0"/>
                      <a:pt x="113" y="0"/>
                      <a:pt x="108" y="2"/>
                    </a:cubicBezTo>
                    <a:cubicBezTo>
                      <a:pt x="105" y="3"/>
                      <a:pt x="103" y="4"/>
                      <a:pt x="100" y="7"/>
                    </a:cubicBezTo>
                    <a:cubicBezTo>
                      <a:pt x="99" y="8"/>
                      <a:pt x="98" y="9"/>
                      <a:pt x="97" y="11"/>
                    </a:cubicBezTo>
                    <a:cubicBezTo>
                      <a:pt x="96" y="13"/>
                      <a:pt x="96" y="15"/>
                      <a:pt x="96" y="17"/>
                    </a:cubicBezTo>
                    <a:cubicBezTo>
                      <a:pt x="96" y="17"/>
                      <a:pt x="96" y="17"/>
                      <a:pt x="96" y="17"/>
                    </a:cubicBezTo>
                    <a:cubicBezTo>
                      <a:pt x="104" y="17"/>
                      <a:pt x="104" y="17"/>
                      <a:pt x="104" y="17"/>
                    </a:cubicBezTo>
                    <a:cubicBezTo>
                      <a:pt x="96" y="15"/>
                      <a:pt x="96" y="15"/>
                      <a:pt x="96" y="15"/>
                    </a:cubicBezTo>
                    <a:cubicBezTo>
                      <a:pt x="96" y="17"/>
                      <a:pt x="95" y="20"/>
                      <a:pt x="95" y="22"/>
                    </a:cubicBezTo>
                    <a:cubicBezTo>
                      <a:pt x="95" y="27"/>
                      <a:pt x="97" y="31"/>
                      <a:pt x="99" y="35"/>
                    </a:cubicBezTo>
                    <a:cubicBezTo>
                      <a:pt x="103" y="40"/>
                      <a:pt x="108" y="43"/>
                      <a:pt x="112" y="44"/>
                    </a:cubicBezTo>
                    <a:cubicBezTo>
                      <a:pt x="116" y="46"/>
                      <a:pt x="118" y="46"/>
                      <a:pt x="119" y="46"/>
                    </a:cubicBezTo>
                    <a:cubicBezTo>
                      <a:pt x="120" y="38"/>
                      <a:pt x="120" y="38"/>
                      <a:pt x="120" y="38"/>
                    </a:cubicBezTo>
                    <a:cubicBezTo>
                      <a:pt x="112" y="38"/>
                      <a:pt x="112" y="38"/>
                      <a:pt x="112" y="38"/>
                    </a:cubicBezTo>
                    <a:cubicBezTo>
                      <a:pt x="112" y="182"/>
                      <a:pt x="112" y="182"/>
                      <a:pt x="112" y="182"/>
                    </a:cubicBezTo>
                    <a:cubicBezTo>
                      <a:pt x="120" y="182"/>
                      <a:pt x="120" y="182"/>
                      <a:pt x="120" y="182"/>
                    </a:cubicBezTo>
                    <a:cubicBezTo>
                      <a:pt x="113" y="178"/>
                      <a:pt x="113" y="178"/>
                      <a:pt x="113" y="178"/>
                    </a:cubicBezTo>
                    <a:cubicBezTo>
                      <a:pt x="93" y="210"/>
                      <a:pt x="65" y="253"/>
                      <a:pt x="42" y="292"/>
                    </a:cubicBezTo>
                    <a:cubicBezTo>
                      <a:pt x="30" y="312"/>
                      <a:pt x="20" y="331"/>
                      <a:pt x="13" y="347"/>
                    </a:cubicBezTo>
                    <a:cubicBezTo>
                      <a:pt x="9" y="355"/>
                      <a:pt x="6" y="363"/>
                      <a:pt x="4" y="370"/>
                    </a:cubicBezTo>
                    <a:cubicBezTo>
                      <a:pt x="2" y="376"/>
                      <a:pt x="0" y="382"/>
                      <a:pt x="0" y="388"/>
                    </a:cubicBezTo>
                    <a:cubicBezTo>
                      <a:pt x="0" y="392"/>
                      <a:pt x="1" y="396"/>
                      <a:pt x="3" y="399"/>
                    </a:cubicBezTo>
                    <a:cubicBezTo>
                      <a:pt x="5" y="403"/>
                      <a:pt x="8" y="406"/>
                      <a:pt x="11" y="408"/>
                    </a:cubicBezTo>
                    <a:cubicBezTo>
                      <a:pt x="18" y="412"/>
                      <a:pt x="26" y="415"/>
                      <a:pt x="36" y="417"/>
                    </a:cubicBezTo>
                    <a:cubicBezTo>
                      <a:pt x="50" y="421"/>
                      <a:pt x="69" y="424"/>
                      <a:pt x="89" y="426"/>
                    </a:cubicBezTo>
                    <a:cubicBezTo>
                      <a:pt x="110" y="427"/>
                      <a:pt x="132" y="428"/>
                      <a:pt x="155" y="428"/>
                    </a:cubicBezTo>
                    <a:cubicBezTo>
                      <a:pt x="189" y="428"/>
                      <a:pt x="224" y="426"/>
                      <a:pt x="251" y="422"/>
                    </a:cubicBezTo>
                    <a:cubicBezTo>
                      <a:pt x="265" y="420"/>
                      <a:pt x="277" y="417"/>
                      <a:pt x="286" y="414"/>
                    </a:cubicBezTo>
                    <a:cubicBezTo>
                      <a:pt x="291" y="412"/>
                      <a:pt x="295" y="410"/>
                      <a:pt x="299" y="408"/>
                    </a:cubicBezTo>
                    <a:cubicBezTo>
                      <a:pt x="302" y="406"/>
                      <a:pt x="305" y="403"/>
                      <a:pt x="307" y="399"/>
                    </a:cubicBezTo>
                    <a:cubicBezTo>
                      <a:pt x="309" y="396"/>
                      <a:pt x="310" y="392"/>
                      <a:pt x="310" y="388"/>
                    </a:cubicBezTo>
                    <a:cubicBezTo>
                      <a:pt x="310" y="383"/>
                      <a:pt x="309" y="377"/>
                      <a:pt x="307" y="370"/>
                    </a:cubicBezTo>
                    <a:cubicBezTo>
                      <a:pt x="303" y="358"/>
                      <a:pt x="297" y="344"/>
                      <a:pt x="289" y="329"/>
                    </a:cubicBezTo>
                    <a:cubicBezTo>
                      <a:pt x="266" y="282"/>
                      <a:pt x="228" y="222"/>
                      <a:pt x="199" y="178"/>
                    </a:cubicBezTo>
                    <a:cubicBezTo>
                      <a:pt x="192" y="182"/>
                      <a:pt x="192" y="182"/>
                      <a:pt x="192" y="182"/>
                    </a:cubicBezTo>
                    <a:cubicBezTo>
                      <a:pt x="200" y="182"/>
                      <a:pt x="200" y="182"/>
                      <a:pt x="200" y="182"/>
                    </a:cubicBezTo>
                    <a:cubicBezTo>
                      <a:pt x="192" y="182"/>
                      <a:pt x="192" y="182"/>
                      <a:pt x="192" y="182"/>
                    </a:cubicBezTo>
                    <a:cubicBezTo>
                      <a:pt x="185" y="187"/>
                      <a:pt x="185" y="187"/>
                      <a:pt x="185" y="187"/>
                    </a:cubicBezTo>
                    <a:cubicBezTo>
                      <a:pt x="207" y="220"/>
                      <a:pt x="235" y="263"/>
                      <a:pt x="257" y="301"/>
                    </a:cubicBezTo>
                    <a:cubicBezTo>
                      <a:pt x="267" y="321"/>
                      <a:pt x="277" y="339"/>
                      <a:pt x="284" y="354"/>
                    </a:cubicBezTo>
                    <a:cubicBezTo>
                      <a:pt x="287" y="362"/>
                      <a:pt x="290" y="369"/>
                      <a:pt x="291" y="375"/>
                    </a:cubicBezTo>
                    <a:cubicBezTo>
                      <a:pt x="293" y="381"/>
                      <a:pt x="294" y="385"/>
                      <a:pt x="294" y="388"/>
                    </a:cubicBezTo>
                    <a:cubicBezTo>
                      <a:pt x="294" y="390"/>
                      <a:pt x="293" y="391"/>
                      <a:pt x="293" y="391"/>
                    </a:cubicBezTo>
                    <a:cubicBezTo>
                      <a:pt x="293" y="392"/>
                      <a:pt x="292" y="393"/>
                      <a:pt x="290" y="394"/>
                    </a:cubicBezTo>
                    <a:cubicBezTo>
                      <a:pt x="286" y="397"/>
                      <a:pt x="279" y="400"/>
                      <a:pt x="270" y="402"/>
                    </a:cubicBezTo>
                    <a:cubicBezTo>
                      <a:pt x="257" y="405"/>
                      <a:pt x="239" y="408"/>
                      <a:pt x="219" y="410"/>
                    </a:cubicBezTo>
                    <a:cubicBezTo>
                      <a:pt x="199" y="411"/>
                      <a:pt x="177" y="412"/>
                      <a:pt x="155" y="412"/>
                    </a:cubicBezTo>
                    <a:cubicBezTo>
                      <a:pt x="121" y="412"/>
                      <a:pt x="88" y="410"/>
                      <a:pt x="62" y="406"/>
                    </a:cubicBezTo>
                    <a:cubicBezTo>
                      <a:pt x="48" y="404"/>
                      <a:pt x="37" y="402"/>
                      <a:pt x="29" y="399"/>
                    </a:cubicBezTo>
                    <a:cubicBezTo>
                      <a:pt x="25" y="397"/>
                      <a:pt x="22" y="396"/>
                      <a:pt x="20" y="394"/>
                    </a:cubicBezTo>
                    <a:cubicBezTo>
                      <a:pt x="18" y="393"/>
                      <a:pt x="17" y="392"/>
                      <a:pt x="17" y="391"/>
                    </a:cubicBezTo>
                    <a:cubicBezTo>
                      <a:pt x="17" y="391"/>
                      <a:pt x="16" y="390"/>
                      <a:pt x="16" y="388"/>
                    </a:cubicBezTo>
                    <a:cubicBezTo>
                      <a:pt x="16" y="385"/>
                      <a:pt x="17" y="380"/>
                      <a:pt x="19" y="374"/>
                    </a:cubicBezTo>
                    <a:cubicBezTo>
                      <a:pt x="22" y="364"/>
                      <a:pt x="28" y="350"/>
                      <a:pt x="36" y="335"/>
                    </a:cubicBezTo>
                    <a:cubicBezTo>
                      <a:pt x="48" y="312"/>
                      <a:pt x="64" y="286"/>
                      <a:pt x="81" y="260"/>
                    </a:cubicBezTo>
                    <a:cubicBezTo>
                      <a:pt x="97" y="233"/>
                      <a:pt x="113" y="208"/>
                      <a:pt x="127" y="186"/>
                    </a:cubicBezTo>
                    <a:cubicBezTo>
                      <a:pt x="128" y="185"/>
                      <a:pt x="128" y="184"/>
                      <a:pt x="128" y="182"/>
                    </a:cubicBezTo>
                    <a:cubicBezTo>
                      <a:pt x="128" y="38"/>
                      <a:pt x="128" y="38"/>
                      <a:pt x="128" y="38"/>
                    </a:cubicBezTo>
                    <a:cubicBezTo>
                      <a:pt x="128" y="34"/>
                      <a:pt x="125" y="31"/>
                      <a:pt x="121" y="30"/>
                    </a:cubicBezTo>
                    <a:cubicBezTo>
                      <a:pt x="121" y="35"/>
                      <a:pt x="121" y="35"/>
                      <a:pt x="121" y="35"/>
                    </a:cubicBezTo>
                    <a:cubicBezTo>
                      <a:pt x="121" y="30"/>
                      <a:pt x="121" y="30"/>
                      <a:pt x="121" y="30"/>
                    </a:cubicBezTo>
                    <a:cubicBezTo>
                      <a:pt x="121" y="30"/>
                      <a:pt x="121" y="30"/>
                      <a:pt x="121" y="30"/>
                    </a:cubicBezTo>
                    <a:cubicBezTo>
                      <a:pt x="121" y="35"/>
                      <a:pt x="121" y="35"/>
                      <a:pt x="121" y="35"/>
                    </a:cubicBezTo>
                    <a:cubicBezTo>
                      <a:pt x="121" y="30"/>
                      <a:pt x="121" y="30"/>
                      <a:pt x="121" y="30"/>
                    </a:cubicBezTo>
                    <a:cubicBezTo>
                      <a:pt x="121" y="30"/>
                      <a:pt x="121" y="30"/>
                      <a:pt x="121" y="30"/>
                    </a:cubicBezTo>
                    <a:cubicBezTo>
                      <a:pt x="120" y="30"/>
                      <a:pt x="117" y="29"/>
                      <a:pt x="115" y="28"/>
                    </a:cubicBezTo>
                    <a:cubicBezTo>
                      <a:pt x="114" y="27"/>
                      <a:pt x="113" y="26"/>
                      <a:pt x="112" y="25"/>
                    </a:cubicBezTo>
                    <a:cubicBezTo>
                      <a:pt x="112" y="24"/>
                      <a:pt x="111" y="23"/>
                      <a:pt x="111" y="22"/>
                    </a:cubicBezTo>
                    <a:cubicBezTo>
                      <a:pt x="111" y="21"/>
                      <a:pt x="112" y="20"/>
                      <a:pt x="112" y="19"/>
                    </a:cubicBezTo>
                    <a:cubicBezTo>
                      <a:pt x="112" y="18"/>
                      <a:pt x="112" y="18"/>
                      <a:pt x="112" y="17"/>
                    </a:cubicBezTo>
                    <a:cubicBezTo>
                      <a:pt x="112" y="17"/>
                      <a:pt x="112" y="17"/>
                      <a:pt x="112" y="17"/>
                    </a:cubicBezTo>
                    <a:cubicBezTo>
                      <a:pt x="110" y="17"/>
                      <a:pt x="110" y="17"/>
                      <a:pt x="110" y="17"/>
                    </a:cubicBezTo>
                    <a:cubicBezTo>
                      <a:pt x="112" y="18"/>
                      <a:pt x="112" y="18"/>
                      <a:pt x="112" y="18"/>
                    </a:cubicBezTo>
                    <a:cubicBezTo>
                      <a:pt x="112" y="17"/>
                      <a:pt x="112" y="17"/>
                      <a:pt x="112" y="17"/>
                    </a:cubicBezTo>
                    <a:cubicBezTo>
                      <a:pt x="110" y="17"/>
                      <a:pt x="110" y="17"/>
                      <a:pt x="110" y="17"/>
                    </a:cubicBezTo>
                    <a:cubicBezTo>
                      <a:pt x="112" y="18"/>
                      <a:pt x="112" y="18"/>
                      <a:pt x="112" y="18"/>
                    </a:cubicBezTo>
                    <a:cubicBezTo>
                      <a:pt x="110" y="17"/>
                      <a:pt x="110" y="17"/>
                      <a:pt x="110" y="17"/>
                    </a:cubicBezTo>
                    <a:cubicBezTo>
                      <a:pt x="112" y="18"/>
                      <a:pt x="112" y="18"/>
                      <a:pt x="112" y="18"/>
                    </a:cubicBezTo>
                    <a:cubicBezTo>
                      <a:pt x="112" y="18"/>
                      <a:pt x="112" y="18"/>
                      <a:pt x="112" y="18"/>
                    </a:cubicBezTo>
                    <a:cubicBezTo>
                      <a:pt x="110" y="17"/>
                      <a:pt x="110" y="17"/>
                      <a:pt x="110" y="17"/>
                    </a:cubicBezTo>
                    <a:cubicBezTo>
                      <a:pt x="112" y="18"/>
                      <a:pt x="112" y="18"/>
                      <a:pt x="112" y="18"/>
                    </a:cubicBezTo>
                    <a:cubicBezTo>
                      <a:pt x="111" y="18"/>
                      <a:pt x="111" y="18"/>
                      <a:pt x="111" y="18"/>
                    </a:cubicBezTo>
                    <a:cubicBezTo>
                      <a:pt x="112" y="18"/>
                      <a:pt x="112" y="18"/>
                      <a:pt x="112" y="18"/>
                    </a:cubicBezTo>
                    <a:cubicBezTo>
                      <a:pt x="112" y="18"/>
                      <a:pt x="112" y="18"/>
                      <a:pt x="112" y="18"/>
                    </a:cubicBezTo>
                    <a:cubicBezTo>
                      <a:pt x="111" y="18"/>
                      <a:pt x="111" y="18"/>
                      <a:pt x="111" y="18"/>
                    </a:cubicBezTo>
                    <a:cubicBezTo>
                      <a:pt x="112" y="18"/>
                      <a:pt x="112" y="18"/>
                      <a:pt x="112" y="18"/>
                    </a:cubicBezTo>
                    <a:cubicBezTo>
                      <a:pt x="112" y="18"/>
                      <a:pt x="112" y="18"/>
                      <a:pt x="113" y="17"/>
                    </a:cubicBezTo>
                    <a:cubicBezTo>
                      <a:pt x="114" y="17"/>
                      <a:pt x="115" y="16"/>
                      <a:pt x="117" y="16"/>
                    </a:cubicBezTo>
                    <a:cubicBezTo>
                      <a:pt x="119" y="16"/>
                      <a:pt x="121" y="16"/>
                      <a:pt x="123" y="16"/>
                    </a:cubicBezTo>
                    <a:cubicBezTo>
                      <a:pt x="123" y="8"/>
                      <a:pt x="123" y="8"/>
                      <a:pt x="123" y="8"/>
                    </a:cubicBezTo>
                    <a:cubicBezTo>
                      <a:pt x="122" y="16"/>
                      <a:pt x="122" y="16"/>
                      <a:pt x="122" y="16"/>
                    </a:cubicBezTo>
                    <a:cubicBezTo>
                      <a:pt x="196" y="17"/>
                      <a:pt x="196" y="17"/>
                      <a:pt x="196" y="17"/>
                    </a:cubicBezTo>
                    <a:cubicBezTo>
                      <a:pt x="196" y="17"/>
                      <a:pt x="196" y="17"/>
                      <a:pt x="196" y="17"/>
                    </a:cubicBezTo>
                    <a:cubicBezTo>
                      <a:pt x="196" y="14"/>
                      <a:pt x="196" y="14"/>
                      <a:pt x="196" y="14"/>
                    </a:cubicBezTo>
                    <a:cubicBezTo>
                      <a:pt x="195" y="17"/>
                      <a:pt x="195" y="17"/>
                      <a:pt x="195" y="17"/>
                    </a:cubicBezTo>
                    <a:cubicBezTo>
                      <a:pt x="195" y="17"/>
                      <a:pt x="196" y="17"/>
                      <a:pt x="196" y="17"/>
                    </a:cubicBezTo>
                    <a:cubicBezTo>
                      <a:pt x="196" y="14"/>
                      <a:pt x="196" y="14"/>
                      <a:pt x="196" y="14"/>
                    </a:cubicBezTo>
                    <a:cubicBezTo>
                      <a:pt x="195" y="17"/>
                      <a:pt x="195" y="17"/>
                      <a:pt x="195" y="17"/>
                    </a:cubicBezTo>
                    <a:cubicBezTo>
                      <a:pt x="195" y="16"/>
                      <a:pt x="195" y="16"/>
                      <a:pt x="195" y="16"/>
                    </a:cubicBezTo>
                    <a:cubicBezTo>
                      <a:pt x="195" y="17"/>
                      <a:pt x="195" y="17"/>
                      <a:pt x="195" y="17"/>
                    </a:cubicBezTo>
                    <a:cubicBezTo>
                      <a:pt x="195" y="17"/>
                      <a:pt x="195" y="17"/>
                      <a:pt x="195" y="17"/>
                    </a:cubicBezTo>
                    <a:cubicBezTo>
                      <a:pt x="195" y="16"/>
                      <a:pt x="195" y="16"/>
                      <a:pt x="195" y="16"/>
                    </a:cubicBezTo>
                    <a:cubicBezTo>
                      <a:pt x="195" y="17"/>
                      <a:pt x="195" y="17"/>
                      <a:pt x="195" y="17"/>
                    </a:cubicBezTo>
                    <a:cubicBezTo>
                      <a:pt x="195" y="17"/>
                      <a:pt x="195" y="17"/>
                      <a:pt x="195" y="17"/>
                    </a:cubicBezTo>
                    <a:cubicBezTo>
                      <a:pt x="195" y="17"/>
                      <a:pt x="196" y="17"/>
                      <a:pt x="197" y="18"/>
                    </a:cubicBezTo>
                    <a:cubicBezTo>
                      <a:pt x="197" y="20"/>
                      <a:pt x="198" y="22"/>
                      <a:pt x="199" y="23"/>
                    </a:cubicBezTo>
                    <a:cubicBezTo>
                      <a:pt x="199" y="24"/>
                      <a:pt x="199" y="24"/>
                      <a:pt x="200" y="25"/>
                    </a:cubicBezTo>
                    <a:cubicBezTo>
                      <a:pt x="200" y="25"/>
                      <a:pt x="200" y="25"/>
                      <a:pt x="200" y="25"/>
                    </a:cubicBezTo>
                    <a:cubicBezTo>
                      <a:pt x="200" y="25"/>
                      <a:pt x="200" y="25"/>
                      <a:pt x="200" y="25"/>
                    </a:cubicBezTo>
                    <a:cubicBezTo>
                      <a:pt x="201" y="25"/>
                      <a:pt x="201" y="25"/>
                      <a:pt x="201" y="25"/>
                    </a:cubicBezTo>
                    <a:cubicBezTo>
                      <a:pt x="200" y="25"/>
                      <a:pt x="200" y="25"/>
                      <a:pt x="200" y="25"/>
                    </a:cubicBezTo>
                    <a:cubicBezTo>
                      <a:pt x="200" y="25"/>
                      <a:pt x="200" y="25"/>
                      <a:pt x="200" y="25"/>
                    </a:cubicBezTo>
                    <a:cubicBezTo>
                      <a:pt x="201" y="25"/>
                      <a:pt x="201" y="25"/>
                      <a:pt x="201" y="25"/>
                    </a:cubicBezTo>
                    <a:cubicBezTo>
                      <a:pt x="200" y="25"/>
                      <a:pt x="200" y="25"/>
                      <a:pt x="200" y="25"/>
                    </a:cubicBezTo>
                    <a:cubicBezTo>
                      <a:pt x="207" y="23"/>
                      <a:pt x="207" y="23"/>
                      <a:pt x="207" y="23"/>
                    </a:cubicBezTo>
                    <a:cubicBezTo>
                      <a:pt x="199" y="23"/>
                      <a:pt x="199" y="23"/>
                      <a:pt x="199" y="23"/>
                    </a:cubicBezTo>
                    <a:cubicBezTo>
                      <a:pt x="202" y="23"/>
                      <a:pt x="202" y="23"/>
                      <a:pt x="202" y="23"/>
                    </a:cubicBezTo>
                    <a:cubicBezTo>
                      <a:pt x="200" y="22"/>
                      <a:pt x="200" y="22"/>
                      <a:pt x="200" y="22"/>
                    </a:cubicBezTo>
                    <a:cubicBezTo>
                      <a:pt x="199" y="23"/>
                      <a:pt x="199" y="23"/>
                      <a:pt x="199" y="23"/>
                    </a:cubicBezTo>
                    <a:cubicBezTo>
                      <a:pt x="202" y="23"/>
                      <a:pt x="202" y="23"/>
                      <a:pt x="202" y="23"/>
                    </a:cubicBezTo>
                    <a:cubicBezTo>
                      <a:pt x="200" y="22"/>
                      <a:pt x="200" y="22"/>
                      <a:pt x="200" y="22"/>
                    </a:cubicBezTo>
                    <a:cubicBezTo>
                      <a:pt x="201" y="23"/>
                      <a:pt x="201" y="23"/>
                      <a:pt x="201" y="23"/>
                    </a:cubicBezTo>
                    <a:cubicBezTo>
                      <a:pt x="200" y="22"/>
                      <a:pt x="200" y="22"/>
                      <a:pt x="200" y="22"/>
                    </a:cubicBezTo>
                    <a:cubicBezTo>
                      <a:pt x="200" y="22"/>
                      <a:pt x="200" y="22"/>
                      <a:pt x="200" y="22"/>
                    </a:cubicBezTo>
                    <a:cubicBezTo>
                      <a:pt x="201" y="23"/>
                      <a:pt x="201" y="23"/>
                      <a:pt x="201" y="23"/>
                    </a:cubicBezTo>
                    <a:cubicBezTo>
                      <a:pt x="200" y="22"/>
                      <a:pt x="200" y="22"/>
                      <a:pt x="200" y="22"/>
                    </a:cubicBezTo>
                    <a:cubicBezTo>
                      <a:pt x="200" y="22"/>
                      <a:pt x="200" y="22"/>
                      <a:pt x="200" y="22"/>
                    </a:cubicBezTo>
                    <a:cubicBezTo>
                      <a:pt x="200" y="22"/>
                      <a:pt x="200" y="22"/>
                      <a:pt x="200" y="22"/>
                    </a:cubicBezTo>
                    <a:cubicBezTo>
                      <a:pt x="200" y="22"/>
                      <a:pt x="200" y="22"/>
                      <a:pt x="200" y="22"/>
                    </a:cubicBezTo>
                    <a:cubicBezTo>
                      <a:pt x="200" y="22"/>
                      <a:pt x="200" y="22"/>
                      <a:pt x="200" y="22"/>
                    </a:cubicBezTo>
                    <a:cubicBezTo>
                      <a:pt x="200" y="22"/>
                      <a:pt x="200" y="22"/>
                      <a:pt x="200" y="22"/>
                    </a:cubicBezTo>
                    <a:cubicBezTo>
                      <a:pt x="200" y="22"/>
                      <a:pt x="199" y="23"/>
                      <a:pt x="198" y="25"/>
                    </a:cubicBezTo>
                    <a:cubicBezTo>
                      <a:pt x="196" y="26"/>
                      <a:pt x="194" y="28"/>
                      <a:pt x="192" y="29"/>
                    </a:cubicBezTo>
                    <a:cubicBezTo>
                      <a:pt x="191" y="30"/>
                      <a:pt x="190" y="31"/>
                      <a:pt x="189" y="31"/>
                    </a:cubicBezTo>
                    <a:cubicBezTo>
                      <a:pt x="188" y="31"/>
                      <a:pt x="188" y="31"/>
                      <a:pt x="188" y="31"/>
                    </a:cubicBezTo>
                    <a:cubicBezTo>
                      <a:pt x="188" y="32"/>
                      <a:pt x="188" y="32"/>
                      <a:pt x="188" y="32"/>
                    </a:cubicBezTo>
                    <a:cubicBezTo>
                      <a:pt x="188" y="32"/>
                      <a:pt x="188" y="32"/>
                      <a:pt x="188" y="32"/>
                    </a:cubicBezTo>
                    <a:cubicBezTo>
                      <a:pt x="189" y="33"/>
                      <a:pt x="189" y="33"/>
                      <a:pt x="189" y="33"/>
                    </a:cubicBezTo>
                    <a:cubicBezTo>
                      <a:pt x="188" y="32"/>
                      <a:pt x="188" y="32"/>
                      <a:pt x="188" y="32"/>
                    </a:cubicBezTo>
                    <a:cubicBezTo>
                      <a:pt x="188" y="32"/>
                      <a:pt x="188" y="32"/>
                      <a:pt x="188" y="32"/>
                    </a:cubicBezTo>
                    <a:cubicBezTo>
                      <a:pt x="189" y="33"/>
                      <a:pt x="189" y="33"/>
                      <a:pt x="189" y="33"/>
                    </a:cubicBezTo>
                    <a:cubicBezTo>
                      <a:pt x="188" y="32"/>
                      <a:pt x="188" y="32"/>
                      <a:pt x="188" y="32"/>
                    </a:cubicBezTo>
                    <a:cubicBezTo>
                      <a:pt x="186" y="33"/>
                      <a:pt x="184" y="36"/>
                      <a:pt x="184" y="39"/>
                    </a:cubicBezTo>
                    <a:cubicBezTo>
                      <a:pt x="184" y="182"/>
                      <a:pt x="184" y="182"/>
                      <a:pt x="184" y="182"/>
                    </a:cubicBezTo>
                    <a:cubicBezTo>
                      <a:pt x="184" y="184"/>
                      <a:pt x="184" y="185"/>
                      <a:pt x="185" y="187"/>
                    </a:cubicBezTo>
                    <a:lnTo>
                      <a:pt x="192" y="1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13" name="Oval 95">
                <a:extLst>
                  <a:ext uri="{FF2B5EF4-FFF2-40B4-BE49-F238E27FC236}">
                    <a16:creationId xmlns:a16="http://schemas.microsoft.com/office/drawing/2014/main" id="{56494B97-7498-3EB2-DA8D-E739735101BA}"/>
                  </a:ext>
                </a:extLst>
              </p:cNvPr>
              <p:cNvSpPr>
                <a:spLocks noChangeArrowheads="1"/>
              </p:cNvSpPr>
              <p:nvPr/>
            </p:nvSpPr>
            <p:spPr bwMode="auto">
              <a:xfrm>
                <a:off x="7447574" y="3401995"/>
                <a:ext cx="61354" cy="613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14" name="Freeform 96">
                <a:extLst>
                  <a:ext uri="{FF2B5EF4-FFF2-40B4-BE49-F238E27FC236}">
                    <a16:creationId xmlns:a16="http://schemas.microsoft.com/office/drawing/2014/main" id="{F4CC205A-A2D7-FA3D-6A00-4F5D5F392399}"/>
                  </a:ext>
                </a:extLst>
              </p:cNvPr>
              <p:cNvSpPr>
                <a:spLocks noEditPoints="1"/>
              </p:cNvSpPr>
              <p:nvPr/>
            </p:nvSpPr>
            <p:spPr bwMode="auto">
              <a:xfrm>
                <a:off x="7302262" y="3491334"/>
                <a:ext cx="319685" cy="208818"/>
              </a:xfrm>
              <a:custGeom>
                <a:avLst/>
                <a:gdLst>
                  <a:gd name="T0" fmla="*/ 161 w 220"/>
                  <a:gd name="T1" fmla="*/ 0 h 144"/>
                  <a:gd name="T2" fmla="*/ 65 w 220"/>
                  <a:gd name="T3" fmla="*/ 3 h 144"/>
                  <a:gd name="T4" fmla="*/ 0 w 220"/>
                  <a:gd name="T5" fmla="*/ 118 h 144"/>
                  <a:gd name="T6" fmla="*/ 220 w 220"/>
                  <a:gd name="T7" fmla="*/ 119 h 144"/>
                  <a:gd name="T8" fmla="*/ 161 w 220"/>
                  <a:gd name="T9" fmla="*/ 0 h 144"/>
                  <a:gd name="T10" fmla="*/ 87 w 220"/>
                  <a:gd name="T11" fmla="*/ 87 h 144"/>
                  <a:gd name="T12" fmla="*/ 62 w 220"/>
                  <a:gd name="T13" fmla="*/ 63 h 144"/>
                  <a:gd name="T14" fmla="*/ 87 w 220"/>
                  <a:gd name="T15" fmla="*/ 39 h 144"/>
                  <a:gd name="T16" fmla="*/ 111 w 220"/>
                  <a:gd name="T17" fmla="*/ 63 h 144"/>
                  <a:gd name="T18" fmla="*/ 87 w 220"/>
                  <a:gd name="T19" fmla="*/ 87 h 144"/>
                  <a:gd name="T20" fmla="*/ 147 w 220"/>
                  <a:gd name="T21" fmla="*/ 103 h 144"/>
                  <a:gd name="T22" fmla="*/ 132 w 220"/>
                  <a:gd name="T23" fmla="*/ 88 h 144"/>
                  <a:gd name="T24" fmla="*/ 147 w 220"/>
                  <a:gd name="T25" fmla="*/ 74 h 144"/>
                  <a:gd name="T26" fmla="*/ 161 w 220"/>
                  <a:gd name="T27" fmla="*/ 88 h 144"/>
                  <a:gd name="T28" fmla="*/ 147 w 220"/>
                  <a:gd name="T29" fmla="*/ 103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0" h="144">
                    <a:moveTo>
                      <a:pt x="161" y="0"/>
                    </a:moveTo>
                    <a:cubicBezTo>
                      <a:pt x="65" y="3"/>
                      <a:pt x="65" y="3"/>
                      <a:pt x="65" y="3"/>
                    </a:cubicBezTo>
                    <a:cubicBezTo>
                      <a:pt x="0" y="118"/>
                      <a:pt x="0" y="118"/>
                      <a:pt x="0" y="118"/>
                    </a:cubicBezTo>
                    <a:cubicBezTo>
                      <a:pt x="39" y="134"/>
                      <a:pt x="147" y="144"/>
                      <a:pt x="220" y="119"/>
                    </a:cubicBezTo>
                    <a:lnTo>
                      <a:pt x="161" y="0"/>
                    </a:lnTo>
                    <a:close/>
                    <a:moveTo>
                      <a:pt x="87" y="87"/>
                    </a:moveTo>
                    <a:cubicBezTo>
                      <a:pt x="73" y="87"/>
                      <a:pt x="62" y="76"/>
                      <a:pt x="62" y="63"/>
                    </a:cubicBezTo>
                    <a:cubicBezTo>
                      <a:pt x="62" y="49"/>
                      <a:pt x="73" y="39"/>
                      <a:pt x="87" y="39"/>
                    </a:cubicBezTo>
                    <a:cubicBezTo>
                      <a:pt x="100" y="39"/>
                      <a:pt x="111" y="49"/>
                      <a:pt x="111" y="63"/>
                    </a:cubicBezTo>
                    <a:cubicBezTo>
                      <a:pt x="111" y="76"/>
                      <a:pt x="100" y="87"/>
                      <a:pt x="87" y="87"/>
                    </a:cubicBezTo>
                    <a:close/>
                    <a:moveTo>
                      <a:pt x="147" y="103"/>
                    </a:moveTo>
                    <a:cubicBezTo>
                      <a:pt x="139" y="103"/>
                      <a:pt x="132" y="96"/>
                      <a:pt x="132" y="88"/>
                    </a:cubicBezTo>
                    <a:cubicBezTo>
                      <a:pt x="132" y="81"/>
                      <a:pt x="139" y="74"/>
                      <a:pt x="147" y="74"/>
                    </a:cubicBezTo>
                    <a:cubicBezTo>
                      <a:pt x="155" y="74"/>
                      <a:pt x="161" y="81"/>
                      <a:pt x="161" y="88"/>
                    </a:cubicBezTo>
                    <a:cubicBezTo>
                      <a:pt x="161" y="96"/>
                      <a:pt x="155" y="103"/>
                      <a:pt x="147"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grpSp>
        <p:grpSp>
          <p:nvGrpSpPr>
            <p:cNvPr id="74" name="Group 73">
              <a:extLst>
                <a:ext uri="{FF2B5EF4-FFF2-40B4-BE49-F238E27FC236}">
                  <a16:creationId xmlns:a16="http://schemas.microsoft.com/office/drawing/2014/main" id="{4113807F-694A-419C-3D10-D15D84C8E889}"/>
                </a:ext>
              </a:extLst>
            </p:cNvPr>
            <p:cNvGrpSpPr/>
            <p:nvPr/>
          </p:nvGrpSpPr>
          <p:grpSpPr>
            <a:xfrm>
              <a:off x="7036397" y="4652749"/>
              <a:ext cx="498363" cy="198054"/>
              <a:chOff x="7036397" y="4652749"/>
              <a:chExt cx="498363" cy="198054"/>
            </a:xfrm>
            <a:solidFill>
              <a:schemeClr val="bg1"/>
            </a:solidFill>
          </p:grpSpPr>
          <p:sp>
            <p:nvSpPr>
              <p:cNvPr id="109" name="Freeform 97">
                <a:extLst>
                  <a:ext uri="{FF2B5EF4-FFF2-40B4-BE49-F238E27FC236}">
                    <a16:creationId xmlns:a16="http://schemas.microsoft.com/office/drawing/2014/main" id="{BB6F952B-88BA-A0D5-FE6D-E76B75A01C1B}"/>
                  </a:ext>
                </a:extLst>
              </p:cNvPr>
              <p:cNvSpPr>
                <a:spLocks/>
              </p:cNvSpPr>
              <p:nvPr/>
            </p:nvSpPr>
            <p:spPr bwMode="auto">
              <a:xfrm>
                <a:off x="7036397" y="4652749"/>
                <a:ext cx="141006" cy="198054"/>
              </a:xfrm>
              <a:custGeom>
                <a:avLst/>
                <a:gdLst>
                  <a:gd name="T0" fmla="*/ 3 w 97"/>
                  <a:gd name="T1" fmla="*/ 54 h 136"/>
                  <a:gd name="T2" fmla="*/ 51 w 97"/>
                  <a:gd name="T3" fmla="*/ 0 h 136"/>
                  <a:gd name="T4" fmla="*/ 97 w 97"/>
                  <a:gd name="T5" fmla="*/ 42 h 136"/>
                  <a:gd name="T6" fmla="*/ 73 w 97"/>
                  <a:gd name="T7" fmla="*/ 82 h 136"/>
                  <a:gd name="T8" fmla="*/ 34 w 97"/>
                  <a:gd name="T9" fmla="*/ 113 h 136"/>
                  <a:gd name="T10" fmla="*/ 97 w 97"/>
                  <a:gd name="T11" fmla="*/ 113 h 136"/>
                  <a:gd name="T12" fmla="*/ 97 w 97"/>
                  <a:gd name="T13" fmla="*/ 136 h 136"/>
                  <a:gd name="T14" fmla="*/ 0 w 97"/>
                  <a:gd name="T15" fmla="*/ 136 h 136"/>
                  <a:gd name="T16" fmla="*/ 42 w 97"/>
                  <a:gd name="T17" fmla="*/ 76 h 136"/>
                  <a:gd name="T18" fmla="*/ 70 w 97"/>
                  <a:gd name="T19" fmla="*/ 43 h 136"/>
                  <a:gd name="T20" fmla="*/ 51 w 97"/>
                  <a:gd name="T21" fmla="*/ 23 h 136"/>
                  <a:gd name="T22" fmla="*/ 28 w 97"/>
                  <a:gd name="T23" fmla="*/ 54 h 136"/>
                  <a:gd name="T24" fmla="*/ 3 w 97"/>
                  <a:gd name="T25" fmla="*/ 5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 h="136">
                    <a:moveTo>
                      <a:pt x="3" y="54"/>
                    </a:moveTo>
                    <a:cubicBezTo>
                      <a:pt x="2" y="23"/>
                      <a:pt x="19" y="0"/>
                      <a:pt x="51" y="0"/>
                    </a:cubicBezTo>
                    <a:cubicBezTo>
                      <a:pt x="75" y="0"/>
                      <a:pt x="97" y="16"/>
                      <a:pt x="97" y="42"/>
                    </a:cubicBezTo>
                    <a:cubicBezTo>
                      <a:pt x="97" y="62"/>
                      <a:pt x="86" y="73"/>
                      <a:pt x="73" y="82"/>
                    </a:cubicBezTo>
                    <a:cubicBezTo>
                      <a:pt x="60" y="91"/>
                      <a:pt x="44" y="99"/>
                      <a:pt x="34" y="113"/>
                    </a:cubicBezTo>
                    <a:cubicBezTo>
                      <a:pt x="97" y="113"/>
                      <a:pt x="97" y="113"/>
                      <a:pt x="97" y="113"/>
                    </a:cubicBezTo>
                    <a:cubicBezTo>
                      <a:pt x="97" y="136"/>
                      <a:pt x="97" y="136"/>
                      <a:pt x="97" y="136"/>
                    </a:cubicBezTo>
                    <a:cubicBezTo>
                      <a:pt x="0" y="136"/>
                      <a:pt x="0" y="136"/>
                      <a:pt x="0" y="136"/>
                    </a:cubicBezTo>
                    <a:cubicBezTo>
                      <a:pt x="0" y="105"/>
                      <a:pt x="19" y="92"/>
                      <a:pt x="42" y="76"/>
                    </a:cubicBezTo>
                    <a:cubicBezTo>
                      <a:pt x="60" y="64"/>
                      <a:pt x="70" y="57"/>
                      <a:pt x="70" y="43"/>
                    </a:cubicBezTo>
                    <a:cubicBezTo>
                      <a:pt x="70" y="32"/>
                      <a:pt x="61" y="23"/>
                      <a:pt x="51" y="23"/>
                    </a:cubicBezTo>
                    <a:cubicBezTo>
                      <a:pt x="33" y="23"/>
                      <a:pt x="28" y="40"/>
                      <a:pt x="28" y="54"/>
                    </a:cubicBezTo>
                    <a:lnTo>
                      <a:pt x="3"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10" name="Freeform 98">
                <a:extLst>
                  <a:ext uri="{FF2B5EF4-FFF2-40B4-BE49-F238E27FC236}">
                    <a16:creationId xmlns:a16="http://schemas.microsoft.com/office/drawing/2014/main" id="{05585DC5-668B-8908-BBFA-612B80C23BEB}"/>
                  </a:ext>
                </a:extLst>
              </p:cNvPr>
              <p:cNvSpPr>
                <a:spLocks/>
              </p:cNvSpPr>
              <p:nvPr/>
            </p:nvSpPr>
            <p:spPr bwMode="auto">
              <a:xfrm>
                <a:off x="7216152" y="4694727"/>
                <a:ext cx="146388" cy="144235"/>
              </a:xfrm>
              <a:custGeom>
                <a:avLst/>
                <a:gdLst>
                  <a:gd name="T0" fmla="*/ 0 w 136"/>
                  <a:gd name="T1" fmla="*/ 58 h 134"/>
                  <a:gd name="T2" fmla="*/ 60 w 136"/>
                  <a:gd name="T3" fmla="*/ 58 h 134"/>
                  <a:gd name="T4" fmla="*/ 60 w 136"/>
                  <a:gd name="T5" fmla="*/ 0 h 134"/>
                  <a:gd name="T6" fmla="*/ 76 w 136"/>
                  <a:gd name="T7" fmla="*/ 0 h 134"/>
                  <a:gd name="T8" fmla="*/ 76 w 136"/>
                  <a:gd name="T9" fmla="*/ 58 h 134"/>
                  <a:gd name="T10" fmla="*/ 136 w 136"/>
                  <a:gd name="T11" fmla="*/ 58 h 134"/>
                  <a:gd name="T12" fmla="*/ 136 w 136"/>
                  <a:gd name="T13" fmla="*/ 75 h 134"/>
                  <a:gd name="T14" fmla="*/ 76 w 136"/>
                  <a:gd name="T15" fmla="*/ 75 h 134"/>
                  <a:gd name="T16" fmla="*/ 76 w 136"/>
                  <a:gd name="T17" fmla="*/ 134 h 134"/>
                  <a:gd name="T18" fmla="*/ 60 w 136"/>
                  <a:gd name="T19" fmla="*/ 134 h 134"/>
                  <a:gd name="T20" fmla="*/ 60 w 136"/>
                  <a:gd name="T21" fmla="*/ 75 h 134"/>
                  <a:gd name="T22" fmla="*/ 0 w 136"/>
                  <a:gd name="T23" fmla="*/ 75 h 134"/>
                  <a:gd name="T24" fmla="*/ 0 w 136"/>
                  <a:gd name="T25" fmla="*/ 58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6" h="134">
                    <a:moveTo>
                      <a:pt x="0" y="58"/>
                    </a:moveTo>
                    <a:lnTo>
                      <a:pt x="60" y="58"/>
                    </a:lnTo>
                    <a:lnTo>
                      <a:pt x="60" y="0"/>
                    </a:lnTo>
                    <a:lnTo>
                      <a:pt x="76" y="0"/>
                    </a:lnTo>
                    <a:lnTo>
                      <a:pt x="76" y="58"/>
                    </a:lnTo>
                    <a:lnTo>
                      <a:pt x="136" y="58"/>
                    </a:lnTo>
                    <a:lnTo>
                      <a:pt x="136" y="75"/>
                    </a:lnTo>
                    <a:lnTo>
                      <a:pt x="76" y="75"/>
                    </a:lnTo>
                    <a:lnTo>
                      <a:pt x="76" y="134"/>
                    </a:lnTo>
                    <a:lnTo>
                      <a:pt x="60" y="134"/>
                    </a:lnTo>
                    <a:lnTo>
                      <a:pt x="60" y="75"/>
                    </a:lnTo>
                    <a:lnTo>
                      <a:pt x="0" y="75"/>
                    </a:lnTo>
                    <a:lnTo>
                      <a:pt x="0"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11" name="Freeform 99">
                <a:extLst>
                  <a:ext uri="{FF2B5EF4-FFF2-40B4-BE49-F238E27FC236}">
                    <a16:creationId xmlns:a16="http://schemas.microsoft.com/office/drawing/2014/main" id="{BE1A1BB9-0578-0CCD-DE1A-1A18DEF0304C}"/>
                  </a:ext>
                </a:extLst>
              </p:cNvPr>
              <p:cNvSpPr>
                <a:spLocks/>
              </p:cNvSpPr>
              <p:nvPr/>
            </p:nvSpPr>
            <p:spPr bwMode="auto">
              <a:xfrm>
                <a:off x="7392678" y="4652749"/>
                <a:ext cx="142082" cy="198054"/>
              </a:xfrm>
              <a:custGeom>
                <a:avLst/>
                <a:gdLst>
                  <a:gd name="T0" fmla="*/ 3 w 98"/>
                  <a:gd name="T1" fmla="*/ 54 h 136"/>
                  <a:gd name="T2" fmla="*/ 51 w 98"/>
                  <a:gd name="T3" fmla="*/ 0 h 136"/>
                  <a:gd name="T4" fmla="*/ 97 w 98"/>
                  <a:gd name="T5" fmla="*/ 42 h 136"/>
                  <a:gd name="T6" fmla="*/ 73 w 98"/>
                  <a:gd name="T7" fmla="*/ 82 h 136"/>
                  <a:gd name="T8" fmla="*/ 35 w 98"/>
                  <a:gd name="T9" fmla="*/ 113 h 136"/>
                  <a:gd name="T10" fmla="*/ 98 w 98"/>
                  <a:gd name="T11" fmla="*/ 113 h 136"/>
                  <a:gd name="T12" fmla="*/ 98 w 98"/>
                  <a:gd name="T13" fmla="*/ 136 h 136"/>
                  <a:gd name="T14" fmla="*/ 0 w 98"/>
                  <a:gd name="T15" fmla="*/ 136 h 136"/>
                  <a:gd name="T16" fmla="*/ 42 w 98"/>
                  <a:gd name="T17" fmla="*/ 76 h 136"/>
                  <a:gd name="T18" fmla="*/ 70 w 98"/>
                  <a:gd name="T19" fmla="*/ 43 h 136"/>
                  <a:gd name="T20" fmla="*/ 51 w 98"/>
                  <a:gd name="T21" fmla="*/ 23 h 136"/>
                  <a:gd name="T22" fmla="*/ 29 w 98"/>
                  <a:gd name="T23" fmla="*/ 54 h 136"/>
                  <a:gd name="T24" fmla="*/ 3 w 98"/>
                  <a:gd name="T25" fmla="*/ 5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8" h="136">
                    <a:moveTo>
                      <a:pt x="3" y="54"/>
                    </a:moveTo>
                    <a:cubicBezTo>
                      <a:pt x="2" y="23"/>
                      <a:pt x="19" y="0"/>
                      <a:pt x="51" y="0"/>
                    </a:cubicBezTo>
                    <a:cubicBezTo>
                      <a:pt x="75" y="0"/>
                      <a:pt x="97" y="16"/>
                      <a:pt x="97" y="42"/>
                    </a:cubicBezTo>
                    <a:cubicBezTo>
                      <a:pt x="97" y="62"/>
                      <a:pt x="86" y="73"/>
                      <a:pt x="73" y="82"/>
                    </a:cubicBezTo>
                    <a:cubicBezTo>
                      <a:pt x="60" y="91"/>
                      <a:pt x="44" y="99"/>
                      <a:pt x="35" y="113"/>
                    </a:cubicBezTo>
                    <a:cubicBezTo>
                      <a:pt x="98" y="113"/>
                      <a:pt x="98" y="113"/>
                      <a:pt x="98" y="113"/>
                    </a:cubicBezTo>
                    <a:cubicBezTo>
                      <a:pt x="98" y="136"/>
                      <a:pt x="98" y="136"/>
                      <a:pt x="98" y="136"/>
                    </a:cubicBezTo>
                    <a:cubicBezTo>
                      <a:pt x="0" y="136"/>
                      <a:pt x="0" y="136"/>
                      <a:pt x="0" y="136"/>
                    </a:cubicBezTo>
                    <a:cubicBezTo>
                      <a:pt x="0" y="105"/>
                      <a:pt x="19" y="92"/>
                      <a:pt x="42" y="76"/>
                    </a:cubicBezTo>
                    <a:cubicBezTo>
                      <a:pt x="60" y="64"/>
                      <a:pt x="70" y="57"/>
                      <a:pt x="70" y="43"/>
                    </a:cubicBezTo>
                    <a:cubicBezTo>
                      <a:pt x="70" y="32"/>
                      <a:pt x="62" y="23"/>
                      <a:pt x="51" y="23"/>
                    </a:cubicBezTo>
                    <a:cubicBezTo>
                      <a:pt x="33" y="23"/>
                      <a:pt x="29" y="40"/>
                      <a:pt x="29" y="54"/>
                    </a:cubicBezTo>
                    <a:lnTo>
                      <a:pt x="3"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grpSp>
        <p:grpSp>
          <p:nvGrpSpPr>
            <p:cNvPr id="75" name="Group 74">
              <a:extLst>
                <a:ext uri="{FF2B5EF4-FFF2-40B4-BE49-F238E27FC236}">
                  <a16:creationId xmlns:a16="http://schemas.microsoft.com/office/drawing/2014/main" id="{A9F79955-6DC8-6D67-B1DD-5A34946B2CB7}"/>
                </a:ext>
              </a:extLst>
            </p:cNvPr>
            <p:cNvGrpSpPr/>
            <p:nvPr/>
          </p:nvGrpSpPr>
          <p:grpSpPr>
            <a:xfrm>
              <a:off x="6054738" y="2631307"/>
              <a:ext cx="524196" cy="561871"/>
              <a:chOff x="6054738" y="2631307"/>
              <a:chExt cx="524196" cy="561871"/>
            </a:xfrm>
            <a:solidFill>
              <a:schemeClr val="bg1"/>
            </a:solidFill>
          </p:grpSpPr>
          <p:sp>
            <p:nvSpPr>
              <p:cNvPr id="104" name="Freeform 100">
                <a:extLst>
                  <a:ext uri="{FF2B5EF4-FFF2-40B4-BE49-F238E27FC236}">
                    <a16:creationId xmlns:a16="http://schemas.microsoft.com/office/drawing/2014/main" id="{5F6DC8A6-49AA-383D-91E4-5FABB7F4FE18}"/>
                  </a:ext>
                </a:extLst>
              </p:cNvPr>
              <p:cNvSpPr>
                <a:spLocks noEditPoints="1"/>
              </p:cNvSpPr>
              <p:nvPr/>
            </p:nvSpPr>
            <p:spPr bwMode="auto">
              <a:xfrm>
                <a:off x="6054738" y="2631307"/>
                <a:ext cx="444545" cy="506975"/>
              </a:xfrm>
              <a:custGeom>
                <a:avLst/>
                <a:gdLst>
                  <a:gd name="T0" fmla="*/ 0 w 413"/>
                  <a:gd name="T1" fmla="*/ 193 h 471"/>
                  <a:gd name="T2" fmla="*/ 174 w 413"/>
                  <a:gd name="T3" fmla="*/ 471 h 471"/>
                  <a:gd name="T4" fmla="*/ 413 w 413"/>
                  <a:gd name="T5" fmla="*/ 0 h 471"/>
                  <a:gd name="T6" fmla="*/ 0 w 413"/>
                  <a:gd name="T7" fmla="*/ 193 h 471"/>
                  <a:gd name="T8" fmla="*/ 113 w 413"/>
                  <a:gd name="T9" fmla="*/ 218 h 471"/>
                  <a:gd name="T10" fmla="*/ 275 w 413"/>
                  <a:gd name="T11" fmla="*/ 143 h 471"/>
                  <a:gd name="T12" fmla="*/ 182 w 413"/>
                  <a:gd name="T13" fmla="*/ 328 h 471"/>
                  <a:gd name="T14" fmla="*/ 113 w 413"/>
                  <a:gd name="T15" fmla="*/ 218 h 4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3" h="471">
                    <a:moveTo>
                      <a:pt x="0" y="193"/>
                    </a:moveTo>
                    <a:lnTo>
                      <a:pt x="174" y="471"/>
                    </a:lnTo>
                    <a:lnTo>
                      <a:pt x="413" y="0"/>
                    </a:lnTo>
                    <a:lnTo>
                      <a:pt x="0" y="193"/>
                    </a:lnTo>
                    <a:close/>
                    <a:moveTo>
                      <a:pt x="113" y="218"/>
                    </a:moveTo>
                    <a:lnTo>
                      <a:pt x="275" y="143"/>
                    </a:lnTo>
                    <a:lnTo>
                      <a:pt x="182" y="328"/>
                    </a:lnTo>
                    <a:lnTo>
                      <a:pt x="113" y="2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05" name="Freeform 101">
                <a:extLst>
                  <a:ext uri="{FF2B5EF4-FFF2-40B4-BE49-F238E27FC236}">
                    <a16:creationId xmlns:a16="http://schemas.microsoft.com/office/drawing/2014/main" id="{3ABCB536-A0A5-C6CB-12A0-933F4EE8781F}"/>
                  </a:ext>
                </a:extLst>
              </p:cNvPr>
              <p:cNvSpPr>
                <a:spLocks/>
              </p:cNvSpPr>
              <p:nvPr/>
            </p:nvSpPr>
            <p:spPr bwMode="auto">
              <a:xfrm>
                <a:off x="6346436" y="2919777"/>
                <a:ext cx="182985" cy="189443"/>
              </a:xfrm>
              <a:custGeom>
                <a:avLst/>
                <a:gdLst>
                  <a:gd name="T0" fmla="*/ 0 w 170"/>
                  <a:gd name="T1" fmla="*/ 111 h 176"/>
                  <a:gd name="T2" fmla="*/ 106 w 170"/>
                  <a:gd name="T3" fmla="*/ 0 h 176"/>
                  <a:gd name="T4" fmla="*/ 170 w 170"/>
                  <a:gd name="T5" fmla="*/ 66 h 176"/>
                  <a:gd name="T6" fmla="*/ 65 w 170"/>
                  <a:gd name="T7" fmla="*/ 176 h 176"/>
                  <a:gd name="T8" fmla="*/ 0 w 170"/>
                  <a:gd name="T9" fmla="*/ 111 h 176"/>
                </a:gdLst>
                <a:ahLst/>
                <a:cxnLst>
                  <a:cxn ang="0">
                    <a:pos x="T0" y="T1"/>
                  </a:cxn>
                  <a:cxn ang="0">
                    <a:pos x="T2" y="T3"/>
                  </a:cxn>
                  <a:cxn ang="0">
                    <a:pos x="T4" y="T5"/>
                  </a:cxn>
                  <a:cxn ang="0">
                    <a:pos x="T6" y="T7"/>
                  </a:cxn>
                  <a:cxn ang="0">
                    <a:pos x="T8" y="T9"/>
                  </a:cxn>
                </a:cxnLst>
                <a:rect l="0" t="0" r="r" b="b"/>
                <a:pathLst>
                  <a:path w="170" h="176">
                    <a:moveTo>
                      <a:pt x="0" y="111"/>
                    </a:moveTo>
                    <a:lnTo>
                      <a:pt x="106" y="0"/>
                    </a:lnTo>
                    <a:lnTo>
                      <a:pt x="170" y="66"/>
                    </a:lnTo>
                    <a:lnTo>
                      <a:pt x="65" y="176"/>
                    </a:lnTo>
                    <a:lnTo>
                      <a:pt x="0"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06" name="Freeform 102">
                <a:extLst>
                  <a:ext uri="{FF2B5EF4-FFF2-40B4-BE49-F238E27FC236}">
                    <a16:creationId xmlns:a16="http://schemas.microsoft.com/office/drawing/2014/main" id="{FBB2A49C-55FC-E60E-8330-F5BB503B0A13}"/>
                  </a:ext>
                </a:extLst>
              </p:cNvPr>
              <p:cNvSpPr>
                <a:spLocks/>
              </p:cNvSpPr>
              <p:nvPr/>
            </p:nvSpPr>
            <p:spPr bwMode="auto">
              <a:xfrm>
                <a:off x="6317375" y="3051095"/>
                <a:ext cx="87187" cy="79652"/>
              </a:xfrm>
              <a:custGeom>
                <a:avLst/>
                <a:gdLst>
                  <a:gd name="T0" fmla="*/ 16 w 60"/>
                  <a:gd name="T1" fmla="*/ 0 h 55"/>
                  <a:gd name="T2" fmla="*/ 60 w 60"/>
                  <a:gd name="T3" fmla="*/ 45 h 55"/>
                  <a:gd name="T4" fmla="*/ 0 w 60"/>
                  <a:gd name="T5" fmla="*/ 55 h 55"/>
                  <a:gd name="T6" fmla="*/ 16 w 60"/>
                  <a:gd name="T7" fmla="*/ 0 h 55"/>
                </a:gdLst>
                <a:ahLst/>
                <a:cxnLst>
                  <a:cxn ang="0">
                    <a:pos x="T0" y="T1"/>
                  </a:cxn>
                  <a:cxn ang="0">
                    <a:pos x="T2" y="T3"/>
                  </a:cxn>
                  <a:cxn ang="0">
                    <a:pos x="T4" y="T5"/>
                  </a:cxn>
                  <a:cxn ang="0">
                    <a:pos x="T6" y="T7"/>
                  </a:cxn>
                </a:cxnLst>
                <a:rect l="0" t="0" r="r" b="b"/>
                <a:pathLst>
                  <a:path w="60" h="55">
                    <a:moveTo>
                      <a:pt x="16" y="0"/>
                    </a:moveTo>
                    <a:cubicBezTo>
                      <a:pt x="17" y="1"/>
                      <a:pt x="60" y="45"/>
                      <a:pt x="60" y="45"/>
                    </a:cubicBezTo>
                    <a:cubicBezTo>
                      <a:pt x="0" y="55"/>
                      <a:pt x="0" y="55"/>
                      <a:pt x="0" y="55"/>
                    </a:cubicBezTo>
                    <a:lnTo>
                      <a:pt x="1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07" name="Freeform 103">
                <a:extLst>
                  <a:ext uri="{FF2B5EF4-FFF2-40B4-BE49-F238E27FC236}">
                    <a16:creationId xmlns:a16="http://schemas.microsoft.com/office/drawing/2014/main" id="{32FC6FB8-D4D5-A36B-54BA-D3F6F27F8E73}"/>
                  </a:ext>
                </a:extLst>
              </p:cNvPr>
              <p:cNvSpPr>
                <a:spLocks/>
              </p:cNvSpPr>
              <p:nvPr/>
            </p:nvSpPr>
            <p:spPr bwMode="auto">
              <a:xfrm>
                <a:off x="6456227" y="2869187"/>
                <a:ext cx="122707" cy="121631"/>
              </a:xfrm>
              <a:custGeom>
                <a:avLst/>
                <a:gdLst>
                  <a:gd name="T0" fmla="*/ 89 w 114"/>
                  <a:gd name="T1" fmla="*/ 113 h 113"/>
                  <a:gd name="T2" fmla="*/ 0 w 114"/>
                  <a:gd name="T3" fmla="*/ 26 h 113"/>
                  <a:gd name="T4" fmla="*/ 25 w 114"/>
                  <a:gd name="T5" fmla="*/ 0 h 113"/>
                  <a:gd name="T6" fmla="*/ 114 w 114"/>
                  <a:gd name="T7" fmla="*/ 88 h 113"/>
                  <a:gd name="T8" fmla="*/ 89 w 114"/>
                  <a:gd name="T9" fmla="*/ 113 h 113"/>
                </a:gdLst>
                <a:ahLst/>
                <a:cxnLst>
                  <a:cxn ang="0">
                    <a:pos x="T0" y="T1"/>
                  </a:cxn>
                  <a:cxn ang="0">
                    <a:pos x="T2" y="T3"/>
                  </a:cxn>
                  <a:cxn ang="0">
                    <a:pos x="T4" y="T5"/>
                  </a:cxn>
                  <a:cxn ang="0">
                    <a:pos x="T6" y="T7"/>
                  </a:cxn>
                  <a:cxn ang="0">
                    <a:pos x="T8" y="T9"/>
                  </a:cxn>
                </a:cxnLst>
                <a:rect l="0" t="0" r="r" b="b"/>
                <a:pathLst>
                  <a:path w="114" h="113">
                    <a:moveTo>
                      <a:pt x="89" y="113"/>
                    </a:moveTo>
                    <a:lnTo>
                      <a:pt x="0" y="26"/>
                    </a:lnTo>
                    <a:lnTo>
                      <a:pt x="25" y="0"/>
                    </a:lnTo>
                    <a:lnTo>
                      <a:pt x="114" y="88"/>
                    </a:lnTo>
                    <a:lnTo>
                      <a:pt x="89"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08" name="Rectangle 104">
                <a:extLst>
                  <a:ext uri="{FF2B5EF4-FFF2-40B4-BE49-F238E27FC236}">
                    <a16:creationId xmlns:a16="http://schemas.microsoft.com/office/drawing/2014/main" id="{130BB474-CFB2-6C7C-A6BB-F64B04FE120C}"/>
                  </a:ext>
                </a:extLst>
              </p:cNvPr>
              <p:cNvSpPr>
                <a:spLocks noChangeArrowheads="1"/>
              </p:cNvSpPr>
              <p:nvPr/>
            </p:nvSpPr>
            <p:spPr bwMode="auto">
              <a:xfrm>
                <a:off x="6179598" y="3164115"/>
                <a:ext cx="285241" cy="290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grpSp>
        <p:sp>
          <p:nvSpPr>
            <p:cNvPr id="76" name="Freeform 105">
              <a:extLst>
                <a:ext uri="{FF2B5EF4-FFF2-40B4-BE49-F238E27FC236}">
                  <a16:creationId xmlns:a16="http://schemas.microsoft.com/office/drawing/2014/main" id="{38653E62-17A0-C3C9-7BFC-803E34689FC1}"/>
                </a:ext>
              </a:extLst>
            </p:cNvPr>
            <p:cNvSpPr>
              <a:spLocks noEditPoints="1"/>
            </p:cNvSpPr>
            <p:nvPr/>
          </p:nvSpPr>
          <p:spPr bwMode="auto">
            <a:xfrm>
              <a:off x="4434785" y="4768998"/>
              <a:ext cx="188367" cy="223887"/>
            </a:xfrm>
            <a:custGeom>
              <a:avLst/>
              <a:gdLst>
                <a:gd name="T0" fmla="*/ 37 w 129"/>
                <a:gd name="T1" fmla="*/ 106 h 154"/>
                <a:gd name="T2" fmla="*/ 21 w 129"/>
                <a:gd name="T3" fmla="*/ 154 h 154"/>
                <a:gd name="T4" fmla="*/ 0 w 129"/>
                <a:gd name="T5" fmla="*/ 154 h 154"/>
                <a:gd name="T6" fmla="*/ 53 w 129"/>
                <a:gd name="T7" fmla="*/ 0 h 154"/>
                <a:gd name="T8" fmla="*/ 77 w 129"/>
                <a:gd name="T9" fmla="*/ 0 h 154"/>
                <a:gd name="T10" fmla="*/ 129 w 129"/>
                <a:gd name="T11" fmla="*/ 154 h 154"/>
                <a:gd name="T12" fmla="*/ 108 w 129"/>
                <a:gd name="T13" fmla="*/ 154 h 154"/>
                <a:gd name="T14" fmla="*/ 92 w 129"/>
                <a:gd name="T15" fmla="*/ 106 h 154"/>
                <a:gd name="T16" fmla="*/ 37 w 129"/>
                <a:gd name="T17" fmla="*/ 106 h 154"/>
                <a:gd name="T18" fmla="*/ 88 w 129"/>
                <a:gd name="T19" fmla="*/ 90 h 154"/>
                <a:gd name="T20" fmla="*/ 72 w 129"/>
                <a:gd name="T21" fmla="*/ 46 h 154"/>
                <a:gd name="T22" fmla="*/ 64 w 129"/>
                <a:gd name="T23" fmla="*/ 18 h 154"/>
                <a:gd name="T24" fmla="*/ 64 w 129"/>
                <a:gd name="T25" fmla="*/ 18 h 154"/>
                <a:gd name="T26" fmla="*/ 56 w 129"/>
                <a:gd name="T27" fmla="*/ 45 h 154"/>
                <a:gd name="T28" fmla="*/ 41 w 129"/>
                <a:gd name="T29" fmla="*/ 90 h 154"/>
                <a:gd name="T30" fmla="*/ 88 w 129"/>
                <a:gd name="T31" fmla="*/ 9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9" h="154">
                  <a:moveTo>
                    <a:pt x="37" y="106"/>
                  </a:moveTo>
                  <a:cubicBezTo>
                    <a:pt x="21" y="154"/>
                    <a:pt x="21" y="154"/>
                    <a:pt x="21" y="154"/>
                  </a:cubicBezTo>
                  <a:cubicBezTo>
                    <a:pt x="0" y="154"/>
                    <a:pt x="0" y="154"/>
                    <a:pt x="0" y="154"/>
                  </a:cubicBezTo>
                  <a:cubicBezTo>
                    <a:pt x="53" y="0"/>
                    <a:pt x="53" y="0"/>
                    <a:pt x="53" y="0"/>
                  </a:cubicBezTo>
                  <a:cubicBezTo>
                    <a:pt x="77" y="0"/>
                    <a:pt x="77" y="0"/>
                    <a:pt x="77" y="0"/>
                  </a:cubicBezTo>
                  <a:cubicBezTo>
                    <a:pt x="129" y="154"/>
                    <a:pt x="129" y="154"/>
                    <a:pt x="129" y="154"/>
                  </a:cubicBezTo>
                  <a:cubicBezTo>
                    <a:pt x="108" y="154"/>
                    <a:pt x="108" y="154"/>
                    <a:pt x="108" y="154"/>
                  </a:cubicBezTo>
                  <a:cubicBezTo>
                    <a:pt x="92" y="106"/>
                    <a:pt x="92" y="106"/>
                    <a:pt x="92" y="106"/>
                  </a:cubicBezTo>
                  <a:lnTo>
                    <a:pt x="37" y="106"/>
                  </a:lnTo>
                  <a:close/>
                  <a:moveTo>
                    <a:pt x="88" y="90"/>
                  </a:moveTo>
                  <a:cubicBezTo>
                    <a:pt x="72" y="46"/>
                    <a:pt x="72" y="46"/>
                    <a:pt x="72" y="46"/>
                  </a:cubicBezTo>
                  <a:cubicBezTo>
                    <a:pt x="69" y="36"/>
                    <a:pt x="67" y="26"/>
                    <a:pt x="64" y="18"/>
                  </a:cubicBezTo>
                  <a:cubicBezTo>
                    <a:pt x="64" y="18"/>
                    <a:pt x="64" y="18"/>
                    <a:pt x="64" y="18"/>
                  </a:cubicBezTo>
                  <a:cubicBezTo>
                    <a:pt x="62" y="26"/>
                    <a:pt x="59" y="36"/>
                    <a:pt x="56" y="45"/>
                  </a:cubicBezTo>
                  <a:cubicBezTo>
                    <a:pt x="41" y="90"/>
                    <a:pt x="41" y="90"/>
                    <a:pt x="41" y="90"/>
                  </a:cubicBezTo>
                  <a:lnTo>
                    <a:pt x="88" y="9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77" name="Freeform 106">
              <a:extLst>
                <a:ext uri="{FF2B5EF4-FFF2-40B4-BE49-F238E27FC236}">
                  <a16:creationId xmlns:a16="http://schemas.microsoft.com/office/drawing/2014/main" id="{08AA46C4-E07E-4323-81B4-99D29541DC08}"/>
                </a:ext>
              </a:extLst>
            </p:cNvPr>
            <p:cNvSpPr>
              <a:spLocks noEditPoints="1"/>
            </p:cNvSpPr>
            <p:nvPr/>
          </p:nvSpPr>
          <p:spPr bwMode="auto">
            <a:xfrm>
              <a:off x="4652214" y="4650596"/>
              <a:ext cx="142082" cy="226040"/>
            </a:xfrm>
            <a:custGeom>
              <a:avLst/>
              <a:gdLst>
                <a:gd name="T0" fmla="*/ 0 w 98"/>
                <a:gd name="T1" fmla="*/ 3 h 156"/>
                <a:gd name="T2" fmla="*/ 37 w 98"/>
                <a:gd name="T3" fmla="*/ 0 h 156"/>
                <a:gd name="T4" fmla="*/ 79 w 98"/>
                <a:gd name="T5" fmla="*/ 11 h 156"/>
                <a:gd name="T6" fmla="*/ 92 w 98"/>
                <a:gd name="T7" fmla="*/ 38 h 156"/>
                <a:gd name="T8" fmla="*/ 66 w 98"/>
                <a:gd name="T9" fmla="*/ 72 h 156"/>
                <a:gd name="T10" fmla="*/ 66 w 98"/>
                <a:gd name="T11" fmla="*/ 73 h 156"/>
                <a:gd name="T12" fmla="*/ 98 w 98"/>
                <a:gd name="T13" fmla="*/ 111 h 156"/>
                <a:gd name="T14" fmla="*/ 84 w 98"/>
                <a:gd name="T15" fmla="*/ 142 h 156"/>
                <a:gd name="T16" fmla="*/ 31 w 98"/>
                <a:gd name="T17" fmla="*/ 156 h 156"/>
                <a:gd name="T18" fmla="*/ 0 w 98"/>
                <a:gd name="T19" fmla="*/ 155 h 156"/>
                <a:gd name="T20" fmla="*/ 0 w 98"/>
                <a:gd name="T21" fmla="*/ 3 h 156"/>
                <a:gd name="T22" fmla="*/ 20 w 98"/>
                <a:gd name="T23" fmla="*/ 66 h 156"/>
                <a:gd name="T24" fmla="*/ 38 w 98"/>
                <a:gd name="T25" fmla="*/ 66 h 156"/>
                <a:gd name="T26" fmla="*/ 72 w 98"/>
                <a:gd name="T27" fmla="*/ 40 h 156"/>
                <a:gd name="T28" fmla="*/ 38 w 98"/>
                <a:gd name="T29" fmla="*/ 15 h 156"/>
                <a:gd name="T30" fmla="*/ 20 w 98"/>
                <a:gd name="T31" fmla="*/ 16 h 156"/>
                <a:gd name="T32" fmla="*/ 20 w 98"/>
                <a:gd name="T33" fmla="*/ 66 h 156"/>
                <a:gd name="T34" fmla="*/ 20 w 98"/>
                <a:gd name="T35" fmla="*/ 140 h 156"/>
                <a:gd name="T36" fmla="*/ 37 w 98"/>
                <a:gd name="T37" fmla="*/ 141 h 156"/>
                <a:gd name="T38" fmla="*/ 77 w 98"/>
                <a:gd name="T39" fmla="*/ 111 h 156"/>
                <a:gd name="T40" fmla="*/ 37 w 98"/>
                <a:gd name="T41" fmla="*/ 81 h 156"/>
                <a:gd name="T42" fmla="*/ 20 w 98"/>
                <a:gd name="T43" fmla="*/ 81 h 156"/>
                <a:gd name="T44" fmla="*/ 20 w 98"/>
                <a:gd name="T45" fmla="*/ 14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8" h="156">
                  <a:moveTo>
                    <a:pt x="0" y="3"/>
                  </a:moveTo>
                  <a:cubicBezTo>
                    <a:pt x="9" y="1"/>
                    <a:pt x="23" y="0"/>
                    <a:pt x="37" y="0"/>
                  </a:cubicBezTo>
                  <a:cubicBezTo>
                    <a:pt x="57" y="0"/>
                    <a:pt x="69" y="3"/>
                    <a:pt x="79" y="11"/>
                  </a:cubicBezTo>
                  <a:cubicBezTo>
                    <a:pt x="87" y="17"/>
                    <a:pt x="92" y="26"/>
                    <a:pt x="92" y="38"/>
                  </a:cubicBezTo>
                  <a:cubicBezTo>
                    <a:pt x="92" y="53"/>
                    <a:pt x="82" y="66"/>
                    <a:pt x="66" y="72"/>
                  </a:cubicBezTo>
                  <a:cubicBezTo>
                    <a:pt x="66" y="73"/>
                    <a:pt x="66" y="73"/>
                    <a:pt x="66" y="73"/>
                  </a:cubicBezTo>
                  <a:cubicBezTo>
                    <a:pt x="80" y="76"/>
                    <a:pt x="98" y="88"/>
                    <a:pt x="98" y="111"/>
                  </a:cubicBezTo>
                  <a:cubicBezTo>
                    <a:pt x="98" y="124"/>
                    <a:pt x="92" y="134"/>
                    <a:pt x="84" y="142"/>
                  </a:cubicBezTo>
                  <a:cubicBezTo>
                    <a:pt x="74" y="152"/>
                    <a:pt x="56" y="156"/>
                    <a:pt x="31" y="156"/>
                  </a:cubicBezTo>
                  <a:cubicBezTo>
                    <a:pt x="18" y="156"/>
                    <a:pt x="7" y="156"/>
                    <a:pt x="0" y="155"/>
                  </a:cubicBezTo>
                  <a:lnTo>
                    <a:pt x="0" y="3"/>
                  </a:lnTo>
                  <a:close/>
                  <a:moveTo>
                    <a:pt x="20" y="66"/>
                  </a:moveTo>
                  <a:cubicBezTo>
                    <a:pt x="38" y="66"/>
                    <a:pt x="38" y="66"/>
                    <a:pt x="38" y="66"/>
                  </a:cubicBezTo>
                  <a:cubicBezTo>
                    <a:pt x="59" y="66"/>
                    <a:pt x="72" y="55"/>
                    <a:pt x="72" y="40"/>
                  </a:cubicBezTo>
                  <a:cubicBezTo>
                    <a:pt x="72" y="22"/>
                    <a:pt x="58" y="15"/>
                    <a:pt x="38" y="15"/>
                  </a:cubicBezTo>
                  <a:cubicBezTo>
                    <a:pt x="29" y="15"/>
                    <a:pt x="23" y="16"/>
                    <a:pt x="20" y="16"/>
                  </a:cubicBezTo>
                  <a:lnTo>
                    <a:pt x="20" y="66"/>
                  </a:lnTo>
                  <a:close/>
                  <a:moveTo>
                    <a:pt x="20" y="140"/>
                  </a:moveTo>
                  <a:cubicBezTo>
                    <a:pt x="24" y="141"/>
                    <a:pt x="30" y="141"/>
                    <a:pt x="37" y="141"/>
                  </a:cubicBezTo>
                  <a:cubicBezTo>
                    <a:pt x="58" y="141"/>
                    <a:pt x="77" y="133"/>
                    <a:pt x="77" y="111"/>
                  </a:cubicBezTo>
                  <a:cubicBezTo>
                    <a:pt x="77" y="90"/>
                    <a:pt x="58" y="81"/>
                    <a:pt x="37" y="81"/>
                  </a:cubicBezTo>
                  <a:cubicBezTo>
                    <a:pt x="20" y="81"/>
                    <a:pt x="20" y="81"/>
                    <a:pt x="20" y="81"/>
                  </a:cubicBezTo>
                  <a:lnTo>
                    <a:pt x="20" y="14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78" name="Freeform 107">
              <a:extLst>
                <a:ext uri="{FF2B5EF4-FFF2-40B4-BE49-F238E27FC236}">
                  <a16:creationId xmlns:a16="http://schemas.microsoft.com/office/drawing/2014/main" id="{9D90C54B-8D3D-AC21-C910-D93603E6F569}"/>
                </a:ext>
              </a:extLst>
            </p:cNvPr>
            <p:cNvSpPr>
              <a:spLocks/>
            </p:cNvSpPr>
            <p:nvPr/>
          </p:nvSpPr>
          <p:spPr bwMode="auto">
            <a:xfrm>
              <a:off x="4673742" y="4935836"/>
              <a:ext cx="144235" cy="194825"/>
            </a:xfrm>
            <a:custGeom>
              <a:avLst/>
              <a:gdLst>
                <a:gd name="T0" fmla="*/ 99 w 99"/>
                <a:gd name="T1" fmla="*/ 128 h 134"/>
                <a:gd name="T2" fmla="*/ 64 w 99"/>
                <a:gd name="T3" fmla="*/ 134 h 134"/>
                <a:gd name="T4" fmla="*/ 0 w 99"/>
                <a:gd name="T5" fmla="*/ 68 h 134"/>
                <a:gd name="T6" fmla="*/ 68 w 99"/>
                <a:gd name="T7" fmla="*/ 0 h 134"/>
                <a:gd name="T8" fmla="*/ 99 w 99"/>
                <a:gd name="T9" fmla="*/ 5 h 134"/>
                <a:gd name="T10" fmla="*/ 95 w 99"/>
                <a:gd name="T11" fmla="*/ 19 h 134"/>
                <a:gd name="T12" fmla="*/ 69 w 99"/>
                <a:gd name="T13" fmla="*/ 14 h 134"/>
                <a:gd name="T14" fmla="*/ 18 w 99"/>
                <a:gd name="T15" fmla="*/ 67 h 134"/>
                <a:gd name="T16" fmla="*/ 68 w 99"/>
                <a:gd name="T17" fmla="*/ 119 h 134"/>
                <a:gd name="T18" fmla="*/ 95 w 99"/>
                <a:gd name="T19" fmla="*/ 114 h 134"/>
                <a:gd name="T20" fmla="*/ 99 w 99"/>
                <a:gd name="T21" fmla="*/ 128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 h="134">
                  <a:moveTo>
                    <a:pt x="99" y="128"/>
                  </a:moveTo>
                  <a:cubicBezTo>
                    <a:pt x="93" y="131"/>
                    <a:pt x="80" y="134"/>
                    <a:pt x="64" y="134"/>
                  </a:cubicBezTo>
                  <a:cubicBezTo>
                    <a:pt x="28" y="134"/>
                    <a:pt x="0" y="111"/>
                    <a:pt x="0" y="68"/>
                  </a:cubicBezTo>
                  <a:cubicBezTo>
                    <a:pt x="0" y="27"/>
                    <a:pt x="28" y="0"/>
                    <a:pt x="68" y="0"/>
                  </a:cubicBezTo>
                  <a:cubicBezTo>
                    <a:pt x="84" y="0"/>
                    <a:pt x="95" y="3"/>
                    <a:pt x="99" y="5"/>
                  </a:cubicBezTo>
                  <a:cubicBezTo>
                    <a:pt x="95" y="19"/>
                    <a:pt x="95" y="19"/>
                    <a:pt x="95" y="19"/>
                  </a:cubicBezTo>
                  <a:cubicBezTo>
                    <a:pt x="89" y="16"/>
                    <a:pt x="80" y="14"/>
                    <a:pt x="69" y="14"/>
                  </a:cubicBezTo>
                  <a:cubicBezTo>
                    <a:pt x="38" y="14"/>
                    <a:pt x="18" y="33"/>
                    <a:pt x="18" y="67"/>
                  </a:cubicBezTo>
                  <a:cubicBezTo>
                    <a:pt x="18" y="99"/>
                    <a:pt x="36" y="119"/>
                    <a:pt x="68" y="119"/>
                  </a:cubicBezTo>
                  <a:cubicBezTo>
                    <a:pt x="78" y="119"/>
                    <a:pt x="89" y="117"/>
                    <a:pt x="95" y="114"/>
                  </a:cubicBezTo>
                  <a:lnTo>
                    <a:pt x="99" y="12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grpSp>
          <p:nvGrpSpPr>
            <p:cNvPr id="79" name="Group 78">
              <a:extLst>
                <a:ext uri="{FF2B5EF4-FFF2-40B4-BE49-F238E27FC236}">
                  <a16:creationId xmlns:a16="http://schemas.microsoft.com/office/drawing/2014/main" id="{6E614FA9-C9FD-A029-9649-CD978E343744}"/>
                </a:ext>
              </a:extLst>
            </p:cNvPr>
            <p:cNvGrpSpPr/>
            <p:nvPr/>
          </p:nvGrpSpPr>
          <p:grpSpPr>
            <a:xfrm>
              <a:off x="4247495" y="3384773"/>
              <a:ext cx="410101" cy="395032"/>
              <a:chOff x="4247495" y="3384773"/>
              <a:chExt cx="410101" cy="395032"/>
            </a:xfrm>
            <a:solidFill>
              <a:schemeClr val="bg1"/>
            </a:solidFill>
          </p:grpSpPr>
          <p:sp>
            <p:nvSpPr>
              <p:cNvPr id="92" name="Freeform 108">
                <a:extLst>
                  <a:ext uri="{FF2B5EF4-FFF2-40B4-BE49-F238E27FC236}">
                    <a16:creationId xmlns:a16="http://schemas.microsoft.com/office/drawing/2014/main" id="{EAC3C176-39D9-A818-3828-16174A36B827}"/>
                  </a:ext>
                </a:extLst>
              </p:cNvPr>
              <p:cNvSpPr>
                <a:spLocks noEditPoints="1"/>
              </p:cNvSpPr>
              <p:nvPr/>
            </p:nvSpPr>
            <p:spPr bwMode="auto">
              <a:xfrm>
                <a:off x="4305620" y="3564528"/>
                <a:ext cx="215276" cy="215276"/>
              </a:xfrm>
              <a:custGeom>
                <a:avLst/>
                <a:gdLst>
                  <a:gd name="T0" fmla="*/ 148 w 148"/>
                  <a:gd name="T1" fmla="*/ 145 h 148"/>
                  <a:gd name="T2" fmla="*/ 145 w 148"/>
                  <a:gd name="T3" fmla="*/ 148 h 148"/>
                  <a:gd name="T4" fmla="*/ 3 w 148"/>
                  <a:gd name="T5" fmla="*/ 148 h 148"/>
                  <a:gd name="T6" fmla="*/ 0 w 148"/>
                  <a:gd name="T7" fmla="*/ 145 h 148"/>
                  <a:gd name="T8" fmla="*/ 0 w 148"/>
                  <a:gd name="T9" fmla="*/ 3 h 148"/>
                  <a:gd name="T10" fmla="*/ 3 w 148"/>
                  <a:gd name="T11" fmla="*/ 0 h 148"/>
                  <a:gd name="T12" fmla="*/ 145 w 148"/>
                  <a:gd name="T13" fmla="*/ 0 h 148"/>
                  <a:gd name="T14" fmla="*/ 148 w 148"/>
                  <a:gd name="T15" fmla="*/ 3 h 148"/>
                  <a:gd name="T16" fmla="*/ 148 w 148"/>
                  <a:gd name="T17" fmla="*/ 145 h 148"/>
                  <a:gd name="T18" fmla="*/ 4 w 148"/>
                  <a:gd name="T19" fmla="*/ 140 h 148"/>
                  <a:gd name="T20" fmla="*/ 144 w 148"/>
                  <a:gd name="T21" fmla="*/ 140 h 148"/>
                  <a:gd name="T22" fmla="*/ 144 w 148"/>
                  <a:gd name="T23" fmla="*/ 8 h 148"/>
                  <a:gd name="T24" fmla="*/ 4 w 148"/>
                  <a:gd name="T25" fmla="*/ 8 h 148"/>
                  <a:gd name="T26" fmla="*/ 4 w 148"/>
                  <a:gd name="T27" fmla="*/ 14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8" h="148">
                    <a:moveTo>
                      <a:pt x="148" y="145"/>
                    </a:moveTo>
                    <a:cubicBezTo>
                      <a:pt x="148" y="147"/>
                      <a:pt x="147" y="148"/>
                      <a:pt x="145" y="148"/>
                    </a:cubicBezTo>
                    <a:cubicBezTo>
                      <a:pt x="3" y="148"/>
                      <a:pt x="3" y="148"/>
                      <a:pt x="3" y="148"/>
                    </a:cubicBezTo>
                    <a:cubicBezTo>
                      <a:pt x="1" y="148"/>
                      <a:pt x="0" y="147"/>
                      <a:pt x="0" y="145"/>
                    </a:cubicBezTo>
                    <a:cubicBezTo>
                      <a:pt x="0" y="3"/>
                      <a:pt x="0" y="3"/>
                      <a:pt x="0" y="3"/>
                    </a:cubicBezTo>
                    <a:cubicBezTo>
                      <a:pt x="0" y="1"/>
                      <a:pt x="1" y="0"/>
                      <a:pt x="3" y="0"/>
                    </a:cubicBezTo>
                    <a:cubicBezTo>
                      <a:pt x="145" y="0"/>
                      <a:pt x="145" y="0"/>
                      <a:pt x="145" y="0"/>
                    </a:cubicBezTo>
                    <a:cubicBezTo>
                      <a:pt x="147" y="0"/>
                      <a:pt x="148" y="1"/>
                      <a:pt x="148" y="3"/>
                    </a:cubicBezTo>
                    <a:lnTo>
                      <a:pt x="148" y="145"/>
                    </a:lnTo>
                    <a:close/>
                    <a:moveTo>
                      <a:pt x="4" y="140"/>
                    </a:moveTo>
                    <a:cubicBezTo>
                      <a:pt x="144" y="140"/>
                      <a:pt x="144" y="140"/>
                      <a:pt x="144" y="140"/>
                    </a:cubicBezTo>
                    <a:cubicBezTo>
                      <a:pt x="144" y="8"/>
                      <a:pt x="144" y="8"/>
                      <a:pt x="144" y="8"/>
                    </a:cubicBezTo>
                    <a:cubicBezTo>
                      <a:pt x="4" y="8"/>
                      <a:pt x="4" y="8"/>
                      <a:pt x="4" y="8"/>
                    </a:cubicBezTo>
                    <a:lnTo>
                      <a:pt x="4" y="1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93" name="Freeform 109">
                <a:extLst>
                  <a:ext uri="{FF2B5EF4-FFF2-40B4-BE49-F238E27FC236}">
                    <a16:creationId xmlns:a16="http://schemas.microsoft.com/office/drawing/2014/main" id="{1CD8D5B4-ADED-FD32-8C89-E28486B6E126}"/>
                  </a:ext>
                </a:extLst>
              </p:cNvPr>
              <p:cNvSpPr>
                <a:spLocks/>
              </p:cNvSpPr>
              <p:nvPr/>
            </p:nvSpPr>
            <p:spPr bwMode="auto">
              <a:xfrm>
                <a:off x="4308849" y="3488106"/>
                <a:ext cx="289547" cy="85034"/>
              </a:xfrm>
              <a:custGeom>
                <a:avLst/>
                <a:gdLst>
                  <a:gd name="T0" fmla="*/ 144 w 199"/>
                  <a:gd name="T1" fmla="*/ 59 h 59"/>
                  <a:gd name="T2" fmla="*/ 142 w 199"/>
                  <a:gd name="T3" fmla="*/ 59 h 59"/>
                  <a:gd name="T4" fmla="*/ 142 w 199"/>
                  <a:gd name="T5" fmla="*/ 55 h 59"/>
                  <a:gd name="T6" fmla="*/ 190 w 199"/>
                  <a:gd name="T7" fmla="*/ 5 h 59"/>
                  <a:gd name="T8" fmla="*/ 55 w 199"/>
                  <a:gd name="T9" fmla="*/ 5 h 59"/>
                  <a:gd name="T10" fmla="*/ 5 w 199"/>
                  <a:gd name="T11" fmla="*/ 58 h 59"/>
                  <a:gd name="T12" fmla="*/ 1 w 199"/>
                  <a:gd name="T13" fmla="*/ 58 h 59"/>
                  <a:gd name="T14" fmla="*/ 1 w 199"/>
                  <a:gd name="T15" fmla="*/ 54 h 59"/>
                  <a:gd name="T16" fmla="*/ 52 w 199"/>
                  <a:gd name="T17" fmla="*/ 1 h 59"/>
                  <a:gd name="T18" fmla="*/ 54 w 199"/>
                  <a:gd name="T19" fmla="*/ 1 h 59"/>
                  <a:gd name="T20" fmla="*/ 196 w 199"/>
                  <a:gd name="T21" fmla="*/ 1 h 59"/>
                  <a:gd name="T22" fmla="*/ 199 w 199"/>
                  <a:gd name="T23" fmla="*/ 2 h 59"/>
                  <a:gd name="T24" fmla="*/ 198 w 199"/>
                  <a:gd name="T25" fmla="*/ 4 h 59"/>
                  <a:gd name="T26" fmla="*/ 146 w 199"/>
                  <a:gd name="T27" fmla="*/ 59 h 59"/>
                  <a:gd name="T28" fmla="*/ 144 w 199"/>
                  <a:gd name="T29"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9" h="59">
                    <a:moveTo>
                      <a:pt x="144" y="59"/>
                    </a:moveTo>
                    <a:cubicBezTo>
                      <a:pt x="144" y="59"/>
                      <a:pt x="143" y="59"/>
                      <a:pt x="142" y="59"/>
                    </a:cubicBezTo>
                    <a:cubicBezTo>
                      <a:pt x="141" y="58"/>
                      <a:pt x="141" y="56"/>
                      <a:pt x="142" y="55"/>
                    </a:cubicBezTo>
                    <a:cubicBezTo>
                      <a:pt x="190" y="5"/>
                      <a:pt x="190" y="5"/>
                      <a:pt x="190" y="5"/>
                    </a:cubicBezTo>
                    <a:cubicBezTo>
                      <a:pt x="55" y="5"/>
                      <a:pt x="55" y="5"/>
                      <a:pt x="55" y="5"/>
                    </a:cubicBezTo>
                    <a:cubicBezTo>
                      <a:pt x="5" y="58"/>
                      <a:pt x="5" y="58"/>
                      <a:pt x="5" y="58"/>
                    </a:cubicBezTo>
                    <a:cubicBezTo>
                      <a:pt x="4" y="59"/>
                      <a:pt x="2" y="59"/>
                      <a:pt x="1" y="58"/>
                    </a:cubicBezTo>
                    <a:cubicBezTo>
                      <a:pt x="0" y="57"/>
                      <a:pt x="0" y="55"/>
                      <a:pt x="1" y="54"/>
                    </a:cubicBezTo>
                    <a:cubicBezTo>
                      <a:pt x="52" y="1"/>
                      <a:pt x="52" y="1"/>
                      <a:pt x="52" y="1"/>
                    </a:cubicBezTo>
                    <a:cubicBezTo>
                      <a:pt x="52" y="0"/>
                      <a:pt x="53" y="1"/>
                      <a:pt x="54" y="1"/>
                    </a:cubicBezTo>
                    <a:cubicBezTo>
                      <a:pt x="196" y="1"/>
                      <a:pt x="196" y="1"/>
                      <a:pt x="196" y="1"/>
                    </a:cubicBezTo>
                    <a:cubicBezTo>
                      <a:pt x="197" y="1"/>
                      <a:pt x="198" y="1"/>
                      <a:pt x="199" y="2"/>
                    </a:cubicBezTo>
                    <a:cubicBezTo>
                      <a:pt x="199" y="3"/>
                      <a:pt x="199" y="3"/>
                      <a:pt x="198" y="4"/>
                    </a:cubicBezTo>
                    <a:cubicBezTo>
                      <a:pt x="146" y="59"/>
                      <a:pt x="146" y="59"/>
                      <a:pt x="146" y="59"/>
                    </a:cubicBezTo>
                    <a:cubicBezTo>
                      <a:pt x="146" y="59"/>
                      <a:pt x="145" y="59"/>
                      <a:pt x="144"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94" name="Freeform 110">
                <a:extLst>
                  <a:ext uri="{FF2B5EF4-FFF2-40B4-BE49-F238E27FC236}">
                    <a16:creationId xmlns:a16="http://schemas.microsoft.com/office/drawing/2014/main" id="{1169D7B2-684E-2924-29AD-765DD4934150}"/>
                  </a:ext>
                </a:extLst>
              </p:cNvPr>
              <p:cNvSpPr>
                <a:spLocks/>
              </p:cNvSpPr>
              <p:nvPr/>
            </p:nvSpPr>
            <p:spPr bwMode="auto">
              <a:xfrm>
                <a:off x="4515514" y="3489182"/>
                <a:ext cx="85034" cy="290623"/>
              </a:xfrm>
              <a:custGeom>
                <a:avLst/>
                <a:gdLst>
                  <a:gd name="T0" fmla="*/ 3 w 59"/>
                  <a:gd name="T1" fmla="*/ 200 h 200"/>
                  <a:gd name="T2" fmla="*/ 1 w 59"/>
                  <a:gd name="T3" fmla="*/ 199 h 200"/>
                  <a:gd name="T4" fmla="*/ 1 w 59"/>
                  <a:gd name="T5" fmla="*/ 195 h 200"/>
                  <a:gd name="T6" fmla="*/ 53 w 59"/>
                  <a:gd name="T7" fmla="*/ 138 h 200"/>
                  <a:gd name="T8" fmla="*/ 52 w 59"/>
                  <a:gd name="T9" fmla="*/ 2 h 200"/>
                  <a:gd name="T10" fmla="*/ 54 w 59"/>
                  <a:gd name="T11" fmla="*/ 0 h 200"/>
                  <a:gd name="T12" fmla="*/ 57 w 59"/>
                  <a:gd name="T13" fmla="*/ 2 h 200"/>
                  <a:gd name="T14" fmla="*/ 59 w 59"/>
                  <a:gd name="T15" fmla="*/ 139 h 200"/>
                  <a:gd name="T16" fmla="*/ 58 w 59"/>
                  <a:gd name="T17" fmla="*/ 141 h 200"/>
                  <a:gd name="T18" fmla="*/ 5 w 59"/>
                  <a:gd name="T19" fmla="*/ 199 h 200"/>
                  <a:gd name="T20" fmla="*/ 3 w 59"/>
                  <a:gd name="T21"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 h="200">
                    <a:moveTo>
                      <a:pt x="3" y="200"/>
                    </a:moveTo>
                    <a:cubicBezTo>
                      <a:pt x="2" y="200"/>
                      <a:pt x="2" y="199"/>
                      <a:pt x="1" y="199"/>
                    </a:cubicBezTo>
                    <a:cubicBezTo>
                      <a:pt x="0" y="198"/>
                      <a:pt x="0" y="196"/>
                      <a:pt x="1" y="195"/>
                    </a:cubicBezTo>
                    <a:cubicBezTo>
                      <a:pt x="53" y="138"/>
                      <a:pt x="53" y="138"/>
                      <a:pt x="53" y="138"/>
                    </a:cubicBezTo>
                    <a:cubicBezTo>
                      <a:pt x="52" y="2"/>
                      <a:pt x="52" y="2"/>
                      <a:pt x="52" y="2"/>
                    </a:cubicBezTo>
                    <a:cubicBezTo>
                      <a:pt x="52" y="1"/>
                      <a:pt x="53" y="0"/>
                      <a:pt x="54" y="0"/>
                    </a:cubicBezTo>
                    <a:cubicBezTo>
                      <a:pt x="56" y="0"/>
                      <a:pt x="57" y="1"/>
                      <a:pt x="57" y="2"/>
                    </a:cubicBezTo>
                    <a:cubicBezTo>
                      <a:pt x="59" y="139"/>
                      <a:pt x="59" y="139"/>
                      <a:pt x="59" y="139"/>
                    </a:cubicBezTo>
                    <a:cubicBezTo>
                      <a:pt x="59" y="140"/>
                      <a:pt x="59" y="140"/>
                      <a:pt x="58" y="141"/>
                    </a:cubicBezTo>
                    <a:cubicBezTo>
                      <a:pt x="5" y="199"/>
                      <a:pt x="5" y="199"/>
                      <a:pt x="5" y="199"/>
                    </a:cubicBezTo>
                    <a:cubicBezTo>
                      <a:pt x="4" y="199"/>
                      <a:pt x="4" y="200"/>
                      <a:pt x="3" y="2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95" name="Freeform 111">
                <a:extLst>
                  <a:ext uri="{FF2B5EF4-FFF2-40B4-BE49-F238E27FC236}">
                    <a16:creationId xmlns:a16="http://schemas.microsoft.com/office/drawing/2014/main" id="{D5E4C365-27E6-FE5A-3D9B-17CD15ABF175}"/>
                  </a:ext>
                </a:extLst>
              </p:cNvPr>
              <p:cNvSpPr>
                <a:spLocks/>
              </p:cNvSpPr>
              <p:nvPr/>
            </p:nvSpPr>
            <p:spPr bwMode="auto">
              <a:xfrm>
                <a:off x="4384196" y="3488106"/>
                <a:ext cx="8611" cy="18299"/>
              </a:xfrm>
              <a:custGeom>
                <a:avLst/>
                <a:gdLst>
                  <a:gd name="T0" fmla="*/ 3 w 6"/>
                  <a:gd name="T1" fmla="*/ 13 h 13"/>
                  <a:gd name="T2" fmla="*/ 0 w 6"/>
                  <a:gd name="T3" fmla="*/ 9 h 13"/>
                  <a:gd name="T4" fmla="*/ 0 w 6"/>
                  <a:gd name="T5" fmla="*/ 4 h 13"/>
                  <a:gd name="T6" fmla="*/ 3 w 6"/>
                  <a:gd name="T7" fmla="*/ 1 h 13"/>
                  <a:gd name="T8" fmla="*/ 6 w 6"/>
                  <a:gd name="T9" fmla="*/ 3 h 13"/>
                  <a:gd name="T10" fmla="*/ 6 w 6"/>
                  <a:gd name="T11" fmla="*/ 9 h 13"/>
                  <a:gd name="T12" fmla="*/ 3 w 6"/>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6" h="13">
                    <a:moveTo>
                      <a:pt x="3" y="13"/>
                    </a:moveTo>
                    <a:cubicBezTo>
                      <a:pt x="1" y="13"/>
                      <a:pt x="0" y="11"/>
                      <a:pt x="0" y="9"/>
                    </a:cubicBezTo>
                    <a:cubicBezTo>
                      <a:pt x="0" y="4"/>
                      <a:pt x="0" y="4"/>
                      <a:pt x="0" y="4"/>
                    </a:cubicBezTo>
                    <a:cubicBezTo>
                      <a:pt x="0" y="2"/>
                      <a:pt x="1" y="1"/>
                      <a:pt x="3" y="1"/>
                    </a:cubicBezTo>
                    <a:cubicBezTo>
                      <a:pt x="4" y="0"/>
                      <a:pt x="6" y="2"/>
                      <a:pt x="6" y="3"/>
                    </a:cubicBezTo>
                    <a:cubicBezTo>
                      <a:pt x="6" y="9"/>
                      <a:pt x="6" y="9"/>
                      <a:pt x="6" y="9"/>
                    </a:cubicBezTo>
                    <a:cubicBezTo>
                      <a:pt x="6" y="11"/>
                      <a:pt x="4" y="13"/>
                      <a:pt x="3"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96" name="Freeform 112">
                <a:extLst>
                  <a:ext uri="{FF2B5EF4-FFF2-40B4-BE49-F238E27FC236}">
                    <a16:creationId xmlns:a16="http://schemas.microsoft.com/office/drawing/2014/main" id="{D3726B77-BD64-3001-BDE9-3FE616FCD225}"/>
                  </a:ext>
                </a:extLst>
              </p:cNvPr>
              <p:cNvSpPr>
                <a:spLocks noEditPoints="1"/>
              </p:cNvSpPr>
              <p:nvPr/>
            </p:nvSpPr>
            <p:spPr bwMode="auto">
              <a:xfrm>
                <a:off x="4326071" y="3510709"/>
                <a:ext cx="68888" cy="250797"/>
              </a:xfrm>
              <a:custGeom>
                <a:avLst/>
                <a:gdLst>
                  <a:gd name="T0" fmla="*/ 1 w 47"/>
                  <a:gd name="T1" fmla="*/ 171 h 172"/>
                  <a:gd name="T2" fmla="*/ 8 w 47"/>
                  <a:gd name="T3" fmla="*/ 159 h 172"/>
                  <a:gd name="T4" fmla="*/ 12 w 47"/>
                  <a:gd name="T5" fmla="*/ 163 h 172"/>
                  <a:gd name="T6" fmla="*/ 3 w 47"/>
                  <a:gd name="T7" fmla="*/ 172 h 172"/>
                  <a:gd name="T8" fmla="*/ 15 w 47"/>
                  <a:gd name="T9" fmla="*/ 155 h 172"/>
                  <a:gd name="T10" fmla="*/ 22 w 47"/>
                  <a:gd name="T11" fmla="*/ 144 h 172"/>
                  <a:gd name="T12" fmla="*/ 26 w 47"/>
                  <a:gd name="T13" fmla="*/ 147 h 172"/>
                  <a:gd name="T14" fmla="*/ 17 w 47"/>
                  <a:gd name="T15" fmla="*/ 156 h 172"/>
                  <a:gd name="T16" fmla="*/ 30 w 47"/>
                  <a:gd name="T17" fmla="*/ 139 h 172"/>
                  <a:gd name="T18" fmla="*/ 37 w 47"/>
                  <a:gd name="T19" fmla="*/ 128 h 172"/>
                  <a:gd name="T20" fmla="*/ 41 w 47"/>
                  <a:gd name="T21" fmla="*/ 131 h 172"/>
                  <a:gd name="T22" fmla="*/ 32 w 47"/>
                  <a:gd name="T23" fmla="*/ 140 h 172"/>
                  <a:gd name="T24" fmla="*/ 42 w 47"/>
                  <a:gd name="T25" fmla="*/ 122 h 172"/>
                  <a:gd name="T26" fmla="*/ 45 w 47"/>
                  <a:gd name="T27" fmla="*/ 108 h 172"/>
                  <a:gd name="T28" fmla="*/ 47 w 47"/>
                  <a:gd name="T29" fmla="*/ 122 h 172"/>
                  <a:gd name="T30" fmla="*/ 44 w 47"/>
                  <a:gd name="T31" fmla="*/ 105 h 172"/>
                  <a:gd name="T32" fmla="*/ 42 w 47"/>
                  <a:gd name="T33" fmla="*/ 90 h 172"/>
                  <a:gd name="T34" fmla="*/ 47 w 47"/>
                  <a:gd name="T35" fmla="*/ 89 h 172"/>
                  <a:gd name="T36" fmla="*/ 44 w 47"/>
                  <a:gd name="T37" fmla="*/ 105 h 172"/>
                  <a:gd name="T38" fmla="*/ 41 w 47"/>
                  <a:gd name="T39" fmla="*/ 80 h 172"/>
                  <a:gd name="T40" fmla="*/ 44 w 47"/>
                  <a:gd name="T41" fmla="*/ 65 h 172"/>
                  <a:gd name="T42" fmla="*/ 47 w 47"/>
                  <a:gd name="T43" fmla="*/ 80 h 172"/>
                  <a:gd name="T44" fmla="*/ 44 w 47"/>
                  <a:gd name="T45" fmla="*/ 61 h 172"/>
                  <a:gd name="T46" fmla="*/ 41 w 47"/>
                  <a:gd name="T47" fmla="*/ 47 h 172"/>
                  <a:gd name="T48" fmla="*/ 46 w 47"/>
                  <a:gd name="T49" fmla="*/ 46 h 172"/>
                  <a:gd name="T50" fmla="*/ 44 w 47"/>
                  <a:gd name="T51" fmla="*/ 61 h 172"/>
                  <a:gd name="T52" fmla="*/ 41 w 47"/>
                  <a:gd name="T53" fmla="*/ 35 h 172"/>
                  <a:gd name="T54" fmla="*/ 43 w 47"/>
                  <a:gd name="T55" fmla="*/ 22 h 172"/>
                  <a:gd name="T56" fmla="*/ 46 w 47"/>
                  <a:gd name="T57" fmla="*/ 35 h 172"/>
                  <a:gd name="T58" fmla="*/ 43 w 47"/>
                  <a:gd name="T59" fmla="*/ 37 h 172"/>
                  <a:gd name="T60" fmla="*/ 40 w 47"/>
                  <a:gd name="T61" fmla="*/ 12 h 172"/>
                  <a:gd name="T62" fmla="*/ 43 w 47"/>
                  <a:gd name="T63" fmla="*/ 0 h 172"/>
                  <a:gd name="T64" fmla="*/ 46 w 47"/>
                  <a:gd name="T65" fmla="*/ 1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7" h="172">
                    <a:moveTo>
                      <a:pt x="3" y="172"/>
                    </a:moveTo>
                    <a:cubicBezTo>
                      <a:pt x="2" y="172"/>
                      <a:pt x="1" y="172"/>
                      <a:pt x="1" y="171"/>
                    </a:cubicBezTo>
                    <a:cubicBezTo>
                      <a:pt x="0" y="170"/>
                      <a:pt x="0" y="168"/>
                      <a:pt x="1" y="167"/>
                    </a:cubicBezTo>
                    <a:cubicBezTo>
                      <a:pt x="8" y="159"/>
                      <a:pt x="8" y="159"/>
                      <a:pt x="8" y="159"/>
                    </a:cubicBezTo>
                    <a:cubicBezTo>
                      <a:pt x="9" y="158"/>
                      <a:pt x="11" y="158"/>
                      <a:pt x="12" y="159"/>
                    </a:cubicBezTo>
                    <a:cubicBezTo>
                      <a:pt x="13" y="160"/>
                      <a:pt x="13" y="162"/>
                      <a:pt x="12" y="163"/>
                    </a:cubicBezTo>
                    <a:cubicBezTo>
                      <a:pt x="5" y="171"/>
                      <a:pt x="5" y="171"/>
                      <a:pt x="5" y="171"/>
                    </a:cubicBezTo>
                    <a:cubicBezTo>
                      <a:pt x="4" y="171"/>
                      <a:pt x="3" y="172"/>
                      <a:pt x="3" y="172"/>
                    </a:cubicBezTo>
                    <a:close/>
                    <a:moveTo>
                      <a:pt x="17" y="156"/>
                    </a:moveTo>
                    <a:cubicBezTo>
                      <a:pt x="16" y="156"/>
                      <a:pt x="16" y="156"/>
                      <a:pt x="15" y="155"/>
                    </a:cubicBezTo>
                    <a:cubicBezTo>
                      <a:pt x="14" y="154"/>
                      <a:pt x="14" y="153"/>
                      <a:pt x="15" y="151"/>
                    </a:cubicBezTo>
                    <a:cubicBezTo>
                      <a:pt x="22" y="144"/>
                      <a:pt x="22" y="144"/>
                      <a:pt x="22" y="144"/>
                    </a:cubicBezTo>
                    <a:cubicBezTo>
                      <a:pt x="23" y="142"/>
                      <a:pt x="25" y="142"/>
                      <a:pt x="26" y="143"/>
                    </a:cubicBezTo>
                    <a:cubicBezTo>
                      <a:pt x="27" y="144"/>
                      <a:pt x="27" y="146"/>
                      <a:pt x="26" y="147"/>
                    </a:cubicBezTo>
                    <a:cubicBezTo>
                      <a:pt x="19" y="155"/>
                      <a:pt x="19" y="155"/>
                      <a:pt x="19" y="155"/>
                    </a:cubicBezTo>
                    <a:cubicBezTo>
                      <a:pt x="19" y="156"/>
                      <a:pt x="18" y="156"/>
                      <a:pt x="17" y="156"/>
                    </a:cubicBezTo>
                    <a:close/>
                    <a:moveTo>
                      <a:pt x="32" y="140"/>
                    </a:moveTo>
                    <a:cubicBezTo>
                      <a:pt x="31" y="140"/>
                      <a:pt x="30" y="140"/>
                      <a:pt x="30" y="139"/>
                    </a:cubicBezTo>
                    <a:cubicBezTo>
                      <a:pt x="29" y="138"/>
                      <a:pt x="29" y="137"/>
                      <a:pt x="30" y="136"/>
                    </a:cubicBezTo>
                    <a:cubicBezTo>
                      <a:pt x="37" y="128"/>
                      <a:pt x="37" y="128"/>
                      <a:pt x="37" y="128"/>
                    </a:cubicBezTo>
                    <a:cubicBezTo>
                      <a:pt x="38" y="127"/>
                      <a:pt x="40" y="127"/>
                      <a:pt x="41" y="128"/>
                    </a:cubicBezTo>
                    <a:cubicBezTo>
                      <a:pt x="42" y="129"/>
                      <a:pt x="42" y="130"/>
                      <a:pt x="41" y="131"/>
                    </a:cubicBezTo>
                    <a:cubicBezTo>
                      <a:pt x="34" y="139"/>
                      <a:pt x="34" y="139"/>
                      <a:pt x="34" y="139"/>
                    </a:cubicBezTo>
                    <a:cubicBezTo>
                      <a:pt x="33" y="140"/>
                      <a:pt x="32" y="140"/>
                      <a:pt x="32" y="140"/>
                    </a:cubicBezTo>
                    <a:close/>
                    <a:moveTo>
                      <a:pt x="45" y="125"/>
                    </a:moveTo>
                    <a:cubicBezTo>
                      <a:pt x="43" y="125"/>
                      <a:pt x="42" y="123"/>
                      <a:pt x="42" y="122"/>
                    </a:cubicBezTo>
                    <a:cubicBezTo>
                      <a:pt x="42" y="111"/>
                      <a:pt x="42" y="111"/>
                      <a:pt x="42" y="111"/>
                    </a:cubicBezTo>
                    <a:cubicBezTo>
                      <a:pt x="42" y="109"/>
                      <a:pt x="43" y="108"/>
                      <a:pt x="45" y="108"/>
                    </a:cubicBezTo>
                    <a:cubicBezTo>
                      <a:pt x="46" y="108"/>
                      <a:pt x="47" y="109"/>
                      <a:pt x="47" y="110"/>
                    </a:cubicBezTo>
                    <a:cubicBezTo>
                      <a:pt x="47" y="122"/>
                      <a:pt x="47" y="122"/>
                      <a:pt x="47" y="122"/>
                    </a:cubicBezTo>
                    <a:cubicBezTo>
                      <a:pt x="47" y="123"/>
                      <a:pt x="46" y="125"/>
                      <a:pt x="45" y="125"/>
                    </a:cubicBezTo>
                    <a:close/>
                    <a:moveTo>
                      <a:pt x="44" y="105"/>
                    </a:moveTo>
                    <a:cubicBezTo>
                      <a:pt x="43" y="105"/>
                      <a:pt x="42" y="103"/>
                      <a:pt x="42" y="101"/>
                    </a:cubicBezTo>
                    <a:cubicBezTo>
                      <a:pt x="42" y="90"/>
                      <a:pt x="42" y="90"/>
                      <a:pt x="42" y="90"/>
                    </a:cubicBezTo>
                    <a:cubicBezTo>
                      <a:pt x="42" y="88"/>
                      <a:pt x="43" y="87"/>
                      <a:pt x="44" y="87"/>
                    </a:cubicBezTo>
                    <a:cubicBezTo>
                      <a:pt x="46" y="86"/>
                      <a:pt x="47" y="88"/>
                      <a:pt x="47" y="89"/>
                    </a:cubicBezTo>
                    <a:cubicBezTo>
                      <a:pt x="47" y="101"/>
                      <a:pt x="47" y="101"/>
                      <a:pt x="47" y="101"/>
                    </a:cubicBezTo>
                    <a:cubicBezTo>
                      <a:pt x="47" y="103"/>
                      <a:pt x="46" y="105"/>
                      <a:pt x="44" y="105"/>
                    </a:cubicBezTo>
                    <a:close/>
                    <a:moveTo>
                      <a:pt x="44" y="85"/>
                    </a:moveTo>
                    <a:cubicBezTo>
                      <a:pt x="43" y="85"/>
                      <a:pt x="41" y="82"/>
                      <a:pt x="41" y="80"/>
                    </a:cubicBezTo>
                    <a:cubicBezTo>
                      <a:pt x="41" y="69"/>
                      <a:pt x="41" y="69"/>
                      <a:pt x="41" y="69"/>
                    </a:cubicBezTo>
                    <a:cubicBezTo>
                      <a:pt x="41" y="67"/>
                      <a:pt x="42" y="65"/>
                      <a:pt x="44" y="65"/>
                    </a:cubicBezTo>
                    <a:cubicBezTo>
                      <a:pt x="45" y="65"/>
                      <a:pt x="47" y="66"/>
                      <a:pt x="47" y="68"/>
                    </a:cubicBezTo>
                    <a:cubicBezTo>
                      <a:pt x="47" y="80"/>
                      <a:pt x="47" y="80"/>
                      <a:pt x="47" y="80"/>
                    </a:cubicBezTo>
                    <a:cubicBezTo>
                      <a:pt x="47" y="82"/>
                      <a:pt x="46" y="85"/>
                      <a:pt x="44" y="85"/>
                    </a:cubicBezTo>
                    <a:close/>
                    <a:moveTo>
                      <a:pt x="44" y="61"/>
                    </a:moveTo>
                    <a:cubicBezTo>
                      <a:pt x="42" y="61"/>
                      <a:pt x="41" y="59"/>
                      <a:pt x="41" y="58"/>
                    </a:cubicBezTo>
                    <a:cubicBezTo>
                      <a:pt x="41" y="47"/>
                      <a:pt x="41" y="47"/>
                      <a:pt x="41" y="47"/>
                    </a:cubicBezTo>
                    <a:cubicBezTo>
                      <a:pt x="41" y="45"/>
                      <a:pt x="42" y="44"/>
                      <a:pt x="44" y="44"/>
                    </a:cubicBezTo>
                    <a:cubicBezTo>
                      <a:pt x="45" y="43"/>
                      <a:pt x="46" y="45"/>
                      <a:pt x="46" y="46"/>
                    </a:cubicBezTo>
                    <a:cubicBezTo>
                      <a:pt x="47" y="58"/>
                      <a:pt x="47" y="58"/>
                      <a:pt x="47" y="58"/>
                    </a:cubicBezTo>
                    <a:cubicBezTo>
                      <a:pt x="47" y="59"/>
                      <a:pt x="45" y="61"/>
                      <a:pt x="44" y="61"/>
                    </a:cubicBezTo>
                    <a:close/>
                    <a:moveTo>
                      <a:pt x="43" y="37"/>
                    </a:moveTo>
                    <a:cubicBezTo>
                      <a:pt x="42" y="37"/>
                      <a:pt x="41" y="36"/>
                      <a:pt x="41" y="35"/>
                    </a:cubicBezTo>
                    <a:cubicBezTo>
                      <a:pt x="41" y="24"/>
                      <a:pt x="41" y="24"/>
                      <a:pt x="41" y="24"/>
                    </a:cubicBezTo>
                    <a:cubicBezTo>
                      <a:pt x="41" y="23"/>
                      <a:pt x="42" y="22"/>
                      <a:pt x="43" y="22"/>
                    </a:cubicBezTo>
                    <a:cubicBezTo>
                      <a:pt x="45" y="22"/>
                      <a:pt x="46" y="23"/>
                      <a:pt x="46" y="25"/>
                    </a:cubicBezTo>
                    <a:cubicBezTo>
                      <a:pt x="46" y="35"/>
                      <a:pt x="46" y="35"/>
                      <a:pt x="46" y="35"/>
                    </a:cubicBezTo>
                    <a:cubicBezTo>
                      <a:pt x="46" y="36"/>
                      <a:pt x="45" y="37"/>
                      <a:pt x="44" y="37"/>
                    </a:cubicBezTo>
                    <a:lnTo>
                      <a:pt x="43" y="37"/>
                    </a:lnTo>
                    <a:close/>
                    <a:moveTo>
                      <a:pt x="43" y="13"/>
                    </a:moveTo>
                    <a:cubicBezTo>
                      <a:pt x="42" y="13"/>
                      <a:pt x="40" y="14"/>
                      <a:pt x="40" y="12"/>
                    </a:cubicBezTo>
                    <a:cubicBezTo>
                      <a:pt x="40" y="2"/>
                      <a:pt x="40" y="2"/>
                      <a:pt x="40" y="2"/>
                    </a:cubicBezTo>
                    <a:cubicBezTo>
                      <a:pt x="40" y="1"/>
                      <a:pt x="41" y="0"/>
                      <a:pt x="43" y="0"/>
                    </a:cubicBezTo>
                    <a:cubicBezTo>
                      <a:pt x="44" y="0"/>
                      <a:pt x="46" y="1"/>
                      <a:pt x="46" y="3"/>
                    </a:cubicBezTo>
                    <a:cubicBezTo>
                      <a:pt x="46" y="12"/>
                      <a:pt x="46" y="12"/>
                      <a:pt x="46" y="12"/>
                    </a:cubicBezTo>
                    <a:cubicBezTo>
                      <a:pt x="46" y="13"/>
                      <a:pt x="45" y="13"/>
                      <a:pt x="43"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97" name="Freeform 113">
                <a:extLst>
                  <a:ext uri="{FF2B5EF4-FFF2-40B4-BE49-F238E27FC236}">
                    <a16:creationId xmlns:a16="http://schemas.microsoft.com/office/drawing/2014/main" id="{29F65D93-6897-D31A-8AEC-8DC57C42C2E9}"/>
                  </a:ext>
                </a:extLst>
              </p:cNvPr>
              <p:cNvSpPr>
                <a:spLocks/>
              </p:cNvSpPr>
              <p:nvPr/>
            </p:nvSpPr>
            <p:spPr bwMode="auto">
              <a:xfrm>
                <a:off x="4309925" y="3763659"/>
                <a:ext cx="12917" cy="15069"/>
              </a:xfrm>
              <a:custGeom>
                <a:avLst/>
                <a:gdLst>
                  <a:gd name="T0" fmla="*/ 3 w 9"/>
                  <a:gd name="T1" fmla="*/ 10 h 10"/>
                  <a:gd name="T2" fmla="*/ 1 w 9"/>
                  <a:gd name="T3" fmla="*/ 9 h 10"/>
                  <a:gd name="T4" fmla="*/ 1 w 9"/>
                  <a:gd name="T5" fmla="*/ 5 h 10"/>
                  <a:gd name="T6" fmla="*/ 4 w 9"/>
                  <a:gd name="T7" fmla="*/ 1 h 10"/>
                  <a:gd name="T8" fmla="*/ 8 w 9"/>
                  <a:gd name="T9" fmla="*/ 1 h 10"/>
                  <a:gd name="T10" fmla="*/ 8 w 9"/>
                  <a:gd name="T11" fmla="*/ 5 h 10"/>
                  <a:gd name="T12" fmla="*/ 5 w 9"/>
                  <a:gd name="T13" fmla="*/ 9 h 10"/>
                  <a:gd name="T14" fmla="*/ 3 w 9"/>
                  <a:gd name="T15" fmla="*/ 1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0">
                    <a:moveTo>
                      <a:pt x="3" y="10"/>
                    </a:moveTo>
                    <a:cubicBezTo>
                      <a:pt x="2" y="10"/>
                      <a:pt x="1" y="9"/>
                      <a:pt x="1" y="9"/>
                    </a:cubicBezTo>
                    <a:cubicBezTo>
                      <a:pt x="0" y="8"/>
                      <a:pt x="0" y="6"/>
                      <a:pt x="1" y="5"/>
                    </a:cubicBezTo>
                    <a:cubicBezTo>
                      <a:pt x="4" y="1"/>
                      <a:pt x="4" y="1"/>
                      <a:pt x="4" y="1"/>
                    </a:cubicBezTo>
                    <a:cubicBezTo>
                      <a:pt x="5" y="0"/>
                      <a:pt x="7" y="0"/>
                      <a:pt x="8" y="1"/>
                    </a:cubicBezTo>
                    <a:cubicBezTo>
                      <a:pt x="9" y="2"/>
                      <a:pt x="9" y="4"/>
                      <a:pt x="8" y="5"/>
                    </a:cubicBezTo>
                    <a:cubicBezTo>
                      <a:pt x="5" y="9"/>
                      <a:pt x="5" y="9"/>
                      <a:pt x="5" y="9"/>
                    </a:cubicBezTo>
                    <a:cubicBezTo>
                      <a:pt x="4" y="9"/>
                      <a:pt x="3" y="10"/>
                      <a:pt x="3"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98" name="Freeform 114">
                <a:extLst>
                  <a:ext uri="{FF2B5EF4-FFF2-40B4-BE49-F238E27FC236}">
                    <a16:creationId xmlns:a16="http://schemas.microsoft.com/office/drawing/2014/main" id="{3A6C87EC-780F-E8B2-830B-1FA61E398469}"/>
                  </a:ext>
                </a:extLst>
              </p:cNvPr>
              <p:cNvSpPr>
                <a:spLocks/>
              </p:cNvSpPr>
              <p:nvPr/>
            </p:nvSpPr>
            <p:spPr bwMode="auto">
              <a:xfrm>
                <a:off x="4387424" y="3687236"/>
                <a:ext cx="16146" cy="5382"/>
              </a:xfrm>
              <a:custGeom>
                <a:avLst/>
                <a:gdLst>
                  <a:gd name="T0" fmla="*/ 8 w 11"/>
                  <a:gd name="T1" fmla="*/ 4 h 4"/>
                  <a:gd name="T2" fmla="*/ 8 w 11"/>
                  <a:gd name="T3" fmla="*/ 4 h 4"/>
                  <a:gd name="T4" fmla="*/ 3 w 11"/>
                  <a:gd name="T5" fmla="*/ 4 h 4"/>
                  <a:gd name="T6" fmla="*/ 0 w 11"/>
                  <a:gd name="T7" fmla="*/ 2 h 4"/>
                  <a:gd name="T8" fmla="*/ 3 w 11"/>
                  <a:gd name="T9" fmla="*/ 0 h 4"/>
                  <a:gd name="T10" fmla="*/ 3 w 11"/>
                  <a:gd name="T11" fmla="*/ 0 h 4"/>
                  <a:gd name="T12" fmla="*/ 8 w 11"/>
                  <a:gd name="T13" fmla="*/ 0 h 4"/>
                  <a:gd name="T14" fmla="*/ 11 w 11"/>
                  <a:gd name="T15" fmla="*/ 2 h 4"/>
                  <a:gd name="T16" fmla="*/ 8 w 11"/>
                  <a:gd name="T1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4">
                    <a:moveTo>
                      <a:pt x="8" y="4"/>
                    </a:moveTo>
                    <a:cubicBezTo>
                      <a:pt x="8" y="4"/>
                      <a:pt x="8" y="4"/>
                      <a:pt x="8" y="4"/>
                    </a:cubicBezTo>
                    <a:cubicBezTo>
                      <a:pt x="3" y="4"/>
                      <a:pt x="3" y="4"/>
                      <a:pt x="3" y="4"/>
                    </a:cubicBezTo>
                    <a:cubicBezTo>
                      <a:pt x="1" y="4"/>
                      <a:pt x="0" y="4"/>
                      <a:pt x="0" y="2"/>
                    </a:cubicBezTo>
                    <a:cubicBezTo>
                      <a:pt x="0" y="1"/>
                      <a:pt x="1" y="0"/>
                      <a:pt x="3" y="0"/>
                    </a:cubicBezTo>
                    <a:cubicBezTo>
                      <a:pt x="3" y="0"/>
                      <a:pt x="3" y="0"/>
                      <a:pt x="3" y="0"/>
                    </a:cubicBezTo>
                    <a:cubicBezTo>
                      <a:pt x="8" y="0"/>
                      <a:pt x="8" y="0"/>
                      <a:pt x="8" y="0"/>
                    </a:cubicBezTo>
                    <a:cubicBezTo>
                      <a:pt x="10" y="0"/>
                      <a:pt x="11" y="0"/>
                      <a:pt x="11" y="2"/>
                    </a:cubicBezTo>
                    <a:cubicBezTo>
                      <a:pt x="11" y="3"/>
                      <a:pt x="10" y="4"/>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99" name="Freeform 115">
                <a:extLst>
                  <a:ext uri="{FF2B5EF4-FFF2-40B4-BE49-F238E27FC236}">
                    <a16:creationId xmlns:a16="http://schemas.microsoft.com/office/drawing/2014/main" id="{C356B8D9-16CD-CEE0-DC44-2088B7417637}"/>
                  </a:ext>
                </a:extLst>
              </p:cNvPr>
              <p:cNvSpPr>
                <a:spLocks noEditPoints="1"/>
              </p:cNvSpPr>
              <p:nvPr/>
            </p:nvSpPr>
            <p:spPr bwMode="auto">
              <a:xfrm>
                <a:off x="4412182" y="3680777"/>
                <a:ext cx="159304" cy="13993"/>
              </a:xfrm>
              <a:custGeom>
                <a:avLst/>
                <a:gdLst>
                  <a:gd name="T0" fmla="*/ 108 w 110"/>
                  <a:gd name="T1" fmla="*/ 8 h 9"/>
                  <a:gd name="T2" fmla="*/ 107 w 110"/>
                  <a:gd name="T3" fmla="*/ 8 h 9"/>
                  <a:gd name="T4" fmla="*/ 96 w 110"/>
                  <a:gd name="T5" fmla="*/ 9 h 9"/>
                  <a:gd name="T6" fmla="*/ 93 w 110"/>
                  <a:gd name="T7" fmla="*/ 6 h 9"/>
                  <a:gd name="T8" fmla="*/ 96 w 110"/>
                  <a:gd name="T9" fmla="*/ 4 h 9"/>
                  <a:gd name="T10" fmla="*/ 108 w 110"/>
                  <a:gd name="T11" fmla="*/ 4 h 9"/>
                  <a:gd name="T12" fmla="*/ 110 w 110"/>
                  <a:gd name="T13" fmla="*/ 6 h 9"/>
                  <a:gd name="T14" fmla="*/ 108 w 110"/>
                  <a:gd name="T15" fmla="*/ 8 h 9"/>
                  <a:gd name="T16" fmla="*/ 84 w 110"/>
                  <a:gd name="T17" fmla="*/ 8 h 9"/>
                  <a:gd name="T18" fmla="*/ 84 w 110"/>
                  <a:gd name="T19" fmla="*/ 8 h 9"/>
                  <a:gd name="T20" fmla="*/ 73 w 110"/>
                  <a:gd name="T21" fmla="*/ 9 h 9"/>
                  <a:gd name="T22" fmla="*/ 70 w 110"/>
                  <a:gd name="T23" fmla="*/ 4 h 9"/>
                  <a:gd name="T24" fmla="*/ 73 w 110"/>
                  <a:gd name="T25" fmla="*/ 0 h 9"/>
                  <a:gd name="T26" fmla="*/ 73 w 110"/>
                  <a:gd name="T27" fmla="*/ 0 h 9"/>
                  <a:gd name="T28" fmla="*/ 84 w 110"/>
                  <a:gd name="T29" fmla="*/ 2 h 9"/>
                  <a:gd name="T30" fmla="*/ 87 w 110"/>
                  <a:gd name="T31" fmla="*/ 5 h 9"/>
                  <a:gd name="T32" fmla="*/ 84 w 110"/>
                  <a:gd name="T33" fmla="*/ 8 h 9"/>
                  <a:gd name="T34" fmla="*/ 61 w 110"/>
                  <a:gd name="T35" fmla="*/ 8 h 9"/>
                  <a:gd name="T36" fmla="*/ 61 w 110"/>
                  <a:gd name="T37" fmla="*/ 8 h 9"/>
                  <a:gd name="T38" fmla="*/ 49 w 110"/>
                  <a:gd name="T39" fmla="*/ 9 h 9"/>
                  <a:gd name="T40" fmla="*/ 47 w 110"/>
                  <a:gd name="T41" fmla="*/ 4 h 9"/>
                  <a:gd name="T42" fmla="*/ 49 w 110"/>
                  <a:gd name="T43" fmla="*/ 0 h 9"/>
                  <a:gd name="T44" fmla="*/ 49 w 110"/>
                  <a:gd name="T45" fmla="*/ 0 h 9"/>
                  <a:gd name="T46" fmla="*/ 61 w 110"/>
                  <a:gd name="T47" fmla="*/ 2 h 9"/>
                  <a:gd name="T48" fmla="*/ 64 w 110"/>
                  <a:gd name="T49" fmla="*/ 5 h 9"/>
                  <a:gd name="T50" fmla="*/ 61 w 110"/>
                  <a:gd name="T51" fmla="*/ 8 h 9"/>
                  <a:gd name="T52" fmla="*/ 38 w 110"/>
                  <a:gd name="T53" fmla="*/ 8 h 9"/>
                  <a:gd name="T54" fmla="*/ 38 w 110"/>
                  <a:gd name="T55" fmla="*/ 8 h 9"/>
                  <a:gd name="T56" fmla="*/ 26 w 110"/>
                  <a:gd name="T57" fmla="*/ 8 h 9"/>
                  <a:gd name="T58" fmla="*/ 23 w 110"/>
                  <a:gd name="T59" fmla="*/ 4 h 9"/>
                  <a:gd name="T60" fmla="*/ 26 w 110"/>
                  <a:gd name="T61" fmla="*/ 0 h 9"/>
                  <a:gd name="T62" fmla="*/ 26 w 110"/>
                  <a:gd name="T63" fmla="*/ 0 h 9"/>
                  <a:gd name="T64" fmla="*/ 38 w 110"/>
                  <a:gd name="T65" fmla="*/ 2 h 9"/>
                  <a:gd name="T66" fmla="*/ 40 w 110"/>
                  <a:gd name="T67" fmla="*/ 5 h 9"/>
                  <a:gd name="T68" fmla="*/ 38 w 110"/>
                  <a:gd name="T69" fmla="*/ 8 h 9"/>
                  <a:gd name="T70" fmla="*/ 14 w 110"/>
                  <a:gd name="T71" fmla="*/ 8 h 9"/>
                  <a:gd name="T72" fmla="*/ 14 w 110"/>
                  <a:gd name="T73" fmla="*/ 8 h 9"/>
                  <a:gd name="T74" fmla="*/ 3 w 110"/>
                  <a:gd name="T75" fmla="*/ 8 h 9"/>
                  <a:gd name="T76" fmla="*/ 0 w 110"/>
                  <a:gd name="T77" fmla="*/ 4 h 9"/>
                  <a:gd name="T78" fmla="*/ 3 w 110"/>
                  <a:gd name="T79" fmla="*/ 0 h 9"/>
                  <a:gd name="T80" fmla="*/ 3 w 110"/>
                  <a:gd name="T81" fmla="*/ 0 h 9"/>
                  <a:gd name="T82" fmla="*/ 15 w 110"/>
                  <a:gd name="T83" fmla="*/ 2 h 9"/>
                  <a:gd name="T84" fmla="*/ 17 w 110"/>
                  <a:gd name="T85" fmla="*/ 5 h 9"/>
                  <a:gd name="T86" fmla="*/ 14 w 110"/>
                  <a:gd name="T87"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0" h="9">
                    <a:moveTo>
                      <a:pt x="108" y="8"/>
                    </a:moveTo>
                    <a:cubicBezTo>
                      <a:pt x="107" y="8"/>
                      <a:pt x="107" y="8"/>
                      <a:pt x="107" y="8"/>
                    </a:cubicBezTo>
                    <a:cubicBezTo>
                      <a:pt x="96" y="9"/>
                      <a:pt x="96" y="9"/>
                      <a:pt x="96" y="9"/>
                    </a:cubicBezTo>
                    <a:cubicBezTo>
                      <a:pt x="94" y="9"/>
                      <a:pt x="93" y="8"/>
                      <a:pt x="93" y="6"/>
                    </a:cubicBezTo>
                    <a:cubicBezTo>
                      <a:pt x="93" y="5"/>
                      <a:pt x="94" y="4"/>
                      <a:pt x="96" y="4"/>
                    </a:cubicBezTo>
                    <a:cubicBezTo>
                      <a:pt x="108" y="4"/>
                      <a:pt x="108" y="4"/>
                      <a:pt x="108" y="4"/>
                    </a:cubicBezTo>
                    <a:cubicBezTo>
                      <a:pt x="109" y="4"/>
                      <a:pt x="110" y="4"/>
                      <a:pt x="110" y="6"/>
                    </a:cubicBezTo>
                    <a:cubicBezTo>
                      <a:pt x="110" y="8"/>
                      <a:pt x="109" y="8"/>
                      <a:pt x="108" y="8"/>
                    </a:cubicBezTo>
                    <a:close/>
                    <a:moveTo>
                      <a:pt x="84" y="8"/>
                    </a:moveTo>
                    <a:cubicBezTo>
                      <a:pt x="84" y="8"/>
                      <a:pt x="84" y="8"/>
                      <a:pt x="84" y="8"/>
                    </a:cubicBezTo>
                    <a:cubicBezTo>
                      <a:pt x="73" y="9"/>
                      <a:pt x="73" y="9"/>
                      <a:pt x="73" y="9"/>
                    </a:cubicBezTo>
                    <a:cubicBezTo>
                      <a:pt x="71" y="9"/>
                      <a:pt x="70" y="6"/>
                      <a:pt x="70" y="4"/>
                    </a:cubicBezTo>
                    <a:cubicBezTo>
                      <a:pt x="70" y="3"/>
                      <a:pt x="71" y="0"/>
                      <a:pt x="73" y="0"/>
                    </a:cubicBezTo>
                    <a:cubicBezTo>
                      <a:pt x="73" y="0"/>
                      <a:pt x="73" y="0"/>
                      <a:pt x="73" y="0"/>
                    </a:cubicBezTo>
                    <a:cubicBezTo>
                      <a:pt x="84" y="2"/>
                      <a:pt x="84" y="2"/>
                      <a:pt x="84" y="2"/>
                    </a:cubicBezTo>
                    <a:cubicBezTo>
                      <a:pt x="86" y="2"/>
                      <a:pt x="87" y="3"/>
                      <a:pt x="87" y="5"/>
                    </a:cubicBezTo>
                    <a:cubicBezTo>
                      <a:pt x="87" y="6"/>
                      <a:pt x="86" y="8"/>
                      <a:pt x="84" y="8"/>
                    </a:cubicBezTo>
                    <a:close/>
                    <a:moveTo>
                      <a:pt x="61" y="8"/>
                    </a:moveTo>
                    <a:cubicBezTo>
                      <a:pt x="61" y="8"/>
                      <a:pt x="61" y="8"/>
                      <a:pt x="61" y="8"/>
                    </a:cubicBezTo>
                    <a:cubicBezTo>
                      <a:pt x="49" y="9"/>
                      <a:pt x="49" y="9"/>
                      <a:pt x="49" y="9"/>
                    </a:cubicBezTo>
                    <a:cubicBezTo>
                      <a:pt x="48" y="9"/>
                      <a:pt x="47" y="6"/>
                      <a:pt x="47" y="4"/>
                    </a:cubicBezTo>
                    <a:cubicBezTo>
                      <a:pt x="47" y="3"/>
                      <a:pt x="48" y="0"/>
                      <a:pt x="49" y="0"/>
                    </a:cubicBezTo>
                    <a:cubicBezTo>
                      <a:pt x="49" y="0"/>
                      <a:pt x="49" y="0"/>
                      <a:pt x="49" y="0"/>
                    </a:cubicBezTo>
                    <a:cubicBezTo>
                      <a:pt x="61" y="2"/>
                      <a:pt x="61" y="2"/>
                      <a:pt x="61" y="2"/>
                    </a:cubicBezTo>
                    <a:cubicBezTo>
                      <a:pt x="63" y="2"/>
                      <a:pt x="64" y="3"/>
                      <a:pt x="64" y="5"/>
                    </a:cubicBezTo>
                    <a:cubicBezTo>
                      <a:pt x="64" y="6"/>
                      <a:pt x="63" y="8"/>
                      <a:pt x="61" y="8"/>
                    </a:cubicBezTo>
                    <a:close/>
                    <a:moveTo>
                      <a:pt x="38" y="8"/>
                    </a:moveTo>
                    <a:cubicBezTo>
                      <a:pt x="38" y="8"/>
                      <a:pt x="38" y="8"/>
                      <a:pt x="38" y="8"/>
                    </a:cubicBezTo>
                    <a:cubicBezTo>
                      <a:pt x="26" y="8"/>
                      <a:pt x="26" y="8"/>
                      <a:pt x="26" y="8"/>
                    </a:cubicBezTo>
                    <a:cubicBezTo>
                      <a:pt x="25" y="8"/>
                      <a:pt x="23" y="6"/>
                      <a:pt x="23" y="4"/>
                    </a:cubicBezTo>
                    <a:cubicBezTo>
                      <a:pt x="23" y="3"/>
                      <a:pt x="25" y="0"/>
                      <a:pt x="26" y="0"/>
                    </a:cubicBezTo>
                    <a:cubicBezTo>
                      <a:pt x="26" y="0"/>
                      <a:pt x="26" y="0"/>
                      <a:pt x="26" y="0"/>
                    </a:cubicBezTo>
                    <a:cubicBezTo>
                      <a:pt x="38" y="2"/>
                      <a:pt x="38" y="2"/>
                      <a:pt x="38" y="2"/>
                    </a:cubicBezTo>
                    <a:cubicBezTo>
                      <a:pt x="39" y="2"/>
                      <a:pt x="40" y="3"/>
                      <a:pt x="40" y="5"/>
                    </a:cubicBezTo>
                    <a:cubicBezTo>
                      <a:pt x="40" y="6"/>
                      <a:pt x="39" y="8"/>
                      <a:pt x="38" y="8"/>
                    </a:cubicBezTo>
                    <a:close/>
                    <a:moveTo>
                      <a:pt x="14" y="8"/>
                    </a:moveTo>
                    <a:cubicBezTo>
                      <a:pt x="14" y="8"/>
                      <a:pt x="14" y="8"/>
                      <a:pt x="14" y="8"/>
                    </a:cubicBezTo>
                    <a:cubicBezTo>
                      <a:pt x="3" y="8"/>
                      <a:pt x="3" y="8"/>
                      <a:pt x="3" y="8"/>
                    </a:cubicBezTo>
                    <a:cubicBezTo>
                      <a:pt x="1" y="8"/>
                      <a:pt x="0" y="6"/>
                      <a:pt x="0" y="4"/>
                    </a:cubicBezTo>
                    <a:cubicBezTo>
                      <a:pt x="0" y="3"/>
                      <a:pt x="1" y="0"/>
                      <a:pt x="3" y="0"/>
                    </a:cubicBezTo>
                    <a:cubicBezTo>
                      <a:pt x="3" y="0"/>
                      <a:pt x="3" y="0"/>
                      <a:pt x="3" y="0"/>
                    </a:cubicBezTo>
                    <a:cubicBezTo>
                      <a:pt x="15" y="2"/>
                      <a:pt x="15" y="2"/>
                      <a:pt x="15" y="2"/>
                    </a:cubicBezTo>
                    <a:cubicBezTo>
                      <a:pt x="16" y="2"/>
                      <a:pt x="17" y="3"/>
                      <a:pt x="17" y="5"/>
                    </a:cubicBezTo>
                    <a:cubicBezTo>
                      <a:pt x="17" y="6"/>
                      <a:pt x="16" y="8"/>
                      <a:pt x="1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00" name="Freeform 116">
                <a:extLst>
                  <a:ext uri="{FF2B5EF4-FFF2-40B4-BE49-F238E27FC236}">
                    <a16:creationId xmlns:a16="http://schemas.microsoft.com/office/drawing/2014/main" id="{EC099DCA-832E-2944-DBE0-E37CFF95146D}"/>
                  </a:ext>
                </a:extLst>
              </p:cNvPr>
              <p:cNvSpPr>
                <a:spLocks/>
              </p:cNvSpPr>
              <p:nvPr/>
            </p:nvSpPr>
            <p:spPr bwMode="auto">
              <a:xfrm>
                <a:off x="4581173" y="3687236"/>
                <a:ext cx="15069" cy="7535"/>
              </a:xfrm>
              <a:custGeom>
                <a:avLst/>
                <a:gdLst>
                  <a:gd name="T0" fmla="*/ 9 w 11"/>
                  <a:gd name="T1" fmla="*/ 4 h 5"/>
                  <a:gd name="T2" fmla="*/ 9 w 11"/>
                  <a:gd name="T3" fmla="*/ 4 h 5"/>
                  <a:gd name="T4" fmla="*/ 3 w 11"/>
                  <a:gd name="T5" fmla="*/ 5 h 5"/>
                  <a:gd name="T6" fmla="*/ 0 w 11"/>
                  <a:gd name="T7" fmla="*/ 2 h 5"/>
                  <a:gd name="T8" fmla="*/ 3 w 11"/>
                  <a:gd name="T9" fmla="*/ 0 h 5"/>
                  <a:gd name="T10" fmla="*/ 3 w 11"/>
                  <a:gd name="T11" fmla="*/ 0 h 5"/>
                  <a:gd name="T12" fmla="*/ 9 w 11"/>
                  <a:gd name="T13" fmla="*/ 0 h 5"/>
                  <a:gd name="T14" fmla="*/ 11 w 11"/>
                  <a:gd name="T15" fmla="*/ 2 h 5"/>
                  <a:gd name="T16" fmla="*/ 9 w 11"/>
                  <a:gd name="T17"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5">
                    <a:moveTo>
                      <a:pt x="9" y="4"/>
                    </a:moveTo>
                    <a:cubicBezTo>
                      <a:pt x="9" y="4"/>
                      <a:pt x="9" y="4"/>
                      <a:pt x="9" y="4"/>
                    </a:cubicBezTo>
                    <a:cubicBezTo>
                      <a:pt x="3" y="5"/>
                      <a:pt x="3" y="5"/>
                      <a:pt x="3" y="5"/>
                    </a:cubicBezTo>
                    <a:cubicBezTo>
                      <a:pt x="2" y="5"/>
                      <a:pt x="0" y="4"/>
                      <a:pt x="0" y="2"/>
                    </a:cubicBezTo>
                    <a:cubicBezTo>
                      <a:pt x="0" y="1"/>
                      <a:pt x="2" y="0"/>
                      <a:pt x="3" y="0"/>
                    </a:cubicBezTo>
                    <a:cubicBezTo>
                      <a:pt x="3" y="0"/>
                      <a:pt x="3" y="0"/>
                      <a:pt x="3" y="0"/>
                    </a:cubicBezTo>
                    <a:cubicBezTo>
                      <a:pt x="9" y="0"/>
                      <a:pt x="9" y="0"/>
                      <a:pt x="9" y="0"/>
                    </a:cubicBezTo>
                    <a:cubicBezTo>
                      <a:pt x="10" y="0"/>
                      <a:pt x="11" y="0"/>
                      <a:pt x="11" y="2"/>
                    </a:cubicBezTo>
                    <a:cubicBezTo>
                      <a:pt x="11" y="3"/>
                      <a:pt x="10" y="4"/>
                      <a:pt x="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01" name="Freeform 117">
                <a:extLst>
                  <a:ext uri="{FF2B5EF4-FFF2-40B4-BE49-F238E27FC236}">
                    <a16:creationId xmlns:a16="http://schemas.microsoft.com/office/drawing/2014/main" id="{DD483804-895F-5904-DC29-BEACB2EEAE01}"/>
                  </a:ext>
                </a:extLst>
              </p:cNvPr>
              <p:cNvSpPr>
                <a:spLocks noEditPoints="1"/>
              </p:cNvSpPr>
              <p:nvPr/>
            </p:nvSpPr>
            <p:spPr bwMode="auto">
              <a:xfrm>
                <a:off x="4247495" y="3489182"/>
                <a:ext cx="59201" cy="49513"/>
              </a:xfrm>
              <a:custGeom>
                <a:avLst/>
                <a:gdLst>
                  <a:gd name="T0" fmla="*/ 2 w 41"/>
                  <a:gd name="T1" fmla="*/ 11 h 34"/>
                  <a:gd name="T2" fmla="*/ 21 w 41"/>
                  <a:gd name="T3" fmla="*/ 0 h 34"/>
                  <a:gd name="T4" fmla="*/ 39 w 41"/>
                  <a:gd name="T5" fmla="*/ 11 h 34"/>
                  <a:gd name="T6" fmla="*/ 39 w 41"/>
                  <a:gd name="T7" fmla="*/ 27 h 34"/>
                  <a:gd name="T8" fmla="*/ 41 w 41"/>
                  <a:gd name="T9" fmla="*/ 33 h 34"/>
                  <a:gd name="T10" fmla="*/ 30 w 41"/>
                  <a:gd name="T11" fmla="*/ 33 h 34"/>
                  <a:gd name="T12" fmla="*/ 29 w 41"/>
                  <a:gd name="T13" fmla="*/ 30 h 34"/>
                  <a:gd name="T14" fmla="*/ 14 w 41"/>
                  <a:gd name="T15" fmla="*/ 34 h 34"/>
                  <a:gd name="T16" fmla="*/ 0 w 41"/>
                  <a:gd name="T17" fmla="*/ 24 h 34"/>
                  <a:gd name="T18" fmla="*/ 13 w 41"/>
                  <a:gd name="T19" fmla="*/ 14 h 34"/>
                  <a:gd name="T20" fmla="*/ 24 w 41"/>
                  <a:gd name="T21" fmla="*/ 13 h 34"/>
                  <a:gd name="T22" fmla="*/ 29 w 41"/>
                  <a:gd name="T23" fmla="*/ 10 h 34"/>
                  <a:gd name="T24" fmla="*/ 20 w 41"/>
                  <a:gd name="T25" fmla="*/ 6 h 34"/>
                  <a:gd name="T26" fmla="*/ 12 w 41"/>
                  <a:gd name="T27" fmla="*/ 11 h 34"/>
                  <a:gd name="T28" fmla="*/ 2 w 41"/>
                  <a:gd name="T29" fmla="*/ 11 h 34"/>
                  <a:gd name="T30" fmla="*/ 29 w 41"/>
                  <a:gd name="T31" fmla="*/ 17 h 34"/>
                  <a:gd name="T32" fmla="*/ 23 w 41"/>
                  <a:gd name="T33" fmla="*/ 19 h 34"/>
                  <a:gd name="T34" fmla="*/ 17 w 41"/>
                  <a:gd name="T35" fmla="*/ 19 h 34"/>
                  <a:gd name="T36" fmla="*/ 11 w 41"/>
                  <a:gd name="T37" fmla="*/ 24 h 34"/>
                  <a:gd name="T38" fmla="*/ 18 w 41"/>
                  <a:gd name="T39" fmla="*/ 28 h 34"/>
                  <a:gd name="T40" fmla="*/ 29 w 41"/>
                  <a:gd name="T41" fmla="*/ 20 h 34"/>
                  <a:gd name="T42" fmla="*/ 29 w 41"/>
                  <a:gd name="T43"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1" h="34">
                    <a:moveTo>
                      <a:pt x="2" y="11"/>
                    </a:moveTo>
                    <a:cubicBezTo>
                      <a:pt x="3" y="1"/>
                      <a:pt x="12" y="0"/>
                      <a:pt x="21" y="0"/>
                    </a:cubicBezTo>
                    <a:cubicBezTo>
                      <a:pt x="36" y="0"/>
                      <a:pt x="39" y="5"/>
                      <a:pt x="39" y="11"/>
                    </a:cubicBezTo>
                    <a:cubicBezTo>
                      <a:pt x="39" y="27"/>
                      <a:pt x="39" y="27"/>
                      <a:pt x="39" y="27"/>
                    </a:cubicBezTo>
                    <a:cubicBezTo>
                      <a:pt x="39" y="29"/>
                      <a:pt x="40" y="31"/>
                      <a:pt x="41" y="33"/>
                    </a:cubicBezTo>
                    <a:cubicBezTo>
                      <a:pt x="30" y="33"/>
                      <a:pt x="30" y="33"/>
                      <a:pt x="30" y="33"/>
                    </a:cubicBezTo>
                    <a:cubicBezTo>
                      <a:pt x="30" y="32"/>
                      <a:pt x="29" y="31"/>
                      <a:pt x="29" y="30"/>
                    </a:cubicBezTo>
                    <a:cubicBezTo>
                      <a:pt x="26" y="33"/>
                      <a:pt x="19" y="34"/>
                      <a:pt x="14" y="34"/>
                    </a:cubicBezTo>
                    <a:cubicBezTo>
                      <a:pt x="6" y="34"/>
                      <a:pt x="0" y="31"/>
                      <a:pt x="0" y="24"/>
                    </a:cubicBezTo>
                    <a:cubicBezTo>
                      <a:pt x="0" y="16"/>
                      <a:pt x="7" y="14"/>
                      <a:pt x="13" y="14"/>
                    </a:cubicBezTo>
                    <a:cubicBezTo>
                      <a:pt x="24" y="13"/>
                      <a:pt x="24" y="13"/>
                      <a:pt x="24" y="13"/>
                    </a:cubicBezTo>
                    <a:cubicBezTo>
                      <a:pt x="28" y="13"/>
                      <a:pt x="29" y="12"/>
                      <a:pt x="29" y="10"/>
                    </a:cubicBezTo>
                    <a:cubicBezTo>
                      <a:pt x="29" y="7"/>
                      <a:pt x="27" y="6"/>
                      <a:pt x="20" y="6"/>
                    </a:cubicBezTo>
                    <a:cubicBezTo>
                      <a:pt x="16" y="6"/>
                      <a:pt x="14" y="6"/>
                      <a:pt x="12" y="11"/>
                    </a:cubicBezTo>
                    <a:lnTo>
                      <a:pt x="2" y="11"/>
                    </a:lnTo>
                    <a:close/>
                    <a:moveTo>
                      <a:pt x="29" y="17"/>
                    </a:moveTo>
                    <a:cubicBezTo>
                      <a:pt x="27" y="18"/>
                      <a:pt x="25" y="19"/>
                      <a:pt x="23" y="19"/>
                    </a:cubicBezTo>
                    <a:cubicBezTo>
                      <a:pt x="17" y="19"/>
                      <a:pt x="17" y="19"/>
                      <a:pt x="17" y="19"/>
                    </a:cubicBezTo>
                    <a:cubicBezTo>
                      <a:pt x="13" y="20"/>
                      <a:pt x="11" y="21"/>
                      <a:pt x="11" y="24"/>
                    </a:cubicBezTo>
                    <a:cubicBezTo>
                      <a:pt x="11" y="26"/>
                      <a:pt x="14" y="28"/>
                      <a:pt x="18" y="28"/>
                    </a:cubicBezTo>
                    <a:cubicBezTo>
                      <a:pt x="23" y="28"/>
                      <a:pt x="29" y="25"/>
                      <a:pt x="29" y="20"/>
                    </a:cubicBezTo>
                    <a:lnTo>
                      <a:pt x="29"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02" name="Freeform 118">
                <a:extLst>
                  <a:ext uri="{FF2B5EF4-FFF2-40B4-BE49-F238E27FC236}">
                    <a16:creationId xmlns:a16="http://schemas.microsoft.com/office/drawing/2014/main" id="{7B6A009D-2409-0AA3-EFC9-A5D99AB20364}"/>
                  </a:ext>
                </a:extLst>
              </p:cNvPr>
              <p:cNvSpPr>
                <a:spLocks noEditPoints="1"/>
              </p:cNvSpPr>
              <p:nvPr/>
            </p:nvSpPr>
            <p:spPr bwMode="auto">
              <a:xfrm>
                <a:off x="4370202" y="3384773"/>
                <a:ext cx="60277" cy="65660"/>
              </a:xfrm>
              <a:custGeom>
                <a:avLst/>
                <a:gdLst>
                  <a:gd name="T0" fmla="*/ 0 w 42"/>
                  <a:gd name="T1" fmla="*/ 0 h 45"/>
                  <a:gd name="T2" fmla="*/ 11 w 42"/>
                  <a:gd name="T3" fmla="*/ 0 h 45"/>
                  <a:gd name="T4" fmla="*/ 11 w 42"/>
                  <a:gd name="T5" fmla="*/ 15 h 45"/>
                  <a:gd name="T6" fmla="*/ 11 w 42"/>
                  <a:gd name="T7" fmla="*/ 15 h 45"/>
                  <a:gd name="T8" fmla="*/ 24 w 42"/>
                  <a:gd name="T9" fmla="*/ 11 h 45"/>
                  <a:gd name="T10" fmla="*/ 42 w 42"/>
                  <a:gd name="T11" fmla="*/ 28 h 45"/>
                  <a:gd name="T12" fmla="*/ 23 w 42"/>
                  <a:gd name="T13" fmla="*/ 45 h 45"/>
                  <a:gd name="T14" fmla="*/ 11 w 42"/>
                  <a:gd name="T15" fmla="*/ 40 h 45"/>
                  <a:gd name="T16" fmla="*/ 11 w 42"/>
                  <a:gd name="T17" fmla="*/ 40 h 45"/>
                  <a:gd name="T18" fmla="*/ 11 w 42"/>
                  <a:gd name="T19" fmla="*/ 44 h 45"/>
                  <a:gd name="T20" fmla="*/ 0 w 42"/>
                  <a:gd name="T21" fmla="*/ 44 h 45"/>
                  <a:gd name="T22" fmla="*/ 0 w 42"/>
                  <a:gd name="T23" fmla="*/ 0 h 45"/>
                  <a:gd name="T24" fmla="*/ 21 w 42"/>
                  <a:gd name="T25" fmla="*/ 37 h 45"/>
                  <a:gd name="T26" fmla="*/ 31 w 42"/>
                  <a:gd name="T27" fmla="*/ 28 h 45"/>
                  <a:gd name="T28" fmla="*/ 21 w 42"/>
                  <a:gd name="T29" fmla="*/ 18 h 45"/>
                  <a:gd name="T30" fmla="*/ 11 w 42"/>
                  <a:gd name="T31" fmla="*/ 28 h 45"/>
                  <a:gd name="T32" fmla="*/ 21 w 42"/>
                  <a:gd name="T33" fmla="*/ 3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45">
                    <a:moveTo>
                      <a:pt x="0" y="0"/>
                    </a:moveTo>
                    <a:cubicBezTo>
                      <a:pt x="11" y="0"/>
                      <a:pt x="11" y="0"/>
                      <a:pt x="11" y="0"/>
                    </a:cubicBezTo>
                    <a:cubicBezTo>
                      <a:pt x="11" y="15"/>
                      <a:pt x="11" y="15"/>
                      <a:pt x="11" y="15"/>
                    </a:cubicBezTo>
                    <a:cubicBezTo>
                      <a:pt x="11" y="15"/>
                      <a:pt x="11" y="15"/>
                      <a:pt x="11" y="15"/>
                    </a:cubicBezTo>
                    <a:cubicBezTo>
                      <a:pt x="13" y="13"/>
                      <a:pt x="18" y="11"/>
                      <a:pt x="24" y="11"/>
                    </a:cubicBezTo>
                    <a:cubicBezTo>
                      <a:pt x="34" y="11"/>
                      <a:pt x="42" y="17"/>
                      <a:pt x="42" y="28"/>
                    </a:cubicBezTo>
                    <a:cubicBezTo>
                      <a:pt x="42" y="39"/>
                      <a:pt x="33" y="45"/>
                      <a:pt x="23" y="45"/>
                    </a:cubicBezTo>
                    <a:cubicBezTo>
                      <a:pt x="18" y="45"/>
                      <a:pt x="15" y="44"/>
                      <a:pt x="11" y="40"/>
                    </a:cubicBezTo>
                    <a:cubicBezTo>
                      <a:pt x="11" y="40"/>
                      <a:pt x="11" y="40"/>
                      <a:pt x="11" y="40"/>
                    </a:cubicBezTo>
                    <a:cubicBezTo>
                      <a:pt x="11" y="44"/>
                      <a:pt x="11" y="44"/>
                      <a:pt x="11" y="44"/>
                    </a:cubicBezTo>
                    <a:cubicBezTo>
                      <a:pt x="0" y="44"/>
                      <a:pt x="0" y="44"/>
                      <a:pt x="0" y="44"/>
                    </a:cubicBezTo>
                    <a:lnTo>
                      <a:pt x="0" y="0"/>
                    </a:lnTo>
                    <a:close/>
                    <a:moveTo>
                      <a:pt x="21" y="37"/>
                    </a:moveTo>
                    <a:cubicBezTo>
                      <a:pt x="26" y="37"/>
                      <a:pt x="31" y="34"/>
                      <a:pt x="31" y="28"/>
                    </a:cubicBezTo>
                    <a:cubicBezTo>
                      <a:pt x="31" y="22"/>
                      <a:pt x="26" y="18"/>
                      <a:pt x="21" y="18"/>
                    </a:cubicBezTo>
                    <a:cubicBezTo>
                      <a:pt x="15" y="18"/>
                      <a:pt x="11" y="22"/>
                      <a:pt x="11" y="28"/>
                    </a:cubicBezTo>
                    <a:cubicBezTo>
                      <a:pt x="11" y="34"/>
                      <a:pt x="15" y="37"/>
                      <a:pt x="21"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03" name="Freeform 119">
                <a:extLst>
                  <a:ext uri="{FF2B5EF4-FFF2-40B4-BE49-F238E27FC236}">
                    <a16:creationId xmlns:a16="http://schemas.microsoft.com/office/drawing/2014/main" id="{46D226B2-3933-1CF3-974C-F92216C78ECE}"/>
                  </a:ext>
                </a:extLst>
              </p:cNvPr>
              <p:cNvSpPr>
                <a:spLocks/>
              </p:cNvSpPr>
              <p:nvPr/>
            </p:nvSpPr>
            <p:spPr bwMode="auto">
              <a:xfrm>
                <a:off x="4598395" y="3417065"/>
                <a:ext cx="59201" cy="50590"/>
              </a:xfrm>
              <a:custGeom>
                <a:avLst/>
                <a:gdLst>
                  <a:gd name="T0" fmla="*/ 30 w 41"/>
                  <a:gd name="T1" fmla="*/ 13 h 35"/>
                  <a:gd name="T2" fmla="*/ 21 w 41"/>
                  <a:gd name="T3" fmla="*/ 8 h 35"/>
                  <a:gd name="T4" fmla="*/ 11 w 41"/>
                  <a:gd name="T5" fmla="*/ 17 h 35"/>
                  <a:gd name="T6" fmla="*/ 21 w 41"/>
                  <a:gd name="T7" fmla="*/ 27 h 35"/>
                  <a:gd name="T8" fmla="*/ 30 w 41"/>
                  <a:gd name="T9" fmla="*/ 21 h 35"/>
                  <a:gd name="T10" fmla="*/ 41 w 41"/>
                  <a:gd name="T11" fmla="*/ 21 h 35"/>
                  <a:gd name="T12" fmla="*/ 20 w 41"/>
                  <a:gd name="T13" fmla="*/ 35 h 35"/>
                  <a:gd name="T14" fmla="*/ 0 w 41"/>
                  <a:gd name="T15" fmla="*/ 17 h 35"/>
                  <a:gd name="T16" fmla="*/ 21 w 41"/>
                  <a:gd name="T17" fmla="*/ 0 h 35"/>
                  <a:gd name="T18" fmla="*/ 41 w 41"/>
                  <a:gd name="T19" fmla="*/ 13 h 35"/>
                  <a:gd name="T20" fmla="*/ 30 w 41"/>
                  <a:gd name="T21" fmla="*/ 1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 h="35">
                    <a:moveTo>
                      <a:pt x="30" y="13"/>
                    </a:moveTo>
                    <a:cubicBezTo>
                      <a:pt x="29" y="9"/>
                      <a:pt x="25" y="8"/>
                      <a:pt x="21" y="8"/>
                    </a:cubicBezTo>
                    <a:cubicBezTo>
                      <a:pt x="14" y="8"/>
                      <a:pt x="11" y="11"/>
                      <a:pt x="11" y="17"/>
                    </a:cubicBezTo>
                    <a:cubicBezTo>
                      <a:pt x="11" y="24"/>
                      <a:pt x="14" y="27"/>
                      <a:pt x="21" y="27"/>
                    </a:cubicBezTo>
                    <a:cubicBezTo>
                      <a:pt x="26" y="27"/>
                      <a:pt x="29" y="25"/>
                      <a:pt x="30" y="21"/>
                    </a:cubicBezTo>
                    <a:cubicBezTo>
                      <a:pt x="41" y="21"/>
                      <a:pt x="41" y="21"/>
                      <a:pt x="41" y="21"/>
                    </a:cubicBezTo>
                    <a:cubicBezTo>
                      <a:pt x="39" y="32"/>
                      <a:pt x="31" y="35"/>
                      <a:pt x="20" y="35"/>
                    </a:cubicBezTo>
                    <a:cubicBezTo>
                      <a:pt x="8" y="35"/>
                      <a:pt x="0" y="30"/>
                      <a:pt x="0" y="17"/>
                    </a:cubicBezTo>
                    <a:cubicBezTo>
                      <a:pt x="0" y="5"/>
                      <a:pt x="8" y="0"/>
                      <a:pt x="21" y="0"/>
                    </a:cubicBezTo>
                    <a:cubicBezTo>
                      <a:pt x="29" y="0"/>
                      <a:pt x="39" y="2"/>
                      <a:pt x="41" y="13"/>
                    </a:cubicBezTo>
                    <a:lnTo>
                      <a:pt x="30"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grpSp>
        <p:grpSp>
          <p:nvGrpSpPr>
            <p:cNvPr id="80" name="Group 79">
              <a:extLst>
                <a:ext uri="{FF2B5EF4-FFF2-40B4-BE49-F238E27FC236}">
                  <a16:creationId xmlns:a16="http://schemas.microsoft.com/office/drawing/2014/main" id="{C1F3D989-60FD-B2FA-FE10-0CC30EC854CE}"/>
                </a:ext>
              </a:extLst>
            </p:cNvPr>
            <p:cNvGrpSpPr/>
            <p:nvPr/>
          </p:nvGrpSpPr>
          <p:grpSpPr>
            <a:xfrm>
              <a:off x="4762005" y="2566724"/>
              <a:ext cx="466073" cy="345518"/>
              <a:chOff x="4762005" y="2566724"/>
              <a:chExt cx="466073" cy="345518"/>
            </a:xfrm>
            <a:solidFill>
              <a:schemeClr val="bg1"/>
            </a:solidFill>
          </p:grpSpPr>
          <p:sp>
            <p:nvSpPr>
              <p:cNvPr id="81" name="Freeform 120">
                <a:extLst>
                  <a:ext uri="{FF2B5EF4-FFF2-40B4-BE49-F238E27FC236}">
                    <a16:creationId xmlns:a16="http://schemas.microsoft.com/office/drawing/2014/main" id="{5D6E9BA6-EFAA-329C-01CE-6430D943102F}"/>
                  </a:ext>
                </a:extLst>
              </p:cNvPr>
              <p:cNvSpPr>
                <a:spLocks noEditPoints="1"/>
              </p:cNvSpPr>
              <p:nvPr/>
            </p:nvSpPr>
            <p:spPr bwMode="auto">
              <a:xfrm>
                <a:off x="4762005" y="2566724"/>
                <a:ext cx="466073" cy="345518"/>
              </a:xfrm>
              <a:custGeom>
                <a:avLst/>
                <a:gdLst>
                  <a:gd name="T0" fmla="*/ 318 w 320"/>
                  <a:gd name="T1" fmla="*/ 85 h 238"/>
                  <a:gd name="T2" fmla="*/ 50 w 320"/>
                  <a:gd name="T3" fmla="*/ 237 h 238"/>
                  <a:gd name="T4" fmla="*/ 44 w 320"/>
                  <a:gd name="T5" fmla="*/ 235 h 238"/>
                  <a:gd name="T6" fmla="*/ 1 w 320"/>
                  <a:gd name="T7" fmla="*/ 158 h 238"/>
                  <a:gd name="T8" fmla="*/ 2 w 320"/>
                  <a:gd name="T9" fmla="*/ 153 h 238"/>
                  <a:gd name="T10" fmla="*/ 270 w 320"/>
                  <a:gd name="T11" fmla="*/ 1 h 238"/>
                  <a:gd name="T12" fmla="*/ 276 w 320"/>
                  <a:gd name="T13" fmla="*/ 3 h 238"/>
                  <a:gd name="T14" fmla="*/ 319 w 320"/>
                  <a:gd name="T15" fmla="*/ 80 h 238"/>
                  <a:gd name="T16" fmla="*/ 318 w 320"/>
                  <a:gd name="T17" fmla="*/ 85 h 238"/>
                  <a:gd name="T18" fmla="*/ 49 w 320"/>
                  <a:gd name="T19" fmla="*/ 228 h 238"/>
                  <a:gd name="T20" fmla="*/ 310 w 320"/>
                  <a:gd name="T21" fmla="*/ 80 h 238"/>
                  <a:gd name="T22" fmla="*/ 271 w 320"/>
                  <a:gd name="T23" fmla="*/ 10 h 238"/>
                  <a:gd name="T24" fmla="*/ 10 w 320"/>
                  <a:gd name="T25" fmla="*/ 158 h 238"/>
                  <a:gd name="T26" fmla="*/ 49 w 320"/>
                  <a:gd name="T27" fmla="*/ 22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0" h="238">
                    <a:moveTo>
                      <a:pt x="318" y="85"/>
                    </a:moveTo>
                    <a:cubicBezTo>
                      <a:pt x="50" y="237"/>
                      <a:pt x="50" y="237"/>
                      <a:pt x="50" y="237"/>
                    </a:cubicBezTo>
                    <a:cubicBezTo>
                      <a:pt x="48" y="238"/>
                      <a:pt x="45" y="237"/>
                      <a:pt x="44" y="235"/>
                    </a:cubicBezTo>
                    <a:cubicBezTo>
                      <a:pt x="1" y="158"/>
                      <a:pt x="1" y="158"/>
                      <a:pt x="1" y="158"/>
                    </a:cubicBezTo>
                    <a:cubicBezTo>
                      <a:pt x="0" y="157"/>
                      <a:pt x="0" y="154"/>
                      <a:pt x="2" y="153"/>
                    </a:cubicBezTo>
                    <a:cubicBezTo>
                      <a:pt x="270" y="1"/>
                      <a:pt x="270" y="1"/>
                      <a:pt x="270" y="1"/>
                    </a:cubicBezTo>
                    <a:cubicBezTo>
                      <a:pt x="272" y="0"/>
                      <a:pt x="275" y="1"/>
                      <a:pt x="276" y="3"/>
                    </a:cubicBezTo>
                    <a:cubicBezTo>
                      <a:pt x="319" y="80"/>
                      <a:pt x="319" y="80"/>
                      <a:pt x="319" y="80"/>
                    </a:cubicBezTo>
                    <a:cubicBezTo>
                      <a:pt x="320" y="81"/>
                      <a:pt x="320" y="84"/>
                      <a:pt x="318" y="85"/>
                    </a:cubicBezTo>
                    <a:close/>
                    <a:moveTo>
                      <a:pt x="49" y="228"/>
                    </a:moveTo>
                    <a:cubicBezTo>
                      <a:pt x="310" y="80"/>
                      <a:pt x="310" y="80"/>
                      <a:pt x="310" y="80"/>
                    </a:cubicBezTo>
                    <a:cubicBezTo>
                      <a:pt x="271" y="10"/>
                      <a:pt x="271" y="10"/>
                      <a:pt x="271" y="10"/>
                    </a:cubicBezTo>
                    <a:cubicBezTo>
                      <a:pt x="10" y="158"/>
                      <a:pt x="10" y="158"/>
                      <a:pt x="10" y="158"/>
                    </a:cubicBezTo>
                    <a:lnTo>
                      <a:pt x="49" y="2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82" name="Freeform 121">
                <a:extLst>
                  <a:ext uri="{FF2B5EF4-FFF2-40B4-BE49-F238E27FC236}">
                    <a16:creationId xmlns:a16="http://schemas.microsoft.com/office/drawing/2014/main" id="{85AE49D8-0F15-C72F-1965-8BD5B1A75F16}"/>
                  </a:ext>
                </a:extLst>
              </p:cNvPr>
              <p:cNvSpPr>
                <a:spLocks/>
              </p:cNvSpPr>
              <p:nvPr/>
            </p:nvSpPr>
            <p:spPr bwMode="auto">
              <a:xfrm>
                <a:off x="4807213" y="2761549"/>
                <a:ext cx="43055" cy="63507"/>
              </a:xfrm>
              <a:custGeom>
                <a:avLst/>
                <a:gdLst>
                  <a:gd name="T0" fmla="*/ 26 w 29"/>
                  <a:gd name="T1" fmla="*/ 43 h 44"/>
                  <a:gd name="T2" fmla="*/ 21 w 29"/>
                  <a:gd name="T3" fmla="*/ 42 h 44"/>
                  <a:gd name="T4" fmla="*/ 1 w 29"/>
                  <a:gd name="T5" fmla="*/ 7 h 44"/>
                  <a:gd name="T6" fmla="*/ 3 w 29"/>
                  <a:gd name="T7" fmla="*/ 1 h 44"/>
                  <a:gd name="T8" fmla="*/ 8 w 29"/>
                  <a:gd name="T9" fmla="*/ 3 h 44"/>
                  <a:gd name="T10" fmla="*/ 28 w 29"/>
                  <a:gd name="T11" fmla="*/ 38 h 44"/>
                  <a:gd name="T12" fmla="*/ 26 w 29"/>
                  <a:gd name="T13" fmla="*/ 43 h 44"/>
                </a:gdLst>
                <a:ahLst/>
                <a:cxnLst>
                  <a:cxn ang="0">
                    <a:pos x="T0" y="T1"/>
                  </a:cxn>
                  <a:cxn ang="0">
                    <a:pos x="T2" y="T3"/>
                  </a:cxn>
                  <a:cxn ang="0">
                    <a:pos x="T4" y="T5"/>
                  </a:cxn>
                  <a:cxn ang="0">
                    <a:pos x="T6" y="T7"/>
                  </a:cxn>
                  <a:cxn ang="0">
                    <a:pos x="T8" y="T9"/>
                  </a:cxn>
                  <a:cxn ang="0">
                    <a:pos x="T10" y="T11"/>
                  </a:cxn>
                  <a:cxn ang="0">
                    <a:pos x="T12" y="T13"/>
                  </a:cxn>
                </a:cxnLst>
                <a:rect l="0" t="0" r="r" b="b"/>
                <a:pathLst>
                  <a:path w="29" h="44">
                    <a:moveTo>
                      <a:pt x="26" y="43"/>
                    </a:moveTo>
                    <a:cubicBezTo>
                      <a:pt x="24" y="44"/>
                      <a:pt x="22" y="43"/>
                      <a:pt x="21" y="42"/>
                    </a:cubicBezTo>
                    <a:cubicBezTo>
                      <a:pt x="1" y="7"/>
                      <a:pt x="1" y="7"/>
                      <a:pt x="1" y="7"/>
                    </a:cubicBezTo>
                    <a:cubicBezTo>
                      <a:pt x="0" y="5"/>
                      <a:pt x="1" y="2"/>
                      <a:pt x="3" y="1"/>
                    </a:cubicBezTo>
                    <a:cubicBezTo>
                      <a:pt x="5" y="0"/>
                      <a:pt x="7" y="1"/>
                      <a:pt x="8" y="3"/>
                    </a:cubicBezTo>
                    <a:cubicBezTo>
                      <a:pt x="28" y="38"/>
                      <a:pt x="28" y="38"/>
                      <a:pt x="28" y="38"/>
                    </a:cubicBezTo>
                    <a:cubicBezTo>
                      <a:pt x="29" y="40"/>
                      <a:pt x="28" y="42"/>
                      <a:pt x="26"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83" name="Freeform 122">
                <a:extLst>
                  <a:ext uri="{FF2B5EF4-FFF2-40B4-BE49-F238E27FC236}">
                    <a16:creationId xmlns:a16="http://schemas.microsoft.com/office/drawing/2014/main" id="{2851D699-D607-59BE-9878-98535705A6FB}"/>
                  </a:ext>
                </a:extLst>
              </p:cNvPr>
              <p:cNvSpPr>
                <a:spLocks/>
              </p:cNvSpPr>
              <p:nvPr/>
            </p:nvSpPr>
            <p:spPr bwMode="auto">
              <a:xfrm>
                <a:off x="4868567" y="2728181"/>
                <a:ext cx="41979" cy="63507"/>
              </a:xfrm>
              <a:custGeom>
                <a:avLst/>
                <a:gdLst>
                  <a:gd name="T0" fmla="*/ 26 w 29"/>
                  <a:gd name="T1" fmla="*/ 42 h 44"/>
                  <a:gd name="T2" fmla="*/ 21 w 29"/>
                  <a:gd name="T3" fmla="*/ 41 h 44"/>
                  <a:gd name="T4" fmla="*/ 1 w 29"/>
                  <a:gd name="T5" fmla="*/ 6 h 44"/>
                  <a:gd name="T6" fmla="*/ 2 w 29"/>
                  <a:gd name="T7" fmla="*/ 1 h 44"/>
                  <a:gd name="T8" fmla="*/ 8 w 29"/>
                  <a:gd name="T9" fmla="*/ 2 h 44"/>
                  <a:gd name="T10" fmla="*/ 28 w 29"/>
                  <a:gd name="T11" fmla="*/ 37 h 44"/>
                  <a:gd name="T12" fmla="*/ 26 w 29"/>
                  <a:gd name="T13" fmla="*/ 42 h 44"/>
                </a:gdLst>
                <a:ahLst/>
                <a:cxnLst>
                  <a:cxn ang="0">
                    <a:pos x="T0" y="T1"/>
                  </a:cxn>
                  <a:cxn ang="0">
                    <a:pos x="T2" y="T3"/>
                  </a:cxn>
                  <a:cxn ang="0">
                    <a:pos x="T4" y="T5"/>
                  </a:cxn>
                  <a:cxn ang="0">
                    <a:pos x="T6" y="T7"/>
                  </a:cxn>
                  <a:cxn ang="0">
                    <a:pos x="T8" y="T9"/>
                  </a:cxn>
                  <a:cxn ang="0">
                    <a:pos x="T10" y="T11"/>
                  </a:cxn>
                  <a:cxn ang="0">
                    <a:pos x="T12" y="T13"/>
                  </a:cxn>
                </a:cxnLst>
                <a:rect l="0" t="0" r="r" b="b"/>
                <a:pathLst>
                  <a:path w="29" h="44">
                    <a:moveTo>
                      <a:pt x="26" y="42"/>
                    </a:moveTo>
                    <a:cubicBezTo>
                      <a:pt x="24" y="44"/>
                      <a:pt x="22" y="43"/>
                      <a:pt x="21" y="41"/>
                    </a:cubicBezTo>
                    <a:cubicBezTo>
                      <a:pt x="1" y="6"/>
                      <a:pt x="1" y="6"/>
                      <a:pt x="1" y="6"/>
                    </a:cubicBezTo>
                    <a:cubicBezTo>
                      <a:pt x="0" y="4"/>
                      <a:pt x="1" y="2"/>
                      <a:pt x="2" y="1"/>
                    </a:cubicBezTo>
                    <a:cubicBezTo>
                      <a:pt x="4" y="0"/>
                      <a:pt x="7" y="0"/>
                      <a:pt x="8" y="2"/>
                    </a:cubicBezTo>
                    <a:cubicBezTo>
                      <a:pt x="28" y="37"/>
                      <a:pt x="28" y="37"/>
                      <a:pt x="28" y="37"/>
                    </a:cubicBezTo>
                    <a:cubicBezTo>
                      <a:pt x="29" y="39"/>
                      <a:pt x="28" y="41"/>
                      <a:pt x="26"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84" name="Freeform 123">
                <a:extLst>
                  <a:ext uri="{FF2B5EF4-FFF2-40B4-BE49-F238E27FC236}">
                    <a16:creationId xmlns:a16="http://schemas.microsoft.com/office/drawing/2014/main" id="{4130FEE5-F1F9-7D6D-16A4-6CC788E2D463}"/>
                  </a:ext>
                </a:extLst>
              </p:cNvPr>
              <p:cNvSpPr>
                <a:spLocks/>
              </p:cNvSpPr>
              <p:nvPr/>
            </p:nvSpPr>
            <p:spPr bwMode="auto">
              <a:xfrm>
                <a:off x="4937455" y="2694813"/>
                <a:ext cx="41979" cy="63507"/>
              </a:xfrm>
              <a:custGeom>
                <a:avLst/>
                <a:gdLst>
                  <a:gd name="T0" fmla="*/ 26 w 29"/>
                  <a:gd name="T1" fmla="*/ 43 h 44"/>
                  <a:gd name="T2" fmla="*/ 21 w 29"/>
                  <a:gd name="T3" fmla="*/ 42 h 44"/>
                  <a:gd name="T4" fmla="*/ 1 w 29"/>
                  <a:gd name="T5" fmla="*/ 7 h 44"/>
                  <a:gd name="T6" fmla="*/ 3 w 29"/>
                  <a:gd name="T7" fmla="*/ 2 h 44"/>
                  <a:gd name="T8" fmla="*/ 8 w 29"/>
                  <a:gd name="T9" fmla="*/ 3 h 44"/>
                  <a:gd name="T10" fmla="*/ 28 w 29"/>
                  <a:gd name="T11" fmla="*/ 38 h 44"/>
                  <a:gd name="T12" fmla="*/ 26 w 29"/>
                  <a:gd name="T13" fmla="*/ 43 h 44"/>
                </a:gdLst>
                <a:ahLst/>
                <a:cxnLst>
                  <a:cxn ang="0">
                    <a:pos x="T0" y="T1"/>
                  </a:cxn>
                  <a:cxn ang="0">
                    <a:pos x="T2" y="T3"/>
                  </a:cxn>
                  <a:cxn ang="0">
                    <a:pos x="T4" y="T5"/>
                  </a:cxn>
                  <a:cxn ang="0">
                    <a:pos x="T6" y="T7"/>
                  </a:cxn>
                  <a:cxn ang="0">
                    <a:pos x="T8" y="T9"/>
                  </a:cxn>
                  <a:cxn ang="0">
                    <a:pos x="T10" y="T11"/>
                  </a:cxn>
                  <a:cxn ang="0">
                    <a:pos x="T12" y="T13"/>
                  </a:cxn>
                </a:cxnLst>
                <a:rect l="0" t="0" r="r" b="b"/>
                <a:pathLst>
                  <a:path w="29" h="44">
                    <a:moveTo>
                      <a:pt x="26" y="43"/>
                    </a:moveTo>
                    <a:cubicBezTo>
                      <a:pt x="24" y="44"/>
                      <a:pt x="22" y="44"/>
                      <a:pt x="21" y="42"/>
                    </a:cubicBezTo>
                    <a:cubicBezTo>
                      <a:pt x="1" y="7"/>
                      <a:pt x="1" y="7"/>
                      <a:pt x="1" y="7"/>
                    </a:cubicBezTo>
                    <a:cubicBezTo>
                      <a:pt x="0" y="5"/>
                      <a:pt x="1" y="3"/>
                      <a:pt x="3" y="2"/>
                    </a:cubicBezTo>
                    <a:cubicBezTo>
                      <a:pt x="5" y="0"/>
                      <a:pt x="7" y="1"/>
                      <a:pt x="8" y="3"/>
                    </a:cubicBezTo>
                    <a:cubicBezTo>
                      <a:pt x="28" y="38"/>
                      <a:pt x="28" y="38"/>
                      <a:pt x="28" y="38"/>
                    </a:cubicBezTo>
                    <a:cubicBezTo>
                      <a:pt x="29" y="40"/>
                      <a:pt x="28" y="42"/>
                      <a:pt x="26"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85" name="Freeform 124">
                <a:extLst>
                  <a:ext uri="{FF2B5EF4-FFF2-40B4-BE49-F238E27FC236}">
                    <a16:creationId xmlns:a16="http://schemas.microsoft.com/office/drawing/2014/main" id="{9F7A8926-967F-C620-D857-829EACA4A314}"/>
                  </a:ext>
                </a:extLst>
              </p:cNvPr>
              <p:cNvSpPr>
                <a:spLocks/>
              </p:cNvSpPr>
              <p:nvPr/>
            </p:nvSpPr>
            <p:spPr bwMode="auto">
              <a:xfrm>
                <a:off x="4838428" y="2744327"/>
                <a:ext cx="50590" cy="79652"/>
              </a:xfrm>
              <a:custGeom>
                <a:avLst/>
                <a:gdLst>
                  <a:gd name="T0" fmla="*/ 32 w 35"/>
                  <a:gd name="T1" fmla="*/ 54 h 55"/>
                  <a:gd name="T2" fmla="*/ 27 w 35"/>
                  <a:gd name="T3" fmla="*/ 52 h 55"/>
                  <a:gd name="T4" fmla="*/ 1 w 35"/>
                  <a:gd name="T5" fmla="*/ 7 h 55"/>
                  <a:gd name="T6" fmla="*/ 3 w 35"/>
                  <a:gd name="T7" fmla="*/ 1 h 55"/>
                  <a:gd name="T8" fmla="*/ 8 w 35"/>
                  <a:gd name="T9" fmla="*/ 3 h 55"/>
                  <a:gd name="T10" fmla="*/ 34 w 35"/>
                  <a:gd name="T11" fmla="*/ 48 h 55"/>
                  <a:gd name="T12" fmla="*/ 32 w 35"/>
                  <a:gd name="T13" fmla="*/ 54 h 55"/>
                </a:gdLst>
                <a:ahLst/>
                <a:cxnLst>
                  <a:cxn ang="0">
                    <a:pos x="T0" y="T1"/>
                  </a:cxn>
                  <a:cxn ang="0">
                    <a:pos x="T2" y="T3"/>
                  </a:cxn>
                  <a:cxn ang="0">
                    <a:pos x="T4" y="T5"/>
                  </a:cxn>
                  <a:cxn ang="0">
                    <a:pos x="T6" y="T7"/>
                  </a:cxn>
                  <a:cxn ang="0">
                    <a:pos x="T8" y="T9"/>
                  </a:cxn>
                  <a:cxn ang="0">
                    <a:pos x="T10" y="T11"/>
                  </a:cxn>
                  <a:cxn ang="0">
                    <a:pos x="T12" y="T13"/>
                  </a:cxn>
                </a:cxnLst>
                <a:rect l="0" t="0" r="r" b="b"/>
                <a:pathLst>
                  <a:path w="35" h="55">
                    <a:moveTo>
                      <a:pt x="32" y="54"/>
                    </a:moveTo>
                    <a:cubicBezTo>
                      <a:pt x="30" y="55"/>
                      <a:pt x="28" y="54"/>
                      <a:pt x="27" y="52"/>
                    </a:cubicBezTo>
                    <a:cubicBezTo>
                      <a:pt x="1" y="7"/>
                      <a:pt x="1" y="7"/>
                      <a:pt x="1" y="7"/>
                    </a:cubicBezTo>
                    <a:cubicBezTo>
                      <a:pt x="0" y="5"/>
                      <a:pt x="1" y="3"/>
                      <a:pt x="3" y="1"/>
                    </a:cubicBezTo>
                    <a:cubicBezTo>
                      <a:pt x="4" y="0"/>
                      <a:pt x="7" y="1"/>
                      <a:pt x="8" y="3"/>
                    </a:cubicBezTo>
                    <a:cubicBezTo>
                      <a:pt x="34" y="48"/>
                      <a:pt x="34" y="48"/>
                      <a:pt x="34" y="48"/>
                    </a:cubicBezTo>
                    <a:cubicBezTo>
                      <a:pt x="35" y="50"/>
                      <a:pt x="34" y="53"/>
                      <a:pt x="32"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86" name="Freeform 125">
                <a:extLst>
                  <a:ext uri="{FF2B5EF4-FFF2-40B4-BE49-F238E27FC236}">
                    <a16:creationId xmlns:a16="http://schemas.microsoft.com/office/drawing/2014/main" id="{34AD7B4A-F310-3C49-3E9C-B970608C2965}"/>
                  </a:ext>
                </a:extLst>
              </p:cNvPr>
              <p:cNvSpPr>
                <a:spLocks/>
              </p:cNvSpPr>
              <p:nvPr/>
            </p:nvSpPr>
            <p:spPr bwMode="auto">
              <a:xfrm>
                <a:off x="4901934" y="2715265"/>
                <a:ext cx="49513" cy="79652"/>
              </a:xfrm>
              <a:custGeom>
                <a:avLst/>
                <a:gdLst>
                  <a:gd name="T0" fmla="*/ 32 w 34"/>
                  <a:gd name="T1" fmla="*/ 54 h 55"/>
                  <a:gd name="T2" fmla="*/ 26 w 34"/>
                  <a:gd name="T3" fmla="*/ 52 h 55"/>
                  <a:gd name="T4" fmla="*/ 1 w 34"/>
                  <a:gd name="T5" fmla="*/ 7 h 55"/>
                  <a:gd name="T6" fmla="*/ 2 w 34"/>
                  <a:gd name="T7" fmla="*/ 1 h 55"/>
                  <a:gd name="T8" fmla="*/ 8 w 34"/>
                  <a:gd name="T9" fmla="*/ 3 h 55"/>
                  <a:gd name="T10" fmla="*/ 33 w 34"/>
                  <a:gd name="T11" fmla="*/ 48 h 55"/>
                  <a:gd name="T12" fmla="*/ 32 w 34"/>
                  <a:gd name="T13" fmla="*/ 54 h 55"/>
                </a:gdLst>
                <a:ahLst/>
                <a:cxnLst>
                  <a:cxn ang="0">
                    <a:pos x="T0" y="T1"/>
                  </a:cxn>
                  <a:cxn ang="0">
                    <a:pos x="T2" y="T3"/>
                  </a:cxn>
                  <a:cxn ang="0">
                    <a:pos x="T4" y="T5"/>
                  </a:cxn>
                  <a:cxn ang="0">
                    <a:pos x="T6" y="T7"/>
                  </a:cxn>
                  <a:cxn ang="0">
                    <a:pos x="T8" y="T9"/>
                  </a:cxn>
                  <a:cxn ang="0">
                    <a:pos x="T10" y="T11"/>
                  </a:cxn>
                  <a:cxn ang="0">
                    <a:pos x="T12" y="T13"/>
                  </a:cxn>
                </a:cxnLst>
                <a:rect l="0" t="0" r="r" b="b"/>
                <a:pathLst>
                  <a:path w="34" h="55">
                    <a:moveTo>
                      <a:pt x="32" y="54"/>
                    </a:moveTo>
                    <a:cubicBezTo>
                      <a:pt x="30" y="55"/>
                      <a:pt x="27" y="54"/>
                      <a:pt x="26" y="52"/>
                    </a:cubicBezTo>
                    <a:cubicBezTo>
                      <a:pt x="1" y="7"/>
                      <a:pt x="1" y="7"/>
                      <a:pt x="1" y="7"/>
                    </a:cubicBezTo>
                    <a:cubicBezTo>
                      <a:pt x="0" y="5"/>
                      <a:pt x="0" y="2"/>
                      <a:pt x="2" y="1"/>
                    </a:cubicBezTo>
                    <a:cubicBezTo>
                      <a:pt x="4" y="0"/>
                      <a:pt x="7" y="1"/>
                      <a:pt x="8" y="3"/>
                    </a:cubicBezTo>
                    <a:cubicBezTo>
                      <a:pt x="33" y="48"/>
                      <a:pt x="33" y="48"/>
                      <a:pt x="33" y="48"/>
                    </a:cubicBezTo>
                    <a:cubicBezTo>
                      <a:pt x="34" y="50"/>
                      <a:pt x="34" y="52"/>
                      <a:pt x="32"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87" name="Freeform 126">
                <a:extLst>
                  <a:ext uri="{FF2B5EF4-FFF2-40B4-BE49-F238E27FC236}">
                    <a16:creationId xmlns:a16="http://schemas.microsoft.com/office/drawing/2014/main" id="{15B8D543-CD5D-1320-6908-CCC4550AD8FA}"/>
                  </a:ext>
                </a:extLst>
              </p:cNvPr>
              <p:cNvSpPr>
                <a:spLocks/>
              </p:cNvSpPr>
              <p:nvPr/>
            </p:nvSpPr>
            <p:spPr bwMode="auto">
              <a:xfrm>
                <a:off x="5008496" y="2656063"/>
                <a:ext cx="41979" cy="63507"/>
              </a:xfrm>
              <a:custGeom>
                <a:avLst/>
                <a:gdLst>
                  <a:gd name="T0" fmla="*/ 26 w 29"/>
                  <a:gd name="T1" fmla="*/ 43 h 44"/>
                  <a:gd name="T2" fmla="*/ 21 w 29"/>
                  <a:gd name="T3" fmla="*/ 41 h 44"/>
                  <a:gd name="T4" fmla="*/ 1 w 29"/>
                  <a:gd name="T5" fmla="*/ 6 h 44"/>
                  <a:gd name="T6" fmla="*/ 2 w 29"/>
                  <a:gd name="T7" fmla="*/ 1 h 44"/>
                  <a:gd name="T8" fmla="*/ 8 w 29"/>
                  <a:gd name="T9" fmla="*/ 3 h 44"/>
                  <a:gd name="T10" fmla="*/ 28 w 29"/>
                  <a:gd name="T11" fmla="*/ 37 h 44"/>
                  <a:gd name="T12" fmla="*/ 26 w 29"/>
                  <a:gd name="T13" fmla="*/ 43 h 44"/>
                </a:gdLst>
                <a:ahLst/>
                <a:cxnLst>
                  <a:cxn ang="0">
                    <a:pos x="T0" y="T1"/>
                  </a:cxn>
                  <a:cxn ang="0">
                    <a:pos x="T2" y="T3"/>
                  </a:cxn>
                  <a:cxn ang="0">
                    <a:pos x="T4" y="T5"/>
                  </a:cxn>
                  <a:cxn ang="0">
                    <a:pos x="T6" y="T7"/>
                  </a:cxn>
                  <a:cxn ang="0">
                    <a:pos x="T8" y="T9"/>
                  </a:cxn>
                  <a:cxn ang="0">
                    <a:pos x="T10" y="T11"/>
                  </a:cxn>
                  <a:cxn ang="0">
                    <a:pos x="T12" y="T13"/>
                  </a:cxn>
                </a:cxnLst>
                <a:rect l="0" t="0" r="r" b="b"/>
                <a:pathLst>
                  <a:path w="29" h="44">
                    <a:moveTo>
                      <a:pt x="26" y="43"/>
                    </a:moveTo>
                    <a:cubicBezTo>
                      <a:pt x="24" y="44"/>
                      <a:pt x="22" y="43"/>
                      <a:pt x="21" y="41"/>
                    </a:cubicBezTo>
                    <a:cubicBezTo>
                      <a:pt x="1" y="6"/>
                      <a:pt x="1" y="6"/>
                      <a:pt x="1" y="6"/>
                    </a:cubicBezTo>
                    <a:cubicBezTo>
                      <a:pt x="0" y="5"/>
                      <a:pt x="1" y="2"/>
                      <a:pt x="2" y="1"/>
                    </a:cubicBezTo>
                    <a:cubicBezTo>
                      <a:pt x="4" y="0"/>
                      <a:pt x="7" y="1"/>
                      <a:pt x="8" y="3"/>
                    </a:cubicBezTo>
                    <a:cubicBezTo>
                      <a:pt x="28" y="37"/>
                      <a:pt x="28" y="37"/>
                      <a:pt x="28" y="37"/>
                    </a:cubicBezTo>
                    <a:cubicBezTo>
                      <a:pt x="29" y="39"/>
                      <a:pt x="28" y="42"/>
                      <a:pt x="26"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88" name="Freeform 127">
                <a:extLst>
                  <a:ext uri="{FF2B5EF4-FFF2-40B4-BE49-F238E27FC236}">
                    <a16:creationId xmlns:a16="http://schemas.microsoft.com/office/drawing/2014/main" id="{A28D618A-EEDC-AA73-24F9-D43109ED4B8E}"/>
                  </a:ext>
                </a:extLst>
              </p:cNvPr>
              <p:cNvSpPr>
                <a:spLocks/>
              </p:cNvSpPr>
              <p:nvPr/>
            </p:nvSpPr>
            <p:spPr bwMode="auto">
              <a:xfrm>
                <a:off x="4971899" y="2675438"/>
                <a:ext cx="50590" cy="78576"/>
              </a:xfrm>
              <a:custGeom>
                <a:avLst/>
                <a:gdLst>
                  <a:gd name="T0" fmla="*/ 33 w 35"/>
                  <a:gd name="T1" fmla="*/ 53 h 54"/>
                  <a:gd name="T2" fmla="*/ 27 w 35"/>
                  <a:gd name="T3" fmla="*/ 51 h 54"/>
                  <a:gd name="T4" fmla="*/ 2 w 35"/>
                  <a:gd name="T5" fmla="*/ 6 h 54"/>
                  <a:gd name="T6" fmla="*/ 3 w 35"/>
                  <a:gd name="T7" fmla="*/ 1 h 54"/>
                  <a:gd name="T8" fmla="*/ 9 w 35"/>
                  <a:gd name="T9" fmla="*/ 2 h 54"/>
                  <a:gd name="T10" fmla="*/ 34 w 35"/>
                  <a:gd name="T11" fmla="*/ 48 h 54"/>
                  <a:gd name="T12" fmla="*/ 33 w 35"/>
                  <a:gd name="T13" fmla="*/ 53 h 54"/>
                </a:gdLst>
                <a:ahLst/>
                <a:cxnLst>
                  <a:cxn ang="0">
                    <a:pos x="T0" y="T1"/>
                  </a:cxn>
                  <a:cxn ang="0">
                    <a:pos x="T2" y="T3"/>
                  </a:cxn>
                  <a:cxn ang="0">
                    <a:pos x="T4" y="T5"/>
                  </a:cxn>
                  <a:cxn ang="0">
                    <a:pos x="T6" y="T7"/>
                  </a:cxn>
                  <a:cxn ang="0">
                    <a:pos x="T8" y="T9"/>
                  </a:cxn>
                  <a:cxn ang="0">
                    <a:pos x="T10" y="T11"/>
                  </a:cxn>
                  <a:cxn ang="0">
                    <a:pos x="T12" y="T13"/>
                  </a:cxn>
                </a:cxnLst>
                <a:rect l="0" t="0" r="r" b="b"/>
                <a:pathLst>
                  <a:path w="35" h="54">
                    <a:moveTo>
                      <a:pt x="33" y="53"/>
                    </a:moveTo>
                    <a:cubicBezTo>
                      <a:pt x="31" y="54"/>
                      <a:pt x="28" y="53"/>
                      <a:pt x="27" y="51"/>
                    </a:cubicBezTo>
                    <a:cubicBezTo>
                      <a:pt x="2" y="6"/>
                      <a:pt x="2" y="6"/>
                      <a:pt x="2" y="6"/>
                    </a:cubicBezTo>
                    <a:cubicBezTo>
                      <a:pt x="0" y="4"/>
                      <a:pt x="1" y="2"/>
                      <a:pt x="3" y="1"/>
                    </a:cubicBezTo>
                    <a:cubicBezTo>
                      <a:pt x="5" y="0"/>
                      <a:pt x="7" y="0"/>
                      <a:pt x="9" y="2"/>
                    </a:cubicBezTo>
                    <a:cubicBezTo>
                      <a:pt x="34" y="48"/>
                      <a:pt x="34" y="48"/>
                      <a:pt x="34" y="48"/>
                    </a:cubicBezTo>
                    <a:cubicBezTo>
                      <a:pt x="35" y="49"/>
                      <a:pt x="35" y="52"/>
                      <a:pt x="33"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89" name="Freeform 128">
                <a:extLst>
                  <a:ext uri="{FF2B5EF4-FFF2-40B4-BE49-F238E27FC236}">
                    <a16:creationId xmlns:a16="http://schemas.microsoft.com/office/drawing/2014/main" id="{09BF83FB-83DA-73F4-5A12-028425623F2D}"/>
                  </a:ext>
                </a:extLst>
              </p:cNvPr>
              <p:cNvSpPr>
                <a:spLocks/>
              </p:cNvSpPr>
              <p:nvPr/>
            </p:nvSpPr>
            <p:spPr bwMode="auto">
              <a:xfrm>
                <a:off x="5079537" y="2615161"/>
                <a:ext cx="40902" cy="63507"/>
              </a:xfrm>
              <a:custGeom>
                <a:avLst/>
                <a:gdLst>
                  <a:gd name="T0" fmla="*/ 26 w 28"/>
                  <a:gd name="T1" fmla="*/ 43 h 44"/>
                  <a:gd name="T2" fmla="*/ 20 w 28"/>
                  <a:gd name="T3" fmla="*/ 42 h 44"/>
                  <a:gd name="T4" fmla="*/ 1 w 28"/>
                  <a:gd name="T5" fmla="*/ 7 h 44"/>
                  <a:gd name="T6" fmla="*/ 2 w 28"/>
                  <a:gd name="T7" fmla="*/ 1 h 44"/>
                  <a:gd name="T8" fmla="*/ 8 w 28"/>
                  <a:gd name="T9" fmla="*/ 3 h 44"/>
                  <a:gd name="T10" fmla="*/ 27 w 28"/>
                  <a:gd name="T11" fmla="*/ 38 h 44"/>
                  <a:gd name="T12" fmla="*/ 26 w 28"/>
                  <a:gd name="T13" fmla="*/ 43 h 44"/>
                </a:gdLst>
                <a:ahLst/>
                <a:cxnLst>
                  <a:cxn ang="0">
                    <a:pos x="T0" y="T1"/>
                  </a:cxn>
                  <a:cxn ang="0">
                    <a:pos x="T2" y="T3"/>
                  </a:cxn>
                  <a:cxn ang="0">
                    <a:pos x="T4" y="T5"/>
                  </a:cxn>
                  <a:cxn ang="0">
                    <a:pos x="T6" y="T7"/>
                  </a:cxn>
                  <a:cxn ang="0">
                    <a:pos x="T8" y="T9"/>
                  </a:cxn>
                  <a:cxn ang="0">
                    <a:pos x="T10" y="T11"/>
                  </a:cxn>
                  <a:cxn ang="0">
                    <a:pos x="T12" y="T13"/>
                  </a:cxn>
                </a:cxnLst>
                <a:rect l="0" t="0" r="r" b="b"/>
                <a:pathLst>
                  <a:path w="28" h="44">
                    <a:moveTo>
                      <a:pt x="26" y="43"/>
                    </a:moveTo>
                    <a:cubicBezTo>
                      <a:pt x="24" y="44"/>
                      <a:pt x="21" y="44"/>
                      <a:pt x="20" y="42"/>
                    </a:cubicBezTo>
                    <a:cubicBezTo>
                      <a:pt x="1" y="7"/>
                      <a:pt x="1" y="7"/>
                      <a:pt x="1" y="7"/>
                    </a:cubicBezTo>
                    <a:cubicBezTo>
                      <a:pt x="0" y="5"/>
                      <a:pt x="0" y="3"/>
                      <a:pt x="2" y="1"/>
                    </a:cubicBezTo>
                    <a:cubicBezTo>
                      <a:pt x="4" y="0"/>
                      <a:pt x="7" y="1"/>
                      <a:pt x="8" y="3"/>
                    </a:cubicBezTo>
                    <a:cubicBezTo>
                      <a:pt x="27" y="38"/>
                      <a:pt x="27" y="38"/>
                      <a:pt x="27" y="38"/>
                    </a:cubicBezTo>
                    <a:cubicBezTo>
                      <a:pt x="28" y="40"/>
                      <a:pt x="28" y="42"/>
                      <a:pt x="26"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90" name="Freeform 129">
                <a:extLst>
                  <a:ext uri="{FF2B5EF4-FFF2-40B4-BE49-F238E27FC236}">
                    <a16:creationId xmlns:a16="http://schemas.microsoft.com/office/drawing/2014/main" id="{11E88213-5C72-BE5B-D318-D26271EA4C38}"/>
                  </a:ext>
                </a:extLst>
              </p:cNvPr>
              <p:cNvSpPr>
                <a:spLocks/>
              </p:cNvSpPr>
              <p:nvPr/>
            </p:nvSpPr>
            <p:spPr bwMode="auto">
              <a:xfrm>
                <a:off x="5042940" y="2635613"/>
                <a:ext cx="51666" cy="79652"/>
              </a:xfrm>
              <a:custGeom>
                <a:avLst/>
                <a:gdLst>
                  <a:gd name="T0" fmla="*/ 32 w 35"/>
                  <a:gd name="T1" fmla="*/ 53 h 55"/>
                  <a:gd name="T2" fmla="*/ 27 w 35"/>
                  <a:gd name="T3" fmla="*/ 52 h 55"/>
                  <a:gd name="T4" fmla="*/ 1 w 35"/>
                  <a:gd name="T5" fmla="*/ 7 h 55"/>
                  <a:gd name="T6" fmla="*/ 3 w 35"/>
                  <a:gd name="T7" fmla="*/ 1 h 55"/>
                  <a:gd name="T8" fmla="*/ 8 w 35"/>
                  <a:gd name="T9" fmla="*/ 3 h 55"/>
                  <a:gd name="T10" fmla="*/ 34 w 35"/>
                  <a:gd name="T11" fmla="*/ 48 h 55"/>
                  <a:gd name="T12" fmla="*/ 32 w 35"/>
                  <a:gd name="T13" fmla="*/ 53 h 55"/>
                </a:gdLst>
                <a:ahLst/>
                <a:cxnLst>
                  <a:cxn ang="0">
                    <a:pos x="T0" y="T1"/>
                  </a:cxn>
                  <a:cxn ang="0">
                    <a:pos x="T2" y="T3"/>
                  </a:cxn>
                  <a:cxn ang="0">
                    <a:pos x="T4" y="T5"/>
                  </a:cxn>
                  <a:cxn ang="0">
                    <a:pos x="T6" y="T7"/>
                  </a:cxn>
                  <a:cxn ang="0">
                    <a:pos x="T8" y="T9"/>
                  </a:cxn>
                  <a:cxn ang="0">
                    <a:pos x="T10" y="T11"/>
                  </a:cxn>
                  <a:cxn ang="0">
                    <a:pos x="T12" y="T13"/>
                  </a:cxn>
                </a:cxnLst>
                <a:rect l="0" t="0" r="r" b="b"/>
                <a:pathLst>
                  <a:path w="35" h="55">
                    <a:moveTo>
                      <a:pt x="32" y="53"/>
                    </a:moveTo>
                    <a:cubicBezTo>
                      <a:pt x="30" y="55"/>
                      <a:pt x="28" y="54"/>
                      <a:pt x="27" y="52"/>
                    </a:cubicBezTo>
                    <a:cubicBezTo>
                      <a:pt x="1" y="7"/>
                      <a:pt x="1" y="7"/>
                      <a:pt x="1" y="7"/>
                    </a:cubicBezTo>
                    <a:cubicBezTo>
                      <a:pt x="0" y="5"/>
                      <a:pt x="1" y="2"/>
                      <a:pt x="3" y="1"/>
                    </a:cubicBezTo>
                    <a:cubicBezTo>
                      <a:pt x="5" y="0"/>
                      <a:pt x="7" y="1"/>
                      <a:pt x="8" y="3"/>
                    </a:cubicBezTo>
                    <a:cubicBezTo>
                      <a:pt x="34" y="48"/>
                      <a:pt x="34" y="48"/>
                      <a:pt x="34" y="48"/>
                    </a:cubicBezTo>
                    <a:cubicBezTo>
                      <a:pt x="35" y="50"/>
                      <a:pt x="34" y="52"/>
                      <a:pt x="32"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91" name="Freeform 130">
                <a:extLst>
                  <a:ext uri="{FF2B5EF4-FFF2-40B4-BE49-F238E27FC236}">
                    <a16:creationId xmlns:a16="http://schemas.microsoft.com/office/drawing/2014/main" id="{2F4B5029-6627-349E-6C25-7C867F6E0203}"/>
                  </a:ext>
                </a:extLst>
              </p:cNvPr>
              <p:cNvSpPr>
                <a:spLocks/>
              </p:cNvSpPr>
              <p:nvPr/>
            </p:nvSpPr>
            <p:spPr bwMode="auto">
              <a:xfrm>
                <a:off x="5115057" y="2595786"/>
                <a:ext cx="50590" cy="78576"/>
              </a:xfrm>
              <a:custGeom>
                <a:avLst/>
                <a:gdLst>
                  <a:gd name="T0" fmla="*/ 32 w 35"/>
                  <a:gd name="T1" fmla="*/ 53 h 54"/>
                  <a:gd name="T2" fmla="*/ 27 w 35"/>
                  <a:gd name="T3" fmla="*/ 51 h 54"/>
                  <a:gd name="T4" fmla="*/ 1 w 35"/>
                  <a:gd name="T5" fmla="*/ 6 h 54"/>
                  <a:gd name="T6" fmla="*/ 3 w 35"/>
                  <a:gd name="T7" fmla="*/ 1 h 54"/>
                  <a:gd name="T8" fmla="*/ 8 w 35"/>
                  <a:gd name="T9" fmla="*/ 2 h 54"/>
                  <a:gd name="T10" fmla="*/ 34 w 35"/>
                  <a:gd name="T11" fmla="*/ 47 h 54"/>
                  <a:gd name="T12" fmla="*/ 32 w 35"/>
                  <a:gd name="T13" fmla="*/ 53 h 54"/>
                </a:gdLst>
                <a:ahLst/>
                <a:cxnLst>
                  <a:cxn ang="0">
                    <a:pos x="T0" y="T1"/>
                  </a:cxn>
                  <a:cxn ang="0">
                    <a:pos x="T2" y="T3"/>
                  </a:cxn>
                  <a:cxn ang="0">
                    <a:pos x="T4" y="T5"/>
                  </a:cxn>
                  <a:cxn ang="0">
                    <a:pos x="T6" y="T7"/>
                  </a:cxn>
                  <a:cxn ang="0">
                    <a:pos x="T8" y="T9"/>
                  </a:cxn>
                  <a:cxn ang="0">
                    <a:pos x="T10" y="T11"/>
                  </a:cxn>
                  <a:cxn ang="0">
                    <a:pos x="T12" y="T13"/>
                  </a:cxn>
                </a:cxnLst>
                <a:rect l="0" t="0" r="r" b="b"/>
                <a:pathLst>
                  <a:path w="35" h="54">
                    <a:moveTo>
                      <a:pt x="32" y="53"/>
                    </a:moveTo>
                    <a:cubicBezTo>
                      <a:pt x="30" y="54"/>
                      <a:pt x="28" y="53"/>
                      <a:pt x="27" y="51"/>
                    </a:cubicBezTo>
                    <a:cubicBezTo>
                      <a:pt x="1" y="6"/>
                      <a:pt x="1" y="6"/>
                      <a:pt x="1" y="6"/>
                    </a:cubicBezTo>
                    <a:cubicBezTo>
                      <a:pt x="0" y="4"/>
                      <a:pt x="1" y="2"/>
                      <a:pt x="3" y="1"/>
                    </a:cubicBezTo>
                    <a:cubicBezTo>
                      <a:pt x="4" y="0"/>
                      <a:pt x="7" y="0"/>
                      <a:pt x="8" y="2"/>
                    </a:cubicBezTo>
                    <a:cubicBezTo>
                      <a:pt x="34" y="47"/>
                      <a:pt x="34" y="47"/>
                      <a:pt x="34" y="47"/>
                    </a:cubicBezTo>
                    <a:cubicBezTo>
                      <a:pt x="35" y="49"/>
                      <a:pt x="34" y="52"/>
                      <a:pt x="32"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grpSp>
      </p:grpSp>
      <p:pic>
        <p:nvPicPr>
          <p:cNvPr id="123" name="صورة 122" descr="صورة تحتوي على لقطة شاشة, الخط, نص, الرسومات&#10;&#10;تم إنشاء الوصف تلقائياً">
            <a:extLst>
              <a:ext uri="{FF2B5EF4-FFF2-40B4-BE49-F238E27FC236}">
                <a16:creationId xmlns:a16="http://schemas.microsoft.com/office/drawing/2014/main" id="{27A3A63D-DE93-13D5-5A41-D4242465D2A1}"/>
              </a:ext>
            </a:extLst>
          </p:cNvPr>
          <p:cNvPicPr>
            <a:picLocks noChangeAspect="1"/>
          </p:cNvPicPr>
          <p:nvPr/>
        </p:nvPicPr>
        <p:blipFill>
          <a:blip r:embed="rId3"/>
          <a:stretch>
            <a:fillRect/>
          </a:stretch>
        </p:blipFill>
        <p:spPr>
          <a:xfrm>
            <a:off x="59388" y="131758"/>
            <a:ext cx="1713833" cy="917972"/>
          </a:xfrm>
          <a:prstGeom prst="rect">
            <a:avLst/>
          </a:prstGeom>
        </p:spPr>
      </p:pic>
      <p:grpSp>
        <p:nvGrpSpPr>
          <p:cNvPr id="125" name="مجموعة 124">
            <a:extLst>
              <a:ext uri="{FF2B5EF4-FFF2-40B4-BE49-F238E27FC236}">
                <a16:creationId xmlns:a16="http://schemas.microsoft.com/office/drawing/2014/main" id="{BC376F28-2069-E08E-AA0C-2A8CB3615041}"/>
              </a:ext>
            </a:extLst>
          </p:cNvPr>
          <p:cNvGrpSpPr/>
          <p:nvPr/>
        </p:nvGrpSpPr>
        <p:grpSpPr>
          <a:xfrm>
            <a:off x="110568" y="5942850"/>
            <a:ext cx="12081432" cy="826402"/>
            <a:chOff x="103011" y="5950741"/>
            <a:chExt cx="10852403" cy="826402"/>
          </a:xfrm>
        </p:grpSpPr>
        <p:sp>
          <p:nvSpPr>
            <p:cNvPr id="126" name="مستطيل 125">
              <a:extLst>
                <a:ext uri="{FF2B5EF4-FFF2-40B4-BE49-F238E27FC236}">
                  <a16:creationId xmlns:a16="http://schemas.microsoft.com/office/drawing/2014/main" id="{3FAF2481-B1DF-C81D-9681-387D9439C65F}"/>
                </a:ext>
              </a:extLst>
            </p:cNvPr>
            <p:cNvSpPr/>
            <p:nvPr/>
          </p:nvSpPr>
          <p:spPr>
            <a:xfrm>
              <a:off x="928457" y="6575789"/>
              <a:ext cx="10026957" cy="201354"/>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ar-SA" sz="1800" b="0" i="0" u="none" strike="noStrike" kern="1200" cap="none" spc="0" normalizeH="0" baseline="0" noProof="0" dirty="0">
                <a:ln>
                  <a:noFill/>
                </a:ln>
                <a:solidFill>
                  <a:prstClr val="white"/>
                </a:solidFill>
                <a:effectLst/>
                <a:uLnTx/>
                <a:uFillTx/>
                <a:latin typeface="Century Gothic" panose="020B0502020202020204"/>
                <a:ea typeface="+mn-ea"/>
                <a:cs typeface="Arial" panose="020B0604020202020204" pitchFamily="34" charset="0"/>
              </a:endParaRPr>
            </a:p>
          </p:txBody>
        </p:sp>
        <p:sp>
          <p:nvSpPr>
            <p:cNvPr id="127" name="مثلث قائم الزاوية 126">
              <a:extLst>
                <a:ext uri="{FF2B5EF4-FFF2-40B4-BE49-F238E27FC236}">
                  <a16:creationId xmlns:a16="http://schemas.microsoft.com/office/drawing/2014/main" id="{63A38BEA-2CA5-CFA0-1082-AC5ED4F3D1D5}"/>
                </a:ext>
              </a:extLst>
            </p:cNvPr>
            <p:cNvSpPr/>
            <p:nvPr/>
          </p:nvSpPr>
          <p:spPr>
            <a:xfrm>
              <a:off x="103011" y="5950741"/>
              <a:ext cx="1141988" cy="826402"/>
            </a:xfrm>
            <a:prstGeom prst="r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ar-SA" sz="1800" b="0" i="0" u="none" strike="noStrike" kern="1200" cap="none" spc="0" normalizeH="0" baseline="0" noProof="0">
                <a:ln>
                  <a:noFill/>
                </a:ln>
                <a:solidFill>
                  <a:prstClr val="white"/>
                </a:solidFill>
                <a:effectLst/>
                <a:uLnTx/>
                <a:uFillTx/>
                <a:latin typeface="Century Gothic" panose="020B0502020202020204"/>
                <a:ea typeface="+mn-ea"/>
                <a:cs typeface="Arial" panose="020B0604020202020204" pitchFamily="34" charset="0"/>
              </a:endParaRPr>
            </a:p>
          </p:txBody>
        </p:sp>
      </p:grpSp>
    </p:spTree>
    <p:extLst>
      <p:ext uri="{BB962C8B-B14F-4D97-AF65-F5344CB8AC3E}">
        <p14:creationId xmlns:p14="http://schemas.microsoft.com/office/powerpoint/2010/main" val="2742039877"/>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6" name="صورة 15">
            <a:extLst>
              <a:ext uri="{FF2B5EF4-FFF2-40B4-BE49-F238E27FC236}">
                <a16:creationId xmlns:a16="http://schemas.microsoft.com/office/drawing/2014/main" id="{CE85A7D1-AF77-2545-7E0D-BD0010EFFB3D}"/>
              </a:ext>
            </a:extLst>
          </p:cNvPr>
          <p:cNvPicPr>
            <a:picLocks noChangeAspect="1"/>
          </p:cNvPicPr>
          <p:nvPr/>
        </p:nvPicPr>
        <p:blipFill>
          <a:blip r:embed="rId2"/>
          <a:stretch>
            <a:fillRect/>
          </a:stretch>
        </p:blipFill>
        <p:spPr>
          <a:xfrm>
            <a:off x="965200" y="2086627"/>
            <a:ext cx="2879083" cy="2684744"/>
          </a:xfrm>
          <a:prstGeom prst="rect">
            <a:avLst/>
          </a:prstGeom>
        </p:spPr>
      </p:pic>
      <p:pic>
        <p:nvPicPr>
          <p:cNvPr id="18" name="صورة 17">
            <a:extLst>
              <a:ext uri="{FF2B5EF4-FFF2-40B4-BE49-F238E27FC236}">
                <a16:creationId xmlns:a16="http://schemas.microsoft.com/office/drawing/2014/main" id="{5AB9B561-681C-9BF2-3E32-387B3849D5BB}"/>
              </a:ext>
            </a:extLst>
          </p:cNvPr>
          <p:cNvPicPr>
            <a:picLocks noChangeAspect="1"/>
          </p:cNvPicPr>
          <p:nvPr/>
        </p:nvPicPr>
        <p:blipFill>
          <a:blip r:embed="rId3"/>
          <a:stretch>
            <a:fillRect/>
          </a:stretch>
        </p:blipFill>
        <p:spPr>
          <a:xfrm>
            <a:off x="4647976" y="2144146"/>
            <a:ext cx="2880360" cy="2570721"/>
          </a:xfrm>
          <a:prstGeom prst="rect">
            <a:avLst/>
          </a:prstGeom>
        </p:spPr>
      </p:pic>
      <p:pic>
        <p:nvPicPr>
          <p:cNvPr id="20" name="صورة 19">
            <a:extLst>
              <a:ext uri="{FF2B5EF4-FFF2-40B4-BE49-F238E27FC236}">
                <a16:creationId xmlns:a16="http://schemas.microsoft.com/office/drawing/2014/main" id="{DC0F6DEA-0A25-7E89-8644-CD9A3B97240E}"/>
              </a:ext>
            </a:extLst>
          </p:cNvPr>
          <p:cNvPicPr>
            <a:picLocks noChangeAspect="1"/>
          </p:cNvPicPr>
          <p:nvPr/>
        </p:nvPicPr>
        <p:blipFill>
          <a:blip r:embed="rId4"/>
          <a:stretch>
            <a:fillRect/>
          </a:stretch>
        </p:blipFill>
        <p:spPr>
          <a:xfrm>
            <a:off x="8343941" y="2525286"/>
            <a:ext cx="2880360" cy="1807426"/>
          </a:xfrm>
          <a:prstGeom prst="rect">
            <a:avLst/>
          </a:prstGeom>
        </p:spPr>
      </p:pic>
      <p:sp>
        <p:nvSpPr>
          <p:cNvPr id="21" name="مستطيل 20">
            <a:extLst>
              <a:ext uri="{FF2B5EF4-FFF2-40B4-BE49-F238E27FC236}">
                <a16:creationId xmlns:a16="http://schemas.microsoft.com/office/drawing/2014/main" id="{CA90B31D-D047-757D-4770-72649E6F877E}"/>
              </a:ext>
            </a:extLst>
          </p:cNvPr>
          <p:cNvSpPr/>
          <p:nvPr/>
        </p:nvSpPr>
        <p:spPr>
          <a:xfrm>
            <a:off x="8800601" y="4183149"/>
            <a:ext cx="1936894" cy="299125"/>
          </a:xfrm>
          <a:prstGeom prst="rect">
            <a:avLst/>
          </a:prstGeom>
          <a:ln>
            <a:noFill/>
          </a:ln>
        </p:spPr>
        <p:style>
          <a:lnRef idx="2">
            <a:schemeClr val="accent3"/>
          </a:lnRef>
          <a:fillRef idx="1">
            <a:schemeClr val="lt1"/>
          </a:fillRef>
          <a:effectRef idx="0">
            <a:schemeClr val="accent3"/>
          </a:effectRef>
          <a:fontRef idx="minor">
            <a:schemeClr val="dk1"/>
          </a:fontRef>
        </p:style>
        <p:txBody>
          <a:bodyPr rtlCol="1"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ar-SA" sz="1600" b="1" i="0" u="none" strike="noStrike" kern="1200" cap="none" spc="0" normalizeH="0" baseline="0" noProof="0" dirty="0">
                <a:ln>
                  <a:noFill/>
                </a:ln>
                <a:solidFill>
                  <a:prstClr val="black"/>
                </a:solidFill>
                <a:effectLst/>
                <a:uLnTx/>
                <a:uFillTx/>
                <a:latin typeface="29LT Azer" panose="00000500000000000000" pitchFamily="2" charset="-78"/>
                <a:ea typeface="+mn-ea"/>
                <a:cs typeface="29LT Azer" panose="00000500000000000000" pitchFamily="2" charset="-78"/>
              </a:rPr>
              <a:t>القراءة</a:t>
            </a:r>
            <a:r>
              <a:rPr kumimoji="0" lang="ar-SA" sz="1600" b="0" i="0" u="none" strike="noStrike" kern="1200" cap="none" spc="0" normalizeH="0" baseline="0" noProof="0" dirty="0">
                <a:ln>
                  <a:noFill/>
                </a:ln>
                <a:solidFill>
                  <a:prstClr val="black"/>
                </a:solidFill>
                <a:effectLst/>
                <a:uLnTx/>
                <a:uFillTx/>
                <a:latin typeface="29LT Azer" panose="00000500000000000000" pitchFamily="2" charset="-78"/>
                <a:ea typeface="+mn-ea"/>
                <a:cs typeface="29LT Azer" panose="00000500000000000000" pitchFamily="2" charset="-78"/>
              </a:rPr>
              <a:t> </a:t>
            </a:r>
          </a:p>
        </p:txBody>
      </p:sp>
      <p:pic>
        <p:nvPicPr>
          <p:cNvPr id="48" name="صورة 47">
            <a:extLst>
              <a:ext uri="{FF2B5EF4-FFF2-40B4-BE49-F238E27FC236}">
                <a16:creationId xmlns:a16="http://schemas.microsoft.com/office/drawing/2014/main" id="{EA56F9B8-5DC2-9611-AC78-F78CC8A058D2}"/>
              </a:ext>
            </a:extLst>
          </p:cNvPr>
          <p:cNvPicPr>
            <a:picLocks noChangeAspect="1"/>
          </p:cNvPicPr>
          <p:nvPr/>
        </p:nvPicPr>
        <p:blipFill>
          <a:blip r:embed="rId5"/>
          <a:stretch>
            <a:fillRect/>
          </a:stretch>
        </p:blipFill>
        <p:spPr>
          <a:xfrm>
            <a:off x="4326882" y="5082966"/>
            <a:ext cx="1905000" cy="1123950"/>
          </a:xfrm>
          <a:prstGeom prst="rect">
            <a:avLst/>
          </a:prstGeom>
        </p:spPr>
      </p:pic>
      <p:pic>
        <p:nvPicPr>
          <p:cNvPr id="50" name="صورة 49">
            <a:extLst>
              <a:ext uri="{FF2B5EF4-FFF2-40B4-BE49-F238E27FC236}">
                <a16:creationId xmlns:a16="http://schemas.microsoft.com/office/drawing/2014/main" id="{A84C7D4E-294D-561A-A810-7979585A57A5}"/>
              </a:ext>
            </a:extLst>
          </p:cNvPr>
          <p:cNvPicPr>
            <a:picLocks noChangeAspect="1"/>
          </p:cNvPicPr>
          <p:nvPr/>
        </p:nvPicPr>
        <p:blipFill>
          <a:blip r:embed="rId6"/>
          <a:stretch>
            <a:fillRect/>
          </a:stretch>
        </p:blipFill>
        <p:spPr>
          <a:xfrm>
            <a:off x="6249988" y="5137284"/>
            <a:ext cx="1514475" cy="1066800"/>
          </a:xfrm>
          <a:prstGeom prst="rect">
            <a:avLst/>
          </a:prstGeom>
        </p:spPr>
      </p:pic>
      <p:pic>
        <p:nvPicPr>
          <p:cNvPr id="51" name="صورة 50" descr="صورة تحتوي على لقطة شاشة, الخط, نص, الرسومات&#10;&#10;تم إنشاء الوصف تلقائياً">
            <a:extLst>
              <a:ext uri="{FF2B5EF4-FFF2-40B4-BE49-F238E27FC236}">
                <a16:creationId xmlns:a16="http://schemas.microsoft.com/office/drawing/2014/main" id="{1475D710-AB8A-E361-3A02-C56EF28DA63E}"/>
              </a:ext>
            </a:extLst>
          </p:cNvPr>
          <p:cNvPicPr>
            <a:picLocks noChangeAspect="1"/>
          </p:cNvPicPr>
          <p:nvPr/>
        </p:nvPicPr>
        <p:blipFill>
          <a:blip r:embed="rId7"/>
          <a:stretch>
            <a:fillRect/>
          </a:stretch>
        </p:blipFill>
        <p:spPr>
          <a:xfrm>
            <a:off x="59388" y="131758"/>
            <a:ext cx="1713833" cy="917972"/>
          </a:xfrm>
          <a:prstGeom prst="rect">
            <a:avLst/>
          </a:prstGeom>
        </p:spPr>
      </p:pic>
      <p:grpSp>
        <p:nvGrpSpPr>
          <p:cNvPr id="55" name="مجموعة 54">
            <a:extLst>
              <a:ext uri="{FF2B5EF4-FFF2-40B4-BE49-F238E27FC236}">
                <a16:creationId xmlns:a16="http://schemas.microsoft.com/office/drawing/2014/main" id="{1C61F4B0-110E-9631-EAB9-153FC49CBEDF}"/>
              </a:ext>
            </a:extLst>
          </p:cNvPr>
          <p:cNvGrpSpPr/>
          <p:nvPr/>
        </p:nvGrpSpPr>
        <p:grpSpPr>
          <a:xfrm>
            <a:off x="110568" y="5942850"/>
            <a:ext cx="12081432" cy="826402"/>
            <a:chOff x="103011" y="5950741"/>
            <a:chExt cx="10852403" cy="826402"/>
          </a:xfrm>
        </p:grpSpPr>
        <p:sp>
          <p:nvSpPr>
            <p:cNvPr id="56" name="مستطيل 55">
              <a:extLst>
                <a:ext uri="{FF2B5EF4-FFF2-40B4-BE49-F238E27FC236}">
                  <a16:creationId xmlns:a16="http://schemas.microsoft.com/office/drawing/2014/main" id="{C074231A-DB7F-3610-84A2-F1F3855E757E}"/>
                </a:ext>
              </a:extLst>
            </p:cNvPr>
            <p:cNvSpPr/>
            <p:nvPr/>
          </p:nvSpPr>
          <p:spPr>
            <a:xfrm>
              <a:off x="928457" y="6575789"/>
              <a:ext cx="10026957" cy="201354"/>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ar-SA" sz="1800" b="0" i="0" u="none" strike="noStrike" kern="1200" cap="none" spc="0" normalizeH="0" baseline="0" noProof="0" dirty="0">
                <a:ln>
                  <a:noFill/>
                </a:ln>
                <a:solidFill>
                  <a:prstClr val="white"/>
                </a:solidFill>
                <a:effectLst/>
                <a:uLnTx/>
                <a:uFillTx/>
                <a:latin typeface="Century Gothic" panose="020B0502020202020204"/>
                <a:ea typeface="+mn-ea"/>
                <a:cs typeface="Arial" panose="020B0604020202020204" pitchFamily="34" charset="0"/>
              </a:endParaRPr>
            </a:p>
          </p:txBody>
        </p:sp>
        <p:sp>
          <p:nvSpPr>
            <p:cNvPr id="57" name="مثلث قائم الزاوية 56">
              <a:extLst>
                <a:ext uri="{FF2B5EF4-FFF2-40B4-BE49-F238E27FC236}">
                  <a16:creationId xmlns:a16="http://schemas.microsoft.com/office/drawing/2014/main" id="{02F4301F-668D-FA07-D4E4-3F78BF63973C}"/>
                </a:ext>
              </a:extLst>
            </p:cNvPr>
            <p:cNvSpPr/>
            <p:nvPr/>
          </p:nvSpPr>
          <p:spPr>
            <a:xfrm>
              <a:off x="103011" y="5950741"/>
              <a:ext cx="1141988" cy="826402"/>
            </a:xfrm>
            <a:prstGeom prst="r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ar-SA" sz="1800" b="0" i="0" u="none" strike="noStrike" kern="1200" cap="none" spc="0" normalizeH="0" baseline="0" noProof="0">
                <a:ln>
                  <a:noFill/>
                </a:ln>
                <a:solidFill>
                  <a:prstClr val="white"/>
                </a:solidFill>
                <a:effectLst/>
                <a:uLnTx/>
                <a:uFillTx/>
                <a:latin typeface="Century Gothic" panose="020B0502020202020204"/>
                <a:ea typeface="+mn-ea"/>
                <a:cs typeface="Arial" panose="020B0604020202020204" pitchFamily="34" charset="0"/>
              </a:endParaRPr>
            </a:p>
          </p:txBody>
        </p:sp>
      </p:grpSp>
    </p:spTree>
    <p:extLst>
      <p:ext uri="{BB962C8B-B14F-4D97-AF65-F5344CB8AC3E}">
        <p14:creationId xmlns:p14="http://schemas.microsoft.com/office/powerpoint/2010/main" val="407147728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Google Shape;329;p24">
            <a:extLst>
              <a:ext uri="{FF2B5EF4-FFF2-40B4-BE49-F238E27FC236}">
                <a16:creationId xmlns:a16="http://schemas.microsoft.com/office/drawing/2014/main" id="{68369DBD-B3EA-CE9A-A574-653BD2886E8B}"/>
              </a:ext>
            </a:extLst>
          </p:cNvPr>
          <p:cNvSpPr txBox="1">
            <a:spLocks/>
          </p:cNvSpPr>
          <p:nvPr/>
        </p:nvSpPr>
        <p:spPr>
          <a:xfrm>
            <a:off x="6335225" y="932726"/>
            <a:ext cx="4404500" cy="619817"/>
          </a:xfrm>
          <a:prstGeom prst="rect">
            <a:avLst/>
          </a:prstGeom>
          <a:noFill/>
          <a:ln>
            <a:noFill/>
          </a:ln>
        </p:spPr>
        <p:txBody>
          <a:bodyPr spcFirstLastPara="1" wrap="square" lIns="162533" tIns="162533" rIns="162533" bIns="162533"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1"/>
              </a:buClr>
              <a:buSzPts val="3000"/>
              <a:buFont typeface="Miriam Libre"/>
              <a:buNone/>
              <a:defRPr sz="3000" b="0" i="0" u="none" strike="noStrike" cap="none">
                <a:solidFill>
                  <a:schemeClr val="accent1"/>
                </a:solidFill>
                <a:latin typeface="Miriam Libre"/>
                <a:ea typeface="Miriam Libre"/>
                <a:cs typeface="Miriam Libre"/>
                <a:sym typeface="Miriam Libre"/>
              </a:defRPr>
            </a:lvl1pPr>
            <a:lvl2pPr marR="0" lvl="1" algn="l" rtl="0">
              <a:lnSpc>
                <a:spcPct val="100000"/>
              </a:lnSpc>
              <a:spcBef>
                <a:spcPts val="0"/>
              </a:spcBef>
              <a:spcAft>
                <a:spcPts val="0"/>
              </a:spcAft>
              <a:buClr>
                <a:schemeClr val="accent1"/>
              </a:buClr>
              <a:buSzPts val="3000"/>
              <a:buFont typeface="Miriam Libre"/>
              <a:buNone/>
              <a:defRPr sz="3000" b="0" i="0" u="none" strike="noStrike" cap="none">
                <a:solidFill>
                  <a:schemeClr val="accent1"/>
                </a:solidFill>
                <a:latin typeface="Miriam Libre"/>
                <a:ea typeface="Miriam Libre"/>
                <a:cs typeface="Miriam Libre"/>
                <a:sym typeface="Miriam Libre"/>
              </a:defRPr>
            </a:lvl2pPr>
            <a:lvl3pPr marR="0" lvl="2" algn="l" rtl="0">
              <a:lnSpc>
                <a:spcPct val="100000"/>
              </a:lnSpc>
              <a:spcBef>
                <a:spcPts val="0"/>
              </a:spcBef>
              <a:spcAft>
                <a:spcPts val="0"/>
              </a:spcAft>
              <a:buClr>
                <a:schemeClr val="accent1"/>
              </a:buClr>
              <a:buSzPts val="3000"/>
              <a:buFont typeface="Miriam Libre"/>
              <a:buNone/>
              <a:defRPr sz="3000" b="0" i="0" u="none" strike="noStrike" cap="none">
                <a:solidFill>
                  <a:schemeClr val="accent1"/>
                </a:solidFill>
                <a:latin typeface="Miriam Libre"/>
                <a:ea typeface="Miriam Libre"/>
                <a:cs typeface="Miriam Libre"/>
                <a:sym typeface="Miriam Libre"/>
              </a:defRPr>
            </a:lvl3pPr>
            <a:lvl4pPr marR="0" lvl="3" algn="l" rtl="0">
              <a:lnSpc>
                <a:spcPct val="100000"/>
              </a:lnSpc>
              <a:spcBef>
                <a:spcPts val="0"/>
              </a:spcBef>
              <a:spcAft>
                <a:spcPts val="0"/>
              </a:spcAft>
              <a:buClr>
                <a:schemeClr val="accent1"/>
              </a:buClr>
              <a:buSzPts val="3000"/>
              <a:buFont typeface="Miriam Libre"/>
              <a:buNone/>
              <a:defRPr sz="3000" b="0" i="0" u="none" strike="noStrike" cap="none">
                <a:solidFill>
                  <a:schemeClr val="accent1"/>
                </a:solidFill>
                <a:latin typeface="Miriam Libre"/>
                <a:ea typeface="Miriam Libre"/>
                <a:cs typeface="Miriam Libre"/>
                <a:sym typeface="Miriam Libre"/>
              </a:defRPr>
            </a:lvl4pPr>
            <a:lvl5pPr marR="0" lvl="4" algn="l" rtl="0">
              <a:lnSpc>
                <a:spcPct val="100000"/>
              </a:lnSpc>
              <a:spcBef>
                <a:spcPts val="0"/>
              </a:spcBef>
              <a:spcAft>
                <a:spcPts val="0"/>
              </a:spcAft>
              <a:buClr>
                <a:schemeClr val="accent1"/>
              </a:buClr>
              <a:buSzPts val="3000"/>
              <a:buFont typeface="Miriam Libre"/>
              <a:buNone/>
              <a:defRPr sz="3000" b="0" i="0" u="none" strike="noStrike" cap="none">
                <a:solidFill>
                  <a:schemeClr val="accent1"/>
                </a:solidFill>
                <a:latin typeface="Miriam Libre"/>
                <a:ea typeface="Miriam Libre"/>
                <a:cs typeface="Miriam Libre"/>
                <a:sym typeface="Miriam Libre"/>
              </a:defRPr>
            </a:lvl5pPr>
            <a:lvl6pPr marR="0" lvl="5" algn="l" rtl="0">
              <a:lnSpc>
                <a:spcPct val="100000"/>
              </a:lnSpc>
              <a:spcBef>
                <a:spcPts val="0"/>
              </a:spcBef>
              <a:spcAft>
                <a:spcPts val="0"/>
              </a:spcAft>
              <a:buClr>
                <a:schemeClr val="accent1"/>
              </a:buClr>
              <a:buSzPts val="3000"/>
              <a:buFont typeface="Miriam Libre"/>
              <a:buNone/>
              <a:defRPr sz="3000" b="0" i="0" u="none" strike="noStrike" cap="none">
                <a:solidFill>
                  <a:schemeClr val="accent1"/>
                </a:solidFill>
                <a:latin typeface="Miriam Libre"/>
                <a:ea typeface="Miriam Libre"/>
                <a:cs typeface="Miriam Libre"/>
                <a:sym typeface="Miriam Libre"/>
              </a:defRPr>
            </a:lvl6pPr>
            <a:lvl7pPr marR="0" lvl="6" algn="l" rtl="0">
              <a:lnSpc>
                <a:spcPct val="100000"/>
              </a:lnSpc>
              <a:spcBef>
                <a:spcPts val="0"/>
              </a:spcBef>
              <a:spcAft>
                <a:spcPts val="0"/>
              </a:spcAft>
              <a:buClr>
                <a:schemeClr val="accent1"/>
              </a:buClr>
              <a:buSzPts val="3000"/>
              <a:buFont typeface="Miriam Libre"/>
              <a:buNone/>
              <a:defRPr sz="3000" b="0" i="0" u="none" strike="noStrike" cap="none">
                <a:solidFill>
                  <a:schemeClr val="accent1"/>
                </a:solidFill>
                <a:latin typeface="Miriam Libre"/>
                <a:ea typeface="Miriam Libre"/>
                <a:cs typeface="Miriam Libre"/>
                <a:sym typeface="Miriam Libre"/>
              </a:defRPr>
            </a:lvl7pPr>
            <a:lvl8pPr marR="0" lvl="7" algn="l" rtl="0">
              <a:lnSpc>
                <a:spcPct val="100000"/>
              </a:lnSpc>
              <a:spcBef>
                <a:spcPts val="0"/>
              </a:spcBef>
              <a:spcAft>
                <a:spcPts val="0"/>
              </a:spcAft>
              <a:buClr>
                <a:schemeClr val="accent1"/>
              </a:buClr>
              <a:buSzPts val="3000"/>
              <a:buFont typeface="Miriam Libre"/>
              <a:buNone/>
              <a:defRPr sz="3000" b="0" i="0" u="none" strike="noStrike" cap="none">
                <a:solidFill>
                  <a:schemeClr val="accent1"/>
                </a:solidFill>
                <a:latin typeface="Miriam Libre"/>
                <a:ea typeface="Miriam Libre"/>
                <a:cs typeface="Miriam Libre"/>
                <a:sym typeface="Miriam Libre"/>
              </a:defRPr>
            </a:lvl8pPr>
            <a:lvl9pPr marR="0" lvl="8" algn="l" rtl="0">
              <a:lnSpc>
                <a:spcPct val="100000"/>
              </a:lnSpc>
              <a:spcBef>
                <a:spcPts val="0"/>
              </a:spcBef>
              <a:spcAft>
                <a:spcPts val="0"/>
              </a:spcAft>
              <a:buClr>
                <a:schemeClr val="accent1"/>
              </a:buClr>
              <a:buSzPts val="3000"/>
              <a:buFont typeface="Miriam Libre"/>
              <a:buNone/>
              <a:defRPr sz="3000" b="0" i="0" u="none" strike="noStrike" cap="none">
                <a:solidFill>
                  <a:schemeClr val="accent1"/>
                </a:solidFill>
                <a:latin typeface="Miriam Libre"/>
                <a:ea typeface="Miriam Libre"/>
                <a:cs typeface="Miriam Libre"/>
                <a:sym typeface="Miriam Libre"/>
              </a:defRPr>
            </a:lvl9pPr>
          </a:lstStyle>
          <a:p>
            <a:pPr algn="ctr" defTabSz="1625367">
              <a:buClr>
                <a:srgbClr val="A5B0FE"/>
              </a:buClr>
              <a:defRPr/>
            </a:pPr>
            <a:r>
              <a:rPr lang="ar-SA" sz="3200" b="1" dirty="0">
                <a:solidFill>
                  <a:schemeClr val="tx1"/>
                </a:solidFill>
                <a:latin typeface="Sakkal Majalla" panose="02000000000000000000" pitchFamily="2" charset="-78"/>
                <a:ea typeface="Samim" panose="020B0603030804020204" pitchFamily="34" charset="0"/>
                <a:cs typeface="Sakkal Majalla" panose="02000000000000000000" pitchFamily="2" charset="-78"/>
              </a:rPr>
              <a:t>أهم نقاط الرفع للنظام التعليمي</a:t>
            </a:r>
            <a:endParaRPr lang="en-US" sz="3200" b="1" kern="0" dirty="0">
              <a:solidFill>
                <a:schemeClr val="tx1"/>
              </a:solidFill>
              <a:latin typeface="Sakkal Majalla" panose="02000000000000000000" pitchFamily="2" charset="-78"/>
              <a:ea typeface="Samim" panose="020B0603030804020204" pitchFamily="34" charset="0"/>
              <a:cs typeface="Sakkal Majalla" panose="02000000000000000000" pitchFamily="2" charset="-78"/>
            </a:endParaRPr>
          </a:p>
        </p:txBody>
      </p:sp>
      <p:sp>
        <p:nvSpPr>
          <p:cNvPr id="50" name="Google Shape;331;p24">
            <a:extLst>
              <a:ext uri="{FF2B5EF4-FFF2-40B4-BE49-F238E27FC236}">
                <a16:creationId xmlns:a16="http://schemas.microsoft.com/office/drawing/2014/main" id="{DBA73058-46E2-15EA-DC2A-D729BDB03B0F}"/>
              </a:ext>
            </a:extLst>
          </p:cNvPr>
          <p:cNvSpPr/>
          <p:nvPr/>
        </p:nvSpPr>
        <p:spPr>
          <a:xfrm>
            <a:off x="7187328" y="2813923"/>
            <a:ext cx="2518249" cy="2007191"/>
          </a:xfrm>
          <a:prstGeom prst="triangle">
            <a:avLst>
              <a:gd name="adj" fmla="val 50000"/>
            </a:avLst>
          </a:prstGeom>
          <a:solidFill>
            <a:srgbClr val="BEC6FE"/>
          </a:solidFill>
          <a:ln>
            <a:noFill/>
          </a:ln>
        </p:spPr>
        <p:txBody>
          <a:bodyPr spcFirstLastPara="1" wrap="square" lIns="162533" tIns="162533" rIns="162533" bIns="162533" anchor="ctr" anchorCtr="0">
            <a:noAutofit/>
          </a:bodyPr>
          <a:lstStyle/>
          <a:p>
            <a:pPr defTabSz="1625367">
              <a:defRPr/>
            </a:pPr>
            <a:endParaRPr sz="3200" kern="0" dirty="0">
              <a:latin typeface="Calibri" panose="020F0502020204030204"/>
            </a:endParaRPr>
          </a:p>
        </p:txBody>
      </p:sp>
      <p:sp>
        <p:nvSpPr>
          <p:cNvPr id="53" name="Google Shape;336;p24">
            <a:extLst>
              <a:ext uri="{FF2B5EF4-FFF2-40B4-BE49-F238E27FC236}">
                <a16:creationId xmlns:a16="http://schemas.microsoft.com/office/drawing/2014/main" id="{9D4821AB-C92F-692B-D8D6-863ECED93DE5}"/>
              </a:ext>
            </a:extLst>
          </p:cNvPr>
          <p:cNvSpPr/>
          <p:nvPr/>
        </p:nvSpPr>
        <p:spPr>
          <a:xfrm>
            <a:off x="7860844" y="1667639"/>
            <a:ext cx="1209131" cy="1152176"/>
          </a:xfrm>
          <a:prstGeom prst="ellipse">
            <a:avLst/>
          </a:prstGeom>
          <a:solidFill>
            <a:srgbClr val="4F4A9E"/>
          </a:solidFill>
          <a:ln>
            <a:noFill/>
          </a:ln>
          <a:effectLst>
            <a:outerShdw blurRad="57150" dist="19050" dir="5400000" algn="bl" rotWithShape="0">
              <a:srgbClr val="212121">
                <a:alpha val="38000"/>
              </a:srgbClr>
            </a:outerShdw>
          </a:effectLst>
        </p:spPr>
        <p:txBody>
          <a:bodyPr spcFirstLastPara="1" wrap="square" lIns="162533" tIns="162533" rIns="162533" bIns="162533" anchor="ctr" anchorCtr="0">
            <a:noAutofit/>
          </a:bodyPr>
          <a:lstStyle/>
          <a:p>
            <a:pPr algn="ctr" defTabSz="1218868"/>
            <a:r>
              <a:rPr lang="ar-SA" sz="2400" b="1" dirty="0">
                <a:solidFill>
                  <a:schemeClr val="bg1"/>
                </a:solidFill>
                <a:latin typeface="Sakkal Majalla" panose="02000000000000000000" pitchFamily="2" charset="-78"/>
                <a:ea typeface="Samim" panose="020B0603030804020204" pitchFamily="34" charset="0"/>
                <a:cs typeface="Sakkal Majalla" panose="02000000000000000000" pitchFamily="2" charset="-78"/>
                <a:sym typeface="Barlow Light"/>
              </a:rPr>
              <a:t>متعلم</a:t>
            </a:r>
            <a:endParaRPr sz="2400" b="1" dirty="0">
              <a:solidFill>
                <a:schemeClr val="bg1"/>
              </a:solidFill>
              <a:latin typeface="Sakkal Majalla" panose="02000000000000000000" pitchFamily="2" charset="-78"/>
              <a:ea typeface="Samim" panose="020B0603030804020204" pitchFamily="34" charset="0"/>
              <a:cs typeface="Sakkal Majalla" panose="02000000000000000000" pitchFamily="2" charset="-78"/>
              <a:sym typeface="Barlow Light"/>
            </a:endParaRPr>
          </a:p>
        </p:txBody>
      </p:sp>
      <p:cxnSp>
        <p:nvCxnSpPr>
          <p:cNvPr id="54" name="رابط كسهم مستقيم 53">
            <a:extLst>
              <a:ext uri="{FF2B5EF4-FFF2-40B4-BE49-F238E27FC236}">
                <a16:creationId xmlns:a16="http://schemas.microsoft.com/office/drawing/2014/main" id="{91114CDD-BD20-796F-1F86-266B9B31BD53}"/>
              </a:ext>
            </a:extLst>
          </p:cNvPr>
          <p:cNvCxnSpPr>
            <a:cxnSpLocks/>
          </p:cNvCxnSpPr>
          <p:nvPr/>
        </p:nvCxnSpPr>
        <p:spPr>
          <a:xfrm>
            <a:off x="8945993" y="3079774"/>
            <a:ext cx="866719" cy="1353815"/>
          </a:xfrm>
          <a:prstGeom prst="straightConnector1">
            <a:avLst/>
          </a:prstGeom>
          <a:noFill/>
          <a:ln w="38100" cap="flat" cmpd="sng" algn="ctr">
            <a:solidFill>
              <a:srgbClr val="5B9BD5">
                <a:lumMod val="75000"/>
              </a:srgbClr>
            </a:solidFill>
            <a:prstDash val="solid"/>
            <a:miter lim="800000"/>
            <a:headEnd type="triangle" w="med" len="med"/>
            <a:tailEnd type="triangle" w="med" len="med"/>
          </a:ln>
          <a:effectLst/>
        </p:spPr>
      </p:cxnSp>
      <p:cxnSp>
        <p:nvCxnSpPr>
          <p:cNvPr id="55" name="رابط كسهم مستقيم 54">
            <a:extLst>
              <a:ext uri="{FF2B5EF4-FFF2-40B4-BE49-F238E27FC236}">
                <a16:creationId xmlns:a16="http://schemas.microsoft.com/office/drawing/2014/main" id="{D90CFEE8-3CC5-6865-EEF6-DB0AFA1668CD}"/>
              </a:ext>
            </a:extLst>
          </p:cNvPr>
          <p:cNvCxnSpPr>
            <a:cxnSpLocks/>
          </p:cNvCxnSpPr>
          <p:nvPr/>
        </p:nvCxnSpPr>
        <p:spPr>
          <a:xfrm flipH="1">
            <a:off x="7086055" y="2979237"/>
            <a:ext cx="960000" cy="1465817"/>
          </a:xfrm>
          <a:prstGeom prst="straightConnector1">
            <a:avLst/>
          </a:prstGeom>
          <a:noFill/>
          <a:ln w="38100" cap="flat" cmpd="sng" algn="ctr">
            <a:solidFill>
              <a:srgbClr val="5B9BD5">
                <a:lumMod val="75000"/>
              </a:srgbClr>
            </a:solidFill>
            <a:prstDash val="solid"/>
            <a:miter lim="800000"/>
            <a:headEnd type="triangle" w="med" len="med"/>
            <a:tailEnd type="triangle" w="med" len="med"/>
          </a:ln>
          <a:effectLst/>
        </p:spPr>
      </p:cxnSp>
      <p:cxnSp>
        <p:nvCxnSpPr>
          <p:cNvPr id="56" name="رابط كسهم مستقيم 55">
            <a:extLst>
              <a:ext uri="{FF2B5EF4-FFF2-40B4-BE49-F238E27FC236}">
                <a16:creationId xmlns:a16="http://schemas.microsoft.com/office/drawing/2014/main" id="{88FEB82B-7FEF-CA62-0375-19E08B6C62EC}"/>
              </a:ext>
            </a:extLst>
          </p:cNvPr>
          <p:cNvCxnSpPr>
            <a:cxnSpLocks/>
          </p:cNvCxnSpPr>
          <p:nvPr/>
        </p:nvCxnSpPr>
        <p:spPr>
          <a:xfrm flipH="1">
            <a:off x="9110554" y="7660248"/>
            <a:ext cx="1689969" cy="0"/>
          </a:xfrm>
          <a:prstGeom prst="straightConnector1">
            <a:avLst/>
          </a:prstGeom>
          <a:noFill/>
          <a:ln w="38100" cap="flat" cmpd="sng" algn="ctr">
            <a:solidFill>
              <a:srgbClr val="5B9BD5">
                <a:lumMod val="75000"/>
              </a:srgbClr>
            </a:solidFill>
            <a:prstDash val="solid"/>
            <a:miter lim="800000"/>
            <a:headEnd type="triangle" w="med" len="med"/>
            <a:tailEnd type="triangle" w="med" len="med"/>
          </a:ln>
          <a:effectLst/>
        </p:spPr>
      </p:cxnSp>
      <p:sp>
        <p:nvSpPr>
          <p:cNvPr id="60" name="Google Shape;336;p24">
            <a:extLst>
              <a:ext uri="{FF2B5EF4-FFF2-40B4-BE49-F238E27FC236}">
                <a16:creationId xmlns:a16="http://schemas.microsoft.com/office/drawing/2014/main" id="{43D1B520-B6CC-C176-4B10-BF9E12B2E6EC}"/>
              </a:ext>
            </a:extLst>
          </p:cNvPr>
          <p:cNvSpPr/>
          <p:nvPr/>
        </p:nvSpPr>
        <p:spPr>
          <a:xfrm>
            <a:off x="9465983" y="4677620"/>
            <a:ext cx="1209131" cy="1152176"/>
          </a:xfrm>
          <a:prstGeom prst="ellipse">
            <a:avLst/>
          </a:prstGeom>
          <a:solidFill>
            <a:srgbClr val="4F4A9E"/>
          </a:solidFill>
          <a:ln>
            <a:noFill/>
          </a:ln>
          <a:effectLst>
            <a:outerShdw blurRad="57150" dist="19050" dir="5400000" algn="bl" rotWithShape="0">
              <a:srgbClr val="212121">
                <a:alpha val="38000"/>
              </a:srgbClr>
            </a:outerShdw>
          </a:effectLst>
        </p:spPr>
        <p:txBody>
          <a:bodyPr spcFirstLastPara="1" wrap="square" lIns="162533" tIns="162533" rIns="162533" bIns="162533" anchor="ctr" anchorCtr="0">
            <a:noAutofit/>
          </a:bodyPr>
          <a:lstStyle/>
          <a:p>
            <a:pPr algn="ctr" defTabSz="1218868"/>
            <a:r>
              <a:rPr lang="ar-SA" sz="2400" b="1" dirty="0">
                <a:solidFill>
                  <a:schemeClr val="bg1"/>
                </a:solidFill>
                <a:latin typeface="Sakkal Majalla" panose="02000000000000000000" pitchFamily="2" charset="-78"/>
                <a:ea typeface="Samim" panose="020B0603030804020204" pitchFamily="34" charset="0"/>
                <a:cs typeface="Sakkal Majalla" panose="02000000000000000000" pitchFamily="2" charset="-78"/>
                <a:sym typeface="Barlow Light"/>
              </a:rPr>
              <a:t>معلم</a:t>
            </a:r>
            <a:endParaRPr sz="2400" b="1" dirty="0">
              <a:solidFill>
                <a:schemeClr val="bg1"/>
              </a:solidFill>
              <a:latin typeface="Sakkal Majalla" panose="02000000000000000000" pitchFamily="2" charset="-78"/>
              <a:ea typeface="Samim" panose="020B0603030804020204" pitchFamily="34" charset="0"/>
              <a:cs typeface="Sakkal Majalla" panose="02000000000000000000" pitchFamily="2" charset="-78"/>
              <a:sym typeface="Barlow Light"/>
            </a:endParaRPr>
          </a:p>
        </p:txBody>
      </p:sp>
      <p:sp>
        <p:nvSpPr>
          <p:cNvPr id="61" name="Google Shape;336;p24">
            <a:extLst>
              <a:ext uri="{FF2B5EF4-FFF2-40B4-BE49-F238E27FC236}">
                <a16:creationId xmlns:a16="http://schemas.microsoft.com/office/drawing/2014/main" id="{0D142573-5334-BDA1-9982-762AADA057E1}"/>
              </a:ext>
            </a:extLst>
          </p:cNvPr>
          <p:cNvSpPr/>
          <p:nvPr/>
        </p:nvSpPr>
        <p:spPr>
          <a:xfrm>
            <a:off x="6178489" y="4677620"/>
            <a:ext cx="1209131" cy="1152176"/>
          </a:xfrm>
          <a:prstGeom prst="ellipse">
            <a:avLst/>
          </a:prstGeom>
          <a:solidFill>
            <a:srgbClr val="4F4A9E"/>
          </a:solidFill>
          <a:ln>
            <a:noFill/>
          </a:ln>
          <a:effectLst>
            <a:outerShdw blurRad="57150" dist="19050" dir="5400000" algn="bl" rotWithShape="0">
              <a:srgbClr val="212121">
                <a:alpha val="38000"/>
              </a:srgbClr>
            </a:outerShdw>
          </a:effectLst>
        </p:spPr>
        <p:txBody>
          <a:bodyPr spcFirstLastPara="1" wrap="square" lIns="162533" tIns="162533" rIns="162533" bIns="162533" anchor="ctr" anchorCtr="0">
            <a:noAutofit/>
          </a:bodyPr>
          <a:lstStyle/>
          <a:p>
            <a:pPr algn="ctr" defTabSz="1218868"/>
            <a:r>
              <a:rPr lang="ar-SA" sz="2400" b="1" dirty="0">
                <a:solidFill>
                  <a:schemeClr val="bg1"/>
                </a:solidFill>
                <a:latin typeface="Sakkal Majalla" panose="02000000000000000000" pitchFamily="2" charset="-78"/>
                <a:ea typeface="Samim" panose="020B0603030804020204" pitchFamily="34" charset="0"/>
                <a:cs typeface="Sakkal Majalla" panose="02000000000000000000" pitchFamily="2" charset="-78"/>
                <a:sym typeface="Barlow Light"/>
              </a:rPr>
              <a:t>منهج</a:t>
            </a:r>
            <a:endParaRPr sz="2400" b="1" dirty="0">
              <a:solidFill>
                <a:schemeClr val="bg1"/>
              </a:solidFill>
              <a:latin typeface="Sakkal Majalla" panose="02000000000000000000" pitchFamily="2" charset="-78"/>
              <a:ea typeface="Samim" panose="020B0603030804020204" pitchFamily="34" charset="0"/>
              <a:cs typeface="Sakkal Majalla" panose="02000000000000000000" pitchFamily="2" charset="-78"/>
              <a:sym typeface="Barlow Light"/>
            </a:endParaRPr>
          </a:p>
        </p:txBody>
      </p:sp>
      <p:cxnSp>
        <p:nvCxnSpPr>
          <p:cNvPr id="64" name="رابط كسهم مستقيم 63">
            <a:extLst>
              <a:ext uri="{FF2B5EF4-FFF2-40B4-BE49-F238E27FC236}">
                <a16:creationId xmlns:a16="http://schemas.microsoft.com/office/drawing/2014/main" id="{08C3BF69-CC30-7F3E-163F-C724CC0BE01F}"/>
              </a:ext>
            </a:extLst>
          </p:cNvPr>
          <p:cNvCxnSpPr>
            <a:cxnSpLocks/>
          </p:cNvCxnSpPr>
          <p:nvPr/>
        </p:nvCxnSpPr>
        <p:spPr>
          <a:xfrm flipH="1">
            <a:off x="7507977" y="5081068"/>
            <a:ext cx="1824000" cy="0"/>
          </a:xfrm>
          <a:prstGeom prst="straightConnector1">
            <a:avLst/>
          </a:prstGeom>
          <a:noFill/>
          <a:ln w="38100" cap="flat" cmpd="sng" algn="ctr">
            <a:solidFill>
              <a:srgbClr val="5B9BD5">
                <a:lumMod val="75000"/>
              </a:srgbClr>
            </a:solidFill>
            <a:prstDash val="solid"/>
            <a:miter lim="800000"/>
            <a:headEnd type="triangle" w="med" len="med"/>
            <a:tailEnd type="triangle" w="med" len="med"/>
          </a:ln>
          <a:effectLst/>
        </p:spPr>
      </p:cxnSp>
      <p:sp>
        <p:nvSpPr>
          <p:cNvPr id="69" name="Google Shape;332;p24">
            <a:extLst>
              <a:ext uri="{FF2B5EF4-FFF2-40B4-BE49-F238E27FC236}">
                <a16:creationId xmlns:a16="http://schemas.microsoft.com/office/drawing/2014/main" id="{273C0149-141F-EAA7-1080-D1B63685AE53}"/>
              </a:ext>
            </a:extLst>
          </p:cNvPr>
          <p:cNvSpPr txBox="1"/>
          <p:nvPr/>
        </p:nvSpPr>
        <p:spPr>
          <a:xfrm>
            <a:off x="6579325" y="3525011"/>
            <a:ext cx="3681307" cy="1646933"/>
          </a:xfrm>
          <a:prstGeom prst="rect">
            <a:avLst/>
          </a:prstGeom>
          <a:noFill/>
          <a:ln>
            <a:noFill/>
          </a:ln>
        </p:spPr>
        <p:txBody>
          <a:bodyPr spcFirstLastPara="1" wrap="square" lIns="162533" tIns="162533" rIns="162533" bIns="162533" anchor="t" anchorCtr="0">
            <a:noAutofit/>
          </a:bodyPr>
          <a:lstStyle/>
          <a:p>
            <a:pPr algn="ctr">
              <a:lnSpc>
                <a:spcPct val="115000"/>
              </a:lnSpc>
            </a:pPr>
            <a:r>
              <a:rPr lang="ar-SA" sz="2400" b="1" dirty="0">
                <a:solidFill>
                  <a:srgbClr val="FF0000"/>
                </a:solidFill>
                <a:latin typeface="Sakkal Majalla" panose="02000000000000000000" pitchFamily="2" charset="-78"/>
                <a:ea typeface="Samim" panose="020B0603030804020204" pitchFamily="34" charset="0"/>
                <a:cs typeface="Sakkal Majalla" panose="02000000000000000000" pitchFamily="2" charset="-78"/>
                <a:sym typeface="Barlow Light"/>
              </a:rPr>
              <a:t>قلب المدرسة</a:t>
            </a:r>
          </a:p>
          <a:p>
            <a:pPr algn="ctr">
              <a:lnSpc>
                <a:spcPct val="115000"/>
              </a:lnSpc>
            </a:pPr>
            <a:r>
              <a:rPr lang="ar-SA" sz="2400" b="1" dirty="0">
                <a:solidFill>
                  <a:srgbClr val="0070C0"/>
                </a:solidFill>
                <a:latin typeface="Sakkal Majalla" panose="02000000000000000000" pitchFamily="2" charset="-78"/>
                <a:ea typeface="Samim" panose="020B0603030804020204" pitchFamily="34" charset="0"/>
                <a:cs typeface="Sakkal Majalla" panose="02000000000000000000" pitchFamily="2" charset="-78"/>
                <a:sym typeface="Barlow Light"/>
              </a:rPr>
              <a:t>(التدريس والتعلم)</a:t>
            </a:r>
            <a:endParaRPr sz="2400" b="1" dirty="0">
              <a:solidFill>
                <a:srgbClr val="0070C0"/>
              </a:solidFill>
              <a:latin typeface="Sakkal Majalla" panose="02000000000000000000" pitchFamily="2" charset="-78"/>
              <a:ea typeface="Samim" panose="020B0603030804020204" pitchFamily="34" charset="0"/>
              <a:cs typeface="Sakkal Majalla" panose="02000000000000000000" pitchFamily="2" charset="-78"/>
              <a:sym typeface="Barlow Light"/>
            </a:endParaRPr>
          </a:p>
        </p:txBody>
      </p:sp>
      <p:sp>
        <p:nvSpPr>
          <p:cNvPr id="3" name="Rectangle 17">
            <a:extLst>
              <a:ext uri="{FF2B5EF4-FFF2-40B4-BE49-F238E27FC236}">
                <a16:creationId xmlns:a16="http://schemas.microsoft.com/office/drawing/2014/main" id="{E881F37E-6228-1855-1898-8A08F124806D}"/>
              </a:ext>
            </a:extLst>
          </p:cNvPr>
          <p:cNvSpPr/>
          <p:nvPr/>
        </p:nvSpPr>
        <p:spPr>
          <a:xfrm>
            <a:off x="5145245" y="1534357"/>
            <a:ext cx="611695" cy="1819812"/>
          </a:xfrm>
          <a:prstGeom prst="rect">
            <a:avLst/>
          </a:prstGeom>
          <a:solidFill>
            <a:srgbClr val="FCB414">
              <a:lumMod val="75000"/>
            </a:srgbClr>
          </a:solidFill>
          <a:ln w="12700" cap="flat" cmpd="sng" algn="ctr">
            <a:noFill/>
            <a:prstDash val="solid"/>
            <a:miter lim="800000"/>
          </a:ln>
          <a:effectLst/>
        </p:spPr>
        <p:txBody>
          <a:bodyPr rtlCol="0" anchor="ctr"/>
          <a:lstStyle/>
          <a:p>
            <a:pPr algn="ctr" defTabSz="1625479">
              <a:defRPr/>
            </a:pPr>
            <a:endParaRPr lang="en-US" sz="3200" dirty="0">
              <a:solidFill>
                <a:srgbClr val="FFFFFF"/>
              </a:solidFill>
              <a:latin typeface="Calibri" panose="020F0502020204030204"/>
            </a:endParaRPr>
          </a:p>
        </p:txBody>
      </p:sp>
      <p:grpSp>
        <p:nvGrpSpPr>
          <p:cNvPr id="4" name="Group 13">
            <a:extLst>
              <a:ext uri="{FF2B5EF4-FFF2-40B4-BE49-F238E27FC236}">
                <a16:creationId xmlns:a16="http://schemas.microsoft.com/office/drawing/2014/main" id="{34279A92-2C27-11E6-2D16-0586181C16CE}"/>
              </a:ext>
            </a:extLst>
          </p:cNvPr>
          <p:cNvGrpSpPr/>
          <p:nvPr/>
        </p:nvGrpSpPr>
        <p:grpSpPr>
          <a:xfrm rot="10800000">
            <a:off x="3070252" y="2642131"/>
            <a:ext cx="2987669" cy="3301871"/>
            <a:chOff x="6784763" y="2169880"/>
            <a:chExt cx="1896751" cy="1756652"/>
          </a:xfrm>
        </p:grpSpPr>
        <p:sp>
          <p:nvSpPr>
            <p:cNvPr id="16" name="Rectangle 14">
              <a:extLst>
                <a:ext uri="{FF2B5EF4-FFF2-40B4-BE49-F238E27FC236}">
                  <a16:creationId xmlns:a16="http://schemas.microsoft.com/office/drawing/2014/main" id="{4C51DF9D-3D12-36CB-C098-7942695EB03D}"/>
                </a:ext>
              </a:extLst>
            </p:cNvPr>
            <p:cNvSpPr/>
            <p:nvPr/>
          </p:nvSpPr>
          <p:spPr>
            <a:xfrm rot="16200000">
              <a:off x="7825867" y="1702573"/>
              <a:ext cx="388339" cy="1322954"/>
            </a:xfrm>
            <a:prstGeom prst="rect">
              <a:avLst/>
            </a:prstGeom>
            <a:solidFill>
              <a:srgbClr val="42AFB6">
                <a:lumMod val="75000"/>
              </a:srgbClr>
            </a:solidFill>
            <a:ln w="12700" cap="flat" cmpd="sng" algn="ctr">
              <a:noFill/>
              <a:prstDash val="solid"/>
              <a:miter lim="800000"/>
            </a:ln>
            <a:effectLst/>
          </p:spPr>
          <p:txBody>
            <a:bodyPr rtlCol="0" anchor="ctr"/>
            <a:lstStyle/>
            <a:p>
              <a:pPr algn="ctr" defTabSz="1625479">
                <a:defRPr/>
              </a:pPr>
              <a:endParaRPr lang="en-US" sz="3200" dirty="0">
                <a:solidFill>
                  <a:srgbClr val="FFFFFF"/>
                </a:solidFill>
                <a:latin typeface="Calibri" panose="020F0502020204030204"/>
              </a:endParaRPr>
            </a:p>
          </p:txBody>
        </p:sp>
        <p:sp>
          <p:nvSpPr>
            <p:cNvPr id="17" name="Arrow: Left 1">
              <a:extLst>
                <a:ext uri="{FF2B5EF4-FFF2-40B4-BE49-F238E27FC236}">
                  <a16:creationId xmlns:a16="http://schemas.microsoft.com/office/drawing/2014/main" id="{6AE08D01-46A3-A2F5-A9FE-3AB8CE686DEE}"/>
                </a:ext>
              </a:extLst>
            </p:cNvPr>
            <p:cNvSpPr/>
            <p:nvPr/>
          </p:nvSpPr>
          <p:spPr>
            <a:xfrm rot="5400000" flipH="1">
              <a:off x="6294410" y="2660234"/>
              <a:ext cx="1756651" cy="775945"/>
            </a:xfrm>
            <a:custGeom>
              <a:avLst/>
              <a:gdLst>
                <a:gd name="connsiteX0" fmla="*/ 0 w 3105150"/>
                <a:gd name="connsiteY0" fmla="*/ 685800 h 1371600"/>
                <a:gd name="connsiteX1" fmla="*/ 1028700 w 3105150"/>
                <a:gd name="connsiteY1" fmla="*/ 0 h 1371600"/>
                <a:gd name="connsiteX2" fmla="*/ 1028700 w 3105150"/>
                <a:gd name="connsiteY2" fmla="*/ 342900 h 1371600"/>
                <a:gd name="connsiteX3" fmla="*/ 3105150 w 3105150"/>
                <a:gd name="connsiteY3" fmla="*/ 342900 h 1371600"/>
                <a:gd name="connsiteX4" fmla="*/ 3105150 w 3105150"/>
                <a:gd name="connsiteY4" fmla="*/ 1028700 h 1371600"/>
                <a:gd name="connsiteX5" fmla="*/ 1028700 w 3105150"/>
                <a:gd name="connsiteY5" fmla="*/ 1028700 h 1371600"/>
                <a:gd name="connsiteX6" fmla="*/ 1028700 w 3105150"/>
                <a:gd name="connsiteY6" fmla="*/ 1371600 h 1371600"/>
                <a:gd name="connsiteX7" fmla="*/ 0 w 3105150"/>
                <a:gd name="connsiteY7" fmla="*/ 685800 h 1371600"/>
                <a:gd name="connsiteX0" fmla="*/ 0 w 3105150"/>
                <a:gd name="connsiteY0" fmla="*/ 685800 h 1371600"/>
                <a:gd name="connsiteX1" fmla="*/ 1028700 w 3105150"/>
                <a:gd name="connsiteY1" fmla="*/ 0 h 1371600"/>
                <a:gd name="connsiteX2" fmla="*/ 1028700 w 3105150"/>
                <a:gd name="connsiteY2" fmla="*/ 342900 h 1371600"/>
                <a:gd name="connsiteX3" fmla="*/ 3105150 w 3105150"/>
                <a:gd name="connsiteY3" fmla="*/ 342900 h 1371600"/>
                <a:gd name="connsiteX4" fmla="*/ 2381250 w 3105150"/>
                <a:gd name="connsiteY4" fmla="*/ 1028700 h 1371600"/>
                <a:gd name="connsiteX5" fmla="*/ 1028700 w 3105150"/>
                <a:gd name="connsiteY5" fmla="*/ 1028700 h 1371600"/>
                <a:gd name="connsiteX6" fmla="*/ 1028700 w 3105150"/>
                <a:gd name="connsiteY6" fmla="*/ 1371600 h 1371600"/>
                <a:gd name="connsiteX7" fmla="*/ 0 w 3105150"/>
                <a:gd name="connsiteY7" fmla="*/ 685800 h 1371600"/>
                <a:gd name="connsiteX0" fmla="*/ 0 w 3105150"/>
                <a:gd name="connsiteY0" fmla="*/ 685800 h 1371600"/>
                <a:gd name="connsiteX1" fmla="*/ 1028700 w 3105150"/>
                <a:gd name="connsiteY1" fmla="*/ 0 h 1371600"/>
                <a:gd name="connsiteX2" fmla="*/ 1028700 w 3105150"/>
                <a:gd name="connsiteY2" fmla="*/ 342900 h 1371600"/>
                <a:gd name="connsiteX3" fmla="*/ 3105150 w 3105150"/>
                <a:gd name="connsiteY3" fmla="*/ 342900 h 1371600"/>
                <a:gd name="connsiteX4" fmla="*/ 2221230 w 3105150"/>
                <a:gd name="connsiteY4" fmla="*/ 1028700 h 1371600"/>
                <a:gd name="connsiteX5" fmla="*/ 1028700 w 3105150"/>
                <a:gd name="connsiteY5" fmla="*/ 1028700 h 1371600"/>
                <a:gd name="connsiteX6" fmla="*/ 1028700 w 3105150"/>
                <a:gd name="connsiteY6" fmla="*/ 1371600 h 1371600"/>
                <a:gd name="connsiteX7" fmla="*/ 0 w 3105150"/>
                <a:gd name="connsiteY7" fmla="*/ 685800 h 1371600"/>
                <a:gd name="connsiteX0" fmla="*/ 0 w 3105150"/>
                <a:gd name="connsiteY0" fmla="*/ 685800 h 1371600"/>
                <a:gd name="connsiteX1" fmla="*/ 1028700 w 3105150"/>
                <a:gd name="connsiteY1" fmla="*/ 0 h 1371600"/>
                <a:gd name="connsiteX2" fmla="*/ 1028700 w 3105150"/>
                <a:gd name="connsiteY2" fmla="*/ 342900 h 1371600"/>
                <a:gd name="connsiteX3" fmla="*/ 3105150 w 3105150"/>
                <a:gd name="connsiteY3" fmla="*/ 342900 h 1371600"/>
                <a:gd name="connsiteX4" fmla="*/ 2332209 w 3105150"/>
                <a:gd name="connsiteY4" fmla="*/ 1028700 h 1371600"/>
                <a:gd name="connsiteX5" fmla="*/ 1028700 w 3105150"/>
                <a:gd name="connsiteY5" fmla="*/ 1028700 h 1371600"/>
                <a:gd name="connsiteX6" fmla="*/ 1028700 w 3105150"/>
                <a:gd name="connsiteY6" fmla="*/ 1371600 h 1371600"/>
                <a:gd name="connsiteX7" fmla="*/ 0 w 3105150"/>
                <a:gd name="connsiteY7" fmla="*/ 68580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05150" h="1371600">
                  <a:moveTo>
                    <a:pt x="0" y="685800"/>
                  </a:moveTo>
                  <a:lnTo>
                    <a:pt x="1028700" y="0"/>
                  </a:lnTo>
                  <a:lnTo>
                    <a:pt x="1028700" y="342900"/>
                  </a:lnTo>
                  <a:lnTo>
                    <a:pt x="3105150" y="342900"/>
                  </a:lnTo>
                  <a:lnTo>
                    <a:pt x="2332209" y="1028700"/>
                  </a:lnTo>
                  <a:lnTo>
                    <a:pt x="1028700" y="1028700"/>
                  </a:lnTo>
                  <a:lnTo>
                    <a:pt x="1028700" y="1371600"/>
                  </a:lnTo>
                  <a:lnTo>
                    <a:pt x="0" y="685800"/>
                  </a:lnTo>
                  <a:close/>
                </a:path>
              </a:pathLst>
            </a:custGeom>
            <a:solidFill>
              <a:srgbClr val="42AFB6"/>
            </a:solidFill>
            <a:ln w="12700" cap="flat" cmpd="sng" algn="ctr">
              <a:noFill/>
              <a:prstDash val="solid"/>
              <a:miter lim="800000"/>
            </a:ln>
            <a:effectLst/>
          </p:spPr>
          <p:txBody>
            <a:bodyPr rtlCol="0" anchor="ctr"/>
            <a:lstStyle/>
            <a:p>
              <a:pPr algn="ctr" defTabSz="1625479">
                <a:defRPr/>
              </a:pPr>
              <a:endParaRPr lang="en-US" sz="3200" dirty="0">
                <a:solidFill>
                  <a:srgbClr val="FFFFFF"/>
                </a:solidFill>
                <a:latin typeface="Calibri" panose="020F0502020204030204"/>
              </a:endParaRPr>
            </a:p>
          </p:txBody>
        </p:sp>
      </p:grpSp>
      <p:grpSp>
        <p:nvGrpSpPr>
          <p:cNvPr id="5" name="Group 2">
            <a:extLst>
              <a:ext uri="{FF2B5EF4-FFF2-40B4-BE49-F238E27FC236}">
                <a16:creationId xmlns:a16="http://schemas.microsoft.com/office/drawing/2014/main" id="{00F708E2-5D24-1422-9E3A-6923ED3D7914}"/>
              </a:ext>
            </a:extLst>
          </p:cNvPr>
          <p:cNvGrpSpPr/>
          <p:nvPr/>
        </p:nvGrpSpPr>
        <p:grpSpPr>
          <a:xfrm rot="16200000">
            <a:off x="847380" y="3363067"/>
            <a:ext cx="3125520" cy="2766992"/>
            <a:chOff x="6784763" y="2169880"/>
            <a:chExt cx="1662830" cy="1756652"/>
          </a:xfrm>
        </p:grpSpPr>
        <p:sp>
          <p:nvSpPr>
            <p:cNvPr id="14" name="Rectangle 10">
              <a:extLst>
                <a:ext uri="{FF2B5EF4-FFF2-40B4-BE49-F238E27FC236}">
                  <a16:creationId xmlns:a16="http://schemas.microsoft.com/office/drawing/2014/main" id="{D47F76EF-DF08-580A-CC56-7D946CC503B3}"/>
                </a:ext>
              </a:extLst>
            </p:cNvPr>
            <p:cNvSpPr/>
            <p:nvPr/>
          </p:nvSpPr>
          <p:spPr>
            <a:xfrm rot="16200000">
              <a:off x="7708906" y="1819533"/>
              <a:ext cx="388339" cy="1089034"/>
            </a:xfrm>
            <a:prstGeom prst="rect">
              <a:avLst/>
            </a:prstGeom>
            <a:solidFill>
              <a:srgbClr val="C2C923">
                <a:lumMod val="75000"/>
              </a:srgbClr>
            </a:solidFill>
            <a:ln w="12700" cap="flat" cmpd="sng" algn="ctr">
              <a:noFill/>
              <a:prstDash val="solid"/>
              <a:miter lim="800000"/>
            </a:ln>
            <a:effectLst/>
          </p:spPr>
          <p:txBody>
            <a:bodyPr rtlCol="0" anchor="ctr"/>
            <a:lstStyle/>
            <a:p>
              <a:pPr algn="ctr" defTabSz="1625479">
                <a:defRPr/>
              </a:pPr>
              <a:endParaRPr lang="en-US" sz="3200" dirty="0">
                <a:solidFill>
                  <a:srgbClr val="FFFFFF"/>
                </a:solidFill>
                <a:latin typeface="Calibri" panose="020F0502020204030204"/>
              </a:endParaRPr>
            </a:p>
          </p:txBody>
        </p:sp>
        <p:sp>
          <p:nvSpPr>
            <p:cNvPr id="15" name="Arrow: Left 1">
              <a:extLst>
                <a:ext uri="{FF2B5EF4-FFF2-40B4-BE49-F238E27FC236}">
                  <a16:creationId xmlns:a16="http://schemas.microsoft.com/office/drawing/2014/main" id="{CA5902B8-B817-9DEE-1E2C-525C2A02C22D}"/>
                </a:ext>
              </a:extLst>
            </p:cNvPr>
            <p:cNvSpPr/>
            <p:nvPr/>
          </p:nvSpPr>
          <p:spPr>
            <a:xfrm rot="5400000" flipH="1">
              <a:off x="6294410" y="2660234"/>
              <a:ext cx="1756651" cy="775945"/>
            </a:xfrm>
            <a:custGeom>
              <a:avLst/>
              <a:gdLst>
                <a:gd name="connsiteX0" fmla="*/ 0 w 3105150"/>
                <a:gd name="connsiteY0" fmla="*/ 685800 h 1371600"/>
                <a:gd name="connsiteX1" fmla="*/ 1028700 w 3105150"/>
                <a:gd name="connsiteY1" fmla="*/ 0 h 1371600"/>
                <a:gd name="connsiteX2" fmla="*/ 1028700 w 3105150"/>
                <a:gd name="connsiteY2" fmla="*/ 342900 h 1371600"/>
                <a:gd name="connsiteX3" fmla="*/ 3105150 w 3105150"/>
                <a:gd name="connsiteY3" fmla="*/ 342900 h 1371600"/>
                <a:gd name="connsiteX4" fmla="*/ 3105150 w 3105150"/>
                <a:gd name="connsiteY4" fmla="*/ 1028700 h 1371600"/>
                <a:gd name="connsiteX5" fmla="*/ 1028700 w 3105150"/>
                <a:gd name="connsiteY5" fmla="*/ 1028700 h 1371600"/>
                <a:gd name="connsiteX6" fmla="*/ 1028700 w 3105150"/>
                <a:gd name="connsiteY6" fmla="*/ 1371600 h 1371600"/>
                <a:gd name="connsiteX7" fmla="*/ 0 w 3105150"/>
                <a:gd name="connsiteY7" fmla="*/ 685800 h 1371600"/>
                <a:gd name="connsiteX0" fmla="*/ 0 w 3105150"/>
                <a:gd name="connsiteY0" fmla="*/ 685800 h 1371600"/>
                <a:gd name="connsiteX1" fmla="*/ 1028700 w 3105150"/>
                <a:gd name="connsiteY1" fmla="*/ 0 h 1371600"/>
                <a:gd name="connsiteX2" fmla="*/ 1028700 w 3105150"/>
                <a:gd name="connsiteY2" fmla="*/ 342900 h 1371600"/>
                <a:gd name="connsiteX3" fmla="*/ 3105150 w 3105150"/>
                <a:gd name="connsiteY3" fmla="*/ 342900 h 1371600"/>
                <a:gd name="connsiteX4" fmla="*/ 2381250 w 3105150"/>
                <a:gd name="connsiteY4" fmla="*/ 1028700 h 1371600"/>
                <a:gd name="connsiteX5" fmla="*/ 1028700 w 3105150"/>
                <a:gd name="connsiteY5" fmla="*/ 1028700 h 1371600"/>
                <a:gd name="connsiteX6" fmla="*/ 1028700 w 3105150"/>
                <a:gd name="connsiteY6" fmla="*/ 1371600 h 1371600"/>
                <a:gd name="connsiteX7" fmla="*/ 0 w 3105150"/>
                <a:gd name="connsiteY7" fmla="*/ 685800 h 1371600"/>
                <a:gd name="connsiteX0" fmla="*/ 0 w 3105150"/>
                <a:gd name="connsiteY0" fmla="*/ 685800 h 1371600"/>
                <a:gd name="connsiteX1" fmla="*/ 1028700 w 3105150"/>
                <a:gd name="connsiteY1" fmla="*/ 0 h 1371600"/>
                <a:gd name="connsiteX2" fmla="*/ 1028700 w 3105150"/>
                <a:gd name="connsiteY2" fmla="*/ 342900 h 1371600"/>
                <a:gd name="connsiteX3" fmla="*/ 3105150 w 3105150"/>
                <a:gd name="connsiteY3" fmla="*/ 342900 h 1371600"/>
                <a:gd name="connsiteX4" fmla="*/ 2221230 w 3105150"/>
                <a:gd name="connsiteY4" fmla="*/ 1028700 h 1371600"/>
                <a:gd name="connsiteX5" fmla="*/ 1028700 w 3105150"/>
                <a:gd name="connsiteY5" fmla="*/ 1028700 h 1371600"/>
                <a:gd name="connsiteX6" fmla="*/ 1028700 w 3105150"/>
                <a:gd name="connsiteY6" fmla="*/ 1371600 h 1371600"/>
                <a:gd name="connsiteX7" fmla="*/ 0 w 3105150"/>
                <a:gd name="connsiteY7" fmla="*/ 685800 h 1371600"/>
                <a:gd name="connsiteX0" fmla="*/ 0 w 3105150"/>
                <a:gd name="connsiteY0" fmla="*/ 685800 h 1371600"/>
                <a:gd name="connsiteX1" fmla="*/ 1028700 w 3105150"/>
                <a:gd name="connsiteY1" fmla="*/ 0 h 1371600"/>
                <a:gd name="connsiteX2" fmla="*/ 1028700 w 3105150"/>
                <a:gd name="connsiteY2" fmla="*/ 342900 h 1371600"/>
                <a:gd name="connsiteX3" fmla="*/ 3105150 w 3105150"/>
                <a:gd name="connsiteY3" fmla="*/ 342900 h 1371600"/>
                <a:gd name="connsiteX4" fmla="*/ 2332209 w 3105150"/>
                <a:gd name="connsiteY4" fmla="*/ 1028700 h 1371600"/>
                <a:gd name="connsiteX5" fmla="*/ 1028700 w 3105150"/>
                <a:gd name="connsiteY5" fmla="*/ 1028700 h 1371600"/>
                <a:gd name="connsiteX6" fmla="*/ 1028700 w 3105150"/>
                <a:gd name="connsiteY6" fmla="*/ 1371600 h 1371600"/>
                <a:gd name="connsiteX7" fmla="*/ 0 w 3105150"/>
                <a:gd name="connsiteY7" fmla="*/ 68580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05150" h="1371600">
                  <a:moveTo>
                    <a:pt x="0" y="685800"/>
                  </a:moveTo>
                  <a:lnTo>
                    <a:pt x="1028700" y="0"/>
                  </a:lnTo>
                  <a:lnTo>
                    <a:pt x="1028700" y="342900"/>
                  </a:lnTo>
                  <a:lnTo>
                    <a:pt x="3105150" y="342900"/>
                  </a:lnTo>
                  <a:lnTo>
                    <a:pt x="2332209" y="1028700"/>
                  </a:lnTo>
                  <a:lnTo>
                    <a:pt x="1028700" y="1028700"/>
                  </a:lnTo>
                  <a:lnTo>
                    <a:pt x="1028700" y="1371600"/>
                  </a:lnTo>
                  <a:lnTo>
                    <a:pt x="0" y="685800"/>
                  </a:lnTo>
                  <a:close/>
                </a:path>
              </a:pathLst>
            </a:custGeom>
            <a:solidFill>
              <a:srgbClr val="C2C923"/>
            </a:solidFill>
            <a:ln w="12700" cap="flat" cmpd="sng" algn="ctr">
              <a:noFill/>
              <a:prstDash val="solid"/>
              <a:miter lim="800000"/>
            </a:ln>
            <a:effectLst/>
          </p:spPr>
          <p:txBody>
            <a:bodyPr rtlCol="0" anchor="ctr"/>
            <a:lstStyle/>
            <a:p>
              <a:pPr algn="ctr" defTabSz="1625479">
                <a:defRPr/>
              </a:pPr>
              <a:endParaRPr lang="en-US" sz="3200" dirty="0">
                <a:solidFill>
                  <a:srgbClr val="FFFFFF"/>
                </a:solidFill>
                <a:latin typeface="Calibri" panose="020F0502020204030204"/>
              </a:endParaRPr>
            </a:p>
          </p:txBody>
        </p:sp>
      </p:grpSp>
      <p:sp>
        <p:nvSpPr>
          <p:cNvPr id="6" name="Rectangle 8">
            <a:extLst>
              <a:ext uri="{FF2B5EF4-FFF2-40B4-BE49-F238E27FC236}">
                <a16:creationId xmlns:a16="http://schemas.microsoft.com/office/drawing/2014/main" id="{0FA42E18-9AB4-C04E-5AA3-2A7EF7F24CF9}"/>
              </a:ext>
            </a:extLst>
          </p:cNvPr>
          <p:cNvSpPr/>
          <p:nvPr/>
        </p:nvSpPr>
        <p:spPr>
          <a:xfrm rot="16200000">
            <a:off x="2293088" y="147242"/>
            <a:ext cx="729937" cy="2069679"/>
          </a:xfrm>
          <a:prstGeom prst="rect">
            <a:avLst/>
          </a:prstGeom>
          <a:solidFill>
            <a:srgbClr val="CB1B4A">
              <a:lumMod val="75000"/>
            </a:srgbClr>
          </a:solidFill>
          <a:ln w="12700" cap="flat" cmpd="sng" algn="ctr">
            <a:noFill/>
            <a:prstDash val="solid"/>
            <a:miter lim="800000"/>
          </a:ln>
          <a:effectLst/>
        </p:spPr>
        <p:txBody>
          <a:bodyPr rtlCol="0" anchor="ctr"/>
          <a:lstStyle/>
          <a:p>
            <a:pPr algn="ctr" defTabSz="1625479">
              <a:defRPr/>
            </a:pPr>
            <a:endParaRPr lang="en-US" sz="3200" dirty="0">
              <a:solidFill>
                <a:srgbClr val="FFFFFF"/>
              </a:solidFill>
              <a:latin typeface="Calibri" panose="020F0502020204030204"/>
            </a:endParaRPr>
          </a:p>
        </p:txBody>
      </p:sp>
      <p:sp>
        <p:nvSpPr>
          <p:cNvPr id="7" name="Arrow: Left 1">
            <a:extLst>
              <a:ext uri="{FF2B5EF4-FFF2-40B4-BE49-F238E27FC236}">
                <a16:creationId xmlns:a16="http://schemas.microsoft.com/office/drawing/2014/main" id="{BAACCDA0-9027-A594-56FD-EC3B7550E571}"/>
              </a:ext>
            </a:extLst>
          </p:cNvPr>
          <p:cNvSpPr/>
          <p:nvPr/>
        </p:nvSpPr>
        <p:spPr>
          <a:xfrm rot="10800000" flipH="1">
            <a:off x="3018622" y="449857"/>
            <a:ext cx="2743319" cy="1458496"/>
          </a:xfrm>
          <a:custGeom>
            <a:avLst/>
            <a:gdLst>
              <a:gd name="connsiteX0" fmla="*/ 0 w 3105150"/>
              <a:gd name="connsiteY0" fmla="*/ 685800 h 1371600"/>
              <a:gd name="connsiteX1" fmla="*/ 1028700 w 3105150"/>
              <a:gd name="connsiteY1" fmla="*/ 0 h 1371600"/>
              <a:gd name="connsiteX2" fmla="*/ 1028700 w 3105150"/>
              <a:gd name="connsiteY2" fmla="*/ 342900 h 1371600"/>
              <a:gd name="connsiteX3" fmla="*/ 3105150 w 3105150"/>
              <a:gd name="connsiteY3" fmla="*/ 342900 h 1371600"/>
              <a:gd name="connsiteX4" fmla="*/ 3105150 w 3105150"/>
              <a:gd name="connsiteY4" fmla="*/ 1028700 h 1371600"/>
              <a:gd name="connsiteX5" fmla="*/ 1028700 w 3105150"/>
              <a:gd name="connsiteY5" fmla="*/ 1028700 h 1371600"/>
              <a:gd name="connsiteX6" fmla="*/ 1028700 w 3105150"/>
              <a:gd name="connsiteY6" fmla="*/ 1371600 h 1371600"/>
              <a:gd name="connsiteX7" fmla="*/ 0 w 3105150"/>
              <a:gd name="connsiteY7" fmla="*/ 685800 h 1371600"/>
              <a:gd name="connsiteX0" fmla="*/ 0 w 3105150"/>
              <a:gd name="connsiteY0" fmla="*/ 685800 h 1371600"/>
              <a:gd name="connsiteX1" fmla="*/ 1028700 w 3105150"/>
              <a:gd name="connsiteY1" fmla="*/ 0 h 1371600"/>
              <a:gd name="connsiteX2" fmla="*/ 1028700 w 3105150"/>
              <a:gd name="connsiteY2" fmla="*/ 342900 h 1371600"/>
              <a:gd name="connsiteX3" fmla="*/ 3105150 w 3105150"/>
              <a:gd name="connsiteY3" fmla="*/ 342900 h 1371600"/>
              <a:gd name="connsiteX4" fmla="*/ 2381250 w 3105150"/>
              <a:gd name="connsiteY4" fmla="*/ 1028700 h 1371600"/>
              <a:gd name="connsiteX5" fmla="*/ 1028700 w 3105150"/>
              <a:gd name="connsiteY5" fmla="*/ 1028700 h 1371600"/>
              <a:gd name="connsiteX6" fmla="*/ 1028700 w 3105150"/>
              <a:gd name="connsiteY6" fmla="*/ 1371600 h 1371600"/>
              <a:gd name="connsiteX7" fmla="*/ 0 w 3105150"/>
              <a:gd name="connsiteY7" fmla="*/ 685800 h 1371600"/>
              <a:gd name="connsiteX0" fmla="*/ 0 w 3105150"/>
              <a:gd name="connsiteY0" fmla="*/ 685800 h 1371600"/>
              <a:gd name="connsiteX1" fmla="*/ 1028700 w 3105150"/>
              <a:gd name="connsiteY1" fmla="*/ 0 h 1371600"/>
              <a:gd name="connsiteX2" fmla="*/ 1028700 w 3105150"/>
              <a:gd name="connsiteY2" fmla="*/ 342900 h 1371600"/>
              <a:gd name="connsiteX3" fmla="*/ 3105150 w 3105150"/>
              <a:gd name="connsiteY3" fmla="*/ 342900 h 1371600"/>
              <a:gd name="connsiteX4" fmla="*/ 2221230 w 3105150"/>
              <a:gd name="connsiteY4" fmla="*/ 1028700 h 1371600"/>
              <a:gd name="connsiteX5" fmla="*/ 1028700 w 3105150"/>
              <a:gd name="connsiteY5" fmla="*/ 1028700 h 1371600"/>
              <a:gd name="connsiteX6" fmla="*/ 1028700 w 3105150"/>
              <a:gd name="connsiteY6" fmla="*/ 1371600 h 1371600"/>
              <a:gd name="connsiteX7" fmla="*/ 0 w 3105150"/>
              <a:gd name="connsiteY7" fmla="*/ 685800 h 1371600"/>
              <a:gd name="connsiteX0" fmla="*/ 0 w 3105150"/>
              <a:gd name="connsiteY0" fmla="*/ 685800 h 1371600"/>
              <a:gd name="connsiteX1" fmla="*/ 1028700 w 3105150"/>
              <a:gd name="connsiteY1" fmla="*/ 0 h 1371600"/>
              <a:gd name="connsiteX2" fmla="*/ 1028700 w 3105150"/>
              <a:gd name="connsiteY2" fmla="*/ 342900 h 1371600"/>
              <a:gd name="connsiteX3" fmla="*/ 3105150 w 3105150"/>
              <a:gd name="connsiteY3" fmla="*/ 342900 h 1371600"/>
              <a:gd name="connsiteX4" fmla="*/ 2332209 w 3105150"/>
              <a:gd name="connsiteY4" fmla="*/ 1028700 h 1371600"/>
              <a:gd name="connsiteX5" fmla="*/ 1028700 w 3105150"/>
              <a:gd name="connsiteY5" fmla="*/ 1028700 h 1371600"/>
              <a:gd name="connsiteX6" fmla="*/ 1028700 w 3105150"/>
              <a:gd name="connsiteY6" fmla="*/ 1371600 h 1371600"/>
              <a:gd name="connsiteX7" fmla="*/ 0 w 3105150"/>
              <a:gd name="connsiteY7" fmla="*/ 68580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05150" h="1371600">
                <a:moveTo>
                  <a:pt x="0" y="685800"/>
                </a:moveTo>
                <a:lnTo>
                  <a:pt x="1028700" y="0"/>
                </a:lnTo>
                <a:lnTo>
                  <a:pt x="1028700" y="342900"/>
                </a:lnTo>
                <a:lnTo>
                  <a:pt x="3105150" y="342900"/>
                </a:lnTo>
                <a:lnTo>
                  <a:pt x="2332209" y="1028700"/>
                </a:lnTo>
                <a:lnTo>
                  <a:pt x="1028700" y="1028700"/>
                </a:lnTo>
                <a:lnTo>
                  <a:pt x="1028700" y="1371600"/>
                </a:lnTo>
                <a:lnTo>
                  <a:pt x="0" y="685800"/>
                </a:lnTo>
                <a:close/>
              </a:path>
            </a:pathLst>
          </a:custGeom>
          <a:solidFill>
            <a:srgbClr val="FCB414"/>
          </a:solidFill>
          <a:ln w="12700" cap="flat" cmpd="sng" algn="ctr">
            <a:noFill/>
            <a:prstDash val="solid"/>
            <a:miter lim="800000"/>
          </a:ln>
          <a:effectLst/>
        </p:spPr>
        <p:txBody>
          <a:bodyPr vert="horz" rtlCol="0" anchor="ctr"/>
          <a:lstStyle/>
          <a:p>
            <a:pPr algn="ctr" defTabSz="1625479">
              <a:defRPr/>
            </a:pPr>
            <a:endParaRPr lang="en-US" sz="3200" b="1" dirty="0">
              <a:solidFill>
                <a:srgbClr val="FFFFFF"/>
              </a:solidFill>
              <a:latin typeface="Calibri" panose="020F0502020204030204"/>
            </a:endParaRPr>
          </a:p>
        </p:txBody>
      </p:sp>
      <p:sp>
        <p:nvSpPr>
          <p:cNvPr id="8" name="Arrow: Left 1">
            <a:extLst>
              <a:ext uri="{FF2B5EF4-FFF2-40B4-BE49-F238E27FC236}">
                <a16:creationId xmlns:a16="http://schemas.microsoft.com/office/drawing/2014/main" id="{FC80A459-BF11-C400-7461-19D3032249BC}"/>
              </a:ext>
            </a:extLst>
          </p:cNvPr>
          <p:cNvSpPr/>
          <p:nvPr/>
        </p:nvSpPr>
        <p:spPr>
          <a:xfrm rot="5400000" flipH="1">
            <a:off x="-320417" y="1856935"/>
            <a:ext cx="3301869" cy="1222231"/>
          </a:xfrm>
          <a:custGeom>
            <a:avLst/>
            <a:gdLst>
              <a:gd name="connsiteX0" fmla="*/ 0 w 3105150"/>
              <a:gd name="connsiteY0" fmla="*/ 685800 h 1371600"/>
              <a:gd name="connsiteX1" fmla="*/ 1028700 w 3105150"/>
              <a:gd name="connsiteY1" fmla="*/ 0 h 1371600"/>
              <a:gd name="connsiteX2" fmla="*/ 1028700 w 3105150"/>
              <a:gd name="connsiteY2" fmla="*/ 342900 h 1371600"/>
              <a:gd name="connsiteX3" fmla="*/ 3105150 w 3105150"/>
              <a:gd name="connsiteY3" fmla="*/ 342900 h 1371600"/>
              <a:gd name="connsiteX4" fmla="*/ 3105150 w 3105150"/>
              <a:gd name="connsiteY4" fmla="*/ 1028700 h 1371600"/>
              <a:gd name="connsiteX5" fmla="*/ 1028700 w 3105150"/>
              <a:gd name="connsiteY5" fmla="*/ 1028700 h 1371600"/>
              <a:gd name="connsiteX6" fmla="*/ 1028700 w 3105150"/>
              <a:gd name="connsiteY6" fmla="*/ 1371600 h 1371600"/>
              <a:gd name="connsiteX7" fmla="*/ 0 w 3105150"/>
              <a:gd name="connsiteY7" fmla="*/ 685800 h 1371600"/>
              <a:gd name="connsiteX0" fmla="*/ 0 w 3105150"/>
              <a:gd name="connsiteY0" fmla="*/ 685800 h 1371600"/>
              <a:gd name="connsiteX1" fmla="*/ 1028700 w 3105150"/>
              <a:gd name="connsiteY1" fmla="*/ 0 h 1371600"/>
              <a:gd name="connsiteX2" fmla="*/ 1028700 w 3105150"/>
              <a:gd name="connsiteY2" fmla="*/ 342900 h 1371600"/>
              <a:gd name="connsiteX3" fmla="*/ 3105150 w 3105150"/>
              <a:gd name="connsiteY3" fmla="*/ 342900 h 1371600"/>
              <a:gd name="connsiteX4" fmla="*/ 2381250 w 3105150"/>
              <a:gd name="connsiteY4" fmla="*/ 1028700 h 1371600"/>
              <a:gd name="connsiteX5" fmla="*/ 1028700 w 3105150"/>
              <a:gd name="connsiteY5" fmla="*/ 1028700 h 1371600"/>
              <a:gd name="connsiteX6" fmla="*/ 1028700 w 3105150"/>
              <a:gd name="connsiteY6" fmla="*/ 1371600 h 1371600"/>
              <a:gd name="connsiteX7" fmla="*/ 0 w 3105150"/>
              <a:gd name="connsiteY7" fmla="*/ 685800 h 1371600"/>
              <a:gd name="connsiteX0" fmla="*/ 0 w 3105150"/>
              <a:gd name="connsiteY0" fmla="*/ 685800 h 1371600"/>
              <a:gd name="connsiteX1" fmla="*/ 1028700 w 3105150"/>
              <a:gd name="connsiteY1" fmla="*/ 0 h 1371600"/>
              <a:gd name="connsiteX2" fmla="*/ 1028700 w 3105150"/>
              <a:gd name="connsiteY2" fmla="*/ 342900 h 1371600"/>
              <a:gd name="connsiteX3" fmla="*/ 3105150 w 3105150"/>
              <a:gd name="connsiteY3" fmla="*/ 342900 h 1371600"/>
              <a:gd name="connsiteX4" fmla="*/ 2221230 w 3105150"/>
              <a:gd name="connsiteY4" fmla="*/ 1028700 h 1371600"/>
              <a:gd name="connsiteX5" fmla="*/ 1028700 w 3105150"/>
              <a:gd name="connsiteY5" fmla="*/ 1028700 h 1371600"/>
              <a:gd name="connsiteX6" fmla="*/ 1028700 w 3105150"/>
              <a:gd name="connsiteY6" fmla="*/ 1371600 h 1371600"/>
              <a:gd name="connsiteX7" fmla="*/ 0 w 3105150"/>
              <a:gd name="connsiteY7" fmla="*/ 685800 h 1371600"/>
              <a:gd name="connsiteX0" fmla="*/ 0 w 3105150"/>
              <a:gd name="connsiteY0" fmla="*/ 685800 h 1371600"/>
              <a:gd name="connsiteX1" fmla="*/ 1028700 w 3105150"/>
              <a:gd name="connsiteY1" fmla="*/ 0 h 1371600"/>
              <a:gd name="connsiteX2" fmla="*/ 1028700 w 3105150"/>
              <a:gd name="connsiteY2" fmla="*/ 342900 h 1371600"/>
              <a:gd name="connsiteX3" fmla="*/ 3105150 w 3105150"/>
              <a:gd name="connsiteY3" fmla="*/ 342900 h 1371600"/>
              <a:gd name="connsiteX4" fmla="*/ 2332209 w 3105150"/>
              <a:gd name="connsiteY4" fmla="*/ 1028700 h 1371600"/>
              <a:gd name="connsiteX5" fmla="*/ 1028700 w 3105150"/>
              <a:gd name="connsiteY5" fmla="*/ 1028700 h 1371600"/>
              <a:gd name="connsiteX6" fmla="*/ 1028700 w 3105150"/>
              <a:gd name="connsiteY6" fmla="*/ 1371600 h 1371600"/>
              <a:gd name="connsiteX7" fmla="*/ 0 w 3105150"/>
              <a:gd name="connsiteY7" fmla="*/ 68580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05150" h="1371600">
                <a:moveTo>
                  <a:pt x="0" y="685800"/>
                </a:moveTo>
                <a:lnTo>
                  <a:pt x="1028700" y="0"/>
                </a:lnTo>
                <a:lnTo>
                  <a:pt x="1028700" y="342900"/>
                </a:lnTo>
                <a:lnTo>
                  <a:pt x="3105150" y="342900"/>
                </a:lnTo>
                <a:lnTo>
                  <a:pt x="2332209" y="1028700"/>
                </a:lnTo>
                <a:lnTo>
                  <a:pt x="1028700" y="1028700"/>
                </a:lnTo>
                <a:lnTo>
                  <a:pt x="1028700" y="1371600"/>
                </a:lnTo>
                <a:lnTo>
                  <a:pt x="0" y="685800"/>
                </a:lnTo>
                <a:close/>
              </a:path>
            </a:pathLst>
          </a:custGeom>
          <a:solidFill>
            <a:srgbClr val="CB1B4A"/>
          </a:solidFill>
          <a:ln w="12700" cap="flat" cmpd="sng" algn="ctr">
            <a:noFill/>
            <a:prstDash val="solid"/>
            <a:miter lim="800000"/>
          </a:ln>
          <a:effectLst/>
        </p:spPr>
        <p:txBody>
          <a:bodyPr rtlCol="0" anchor="ctr"/>
          <a:lstStyle/>
          <a:p>
            <a:pPr algn="ctr" defTabSz="1625479">
              <a:defRPr/>
            </a:pPr>
            <a:endParaRPr lang="en-US" sz="3200" dirty="0">
              <a:solidFill>
                <a:srgbClr val="FFFFFF"/>
              </a:solidFill>
              <a:latin typeface="Calibri" panose="020F0502020204030204"/>
            </a:endParaRPr>
          </a:p>
        </p:txBody>
      </p:sp>
      <p:sp>
        <p:nvSpPr>
          <p:cNvPr id="9" name="TextBox 43">
            <a:extLst>
              <a:ext uri="{FF2B5EF4-FFF2-40B4-BE49-F238E27FC236}">
                <a16:creationId xmlns:a16="http://schemas.microsoft.com/office/drawing/2014/main" id="{D401F4A0-7F86-671E-C041-F24CB0C24C50}"/>
              </a:ext>
            </a:extLst>
          </p:cNvPr>
          <p:cNvSpPr txBox="1"/>
          <p:nvPr/>
        </p:nvSpPr>
        <p:spPr>
          <a:xfrm>
            <a:off x="3159942" y="913299"/>
            <a:ext cx="2027687" cy="584775"/>
          </a:xfrm>
          <a:prstGeom prst="rect">
            <a:avLst/>
          </a:prstGeom>
          <a:noFill/>
        </p:spPr>
        <p:txBody>
          <a:bodyPr wrap="square" rtlCol="0">
            <a:spAutoFit/>
          </a:bodyPr>
          <a:lstStyle/>
          <a:p>
            <a:pPr algn="ctr" defTabSz="1219139">
              <a:defRPr/>
            </a:pPr>
            <a:r>
              <a:rPr lang="ar-SA" sz="3200" b="1" dirty="0">
                <a:solidFill>
                  <a:prstClr val="white"/>
                </a:solidFill>
                <a:latin typeface="Sakkal Majalla" panose="02000000000000000000" pitchFamily="2" charset="-78"/>
                <a:ea typeface="Samim" panose="020B0603030804020204" pitchFamily="34" charset="0"/>
                <a:cs typeface="Sakkal Majalla" panose="02000000000000000000" pitchFamily="2" charset="-78"/>
              </a:rPr>
              <a:t>التدريس</a:t>
            </a:r>
            <a:endParaRPr lang="en-GB" sz="3200" b="1" dirty="0">
              <a:solidFill>
                <a:prstClr val="white"/>
              </a:solidFill>
              <a:latin typeface="Sakkal Majalla" panose="02000000000000000000" pitchFamily="2" charset="-78"/>
              <a:ea typeface="Samim" panose="020B0603030804020204" pitchFamily="34" charset="0"/>
              <a:cs typeface="Sakkal Majalla" panose="02000000000000000000" pitchFamily="2" charset="-78"/>
            </a:endParaRPr>
          </a:p>
        </p:txBody>
      </p:sp>
      <p:sp>
        <p:nvSpPr>
          <p:cNvPr id="10" name="TextBox 48">
            <a:extLst>
              <a:ext uri="{FF2B5EF4-FFF2-40B4-BE49-F238E27FC236}">
                <a16:creationId xmlns:a16="http://schemas.microsoft.com/office/drawing/2014/main" id="{67612E0C-67AF-79D7-A0DD-CDEC15133386}"/>
              </a:ext>
            </a:extLst>
          </p:cNvPr>
          <p:cNvSpPr txBox="1"/>
          <p:nvPr/>
        </p:nvSpPr>
        <p:spPr>
          <a:xfrm>
            <a:off x="1900225" y="1704386"/>
            <a:ext cx="2901879" cy="3375796"/>
          </a:xfrm>
          <a:prstGeom prst="rect">
            <a:avLst/>
          </a:prstGeom>
          <a:noFill/>
        </p:spPr>
        <p:txBody>
          <a:bodyPr wrap="square" rtlCol="0">
            <a:spAutoFit/>
          </a:bodyPr>
          <a:lstStyle/>
          <a:p>
            <a:pPr algn="ctr" defTabSz="1219139">
              <a:defRPr/>
            </a:pPr>
            <a:r>
              <a:rPr lang="ar-SA" sz="2667" b="1" dirty="0">
                <a:solidFill>
                  <a:srgbClr val="FF0000"/>
                </a:solidFill>
                <a:latin typeface="Sakkal Majalla" panose="02000000000000000000" pitchFamily="2" charset="-78"/>
                <a:ea typeface="Samim" panose="020B0603030804020204" pitchFamily="34" charset="0"/>
                <a:cs typeface="Sakkal Majalla" panose="02000000000000000000" pitchFamily="2" charset="-78"/>
              </a:rPr>
              <a:t>ضمن سياق المدرسة</a:t>
            </a:r>
          </a:p>
          <a:p>
            <a:pPr algn="justLow" defTabSz="1219139">
              <a:defRPr/>
            </a:pPr>
            <a:r>
              <a:rPr lang="ar-SA" sz="2667" b="1" dirty="0">
                <a:solidFill>
                  <a:srgbClr val="282F39"/>
                </a:solidFill>
                <a:latin typeface="Sakkal Majalla" panose="02000000000000000000" pitchFamily="2" charset="-78"/>
                <a:ea typeface="Samim" panose="020B0603030804020204" pitchFamily="34" charset="0"/>
                <a:cs typeface="Sakkal Majalla" panose="02000000000000000000" pitchFamily="2" charset="-78"/>
              </a:rPr>
              <a:t>تكامل عمليات التعليم والتعلم : التدريس والتعلم والتقويم والتطوير والتحسين ضمن السياق سيسهم بفاعلية في رفع كفاءة النظام المدرسي وتحسين مخرجاته.</a:t>
            </a:r>
            <a:endParaRPr lang="en-GB" sz="2667" b="1" dirty="0">
              <a:solidFill>
                <a:srgbClr val="282F39"/>
              </a:solidFill>
              <a:latin typeface="Sakkal Majalla" panose="02000000000000000000" pitchFamily="2" charset="-78"/>
              <a:ea typeface="Samim" panose="020B0603030804020204" pitchFamily="34" charset="0"/>
              <a:cs typeface="Sakkal Majalla" panose="02000000000000000000" pitchFamily="2" charset="-78"/>
            </a:endParaRPr>
          </a:p>
        </p:txBody>
      </p:sp>
      <p:sp>
        <p:nvSpPr>
          <p:cNvPr id="11" name="TextBox 43">
            <a:extLst>
              <a:ext uri="{FF2B5EF4-FFF2-40B4-BE49-F238E27FC236}">
                <a16:creationId xmlns:a16="http://schemas.microsoft.com/office/drawing/2014/main" id="{8912F536-23FD-C0C2-3670-CAAC2550DD62}"/>
              </a:ext>
            </a:extLst>
          </p:cNvPr>
          <p:cNvSpPr txBox="1"/>
          <p:nvPr/>
        </p:nvSpPr>
        <p:spPr>
          <a:xfrm>
            <a:off x="1550546" y="5245562"/>
            <a:ext cx="2013951" cy="584775"/>
          </a:xfrm>
          <a:prstGeom prst="rect">
            <a:avLst/>
          </a:prstGeom>
          <a:noFill/>
        </p:spPr>
        <p:txBody>
          <a:bodyPr wrap="square" rtlCol="0">
            <a:spAutoFit/>
          </a:bodyPr>
          <a:lstStyle/>
          <a:p>
            <a:pPr algn="ctr" defTabSz="1219139">
              <a:defRPr/>
            </a:pPr>
            <a:r>
              <a:rPr lang="ar-SA" sz="3200" b="1" dirty="0">
                <a:solidFill>
                  <a:prstClr val="white"/>
                </a:solidFill>
                <a:latin typeface="Sakkal Majalla" panose="02000000000000000000" pitchFamily="2" charset="-78"/>
                <a:ea typeface="Samim" panose="020B0603030804020204" pitchFamily="34" charset="0"/>
                <a:cs typeface="Sakkal Majalla" panose="02000000000000000000" pitchFamily="2" charset="-78"/>
              </a:rPr>
              <a:t>التقويم</a:t>
            </a:r>
            <a:endParaRPr lang="en-GB" sz="3200" b="1" dirty="0">
              <a:solidFill>
                <a:prstClr val="white"/>
              </a:solidFill>
              <a:latin typeface="Sakkal Majalla" panose="02000000000000000000" pitchFamily="2" charset="-78"/>
              <a:ea typeface="Samim" panose="020B0603030804020204" pitchFamily="34" charset="0"/>
              <a:cs typeface="Sakkal Majalla" panose="02000000000000000000" pitchFamily="2" charset="-78"/>
            </a:endParaRPr>
          </a:p>
        </p:txBody>
      </p:sp>
      <p:sp>
        <p:nvSpPr>
          <p:cNvPr id="12" name="TextBox 43">
            <a:extLst>
              <a:ext uri="{FF2B5EF4-FFF2-40B4-BE49-F238E27FC236}">
                <a16:creationId xmlns:a16="http://schemas.microsoft.com/office/drawing/2014/main" id="{F0E3E3F7-DB28-73CD-948B-3296218B9C84}"/>
              </a:ext>
            </a:extLst>
          </p:cNvPr>
          <p:cNvSpPr txBox="1"/>
          <p:nvPr/>
        </p:nvSpPr>
        <p:spPr>
          <a:xfrm rot="16200000">
            <a:off x="167957" y="2723723"/>
            <a:ext cx="2305127" cy="584775"/>
          </a:xfrm>
          <a:prstGeom prst="rect">
            <a:avLst/>
          </a:prstGeom>
          <a:noFill/>
        </p:spPr>
        <p:txBody>
          <a:bodyPr wrap="square" rtlCol="0">
            <a:spAutoFit/>
          </a:bodyPr>
          <a:lstStyle/>
          <a:p>
            <a:pPr algn="ctr" defTabSz="1219139">
              <a:defRPr/>
            </a:pPr>
            <a:r>
              <a:rPr lang="ar-SA" sz="3200" b="1" dirty="0">
                <a:solidFill>
                  <a:prstClr val="white"/>
                </a:solidFill>
                <a:latin typeface="Sakkal Majalla" panose="02000000000000000000" pitchFamily="2" charset="-78"/>
                <a:ea typeface="Samim" panose="020B0603030804020204" pitchFamily="34" charset="0"/>
                <a:cs typeface="Sakkal Majalla" panose="02000000000000000000" pitchFamily="2" charset="-78"/>
              </a:rPr>
              <a:t>التعلم</a:t>
            </a:r>
            <a:endParaRPr lang="en-GB" sz="3200" b="1" dirty="0">
              <a:solidFill>
                <a:prstClr val="white"/>
              </a:solidFill>
              <a:latin typeface="Sakkal Majalla" panose="02000000000000000000" pitchFamily="2" charset="-78"/>
              <a:ea typeface="Samim" panose="020B0603030804020204" pitchFamily="34" charset="0"/>
              <a:cs typeface="Sakkal Majalla" panose="02000000000000000000" pitchFamily="2" charset="-78"/>
            </a:endParaRPr>
          </a:p>
        </p:txBody>
      </p:sp>
      <p:sp>
        <p:nvSpPr>
          <p:cNvPr id="13" name="TextBox 43">
            <a:extLst>
              <a:ext uri="{FF2B5EF4-FFF2-40B4-BE49-F238E27FC236}">
                <a16:creationId xmlns:a16="http://schemas.microsoft.com/office/drawing/2014/main" id="{F848D2F4-597E-192B-9129-93AC74C18912}"/>
              </a:ext>
            </a:extLst>
          </p:cNvPr>
          <p:cNvSpPr txBox="1"/>
          <p:nvPr/>
        </p:nvSpPr>
        <p:spPr>
          <a:xfrm rot="16200000">
            <a:off x="3902543" y="3899322"/>
            <a:ext cx="3095007" cy="543675"/>
          </a:xfrm>
          <a:prstGeom prst="rect">
            <a:avLst/>
          </a:prstGeom>
          <a:noFill/>
        </p:spPr>
        <p:txBody>
          <a:bodyPr wrap="square" rtlCol="0">
            <a:spAutoFit/>
          </a:bodyPr>
          <a:lstStyle/>
          <a:p>
            <a:pPr algn="ctr" defTabSz="1219139">
              <a:defRPr/>
            </a:pPr>
            <a:r>
              <a:rPr lang="ar-SA" sz="2933" b="1" dirty="0">
                <a:solidFill>
                  <a:prstClr val="white"/>
                </a:solidFill>
                <a:latin typeface="Sakkal Majalla" panose="02000000000000000000" pitchFamily="2" charset="-78"/>
                <a:ea typeface="Samim" panose="020B0603030804020204" pitchFamily="34" charset="0"/>
                <a:cs typeface="Sakkal Majalla" panose="02000000000000000000" pitchFamily="2" charset="-78"/>
              </a:rPr>
              <a:t>التحسين والتطوير</a:t>
            </a:r>
            <a:endParaRPr lang="en-GB" sz="2933" b="1" dirty="0">
              <a:solidFill>
                <a:prstClr val="white"/>
              </a:solidFill>
              <a:latin typeface="Sakkal Majalla" panose="02000000000000000000" pitchFamily="2" charset="-78"/>
              <a:ea typeface="Samim" panose="020B0603030804020204" pitchFamily="34" charset="0"/>
              <a:cs typeface="Sakkal Majalla" panose="02000000000000000000" pitchFamily="2" charset="-78"/>
            </a:endParaRPr>
          </a:p>
        </p:txBody>
      </p:sp>
    </p:spTree>
    <p:extLst>
      <p:ext uri="{BB962C8B-B14F-4D97-AF65-F5344CB8AC3E}">
        <p14:creationId xmlns:p14="http://schemas.microsoft.com/office/powerpoint/2010/main" val="11350932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barn(inVertical)">
                                      <p:cBhvr>
                                        <p:cTn id="7" dur="1500"/>
                                        <p:tgtEl>
                                          <p:spTgt spid="49"/>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grpId="0" nodeType="clickEffect">
                                  <p:stCondLst>
                                    <p:cond delay="0"/>
                                  </p:stCondLst>
                                  <p:childTnLst>
                                    <p:set>
                                      <p:cBhvr>
                                        <p:cTn id="11" dur="1" fill="hold">
                                          <p:stCondLst>
                                            <p:cond delay="0"/>
                                          </p:stCondLst>
                                        </p:cTn>
                                        <p:tgtEl>
                                          <p:spTgt spid="53"/>
                                        </p:tgtEl>
                                        <p:attrNameLst>
                                          <p:attrName>style.visibility</p:attrName>
                                        </p:attrNameLst>
                                      </p:cBhvr>
                                      <p:to>
                                        <p:strVal val="visible"/>
                                      </p:to>
                                    </p:set>
                                    <p:animEffect transition="in" filter="barn(inVertical)">
                                      <p:cBhvr>
                                        <p:cTn id="12" dur="500"/>
                                        <p:tgtEl>
                                          <p:spTgt spid="53"/>
                                        </p:tgtEl>
                                      </p:cBhvr>
                                    </p:animEffect>
                                  </p:childTnLst>
                                </p:cTn>
                              </p:par>
                            </p:childTnLst>
                          </p:cTn>
                        </p:par>
                      </p:childTnLst>
                    </p:cTn>
                  </p:par>
                  <p:par>
                    <p:cTn id="13" fill="hold">
                      <p:stCondLst>
                        <p:cond delay="indefinite"/>
                      </p:stCondLst>
                      <p:childTnLst>
                        <p:par>
                          <p:cTn id="14" fill="hold">
                            <p:stCondLst>
                              <p:cond delay="0"/>
                            </p:stCondLst>
                            <p:childTnLst>
                              <p:par>
                                <p:cTn id="15" presetID="16" presetClass="entr" presetSubtype="21" fill="hold" grpId="0" nodeType="clickEffect">
                                  <p:stCondLst>
                                    <p:cond delay="0"/>
                                  </p:stCondLst>
                                  <p:childTnLst>
                                    <p:set>
                                      <p:cBhvr>
                                        <p:cTn id="16" dur="1" fill="hold">
                                          <p:stCondLst>
                                            <p:cond delay="0"/>
                                          </p:stCondLst>
                                        </p:cTn>
                                        <p:tgtEl>
                                          <p:spTgt spid="50"/>
                                        </p:tgtEl>
                                        <p:attrNameLst>
                                          <p:attrName>style.visibility</p:attrName>
                                        </p:attrNameLst>
                                      </p:cBhvr>
                                      <p:to>
                                        <p:strVal val="visible"/>
                                      </p:to>
                                    </p:set>
                                    <p:animEffect transition="in" filter="barn(inVertical)">
                                      <p:cBhvr>
                                        <p:cTn id="17" dur="1500"/>
                                        <p:tgtEl>
                                          <p:spTgt spid="50"/>
                                        </p:tgtEl>
                                      </p:cBhvr>
                                    </p:animEffect>
                                  </p:childTnLst>
                                </p:cTn>
                              </p:par>
                            </p:childTnLst>
                          </p:cTn>
                        </p:par>
                      </p:childTnLst>
                    </p:cTn>
                  </p:par>
                  <p:par>
                    <p:cTn id="18" fill="hold">
                      <p:stCondLst>
                        <p:cond delay="indefinite"/>
                      </p:stCondLst>
                      <p:childTnLst>
                        <p:par>
                          <p:cTn id="19" fill="hold">
                            <p:stCondLst>
                              <p:cond delay="0"/>
                            </p:stCondLst>
                            <p:childTnLst>
                              <p:par>
                                <p:cTn id="20" presetID="16" presetClass="entr" presetSubtype="21" fill="hold" grpId="0" nodeType="clickEffect">
                                  <p:stCondLst>
                                    <p:cond delay="0"/>
                                  </p:stCondLst>
                                  <p:childTnLst>
                                    <p:set>
                                      <p:cBhvr>
                                        <p:cTn id="21" dur="1" fill="hold">
                                          <p:stCondLst>
                                            <p:cond delay="0"/>
                                          </p:stCondLst>
                                        </p:cTn>
                                        <p:tgtEl>
                                          <p:spTgt spid="60"/>
                                        </p:tgtEl>
                                        <p:attrNameLst>
                                          <p:attrName>style.visibility</p:attrName>
                                        </p:attrNameLst>
                                      </p:cBhvr>
                                      <p:to>
                                        <p:strVal val="visible"/>
                                      </p:to>
                                    </p:set>
                                    <p:animEffect transition="in" filter="barn(inVertical)">
                                      <p:cBhvr>
                                        <p:cTn id="22" dur="500"/>
                                        <p:tgtEl>
                                          <p:spTgt spid="60"/>
                                        </p:tgtEl>
                                      </p:cBhvr>
                                    </p:animEffect>
                                  </p:childTnLst>
                                </p:cTn>
                              </p:par>
                            </p:childTnLst>
                          </p:cTn>
                        </p:par>
                      </p:childTnLst>
                    </p:cTn>
                  </p:par>
                  <p:par>
                    <p:cTn id="23" fill="hold">
                      <p:stCondLst>
                        <p:cond delay="indefinite"/>
                      </p:stCondLst>
                      <p:childTnLst>
                        <p:par>
                          <p:cTn id="24" fill="hold">
                            <p:stCondLst>
                              <p:cond delay="0"/>
                            </p:stCondLst>
                            <p:childTnLst>
                              <p:par>
                                <p:cTn id="25" presetID="16" presetClass="entr" presetSubtype="21" fill="hold" grpId="0" nodeType="clickEffect">
                                  <p:stCondLst>
                                    <p:cond delay="0"/>
                                  </p:stCondLst>
                                  <p:childTnLst>
                                    <p:set>
                                      <p:cBhvr>
                                        <p:cTn id="26" dur="1" fill="hold">
                                          <p:stCondLst>
                                            <p:cond delay="0"/>
                                          </p:stCondLst>
                                        </p:cTn>
                                        <p:tgtEl>
                                          <p:spTgt spid="61"/>
                                        </p:tgtEl>
                                        <p:attrNameLst>
                                          <p:attrName>style.visibility</p:attrName>
                                        </p:attrNameLst>
                                      </p:cBhvr>
                                      <p:to>
                                        <p:strVal val="visible"/>
                                      </p:to>
                                    </p:set>
                                    <p:animEffect transition="in" filter="barn(inVertical)">
                                      <p:cBhvr>
                                        <p:cTn id="27" dur="500"/>
                                        <p:tgtEl>
                                          <p:spTgt spid="61"/>
                                        </p:tgtEl>
                                      </p:cBhvr>
                                    </p:animEffect>
                                  </p:childTnLst>
                                </p:cTn>
                              </p:par>
                            </p:childTnLst>
                          </p:cTn>
                        </p:par>
                      </p:childTnLst>
                    </p:cTn>
                  </p:par>
                  <p:par>
                    <p:cTn id="28" fill="hold">
                      <p:stCondLst>
                        <p:cond delay="indefinite"/>
                      </p:stCondLst>
                      <p:childTnLst>
                        <p:par>
                          <p:cTn id="29" fill="hold">
                            <p:stCondLst>
                              <p:cond delay="0"/>
                            </p:stCondLst>
                            <p:childTnLst>
                              <p:par>
                                <p:cTn id="30" presetID="16" presetClass="entr" presetSubtype="21" fill="hold" nodeType="clickEffect">
                                  <p:stCondLst>
                                    <p:cond delay="0"/>
                                  </p:stCondLst>
                                  <p:childTnLst>
                                    <p:set>
                                      <p:cBhvr>
                                        <p:cTn id="31" dur="1" fill="hold">
                                          <p:stCondLst>
                                            <p:cond delay="0"/>
                                          </p:stCondLst>
                                        </p:cTn>
                                        <p:tgtEl>
                                          <p:spTgt spid="64"/>
                                        </p:tgtEl>
                                        <p:attrNameLst>
                                          <p:attrName>style.visibility</p:attrName>
                                        </p:attrNameLst>
                                      </p:cBhvr>
                                      <p:to>
                                        <p:strVal val="visible"/>
                                      </p:to>
                                    </p:set>
                                    <p:animEffect transition="in" filter="barn(inVertical)">
                                      <p:cBhvr>
                                        <p:cTn id="32" dur="500"/>
                                        <p:tgtEl>
                                          <p:spTgt spid="64"/>
                                        </p:tgtEl>
                                      </p:cBhvr>
                                    </p:animEffect>
                                  </p:childTnLst>
                                </p:cTn>
                              </p:par>
                            </p:childTnLst>
                          </p:cTn>
                        </p:par>
                      </p:childTnLst>
                    </p:cTn>
                  </p:par>
                  <p:par>
                    <p:cTn id="33" fill="hold">
                      <p:stCondLst>
                        <p:cond delay="indefinite"/>
                      </p:stCondLst>
                      <p:childTnLst>
                        <p:par>
                          <p:cTn id="34" fill="hold">
                            <p:stCondLst>
                              <p:cond delay="0"/>
                            </p:stCondLst>
                            <p:childTnLst>
                              <p:par>
                                <p:cTn id="35" presetID="16" presetClass="entr" presetSubtype="21" fill="hold" nodeType="clickEffect">
                                  <p:stCondLst>
                                    <p:cond delay="0"/>
                                  </p:stCondLst>
                                  <p:childTnLst>
                                    <p:set>
                                      <p:cBhvr>
                                        <p:cTn id="36" dur="1" fill="hold">
                                          <p:stCondLst>
                                            <p:cond delay="0"/>
                                          </p:stCondLst>
                                        </p:cTn>
                                        <p:tgtEl>
                                          <p:spTgt spid="54"/>
                                        </p:tgtEl>
                                        <p:attrNameLst>
                                          <p:attrName>style.visibility</p:attrName>
                                        </p:attrNameLst>
                                      </p:cBhvr>
                                      <p:to>
                                        <p:strVal val="visible"/>
                                      </p:to>
                                    </p:set>
                                    <p:animEffect transition="in" filter="barn(inVertical)">
                                      <p:cBhvr>
                                        <p:cTn id="37" dur="500"/>
                                        <p:tgtEl>
                                          <p:spTgt spid="54"/>
                                        </p:tgtEl>
                                      </p:cBhvr>
                                    </p:animEffect>
                                  </p:childTnLst>
                                </p:cTn>
                              </p:par>
                            </p:childTnLst>
                          </p:cTn>
                        </p:par>
                      </p:childTnLst>
                    </p:cTn>
                  </p:par>
                  <p:par>
                    <p:cTn id="38" fill="hold">
                      <p:stCondLst>
                        <p:cond delay="indefinite"/>
                      </p:stCondLst>
                      <p:childTnLst>
                        <p:par>
                          <p:cTn id="39" fill="hold">
                            <p:stCondLst>
                              <p:cond delay="0"/>
                            </p:stCondLst>
                            <p:childTnLst>
                              <p:par>
                                <p:cTn id="40" presetID="16" presetClass="entr" presetSubtype="21" fill="hold" nodeType="clickEffect">
                                  <p:stCondLst>
                                    <p:cond delay="0"/>
                                  </p:stCondLst>
                                  <p:childTnLst>
                                    <p:set>
                                      <p:cBhvr>
                                        <p:cTn id="41" dur="1" fill="hold">
                                          <p:stCondLst>
                                            <p:cond delay="0"/>
                                          </p:stCondLst>
                                        </p:cTn>
                                        <p:tgtEl>
                                          <p:spTgt spid="55"/>
                                        </p:tgtEl>
                                        <p:attrNameLst>
                                          <p:attrName>style.visibility</p:attrName>
                                        </p:attrNameLst>
                                      </p:cBhvr>
                                      <p:to>
                                        <p:strVal val="visible"/>
                                      </p:to>
                                    </p:set>
                                    <p:animEffect transition="in" filter="barn(inVertical)">
                                      <p:cBhvr>
                                        <p:cTn id="42" dur="500"/>
                                        <p:tgtEl>
                                          <p:spTgt spid="55"/>
                                        </p:tgtEl>
                                      </p:cBhvr>
                                    </p:animEffect>
                                  </p:childTnLst>
                                </p:cTn>
                              </p:par>
                            </p:childTnLst>
                          </p:cTn>
                        </p:par>
                      </p:childTnLst>
                    </p:cTn>
                  </p:par>
                  <p:par>
                    <p:cTn id="43" fill="hold">
                      <p:stCondLst>
                        <p:cond delay="indefinite"/>
                      </p:stCondLst>
                      <p:childTnLst>
                        <p:par>
                          <p:cTn id="44" fill="hold">
                            <p:stCondLst>
                              <p:cond delay="0"/>
                            </p:stCondLst>
                            <p:childTnLst>
                              <p:par>
                                <p:cTn id="45" presetID="16" presetClass="entr" presetSubtype="21" fill="hold" grpId="0" nodeType="click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barn(inVertical)">
                                      <p:cBhvr>
                                        <p:cTn id="47" dur="1500"/>
                                        <p:tgtEl>
                                          <p:spTgt spid="69"/>
                                        </p:tgtEl>
                                      </p:cBhvr>
                                    </p:animEffect>
                                  </p:childTnLst>
                                </p:cTn>
                              </p:par>
                            </p:childTnLst>
                          </p:cTn>
                        </p:par>
                      </p:childTnLst>
                    </p:cTn>
                  </p:par>
                  <p:par>
                    <p:cTn id="48" fill="hold">
                      <p:stCondLst>
                        <p:cond delay="indefinite"/>
                      </p:stCondLst>
                      <p:childTnLst>
                        <p:par>
                          <p:cTn id="49" fill="hold">
                            <p:stCondLst>
                              <p:cond delay="0"/>
                            </p:stCondLst>
                            <p:childTnLst>
                              <p:par>
                                <p:cTn id="50" presetID="16" presetClass="entr" presetSubtype="21" fill="hold" grpId="0" nodeType="clickEffect">
                                  <p:stCondLst>
                                    <p:cond delay="0"/>
                                  </p:stCondLst>
                                  <p:childTnLst>
                                    <p:set>
                                      <p:cBhvr>
                                        <p:cTn id="51" dur="1" fill="hold">
                                          <p:stCondLst>
                                            <p:cond delay="0"/>
                                          </p:stCondLst>
                                        </p:cTn>
                                        <p:tgtEl>
                                          <p:spTgt spid="3"/>
                                        </p:tgtEl>
                                        <p:attrNameLst>
                                          <p:attrName>style.visibility</p:attrName>
                                        </p:attrNameLst>
                                      </p:cBhvr>
                                      <p:to>
                                        <p:strVal val="visible"/>
                                      </p:to>
                                    </p:set>
                                    <p:animEffect transition="in" filter="barn(inVertical)">
                                      <p:cBhvr>
                                        <p:cTn id="52" dur="500"/>
                                        <p:tgtEl>
                                          <p:spTgt spid="3"/>
                                        </p:tgtEl>
                                      </p:cBhvr>
                                    </p:animEffect>
                                  </p:childTnLst>
                                </p:cTn>
                              </p:par>
                              <p:par>
                                <p:cTn id="53" presetID="16" presetClass="entr" presetSubtype="21" fill="hold" grpId="0" nodeType="withEffect">
                                  <p:stCondLst>
                                    <p:cond delay="0"/>
                                  </p:stCondLst>
                                  <p:childTnLst>
                                    <p:set>
                                      <p:cBhvr>
                                        <p:cTn id="54" dur="1" fill="hold">
                                          <p:stCondLst>
                                            <p:cond delay="0"/>
                                          </p:stCondLst>
                                        </p:cTn>
                                        <p:tgtEl>
                                          <p:spTgt spid="7"/>
                                        </p:tgtEl>
                                        <p:attrNameLst>
                                          <p:attrName>style.visibility</p:attrName>
                                        </p:attrNameLst>
                                      </p:cBhvr>
                                      <p:to>
                                        <p:strVal val="visible"/>
                                      </p:to>
                                    </p:set>
                                    <p:animEffect transition="in" filter="barn(inVertical)">
                                      <p:cBhvr>
                                        <p:cTn id="55" dur="500"/>
                                        <p:tgtEl>
                                          <p:spTgt spid="7"/>
                                        </p:tgtEl>
                                      </p:cBhvr>
                                    </p:animEffect>
                                  </p:childTnLst>
                                </p:cTn>
                              </p:par>
                              <p:par>
                                <p:cTn id="56" presetID="16" presetClass="entr" presetSubtype="21" fill="hold" grpId="0" nodeType="withEffect">
                                  <p:stCondLst>
                                    <p:cond delay="0"/>
                                  </p:stCondLst>
                                  <p:childTnLst>
                                    <p:set>
                                      <p:cBhvr>
                                        <p:cTn id="57" dur="1" fill="hold">
                                          <p:stCondLst>
                                            <p:cond delay="0"/>
                                          </p:stCondLst>
                                        </p:cTn>
                                        <p:tgtEl>
                                          <p:spTgt spid="9"/>
                                        </p:tgtEl>
                                        <p:attrNameLst>
                                          <p:attrName>style.visibility</p:attrName>
                                        </p:attrNameLst>
                                      </p:cBhvr>
                                      <p:to>
                                        <p:strVal val="visible"/>
                                      </p:to>
                                    </p:set>
                                    <p:animEffect transition="in" filter="barn(inVertical)">
                                      <p:cBhvr>
                                        <p:cTn id="58" dur="500"/>
                                        <p:tgtEl>
                                          <p:spTgt spid="9"/>
                                        </p:tgtEl>
                                      </p:cBhvr>
                                    </p:animEffect>
                                  </p:childTnLst>
                                </p:cTn>
                              </p:par>
                            </p:childTnLst>
                          </p:cTn>
                        </p:par>
                      </p:childTnLst>
                    </p:cTn>
                  </p:par>
                  <p:par>
                    <p:cTn id="59" fill="hold">
                      <p:stCondLst>
                        <p:cond delay="indefinite"/>
                      </p:stCondLst>
                      <p:childTnLst>
                        <p:par>
                          <p:cTn id="60" fill="hold">
                            <p:stCondLst>
                              <p:cond delay="0"/>
                            </p:stCondLst>
                            <p:childTnLst>
                              <p:par>
                                <p:cTn id="61" presetID="16" presetClass="entr" presetSubtype="21" fill="hold" grpId="0" nodeType="clickEffect">
                                  <p:stCondLst>
                                    <p:cond delay="0"/>
                                  </p:stCondLst>
                                  <p:childTnLst>
                                    <p:set>
                                      <p:cBhvr>
                                        <p:cTn id="62" dur="1" fill="hold">
                                          <p:stCondLst>
                                            <p:cond delay="0"/>
                                          </p:stCondLst>
                                        </p:cTn>
                                        <p:tgtEl>
                                          <p:spTgt spid="6"/>
                                        </p:tgtEl>
                                        <p:attrNameLst>
                                          <p:attrName>style.visibility</p:attrName>
                                        </p:attrNameLst>
                                      </p:cBhvr>
                                      <p:to>
                                        <p:strVal val="visible"/>
                                      </p:to>
                                    </p:set>
                                    <p:animEffect transition="in" filter="barn(inVertical)">
                                      <p:cBhvr>
                                        <p:cTn id="63" dur="500"/>
                                        <p:tgtEl>
                                          <p:spTgt spid="6"/>
                                        </p:tgtEl>
                                      </p:cBhvr>
                                    </p:animEffect>
                                  </p:childTnLst>
                                </p:cTn>
                              </p:par>
                              <p:par>
                                <p:cTn id="64" presetID="16" presetClass="entr" presetSubtype="21" fill="hold" grpId="0" nodeType="withEffect">
                                  <p:stCondLst>
                                    <p:cond delay="0"/>
                                  </p:stCondLst>
                                  <p:childTnLst>
                                    <p:set>
                                      <p:cBhvr>
                                        <p:cTn id="65" dur="1" fill="hold">
                                          <p:stCondLst>
                                            <p:cond delay="0"/>
                                          </p:stCondLst>
                                        </p:cTn>
                                        <p:tgtEl>
                                          <p:spTgt spid="8"/>
                                        </p:tgtEl>
                                        <p:attrNameLst>
                                          <p:attrName>style.visibility</p:attrName>
                                        </p:attrNameLst>
                                      </p:cBhvr>
                                      <p:to>
                                        <p:strVal val="visible"/>
                                      </p:to>
                                    </p:set>
                                    <p:animEffect transition="in" filter="barn(inVertical)">
                                      <p:cBhvr>
                                        <p:cTn id="66" dur="500"/>
                                        <p:tgtEl>
                                          <p:spTgt spid="8"/>
                                        </p:tgtEl>
                                      </p:cBhvr>
                                    </p:animEffect>
                                  </p:childTnLst>
                                </p:cTn>
                              </p:par>
                              <p:par>
                                <p:cTn id="67" presetID="16" presetClass="entr" presetSubtype="21" fill="hold" grpId="0" nodeType="withEffect">
                                  <p:stCondLst>
                                    <p:cond delay="0"/>
                                  </p:stCondLst>
                                  <p:childTnLst>
                                    <p:set>
                                      <p:cBhvr>
                                        <p:cTn id="68" dur="1" fill="hold">
                                          <p:stCondLst>
                                            <p:cond delay="0"/>
                                          </p:stCondLst>
                                        </p:cTn>
                                        <p:tgtEl>
                                          <p:spTgt spid="12"/>
                                        </p:tgtEl>
                                        <p:attrNameLst>
                                          <p:attrName>style.visibility</p:attrName>
                                        </p:attrNameLst>
                                      </p:cBhvr>
                                      <p:to>
                                        <p:strVal val="visible"/>
                                      </p:to>
                                    </p:set>
                                    <p:animEffect transition="in" filter="barn(inVertical)">
                                      <p:cBhvr>
                                        <p:cTn id="69" dur="500"/>
                                        <p:tgtEl>
                                          <p:spTgt spid="12"/>
                                        </p:tgtEl>
                                      </p:cBhvr>
                                    </p:animEffect>
                                  </p:childTnLst>
                                </p:cTn>
                              </p:par>
                            </p:childTnLst>
                          </p:cTn>
                        </p:par>
                      </p:childTnLst>
                    </p:cTn>
                  </p:par>
                  <p:par>
                    <p:cTn id="70" fill="hold">
                      <p:stCondLst>
                        <p:cond delay="indefinite"/>
                      </p:stCondLst>
                      <p:childTnLst>
                        <p:par>
                          <p:cTn id="71" fill="hold">
                            <p:stCondLst>
                              <p:cond delay="0"/>
                            </p:stCondLst>
                            <p:childTnLst>
                              <p:par>
                                <p:cTn id="72" presetID="16" presetClass="entr" presetSubtype="21" fill="hold" nodeType="clickEffect">
                                  <p:stCondLst>
                                    <p:cond delay="0"/>
                                  </p:stCondLst>
                                  <p:childTnLst>
                                    <p:set>
                                      <p:cBhvr>
                                        <p:cTn id="73" dur="1" fill="hold">
                                          <p:stCondLst>
                                            <p:cond delay="0"/>
                                          </p:stCondLst>
                                        </p:cTn>
                                        <p:tgtEl>
                                          <p:spTgt spid="5"/>
                                        </p:tgtEl>
                                        <p:attrNameLst>
                                          <p:attrName>style.visibility</p:attrName>
                                        </p:attrNameLst>
                                      </p:cBhvr>
                                      <p:to>
                                        <p:strVal val="visible"/>
                                      </p:to>
                                    </p:set>
                                    <p:animEffect transition="in" filter="barn(inVertical)">
                                      <p:cBhvr>
                                        <p:cTn id="74" dur="500"/>
                                        <p:tgtEl>
                                          <p:spTgt spid="5"/>
                                        </p:tgtEl>
                                      </p:cBhvr>
                                    </p:animEffect>
                                  </p:childTnLst>
                                </p:cTn>
                              </p:par>
                              <p:par>
                                <p:cTn id="75" presetID="16" presetClass="entr" presetSubtype="21" fill="hold" grpId="0" nodeType="withEffect">
                                  <p:stCondLst>
                                    <p:cond delay="0"/>
                                  </p:stCondLst>
                                  <p:childTnLst>
                                    <p:set>
                                      <p:cBhvr>
                                        <p:cTn id="76" dur="1" fill="hold">
                                          <p:stCondLst>
                                            <p:cond delay="0"/>
                                          </p:stCondLst>
                                        </p:cTn>
                                        <p:tgtEl>
                                          <p:spTgt spid="11"/>
                                        </p:tgtEl>
                                        <p:attrNameLst>
                                          <p:attrName>style.visibility</p:attrName>
                                        </p:attrNameLst>
                                      </p:cBhvr>
                                      <p:to>
                                        <p:strVal val="visible"/>
                                      </p:to>
                                    </p:set>
                                    <p:animEffect transition="in" filter="barn(inVertical)">
                                      <p:cBhvr>
                                        <p:cTn id="77" dur="500"/>
                                        <p:tgtEl>
                                          <p:spTgt spid="11"/>
                                        </p:tgtEl>
                                      </p:cBhvr>
                                    </p:animEffect>
                                  </p:childTnLst>
                                </p:cTn>
                              </p:par>
                            </p:childTnLst>
                          </p:cTn>
                        </p:par>
                      </p:childTnLst>
                    </p:cTn>
                  </p:par>
                  <p:par>
                    <p:cTn id="78" fill="hold">
                      <p:stCondLst>
                        <p:cond delay="indefinite"/>
                      </p:stCondLst>
                      <p:childTnLst>
                        <p:par>
                          <p:cTn id="79" fill="hold">
                            <p:stCondLst>
                              <p:cond delay="0"/>
                            </p:stCondLst>
                            <p:childTnLst>
                              <p:par>
                                <p:cTn id="80" presetID="16" presetClass="entr" presetSubtype="21" fill="hold" grpId="0" nodeType="clickEffect">
                                  <p:stCondLst>
                                    <p:cond delay="0"/>
                                  </p:stCondLst>
                                  <p:childTnLst>
                                    <p:set>
                                      <p:cBhvr>
                                        <p:cTn id="81" dur="1" fill="hold">
                                          <p:stCondLst>
                                            <p:cond delay="0"/>
                                          </p:stCondLst>
                                        </p:cTn>
                                        <p:tgtEl>
                                          <p:spTgt spid="13"/>
                                        </p:tgtEl>
                                        <p:attrNameLst>
                                          <p:attrName>style.visibility</p:attrName>
                                        </p:attrNameLst>
                                      </p:cBhvr>
                                      <p:to>
                                        <p:strVal val="visible"/>
                                      </p:to>
                                    </p:set>
                                    <p:animEffect transition="in" filter="barn(inVertical)">
                                      <p:cBhvr>
                                        <p:cTn id="82" dur="500"/>
                                        <p:tgtEl>
                                          <p:spTgt spid="13"/>
                                        </p:tgtEl>
                                      </p:cBhvr>
                                    </p:animEffect>
                                  </p:childTnLst>
                                </p:cTn>
                              </p:par>
                              <p:par>
                                <p:cTn id="83" presetID="16" presetClass="entr" presetSubtype="21" fill="hold" nodeType="withEffect">
                                  <p:stCondLst>
                                    <p:cond delay="0"/>
                                  </p:stCondLst>
                                  <p:childTnLst>
                                    <p:set>
                                      <p:cBhvr>
                                        <p:cTn id="84" dur="1" fill="hold">
                                          <p:stCondLst>
                                            <p:cond delay="0"/>
                                          </p:stCondLst>
                                        </p:cTn>
                                        <p:tgtEl>
                                          <p:spTgt spid="4"/>
                                        </p:tgtEl>
                                        <p:attrNameLst>
                                          <p:attrName>style.visibility</p:attrName>
                                        </p:attrNameLst>
                                      </p:cBhvr>
                                      <p:to>
                                        <p:strVal val="visible"/>
                                      </p:to>
                                    </p:set>
                                    <p:animEffect transition="in" filter="barn(inVertical)">
                                      <p:cBhvr>
                                        <p:cTn id="85" dur="500"/>
                                        <p:tgtEl>
                                          <p:spTgt spid="4"/>
                                        </p:tgtEl>
                                      </p:cBhvr>
                                    </p:animEffect>
                                  </p:childTnLst>
                                </p:cTn>
                              </p:par>
                            </p:childTnLst>
                          </p:cTn>
                        </p:par>
                      </p:childTnLst>
                    </p:cTn>
                  </p:par>
                  <p:par>
                    <p:cTn id="86" fill="hold">
                      <p:stCondLst>
                        <p:cond delay="indefinite"/>
                      </p:stCondLst>
                      <p:childTnLst>
                        <p:par>
                          <p:cTn id="87" fill="hold">
                            <p:stCondLst>
                              <p:cond delay="0"/>
                            </p:stCondLst>
                            <p:childTnLst>
                              <p:par>
                                <p:cTn id="88" presetID="16" presetClass="entr" presetSubtype="21" fill="hold" grpId="0" nodeType="clickEffect">
                                  <p:stCondLst>
                                    <p:cond delay="0"/>
                                  </p:stCondLst>
                                  <p:childTnLst>
                                    <p:set>
                                      <p:cBhvr>
                                        <p:cTn id="89" dur="1" fill="hold">
                                          <p:stCondLst>
                                            <p:cond delay="0"/>
                                          </p:stCondLst>
                                        </p:cTn>
                                        <p:tgtEl>
                                          <p:spTgt spid="10"/>
                                        </p:tgtEl>
                                        <p:attrNameLst>
                                          <p:attrName>style.visibility</p:attrName>
                                        </p:attrNameLst>
                                      </p:cBhvr>
                                      <p:to>
                                        <p:strVal val="visible"/>
                                      </p:to>
                                    </p:set>
                                    <p:animEffect transition="in" filter="barn(inVertical)">
                                      <p:cBhvr>
                                        <p:cTn id="90"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p:bldP spid="50" grpId="0" animBg="1"/>
      <p:bldP spid="53" grpId="0" animBg="1"/>
      <p:bldP spid="60" grpId="0" animBg="1"/>
      <p:bldP spid="61" grpId="0" animBg="1"/>
      <p:bldP spid="69" grpId="0"/>
      <p:bldP spid="3" grpId="0" animBg="1"/>
      <p:bldP spid="6" grpId="0" animBg="1"/>
      <p:bldP spid="7" grpId="0" animBg="1"/>
      <p:bldP spid="8" grpId="0" animBg="1"/>
      <p:bldP spid="9" grpId="0"/>
      <p:bldP spid="10" grpId="0"/>
      <p:bldP spid="11" grpId="0"/>
      <p:bldP spid="12" grpId="0"/>
      <p:bldP spid="13" grpId="0"/>
    </p:bld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مستطيل 3">
            <a:extLst>
              <a:ext uri="{FF2B5EF4-FFF2-40B4-BE49-F238E27FC236}">
                <a16:creationId xmlns:a16="http://schemas.microsoft.com/office/drawing/2014/main" id="{21DB5A53-966D-726F-66B0-0565FF396902}"/>
              </a:ext>
            </a:extLst>
          </p:cNvPr>
          <p:cNvSpPr/>
          <p:nvPr/>
        </p:nvSpPr>
        <p:spPr>
          <a:xfrm>
            <a:off x="4374771" y="1221886"/>
            <a:ext cx="1936894" cy="299125"/>
          </a:xfrm>
          <a:prstGeom prst="rect">
            <a:avLst/>
          </a:prstGeom>
          <a:ln>
            <a:noFill/>
          </a:ln>
        </p:spPr>
        <p:style>
          <a:lnRef idx="2">
            <a:schemeClr val="accent3"/>
          </a:lnRef>
          <a:fillRef idx="1">
            <a:schemeClr val="lt1"/>
          </a:fillRef>
          <a:effectRef idx="0">
            <a:schemeClr val="accent3"/>
          </a:effectRef>
          <a:fontRef idx="minor">
            <a:schemeClr val="dk1"/>
          </a:fontRef>
        </p:style>
        <p:txBody>
          <a:bodyPr rtlCol="1"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ar-SA" sz="3200" b="1" i="0" u="none" strike="noStrike" kern="1200" cap="none" spc="0" normalizeH="0" baseline="0" noProof="0" dirty="0">
                <a:ln>
                  <a:noFill/>
                </a:ln>
                <a:solidFill>
                  <a:prstClr val="black"/>
                </a:solidFill>
                <a:effectLst/>
                <a:uLnTx/>
                <a:uFillTx/>
                <a:latin typeface="Century Gothic" panose="020B0502020202020204"/>
                <a:ea typeface="+mn-ea"/>
                <a:cs typeface="Times New Roman" panose="02020603050405020304" pitchFamily="18" charset="0"/>
              </a:rPr>
              <a:t>الرياضيات</a:t>
            </a:r>
            <a:r>
              <a:rPr kumimoji="0" lang="ar-SA" sz="3200" b="0" i="0" u="none" strike="noStrike" kern="1200" cap="none" spc="0" normalizeH="0" baseline="0" noProof="0" dirty="0">
                <a:ln>
                  <a:noFill/>
                </a:ln>
                <a:solidFill>
                  <a:prstClr val="black"/>
                </a:solidFill>
                <a:effectLst/>
                <a:uLnTx/>
                <a:uFillTx/>
                <a:latin typeface="Century Gothic" panose="020B0502020202020204"/>
                <a:ea typeface="+mn-ea"/>
                <a:cs typeface="Arial" panose="020B0604020202020204" pitchFamily="34" charset="0"/>
              </a:rPr>
              <a:t> </a:t>
            </a:r>
          </a:p>
        </p:txBody>
      </p:sp>
      <p:pic>
        <p:nvPicPr>
          <p:cNvPr id="6" name="صورة 5">
            <a:extLst>
              <a:ext uri="{FF2B5EF4-FFF2-40B4-BE49-F238E27FC236}">
                <a16:creationId xmlns:a16="http://schemas.microsoft.com/office/drawing/2014/main" id="{C8768166-8C6E-AEE3-6CC4-443FFBF50084}"/>
              </a:ext>
            </a:extLst>
          </p:cNvPr>
          <p:cNvPicPr>
            <a:picLocks noChangeAspect="1"/>
          </p:cNvPicPr>
          <p:nvPr/>
        </p:nvPicPr>
        <p:blipFill>
          <a:blip r:embed="rId2"/>
          <a:stretch>
            <a:fillRect/>
          </a:stretch>
        </p:blipFill>
        <p:spPr>
          <a:xfrm>
            <a:off x="1304241" y="1791699"/>
            <a:ext cx="9811741" cy="4157654"/>
          </a:xfrm>
          <a:prstGeom prst="rect">
            <a:avLst/>
          </a:prstGeom>
        </p:spPr>
      </p:pic>
      <p:grpSp>
        <p:nvGrpSpPr>
          <p:cNvPr id="7" name="Group 1">
            <a:extLst>
              <a:ext uri="{FF2B5EF4-FFF2-40B4-BE49-F238E27FC236}">
                <a16:creationId xmlns:a16="http://schemas.microsoft.com/office/drawing/2014/main" id="{9902F197-9EA2-3484-3B93-47E1A9F940F0}"/>
              </a:ext>
            </a:extLst>
          </p:cNvPr>
          <p:cNvGrpSpPr/>
          <p:nvPr/>
        </p:nvGrpSpPr>
        <p:grpSpPr>
          <a:xfrm>
            <a:off x="2843530" y="654126"/>
            <a:ext cx="1719352" cy="1674533"/>
            <a:chOff x="3336925" y="4378325"/>
            <a:chExt cx="1090613" cy="958850"/>
          </a:xfrm>
        </p:grpSpPr>
        <p:sp>
          <p:nvSpPr>
            <p:cNvPr id="8" name="Oval 1247">
              <a:extLst>
                <a:ext uri="{FF2B5EF4-FFF2-40B4-BE49-F238E27FC236}">
                  <a16:creationId xmlns:a16="http://schemas.microsoft.com/office/drawing/2014/main" id="{61F760DE-F1BF-27ED-68CD-033E5B722A9B}"/>
                </a:ext>
              </a:extLst>
            </p:cNvPr>
            <p:cNvSpPr>
              <a:spLocks noChangeArrowheads="1"/>
            </p:cNvSpPr>
            <p:nvPr/>
          </p:nvSpPr>
          <p:spPr bwMode="auto">
            <a:xfrm>
              <a:off x="3403600" y="4378325"/>
              <a:ext cx="958850" cy="958850"/>
            </a:xfrm>
            <a:prstGeom prst="ellipse">
              <a:avLst/>
            </a:prstGeom>
            <a:solidFill>
              <a:srgbClr val="F0F6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0" name="Freeform 1248">
              <a:extLst>
                <a:ext uri="{FF2B5EF4-FFF2-40B4-BE49-F238E27FC236}">
                  <a16:creationId xmlns:a16="http://schemas.microsoft.com/office/drawing/2014/main" id="{60C73F72-267A-9BA4-C7CD-C297F8AE8608}"/>
                </a:ext>
              </a:extLst>
            </p:cNvPr>
            <p:cNvSpPr>
              <a:spLocks/>
            </p:cNvSpPr>
            <p:nvPr/>
          </p:nvSpPr>
          <p:spPr bwMode="auto">
            <a:xfrm>
              <a:off x="3575050" y="4429125"/>
              <a:ext cx="852488" cy="447675"/>
            </a:xfrm>
            <a:custGeom>
              <a:avLst/>
              <a:gdLst>
                <a:gd name="T0" fmla="*/ 1051 w 1051"/>
                <a:gd name="T1" fmla="*/ 523 h 553"/>
                <a:gd name="T2" fmla="*/ 1021 w 1051"/>
                <a:gd name="T3" fmla="*/ 553 h 553"/>
                <a:gd name="T4" fmla="*/ 30 w 1051"/>
                <a:gd name="T5" fmla="*/ 553 h 553"/>
                <a:gd name="T6" fmla="*/ 0 w 1051"/>
                <a:gd name="T7" fmla="*/ 523 h 553"/>
                <a:gd name="T8" fmla="*/ 0 w 1051"/>
                <a:gd name="T9" fmla="*/ 31 h 553"/>
                <a:gd name="T10" fmla="*/ 30 w 1051"/>
                <a:gd name="T11" fmla="*/ 0 h 553"/>
                <a:gd name="T12" fmla="*/ 1021 w 1051"/>
                <a:gd name="T13" fmla="*/ 0 h 553"/>
                <a:gd name="T14" fmla="*/ 1051 w 1051"/>
                <a:gd name="T15" fmla="*/ 31 h 553"/>
                <a:gd name="T16" fmla="*/ 1051 w 1051"/>
                <a:gd name="T17" fmla="*/ 523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1" h="553">
                  <a:moveTo>
                    <a:pt x="1051" y="523"/>
                  </a:moveTo>
                  <a:cubicBezTo>
                    <a:pt x="1051" y="539"/>
                    <a:pt x="1038" y="553"/>
                    <a:pt x="1021" y="553"/>
                  </a:cubicBezTo>
                  <a:cubicBezTo>
                    <a:pt x="30" y="553"/>
                    <a:pt x="30" y="553"/>
                    <a:pt x="30" y="553"/>
                  </a:cubicBezTo>
                  <a:cubicBezTo>
                    <a:pt x="14" y="553"/>
                    <a:pt x="0" y="539"/>
                    <a:pt x="0" y="523"/>
                  </a:cubicBezTo>
                  <a:cubicBezTo>
                    <a:pt x="0" y="31"/>
                    <a:pt x="0" y="31"/>
                    <a:pt x="0" y="31"/>
                  </a:cubicBezTo>
                  <a:cubicBezTo>
                    <a:pt x="0" y="14"/>
                    <a:pt x="14" y="0"/>
                    <a:pt x="30" y="0"/>
                  </a:cubicBezTo>
                  <a:cubicBezTo>
                    <a:pt x="1021" y="0"/>
                    <a:pt x="1021" y="0"/>
                    <a:pt x="1021" y="0"/>
                  </a:cubicBezTo>
                  <a:cubicBezTo>
                    <a:pt x="1038" y="0"/>
                    <a:pt x="1051" y="14"/>
                    <a:pt x="1051" y="31"/>
                  </a:cubicBezTo>
                  <a:cubicBezTo>
                    <a:pt x="1051" y="523"/>
                    <a:pt x="1051" y="523"/>
                    <a:pt x="1051" y="523"/>
                  </a:cubicBezTo>
                </a:path>
              </a:pathLst>
            </a:custGeom>
            <a:solidFill>
              <a:srgbClr val="F1A3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2" name="Rectangle 1249">
              <a:extLst>
                <a:ext uri="{FF2B5EF4-FFF2-40B4-BE49-F238E27FC236}">
                  <a16:creationId xmlns:a16="http://schemas.microsoft.com/office/drawing/2014/main" id="{058D8861-189D-63FD-B046-A94CA5746848}"/>
                </a:ext>
              </a:extLst>
            </p:cNvPr>
            <p:cNvSpPr>
              <a:spLocks noChangeArrowheads="1"/>
            </p:cNvSpPr>
            <p:nvPr/>
          </p:nvSpPr>
          <p:spPr bwMode="auto">
            <a:xfrm>
              <a:off x="3611563" y="4462463"/>
              <a:ext cx="779463" cy="381000"/>
            </a:xfrm>
            <a:prstGeom prst="rect">
              <a:avLst/>
            </a:prstGeom>
            <a:solidFill>
              <a:srgbClr val="0AA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4" name="Rectangle 1250">
              <a:extLst>
                <a:ext uri="{FF2B5EF4-FFF2-40B4-BE49-F238E27FC236}">
                  <a16:creationId xmlns:a16="http://schemas.microsoft.com/office/drawing/2014/main" id="{6F31FC87-DDFA-DE95-BD97-7EAC58F9F4D4}"/>
                </a:ext>
              </a:extLst>
            </p:cNvPr>
            <p:cNvSpPr>
              <a:spLocks noChangeArrowheads="1"/>
            </p:cNvSpPr>
            <p:nvPr/>
          </p:nvSpPr>
          <p:spPr bwMode="auto">
            <a:xfrm>
              <a:off x="3611563" y="4462463"/>
              <a:ext cx="779463"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6" name="Freeform 1251">
              <a:extLst>
                <a:ext uri="{FF2B5EF4-FFF2-40B4-BE49-F238E27FC236}">
                  <a16:creationId xmlns:a16="http://schemas.microsoft.com/office/drawing/2014/main" id="{28814075-2606-5E60-FA2F-120E83B7EABC}"/>
                </a:ext>
              </a:extLst>
            </p:cNvPr>
            <p:cNvSpPr>
              <a:spLocks/>
            </p:cNvSpPr>
            <p:nvPr/>
          </p:nvSpPr>
          <p:spPr bwMode="auto">
            <a:xfrm>
              <a:off x="3611563" y="4462463"/>
              <a:ext cx="779463" cy="11113"/>
            </a:xfrm>
            <a:custGeom>
              <a:avLst/>
              <a:gdLst>
                <a:gd name="T0" fmla="*/ 491 w 491"/>
                <a:gd name="T1" fmla="*/ 0 h 7"/>
                <a:gd name="T2" fmla="*/ 8 w 491"/>
                <a:gd name="T3" fmla="*/ 0 h 7"/>
                <a:gd name="T4" fmla="*/ 0 w 491"/>
                <a:gd name="T5" fmla="*/ 0 h 7"/>
                <a:gd name="T6" fmla="*/ 0 w 491"/>
                <a:gd name="T7" fmla="*/ 0 h 7"/>
                <a:gd name="T8" fmla="*/ 491 w 491"/>
                <a:gd name="T9" fmla="*/ 0 h 7"/>
                <a:gd name="T10" fmla="*/ 491 w 491"/>
                <a:gd name="T11" fmla="*/ 7 h 7"/>
                <a:gd name="T12" fmla="*/ 491 w 491"/>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491" h="7">
                  <a:moveTo>
                    <a:pt x="491" y="0"/>
                  </a:moveTo>
                  <a:lnTo>
                    <a:pt x="8" y="0"/>
                  </a:lnTo>
                  <a:lnTo>
                    <a:pt x="0" y="0"/>
                  </a:lnTo>
                  <a:lnTo>
                    <a:pt x="0" y="0"/>
                  </a:lnTo>
                  <a:lnTo>
                    <a:pt x="491" y="0"/>
                  </a:lnTo>
                  <a:lnTo>
                    <a:pt x="491" y="7"/>
                  </a:lnTo>
                  <a:lnTo>
                    <a:pt x="491" y="0"/>
                  </a:lnTo>
                  <a:close/>
                </a:path>
              </a:pathLst>
            </a:custGeom>
            <a:solidFill>
              <a:srgbClr val="A872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9" name="Freeform 1252">
              <a:extLst>
                <a:ext uri="{FF2B5EF4-FFF2-40B4-BE49-F238E27FC236}">
                  <a16:creationId xmlns:a16="http://schemas.microsoft.com/office/drawing/2014/main" id="{736D97A7-6C57-EFC5-0BD3-0DDEB4569310}"/>
                </a:ext>
              </a:extLst>
            </p:cNvPr>
            <p:cNvSpPr>
              <a:spLocks/>
            </p:cNvSpPr>
            <p:nvPr/>
          </p:nvSpPr>
          <p:spPr bwMode="auto">
            <a:xfrm>
              <a:off x="3611563" y="4462463"/>
              <a:ext cx="779463" cy="11113"/>
            </a:xfrm>
            <a:custGeom>
              <a:avLst/>
              <a:gdLst>
                <a:gd name="T0" fmla="*/ 491 w 491"/>
                <a:gd name="T1" fmla="*/ 0 h 7"/>
                <a:gd name="T2" fmla="*/ 8 w 491"/>
                <a:gd name="T3" fmla="*/ 0 h 7"/>
                <a:gd name="T4" fmla="*/ 0 w 491"/>
                <a:gd name="T5" fmla="*/ 0 h 7"/>
                <a:gd name="T6" fmla="*/ 0 w 491"/>
                <a:gd name="T7" fmla="*/ 0 h 7"/>
                <a:gd name="T8" fmla="*/ 491 w 491"/>
                <a:gd name="T9" fmla="*/ 0 h 7"/>
                <a:gd name="T10" fmla="*/ 491 w 491"/>
                <a:gd name="T11" fmla="*/ 7 h 7"/>
                <a:gd name="T12" fmla="*/ 491 w 491"/>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491" h="7">
                  <a:moveTo>
                    <a:pt x="491" y="0"/>
                  </a:moveTo>
                  <a:lnTo>
                    <a:pt x="8" y="0"/>
                  </a:lnTo>
                  <a:lnTo>
                    <a:pt x="0" y="0"/>
                  </a:lnTo>
                  <a:lnTo>
                    <a:pt x="0" y="0"/>
                  </a:lnTo>
                  <a:lnTo>
                    <a:pt x="491" y="0"/>
                  </a:lnTo>
                  <a:lnTo>
                    <a:pt x="491" y="7"/>
                  </a:lnTo>
                  <a:lnTo>
                    <a:pt x="49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1" name="Freeform 1253">
              <a:extLst>
                <a:ext uri="{FF2B5EF4-FFF2-40B4-BE49-F238E27FC236}">
                  <a16:creationId xmlns:a16="http://schemas.microsoft.com/office/drawing/2014/main" id="{F1732CAA-C9DB-9B2E-CA08-883208260303}"/>
                </a:ext>
              </a:extLst>
            </p:cNvPr>
            <p:cNvSpPr>
              <a:spLocks/>
            </p:cNvSpPr>
            <p:nvPr/>
          </p:nvSpPr>
          <p:spPr bwMode="auto">
            <a:xfrm>
              <a:off x="3611563" y="4462463"/>
              <a:ext cx="779463" cy="228600"/>
            </a:xfrm>
            <a:custGeom>
              <a:avLst/>
              <a:gdLst>
                <a:gd name="T0" fmla="*/ 960 w 960"/>
                <a:gd name="T1" fmla="*/ 0 h 282"/>
                <a:gd name="T2" fmla="*/ 0 w 960"/>
                <a:gd name="T3" fmla="*/ 0 h 282"/>
                <a:gd name="T4" fmla="*/ 0 w 960"/>
                <a:gd name="T5" fmla="*/ 13 h 282"/>
                <a:gd name="T6" fmla="*/ 0 w 960"/>
                <a:gd name="T7" fmla="*/ 282 h 282"/>
                <a:gd name="T8" fmla="*/ 14 w 960"/>
                <a:gd name="T9" fmla="*/ 281 h 282"/>
                <a:gd name="T10" fmla="*/ 14 w 960"/>
                <a:gd name="T11" fmla="*/ 13 h 282"/>
                <a:gd name="T12" fmla="*/ 34 w 960"/>
                <a:gd name="T13" fmla="*/ 13 h 282"/>
                <a:gd name="T14" fmla="*/ 960 w 960"/>
                <a:gd name="T15" fmla="*/ 13 h 282"/>
                <a:gd name="T16" fmla="*/ 960 w 960"/>
                <a:gd name="T17" fmla="*/ 0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0" h="282">
                  <a:moveTo>
                    <a:pt x="960" y="0"/>
                  </a:moveTo>
                  <a:cubicBezTo>
                    <a:pt x="0" y="0"/>
                    <a:pt x="0" y="0"/>
                    <a:pt x="0" y="0"/>
                  </a:cubicBezTo>
                  <a:cubicBezTo>
                    <a:pt x="0" y="13"/>
                    <a:pt x="0" y="13"/>
                    <a:pt x="0" y="13"/>
                  </a:cubicBezTo>
                  <a:cubicBezTo>
                    <a:pt x="0" y="282"/>
                    <a:pt x="0" y="282"/>
                    <a:pt x="0" y="282"/>
                  </a:cubicBezTo>
                  <a:cubicBezTo>
                    <a:pt x="5" y="281"/>
                    <a:pt x="10" y="281"/>
                    <a:pt x="14" y="281"/>
                  </a:cubicBezTo>
                  <a:cubicBezTo>
                    <a:pt x="14" y="13"/>
                    <a:pt x="14" y="13"/>
                    <a:pt x="14" y="13"/>
                  </a:cubicBezTo>
                  <a:cubicBezTo>
                    <a:pt x="34" y="13"/>
                    <a:pt x="34" y="13"/>
                    <a:pt x="34" y="13"/>
                  </a:cubicBezTo>
                  <a:cubicBezTo>
                    <a:pt x="960" y="13"/>
                    <a:pt x="960" y="13"/>
                    <a:pt x="960" y="13"/>
                  </a:cubicBezTo>
                  <a:cubicBezTo>
                    <a:pt x="960" y="0"/>
                    <a:pt x="960" y="0"/>
                    <a:pt x="960" y="0"/>
                  </a:cubicBezTo>
                </a:path>
              </a:pathLst>
            </a:custGeom>
            <a:solidFill>
              <a:srgbClr val="0772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2" name="Freeform 1254">
              <a:extLst>
                <a:ext uri="{FF2B5EF4-FFF2-40B4-BE49-F238E27FC236}">
                  <a16:creationId xmlns:a16="http://schemas.microsoft.com/office/drawing/2014/main" id="{38D0E56A-8189-249E-0823-63942DDF9F8F}"/>
                </a:ext>
              </a:extLst>
            </p:cNvPr>
            <p:cNvSpPr>
              <a:spLocks/>
            </p:cNvSpPr>
            <p:nvPr/>
          </p:nvSpPr>
          <p:spPr bwMode="auto">
            <a:xfrm>
              <a:off x="3700463" y="4551363"/>
              <a:ext cx="28575" cy="44450"/>
            </a:xfrm>
            <a:custGeom>
              <a:avLst/>
              <a:gdLst>
                <a:gd name="T0" fmla="*/ 15 w 34"/>
                <a:gd name="T1" fmla="*/ 0 h 56"/>
                <a:gd name="T2" fmla="*/ 10 w 34"/>
                <a:gd name="T3" fmla="*/ 1 h 56"/>
                <a:gd name="T4" fmla="*/ 6 w 34"/>
                <a:gd name="T5" fmla="*/ 2 h 56"/>
                <a:gd name="T6" fmla="*/ 2 w 34"/>
                <a:gd name="T7" fmla="*/ 5 h 56"/>
                <a:gd name="T8" fmla="*/ 0 w 34"/>
                <a:gd name="T9" fmla="*/ 6 h 56"/>
                <a:gd name="T10" fmla="*/ 4 w 34"/>
                <a:gd name="T11" fmla="*/ 12 h 56"/>
                <a:gd name="T12" fmla="*/ 5 w 34"/>
                <a:gd name="T13" fmla="*/ 10 h 56"/>
                <a:gd name="T14" fmla="*/ 8 w 34"/>
                <a:gd name="T15" fmla="*/ 9 h 56"/>
                <a:gd name="T16" fmla="*/ 11 w 34"/>
                <a:gd name="T17" fmla="*/ 7 h 56"/>
                <a:gd name="T18" fmla="*/ 15 w 34"/>
                <a:gd name="T19" fmla="*/ 6 h 56"/>
                <a:gd name="T20" fmla="*/ 19 w 34"/>
                <a:gd name="T21" fmla="*/ 7 h 56"/>
                <a:gd name="T22" fmla="*/ 22 w 34"/>
                <a:gd name="T23" fmla="*/ 9 h 56"/>
                <a:gd name="T24" fmla="*/ 24 w 34"/>
                <a:gd name="T25" fmla="*/ 11 h 56"/>
                <a:gd name="T26" fmla="*/ 25 w 34"/>
                <a:gd name="T27" fmla="*/ 15 h 56"/>
                <a:gd name="T28" fmla="*/ 24 w 34"/>
                <a:gd name="T29" fmla="*/ 20 h 56"/>
                <a:gd name="T30" fmla="*/ 22 w 34"/>
                <a:gd name="T31" fmla="*/ 23 h 56"/>
                <a:gd name="T32" fmla="*/ 18 w 34"/>
                <a:gd name="T33" fmla="*/ 27 h 56"/>
                <a:gd name="T34" fmla="*/ 15 w 34"/>
                <a:gd name="T35" fmla="*/ 31 h 56"/>
                <a:gd name="T36" fmla="*/ 10 w 34"/>
                <a:gd name="T37" fmla="*/ 36 h 56"/>
                <a:gd name="T38" fmla="*/ 5 w 34"/>
                <a:gd name="T39" fmla="*/ 41 h 56"/>
                <a:gd name="T40" fmla="*/ 2 w 34"/>
                <a:gd name="T41" fmla="*/ 47 h 56"/>
                <a:gd name="T42" fmla="*/ 1 w 34"/>
                <a:gd name="T43" fmla="*/ 54 h 56"/>
                <a:gd name="T44" fmla="*/ 1 w 34"/>
                <a:gd name="T45" fmla="*/ 55 h 56"/>
                <a:gd name="T46" fmla="*/ 1 w 34"/>
                <a:gd name="T47" fmla="*/ 56 h 56"/>
                <a:gd name="T48" fmla="*/ 34 w 34"/>
                <a:gd name="T49" fmla="*/ 56 h 56"/>
                <a:gd name="T50" fmla="*/ 34 w 34"/>
                <a:gd name="T51" fmla="*/ 50 h 56"/>
                <a:gd name="T52" fmla="*/ 9 w 34"/>
                <a:gd name="T53" fmla="*/ 50 h 56"/>
                <a:gd name="T54" fmla="*/ 10 w 34"/>
                <a:gd name="T55" fmla="*/ 47 h 56"/>
                <a:gd name="T56" fmla="*/ 13 w 34"/>
                <a:gd name="T57" fmla="*/ 43 h 56"/>
                <a:gd name="T58" fmla="*/ 16 w 34"/>
                <a:gd name="T59" fmla="*/ 39 h 56"/>
                <a:gd name="T60" fmla="*/ 19 w 34"/>
                <a:gd name="T61" fmla="*/ 36 h 56"/>
                <a:gd name="T62" fmla="*/ 24 w 34"/>
                <a:gd name="T63" fmla="*/ 31 h 56"/>
                <a:gd name="T64" fmla="*/ 28 w 34"/>
                <a:gd name="T65" fmla="*/ 26 h 56"/>
                <a:gd name="T66" fmla="*/ 31 w 34"/>
                <a:gd name="T67" fmla="*/ 21 h 56"/>
                <a:gd name="T68" fmla="*/ 32 w 34"/>
                <a:gd name="T69" fmla="*/ 15 h 56"/>
                <a:gd name="T70" fmla="*/ 28 w 34"/>
                <a:gd name="T71" fmla="*/ 4 h 56"/>
                <a:gd name="T72" fmla="*/ 15 w 34"/>
                <a:gd name="T73"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4" h="56">
                  <a:moveTo>
                    <a:pt x="15" y="0"/>
                  </a:moveTo>
                  <a:cubicBezTo>
                    <a:pt x="13" y="0"/>
                    <a:pt x="12" y="0"/>
                    <a:pt x="10" y="1"/>
                  </a:cubicBezTo>
                  <a:cubicBezTo>
                    <a:pt x="8" y="1"/>
                    <a:pt x="7" y="2"/>
                    <a:pt x="6" y="2"/>
                  </a:cubicBezTo>
                  <a:cubicBezTo>
                    <a:pt x="4" y="3"/>
                    <a:pt x="3" y="4"/>
                    <a:pt x="2" y="5"/>
                  </a:cubicBezTo>
                  <a:cubicBezTo>
                    <a:pt x="1" y="5"/>
                    <a:pt x="0" y="6"/>
                    <a:pt x="0" y="6"/>
                  </a:cubicBezTo>
                  <a:cubicBezTo>
                    <a:pt x="4" y="12"/>
                    <a:pt x="4" y="12"/>
                    <a:pt x="4" y="12"/>
                  </a:cubicBezTo>
                  <a:cubicBezTo>
                    <a:pt x="4" y="11"/>
                    <a:pt x="5" y="11"/>
                    <a:pt x="5" y="10"/>
                  </a:cubicBezTo>
                  <a:cubicBezTo>
                    <a:pt x="6" y="10"/>
                    <a:pt x="7" y="9"/>
                    <a:pt x="8" y="9"/>
                  </a:cubicBezTo>
                  <a:cubicBezTo>
                    <a:pt x="9" y="8"/>
                    <a:pt x="10" y="7"/>
                    <a:pt x="11" y="7"/>
                  </a:cubicBezTo>
                  <a:cubicBezTo>
                    <a:pt x="12" y="7"/>
                    <a:pt x="14" y="6"/>
                    <a:pt x="15" y="6"/>
                  </a:cubicBezTo>
                  <a:cubicBezTo>
                    <a:pt x="17" y="6"/>
                    <a:pt x="18" y="7"/>
                    <a:pt x="19" y="7"/>
                  </a:cubicBezTo>
                  <a:cubicBezTo>
                    <a:pt x="20" y="7"/>
                    <a:pt x="21" y="8"/>
                    <a:pt x="22" y="9"/>
                  </a:cubicBezTo>
                  <a:cubicBezTo>
                    <a:pt x="23" y="9"/>
                    <a:pt x="23" y="10"/>
                    <a:pt x="24" y="11"/>
                  </a:cubicBezTo>
                  <a:cubicBezTo>
                    <a:pt x="24" y="12"/>
                    <a:pt x="25" y="14"/>
                    <a:pt x="25" y="15"/>
                  </a:cubicBezTo>
                  <a:cubicBezTo>
                    <a:pt x="25" y="17"/>
                    <a:pt x="24" y="18"/>
                    <a:pt x="24" y="20"/>
                  </a:cubicBezTo>
                  <a:cubicBezTo>
                    <a:pt x="23" y="21"/>
                    <a:pt x="23" y="22"/>
                    <a:pt x="22" y="23"/>
                  </a:cubicBezTo>
                  <a:cubicBezTo>
                    <a:pt x="21" y="25"/>
                    <a:pt x="20" y="26"/>
                    <a:pt x="18" y="27"/>
                  </a:cubicBezTo>
                  <a:cubicBezTo>
                    <a:pt x="17" y="28"/>
                    <a:pt x="16" y="30"/>
                    <a:pt x="15" y="31"/>
                  </a:cubicBezTo>
                  <a:cubicBezTo>
                    <a:pt x="13" y="32"/>
                    <a:pt x="11" y="34"/>
                    <a:pt x="10" y="36"/>
                  </a:cubicBezTo>
                  <a:cubicBezTo>
                    <a:pt x="8" y="37"/>
                    <a:pt x="7" y="39"/>
                    <a:pt x="5" y="41"/>
                  </a:cubicBezTo>
                  <a:cubicBezTo>
                    <a:pt x="4" y="43"/>
                    <a:pt x="3" y="45"/>
                    <a:pt x="2" y="47"/>
                  </a:cubicBezTo>
                  <a:cubicBezTo>
                    <a:pt x="1" y="49"/>
                    <a:pt x="1" y="52"/>
                    <a:pt x="1" y="54"/>
                  </a:cubicBezTo>
                  <a:cubicBezTo>
                    <a:pt x="1" y="54"/>
                    <a:pt x="1" y="55"/>
                    <a:pt x="1" y="55"/>
                  </a:cubicBezTo>
                  <a:cubicBezTo>
                    <a:pt x="1" y="55"/>
                    <a:pt x="1" y="56"/>
                    <a:pt x="1" y="56"/>
                  </a:cubicBezTo>
                  <a:cubicBezTo>
                    <a:pt x="34" y="56"/>
                    <a:pt x="34" y="56"/>
                    <a:pt x="34" y="56"/>
                  </a:cubicBezTo>
                  <a:cubicBezTo>
                    <a:pt x="34" y="50"/>
                    <a:pt x="34" y="50"/>
                    <a:pt x="34" y="50"/>
                  </a:cubicBezTo>
                  <a:cubicBezTo>
                    <a:pt x="9" y="50"/>
                    <a:pt x="9" y="50"/>
                    <a:pt x="9" y="50"/>
                  </a:cubicBezTo>
                  <a:cubicBezTo>
                    <a:pt x="9" y="49"/>
                    <a:pt x="9" y="48"/>
                    <a:pt x="10" y="47"/>
                  </a:cubicBezTo>
                  <a:cubicBezTo>
                    <a:pt x="11" y="45"/>
                    <a:pt x="12" y="44"/>
                    <a:pt x="13" y="43"/>
                  </a:cubicBezTo>
                  <a:cubicBezTo>
                    <a:pt x="14" y="41"/>
                    <a:pt x="15" y="40"/>
                    <a:pt x="16" y="39"/>
                  </a:cubicBezTo>
                  <a:cubicBezTo>
                    <a:pt x="17" y="38"/>
                    <a:pt x="18" y="37"/>
                    <a:pt x="19" y="36"/>
                  </a:cubicBezTo>
                  <a:cubicBezTo>
                    <a:pt x="21" y="34"/>
                    <a:pt x="22" y="33"/>
                    <a:pt x="24" y="31"/>
                  </a:cubicBezTo>
                  <a:cubicBezTo>
                    <a:pt x="26" y="29"/>
                    <a:pt x="27" y="28"/>
                    <a:pt x="28" y="26"/>
                  </a:cubicBezTo>
                  <a:cubicBezTo>
                    <a:pt x="30" y="24"/>
                    <a:pt x="31" y="22"/>
                    <a:pt x="31" y="21"/>
                  </a:cubicBezTo>
                  <a:cubicBezTo>
                    <a:pt x="32" y="19"/>
                    <a:pt x="32" y="17"/>
                    <a:pt x="32" y="15"/>
                  </a:cubicBezTo>
                  <a:cubicBezTo>
                    <a:pt x="32" y="10"/>
                    <a:pt x="31" y="7"/>
                    <a:pt x="28" y="4"/>
                  </a:cubicBezTo>
                  <a:cubicBezTo>
                    <a:pt x="25" y="1"/>
                    <a:pt x="21" y="0"/>
                    <a:pt x="15" y="0"/>
                  </a:cubicBezTo>
                </a:path>
              </a:pathLst>
            </a:custGeom>
            <a:solidFill>
              <a:srgbClr val="B6E4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3" name="Freeform 1255">
              <a:extLst>
                <a:ext uri="{FF2B5EF4-FFF2-40B4-BE49-F238E27FC236}">
                  <a16:creationId xmlns:a16="http://schemas.microsoft.com/office/drawing/2014/main" id="{E877E7F3-25D9-71B4-A48E-E5FF54F307AD}"/>
                </a:ext>
              </a:extLst>
            </p:cNvPr>
            <p:cNvSpPr>
              <a:spLocks/>
            </p:cNvSpPr>
            <p:nvPr/>
          </p:nvSpPr>
          <p:spPr bwMode="auto">
            <a:xfrm>
              <a:off x="3736975" y="4560888"/>
              <a:ext cx="30163" cy="31750"/>
            </a:xfrm>
            <a:custGeom>
              <a:avLst/>
              <a:gdLst>
                <a:gd name="T0" fmla="*/ 11 w 19"/>
                <a:gd name="T1" fmla="*/ 0 h 20"/>
                <a:gd name="T2" fmla="*/ 7 w 19"/>
                <a:gd name="T3" fmla="*/ 0 h 20"/>
                <a:gd name="T4" fmla="*/ 7 w 19"/>
                <a:gd name="T5" fmla="*/ 9 h 20"/>
                <a:gd name="T6" fmla="*/ 0 w 19"/>
                <a:gd name="T7" fmla="*/ 9 h 20"/>
                <a:gd name="T8" fmla="*/ 0 w 19"/>
                <a:gd name="T9" fmla="*/ 12 h 20"/>
                <a:gd name="T10" fmla="*/ 7 w 19"/>
                <a:gd name="T11" fmla="*/ 12 h 20"/>
                <a:gd name="T12" fmla="*/ 7 w 19"/>
                <a:gd name="T13" fmla="*/ 20 h 20"/>
                <a:gd name="T14" fmla="*/ 11 w 19"/>
                <a:gd name="T15" fmla="*/ 20 h 20"/>
                <a:gd name="T16" fmla="*/ 11 w 19"/>
                <a:gd name="T17" fmla="*/ 12 h 20"/>
                <a:gd name="T18" fmla="*/ 19 w 19"/>
                <a:gd name="T19" fmla="*/ 12 h 20"/>
                <a:gd name="T20" fmla="*/ 19 w 19"/>
                <a:gd name="T21" fmla="*/ 9 h 20"/>
                <a:gd name="T22" fmla="*/ 11 w 19"/>
                <a:gd name="T23" fmla="*/ 9 h 20"/>
                <a:gd name="T24" fmla="*/ 11 w 19"/>
                <a:gd name="T2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20">
                  <a:moveTo>
                    <a:pt x="11" y="0"/>
                  </a:moveTo>
                  <a:lnTo>
                    <a:pt x="7" y="0"/>
                  </a:lnTo>
                  <a:lnTo>
                    <a:pt x="7" y="9"/>
                  </a:lnTo>
                  <a:lnTo>
                    <a:pt x="0" y="9"/>
                  </a:lnTo>
                  <a:lnTo>
                    <a:pt x="0" y="12"/>
                  </a:lnTo>
                  <a:lnTo>
                    <a:pt x="7" y="12"/>
                  </a:lnTo>
                  <a:lnTo>
                    <a:pt x="7" y="20"/>
                  </a:lnTo>
                  <a:lnTo>
                    <a:pt x="11" y="20"/>
                  </a:lnTo>
                  <a:lnTo>
                    <a:pt x="11" y="12"/>
                  </a:lnTo>
                  <a:lnTo>
                    <a:pt x="19" y="12"/>
                  </a:lnTo>
                  <a:lnTo>
                    <a:pt x="19" y="9"/>
                  </a:lnTo>
                  <a:lnTo>
                    <a:pt x="11" y="9"/>
                  </a:lnTo>
                  <a:lnTo>
                    <a:pt x="11" y="0"/>
                  </a:lnTo>
                  <a:close/>
                </a:path>
              </a:pathLst>
            </a:custGeom>
            <a:solidFill>
              <a:srgbClr val="B6E4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4" name="Freeform 1256">
              <a:extLst>
                <a:ext uri="{FF2B5EF4-FFF2-40B4-BE49-F238E27FC236}">
                  <a16:creationId xmlns:a16="http://schemas.microsoft.com/office/drawing/2014/main" id="{8C9E6728-84C8-2A1B-CF12-AE0F1BACD67A}"/>
                </a:ext>
              </a:extLst>
            </p:cNvPr>
            <p:cNvSpPr>
              <a:spLocks/>
            </p:cNvSpPr>
            <p:nvPr/>
          </p:nvSpPr>
          <p:spPr bwMode="auto">
            <a:xfrm>
              <a:off x="3736975" y="4560888"/>
              <a:ext cx="30163" cy="31750"/>
            </a:xfrm>
            <a:custGeom>
              <a:avLst/>
              <a:gdLst>
                <a:gd name="T0" fmla="*/ 11 w 19"/>
                <a:gd name="T1" fmla="*/ 0 h 20"/>
                <a:gd name="T2" fmla="*/ 7 w 19"/>
                <a:gd name="T3" fmla="*/ 0 h 20"/>
                <a:gd name="T4" fmla="*/ 7 w 19"/>
                <a:gd name="T5" fmla="*/ 9 h 20"/>
                <a:gd name="T6" fmla="*/ 0 w 19"/>
                <a:gd name="T7" fmla="*/ 9 h 20"/>
                <a:gd name="T8" fmla="*/ 0 w 19"/>
                <a:gd name="T9" fmla="*/ 12 h 20"/>
                <a:gd name="T10" fmla="*/ 7 w 19"/>
                <a:gd name="T11" fmla="*/ 12 h 20"/>
                <a:gd name="T12" fmla="*/ 7 w 19"/>
                <a:gd name="T13" fmla="*/ 20 h 20"/>
                <a:gd name="T14" fmla="*/ 11 w 19"/>
                <a:gd name="T15" fmla="*/ 20 h 20"/>
                <a:gd name="T16" fmla="*/ 11 w 19"/>
                <a:gd name="T17" fmla="*/ 12 h 20"/>
                <a:gd name="T18" fmla="*/ 19 w 19"/>
                <a:gd name="T19" fmla="*/ 12 h 20"/>
                <a:gd name="T20" fmla="*/ 19 w 19"/>
                <a:gd name="T21" fmla="*/ 9 h 20"/>
                <a:gd name="T22" fmla="*/ 11 w 19"/>
                <a:gd name="T23" fmla="*/ 9 h 20"/>
                <a:gd name="T24" fmla="*/ 11 w 19"/>
                <a:gd name="T2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20">
                  <a:moveTo>
                    <a:pt x="11" y="0"/>
                  </a:moveTo>
                  <a:lnTo>
                    <a:pt x="7" y="0"/>
                  </a:lnTo>
                  <a:lnTo>
                    <a:pt x="7" y="9"/>
                  </a:lnTo>
                  <a:lnTo>
                    <a:pt x="0" y="9"/>
                  </a:lnTo>
                  <a:lnTo>
                    <a:pt x="0" y="12"/>
                  </a:lnTo>
                  <a:lnTo>
                    <a:pt x="7" y="12"/>
                  </a:lnTo>
                  <a:lnTo>
                    <a:pt x="7" y="20"/>
                  </a:lnTo>
                  <a:lnTo>
                    <a:pt x="11" y="20"/>
                  </a:lnTo>
                  <a:lnTo>
                    <a:pt x="11" y="12"/>
                  </a:lnTo>
                  <a:lnTo>
                    <a:pt x="19" y="12"/>
                  </a:lnTo>
                  <a:lnTo>
                    <a:pt x="19" y="9"/>
                  </a:lnTo>
                  <a:lnTo>
                    <a:pt x="11" y="9"/>
                  </a:lnTo>
                  <a:lnTo>
                    <a:pt x="1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5" name="Freeform 1257">
              <a:extLst>
                <a:ext uri="{FF2B5EF4-FFF2-40B4-BE49-F238E27FC236}">
                  <a16:creationId xmlns:a16="http://schemas.microsoft.com/office/drawing/2014/main" id="{445AE26C-5191-9582-8FA1-5E922C859B91}"/>
                </a:ext>
              </a:extLst>
            </p:cNvPr>
            <p:cNvSpPr>
              <a:spLocks/>
            </p:cNvSpPr>
            <p:nvPr/>
          </p:nvSpPr>
          <p:spPr bwMode="auto">
            <a:xfrm>
              <a:off x="3773488" y="4551363"/>
              <a:ext cx="26988" cy="44450"/>
            </a:xfrm>
            <a:custGeom>
              <a:avLst/>
              <a:gdLst>
                <a:gd name="T0" fmla="*/ 15 w 34"/>
                <a:gd name="T1" fmla="*/ 0 h 56"/>
                <a:gd name="T2" fmla="*/ 10 w 34"/>
                <a:gd name="T3" fmla="*/ 1 h 56"/>
                <a:gd name="T4" fmla="*/ 6 w 34"/>
                <a:gd name="T5" fmla="*/ 2 h 56"/>
                <a:gd name="T6" fmla="*/ 2 w 34"/>
                <a:gd name="T7" fmla="*/ 5 h 56"/>
                <a:gd name="T8" fmla="*/ 0 w 34"/>
                <a:gd name="T9" fmla="*/ 6 h 56"/>
                <a:gd name="T10" fmla="*/ 4 w 34"/>
                <a:gd name="T11" fmla="*/ 12 h 56"/>
                <a:gd name="T12" fmla="*/ 5 w 34"/>
                <a:gd name="T13" fmla="*/ 10 h 56"/>
                <a:gd name="T14" fmla="*/ 8 w 34"/>
                <a:gd name="T15" fmla="*/ 9 h 56"/>
                <a:gd name="T16" fmla="*/ 11 w 34"/>
                <a:gd name="T17" fmla="*/ 7 h 56"/>
                <a:gd name="T18" fmla="*/ 16 w 34"/>
                <a:gd name="T19" fmla="*/ 6 h 56"/>
                <a:gd name="T20" fmla="*/ 19 w 34"/>
                <a:gd name="T21" fmla="*/ 7 h 56"/>
                <a:gd name="T22" fmla="*/ 22 w 34"/>
                <a:gd name="T23" fmla="*/ 9 h 56"/>
                <a:gd name="T24" fmla="*/ 24 w 34"/>
                <a:gd name="T25" fmla="*/ 11 h 56"/>
                <a:gd name="T26" fmla="*/ 25 w 34"/>
                <a:gd name="T27" fmla="*/ 15 h 56"/>
                <a:gd name="T28" fmla="*/ 24 w 34"/>
                <a:gd name="T29" fmla="*/ 20 h 56"/>
                <a:gd name="T30" fmla="*/ 22 w 34"/>
                <a:gd name="T31" fmla="*/ 23 h 56"/>
                <a:gd name="T32" fmla="*/ 19 w 34"/>
                <a:gd name="T33" fmla="*/ 27 h 56"/>
                <a:gd name="T34" fmla="*/ 15 w 34"/>
                <a:gd name="T35" fmla="*/ 31 h 56"/>
                <a:gd name="T36" fmla="*/ 10 w 34"/>
                <a:gd name="T37" fmla="*/ 36 h 56"/>
                <a:gd name="T38" fmla="*/ 6 w 34"/>
                <a:gd name="T39" fmla="*/ 41 h 56"/>
                <a:gd name="T40" fmla="*/ 2 w 34"/>
                <a:gd name="T41" fmla="*/ 47 h 56"/>
                <a:gd name="T42" fmla="*/ 1 w 34"/>
                <a:gd name="T43" fmla="*/ 54 h 56"/>
                <a:gd name="T44" fmla="*/ 1 w 34"/>
                <a:gd name="T45" fmla="*/ 55 h 56"/>
                <a:gd name="T46" fmla="*/ 1 w 34"/>
                <a:gd name="T47" fmla="*/ 56 h 56"/>
                <a:gd name="T48" fmla="*/ 34 w 34"/>
                <a:gd name="T49" fmla="*/ 56 h 56"/>
                <a:gd name="T50" fmla="*/ 34 w 34"/>
                <a:gd name="T51" fmla="*/ 50 h 56"/>
                <a:gd name="T52" fmla="*/ 9 w 34"/>
                <a:gd name="T53" fmla="*/ 50 h 56"/>
                <a:gd name="T54" fmla="*/ 10 w 34"/>
                <a:gd name="T55" fmla="*/ 47 h 56"/>
                <a:gd name="T56" fmla="*/ 13 w 34"/>
                <a:gd name="T57" fmla="*/ 43 h 56"/>
                <a:gd name="T58" fmla="*/ 16 w 34"/>
                <a:gd name="T59" fmla="*/ 39 h 56"/>
                <a:gd name="T60" fmla="*/ 19 w 34"/>
                <a:gd name="T61" fmla="*/ 36 h 56"/>
                <a:gd name="T62" fmla="*/ 24 w 34"/>
                <a:gd name="T63" fmla="*/ 31 h 56"/>
                <a:gd name="T64" fmla="*/ 28 w 34"/>
                <a:gd name="T65" fmla="*/ 26 h 56"/>
                <a:gd name="T66" fmla="*/ 32 w 34"/>
                <a:gd name="T67" fmla="*/ 21 h 56"/>
                <a:gd name="T68" fmla="*/ 33 w 34"/>
                <a:gd name="T69" fmla="*/ 15 h 56"/>
                <a:gd name="T70" fmla="*/ 28 w 34"/>
                <a:gd name="T71" fmla="*/ 4 h 56"/>
                <a:gd name="T72" fmla="*/ 15 w 34"/>
                <a:gd name="T73"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4" h="56">
                  <a:moveTo>
                    <a:pt x="15" y="0"/>
                  </a:moveTo>
                  <a:cubicBezTo>
                    <a:pt x="14" y="0"/>
                    <a:pt x="12" y="0"/>
                    <a:pt x="10" y="1"/>
                  </a:cubicBezTo>
                  <a:cubicBezTo>
                    <a:pt x="8" y="1"/>
                    <a:pt x="7" y="2"/>
                    <a:pt x="6" y="2"/>
                  </a:cubicBezTo>
                  <a:cubicBezTo>
                    <a:pt x="4" y="3"/>
                    <a:pt x="3" y="4"/>
                    <a:pt x="2" y="5"/>
                  </a:cubicBezTo>
                  <a:cubicBezTo>
                    <a:pt x="1" y="5"/>
                    <a:pt x="1" y="6"/>
                    <a:pt x="0" y="6"/>
                  </a:cubicBezTo>
                  <a:cubicBezTo>
                    <a:pt x="4" y="12"/>
                    <a:pt x="4" y="12"/>
                    <a:pt x="4" y="12"/>
                  </a:cubicBezTo>
                  <a:cubicBezTo>
                    <a:pt x="4" y="11"/>
                    <a:pt x="5" y="11"/>
                    <a:pt x="5" y="10"/>
                  </a:cubicBezTo>
                  <a:cubicBezTo>
                    <a:pt x="6" y="10"/>
                    <a:pt x="7" y="9"/>
                    <a:pt x="8" y="9"/>
                  </a:cubicBezTo>
                  <a:cubicBezTo>
                    <a:pt x="9" y="8"/>
                    <a:pt x="10" y="7"/>
                    <a:pt x="11" y="7"/>
                  </a:cubicBezTo>
                  <a:cubicBezTo>
                    <a:pt x="13" y="7"/>
                    <a:pt x="14" y="6"/>
                    <a:pt x="16" y="6"/>
                  </a:cubicBezTo>
                  <a:cubicBezTo>
                    <a:pt x="17" y="6"/>
                    <a:pt x="18" y="7"/>
                    <a:pt x="19" y="7"/>
                  </a:cubicBezTo>
                  <a:cubicBezTo>
                    <a:pt x="20" y="7"/>
                    <a:pt x="21" y="8"/>
                    <a:pt x="22" y="9"/>
                  </a:cubicBezTo>
                  <a:cubicBezTo>
                    <a:pt x="23" y="9"/>
                    <a:pt x="24" y="10"/>
                    <a:pt x="24" y="11"/>
                  </a:cubicBezTo>
                  <a:cubicBezTo>
                    <a:pt x="25" y="12"/>
                    <a:pt x="25" y="14"/>
                    <a:pt x="25" y="15"/>
                  </a:cubicBezTo>
                  <a:cubicBezTo>
                    <a:pt x="25" y="17"/>
                    <a:pt x="25" y="18"/>
                    <a:pt x="24" y="20"/>
                  </a:cubicBezTo>
                  <a:cubicBezTo>
                    <a:pt x="23" y="21"/>
                    <a:pt x="23" y="22"/>
                    <a:pt x="22" y="23"/>
                  </a:cubicBezTo>
                  <a:cubicBezTo>
                    <a:pt x="21" y="25"/>
                    <a:pt x="20" y="26"/>
                    <a:pt x="19" y="27"/>
                  </a:cubicBezTo>
                  <a:cubicBezTo>
                    <a:pt x="17" y="28"/>
                    <a:pt x="16" y="30"/>
                    <a:pt x="15" y="31"/>
                  </a:cubicBezTo>
                  <a:cubicBezTo>
                    <a:pt x="13" y="32"/>
                    <a:pt x="12" y="34"/>
                    <a:pt x="10" y="36"/>
                  </a:cubicBezTo>
                  <a:cubicBezTo>
                    <a:pt x="8" y="37"/>
                    <a:pt x="7" y="39"/>
                    <a:pt x="6" y="41"/>
                  </a:cubicBezTo>
                  <a:cubicBezTo>
                    <a:pt x="4" y="43"/>
                    <a:pt x="3" y="45"/>
                    <a:pt x="2" y="47"/>
                  </a:cubicBezTo>
                  <a:cubicBezTo>
                    <a:pt x="2" y="49"/>
                    <a:pt x="1" y="52"/>
                    <a:pt x="1" y="54"/>
                  </a:cubicBezTo>
                  <a:cubicBezTo>
                    <a:pt x="1" y="54"/>
                    <a:pt x="1" y="55"/>
                    <a:pt x="1" y="55"/>
                  </a:cubicBezTo>
                  <a:cubicBezTo>
                    <a:pt x="1" y="55"/>
                    <a:pt x="1" y="56"/>
                    <a:pt x="1" y="56"/>
                  </a:cubicBezTo>
                  <a:cubicBezTo>
                    <a:pt x="34" y="56"/>
                    <a:pt x="34" y="56"/>
                    <a:pt x="34" y="56"/>
                  </a:cubicBezTo>
                  <a:cubicBezTo>
                    <a:pt x="34" y="50"/>
                    <a:pt x="34" y="50"/>
                    <a:pt x="34" y="50"/>
                  </a:cubicBezTo>
                  <a:cubicBezTo>
                    <a:pt x="9" y="50"/>
                    <a:pt x="9" y="50"/>
                    <a:pt x="9" y="50"/>
                  </a:cubicBezTo>
                  <a:cubicBezTo>
                    <a:pt x="9" y="49"/>
                    <a:pt x="10" y="48"/>
                    <a:pt x="10" y="47"/>
                  </a:cubicBezTo>
                  <a:cubicBezTo>
                    <a:pt x="11" y="45"/>
                    <a:pt x="12" y="44"/>
                    <a:pt x="13" y="43"/>
                  </a:cubicBezTo>
                  <a:cubicBezTo>
                    <a:pt x="14" y="41"/>
                    <a:pt x="15" y="40"/>
                    <a:pt x="16" y="39"/>
                  </a:cubicBezTo>
                  <a:cubicBezTo>
                    <a:pt x="18" y="38"/>
                    <a:pt x="19" y="37"/>
                    <a:pt x="19" y="36"/>
                  </a:cubicBezTo>
                  <a:cubicBezTo>
                    <a:pt x="21" y="34"/>
                    <a:pt x="23" y="33"/>
                    <a:pt x="24" y="31"/>
                  </a:cubicBezTo>
                  <a:cubicBezTo>
                    <a:pt x="26" y="29"/>
                    <a:pt x="27" y="28"/>
                    <a:pt x="28" y="26"/>
                  </a:cubicBezTo>
                  <a:cubicBezTo>
                    <a:pt x="30" y="24"/>
                    <a:pt x="31" y="22"/>
                    <a:pt x="32" y="21"/>
                  </a:cubicBezTo>
                  <a:cubicBezTo>
                    <a:pt x="32" y="19"/>
                    <a:pt x="33" y="17"/>
                    <a:pt x="33" y="15"/>
                  </a:cubicBezTo>
                  <a:cubicBezTo>
                    <a:pt x="33" y="10"/>
                    <a:pt x="31" y="7"/>
                    <a:pt x="28" y="4"/>
                  </a:cubicBezTo>
                  <a:cubicBezTo>
                    <a:pt x="25" y="1"/>
                    <a:pt x="21" y="0"/>
                    <a:pt x="15" y="0"/>
                  </a:cubicBezTo>
                </a:path>
              </a:pathLst>
            </a:custGeom>
            <a:solidFill>
              <a:srgbClr val="B6E4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6" name="Freeform 1258">
              <a:extLst>
                <a:ext uri="{FF2B5EF4-FFF2-40B4-BE49-F238E27FC236}">
                  <a16:creationId xmlns:a16="http://schemas.microsoft.com/office/drawing/2014/main" id="{2A0F0051-A6CE-2F65-3E29-7E305AE99720}"/>
                </a:ext>
              </a:extLst>
            </p:cNvPr>
            <p:cNvSpPr>
              <a:spLocks noEditPoints="1"/>
            </p:cNvSpPr>
            <p:nvPr/>
          </p:nvSpPr>
          <p:spPr bwMode="auto">
            <a:xfrm>
              <a:off x="3810000" y="4567238"/>
              <a:ext cx="28575" cy="19050"/>
            </a:xfrm>
            <a:custGeom>
              <a:avLst/>
              <a:gdLst>
                <a:gd name="T0" fmla="*/ 18 w 18"/>
                <a:gd name="T1" fmla="*/ 9 h 12"/>
                <a:gd name="T2" fmla="*/ 0 w 18"/>
                <a:gd name="T3" fmla="*/ 9 h 12"/>
                <a:gd name="T4" fmla="*/ 0 w 18"/>
                <a:gd name="T5" fmla="*/ 12 h 12"/>
                <a:gd name="T6" fmla="*/ 18 w 18"/>
                <a:gd name="T7" fmla="*/ 12 h 12"/>
                <a:gd name="T8" fmla="*/ 18 w 18"/>
                <a:gd name="T9" fmla="*/ 9 h 12"/>
                <a:gd name="T10" fmla="*/ 18 w 18"/>
                <a:gd name="T11" fmla="*/ 0 h 12"/>
                <a:gd name="T12" fmla="*/ 0 w 18"/>
                <a:gd name="T13" fmla="*/ 0 h 12"/>
                <a:gd name="T14" fmla="*/ 0 w 18"/>
                <a:gd name="T15" fmla="*/ 4 h 12"/>
                <a:gd name="T16" fmla="*/ 18 w 18"/>
                <a:gd name="T17" fmla="*/ 4 h 12"/>
                <a:gd name="T18" fmla="*/ 18 w 18"/>
                <a:gd name="T1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12">
                  <a:moveTo>
                    <a:pt x="18" y="9"/>
                  </a:moveTo>
                  <a:lnTo>
                    <a:pt x="0" y="9"/>
                  </a:lnTo>
                  <a:lnTo>
                    <a:pt x="0" y="12"/>
                  </a:lnTo>
                  <a:lnTo>
                    <a:pt x="18" y="12"/>
                  </a:lnTo>
                  <a:lnTo>
                    <a:pt x="18" y="9"/>
                  </a:lnTo>
                  <a:close/>
                  <a:moveTo>
                    <a:pt x="18" y="0"/>
                  </a:moveTo>
                  <a:lnTo>
                    <a:pt x="0" y="0"/>
                  </a:lnTo>
                  <a:lnTo>
                    <a:pt x="0" y="4"/>
                  </a:lnTo>
                  <a:lnTo>
                    <a:pt x="18" y="4"/>
                  </a:lnTo>
                  <a:lnTo>
                    <a:pt x="18" y="0"/>
                  </a:lnTo>
                  <a:close/>
                </a:path>
              </a:pathLst>
            </a:custGeom>
            <a:solidFill>
              <a:srgbClr val="B6E4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7" name="Freeform 1259">
              <a:extLst>
                <a:ext uri="{FF2B5EF4-FFF2-40B4-BE49-F238E27FC236}">
                  <a16:creationId xmlns:a16="http://schemas.microsoft.com/office/drawing/2014/main" id="{F3A1A030-F420-9973-9762-792FE7F0D906}"/>
                </a:ext>
              </a:extLst>
            </p:cNvPr>
            <p:cNvSpPr>
              <a:spLocks noEditPoints="1"/>
            </p:cNvSpPr>
            <p:nvPr/>
          </p:nvSpPr>
          <p:spPr bwMode="auto">
            <a:xfrm>
              <a:off x="3810000" y="4567238"/>
              <a:ext cx="28575" cy="19050"/>
            </a:xfrm>
            <a:custGeom>
              <a:avLst/>
              <a:gdLst>
                <a:gd name="T0" fmla="*/ 18 w 18"/>
                <a:gd name="T1" fmla="*/ 9 h 12"/>
                <a:gd name="T2" fmla="*/ 0 w 18"/>
                <a:gd name="T3" fmla="*/ 9 h 12"/>
                <a:gd name="T4" fmla="*/ 0 w 18"/>
                <a:gd name="T5" fmla="*/ 12 h 12"/>
                <a:gd name="T6" fmla="*/ 18 w 18"/>
                <a:gd name="T7" fmla="*/ 12 h 12"/>
                <a:gd name="T8" fmla="*/ 18 w 18"/>
                <a:gd name="T9" fmla="*/ 9 h 12"/>
                <a:gd name="T10" fmla="*/ 18 w 18"/>
                <a:gd name="T11" fmla="*/ 0 h 12"/>
                <a:gd name="T12" fmla="*/ 0 w 18"/>
                <a:gd name="T13" fmla="*/ 0 h 12"/>
                <a:gd name="T14" fmla="*/ 0 w 18"/>
                <a:gd name="T15" fmla="*/ 4 h 12"/>
                <a:gd name="T16" fmla="*/ 18 w 18"/>
                <a:gd name="T17" fmla="*/ 4 h 12"/>
                <a:gd name="T18" fmla="*/ 18 w 18"/>
                <a:gd name="T1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12">
                  <a:moveTo>
                    <a:pt x="18" y="9"/>
                  </a:moveTo>
                  <a:lnTo>
                    <a:pt x="0" y="9"/>
                  </a:lnTo>
                  <a:lnTo>
                    <a:pt x="0" y="12"/>
                  </a:lnTo>
                  <a:lnTo>
                    <a:pt x="18" y="12"/>
                  </a:lnTo>
                  <a:lnTo>
                    <a:pt x="18" y="9"/>
                  </a:lnTo>
                  <a:moveTo>
                    <a:pt x="18" y="0"/>
                  </a:moveTo>
                  <a:lnTo>
                    <a:pt x="0" y="0"/>
                  </a:lnTo>
                  <a:lnTo>
                    <a:pt x="0" y="4"/>
                  </a:lnTo>
                  <a:lnTo>
                    <a:pt x="18" y="4"/>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8" name="Freeform 1260">
              <a:extLst>
                <a:ext uri="{FF2B5EF4-FFF2-40B4-BE49-F238E27FC236}">
                  <a16:creationId xmlns:a16="http://schemas.microsoft.com/office/drawing/2014/main" id="{6643106D-B8BD-5C90-914A-AD0B4B0846FD}"/>
                </a:ext>
              </a:extLst>
            </p:cNvPr>
            <p:cNvSpPr>
              <a:spLocks/>
            </p:cNvSpPr>
            <p:nvPr/>
          </p:nvSpPr>
          <p:spPr bwMode="auto">
            <a:xfrm>
              <a:off x="3844925" y="4587875"/>
              <a:ext cx="9525" cy="9525"/>
            </a:xfrm>
            <a:custGeom>
              <a:avLst/>
              <a:gdLst>
                <a:gd name="T0" fmla="*/ 6 w 11"/>
                <a:gd name="T1" fmla="*/ 0 h 11"/>
                <a:gd name="T2" fmla="*/ 2 w 11"/>
                <a:gd name="T3" fmla="*/ 2 h 11"/>
                <a:gd name="T4" fmla="*/ 0 w 11"/>
                <a:gd name="T5" fmla="*/ 6 h 11"/>
                <a:gd name="T6" fmla="*/ 2 w 11"/>
                <a:gd name="T7" fmla="*/ 9 h 11"/>
                <a:gd name="T8" fmla="*/ 6 w 11"/>
                <a:gd name="T9" fmla="*/ 11 h 11"/>
                <a:gd name="T10" fmla="*/ 10 w 11"/>
                <a:gd name="T11" fmla="*/ 9 h 11"/>
                <a:gd name="T12" fmla="*/ 11 w 11"/>
                <a:gd name="T13" fmla="*/ 6 h 11"/>
                <a:gd name="T14" fmla="*/ 10 w 11"/>
                <a:gd name="T15" fmla="*/ 2 h 11"/>
                <a:gd name="T16" fmla="*/ 6 w 11"/>
                <a:gd name="T1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1">
                  <a:moveTo>
                    <a:pt x="6" y="0"/>
                  </a:moveTo>
                  <a:cubicBezTo>
                    <a:pt x="4" y="0"/>
                    <a:pt x="3" y="1"/>
                    <a:pt x="2" y="2"/>
                  </a:cubicBezTo>
                  <a:cubicBezTo>
                    <a:pt x="1" y="3"/>
                    <a:pt x="0" y="4"/>
                    <a:pt x="0" y="6"/>
                  </a:cubicBezTo>
                  <a:cubicBezTo>
                    <a:pt x="0" y="7"/>
                    <a:pt x="1" y="8"/>
                    <a:pt x="2" y="9"/>
                  </a:cubicBezTo>
                  <a:cubicBezTo>
                    <a:pt x="3" y="10"/>
                    <a:pt x="4" y="11"/>
                    <a:pt x="6" y="11"/>
                  </a:cubicBezTo>
                  <a:cubicBezTo>
                    <a:pt x="7" y="11"/>
                    <a:pt x="9" y="10"/>
                    <a:pt x="10" y="9"/>
                  </a:cubicBezTo>
                  <a:cubicBezTo>
                    <a:pt x="10" y="8"/>
                    <a:pt x="11" y="7"/>
                    <a:pt x="11" y="6"/>
                  </a:cubicBezTo>
                  <a:cubicBezTo>
                    <a:pt x="11" y="4"/>
                    <a:pt x="10" y="3"/>
                    <a:pt x="10" y="2"/>
                  </a:cubicBezTo>
                  <a:cubicBezTo>
                    <a:pt x="9" y="1"/>
                    <a:pt x="7" y="0"/>
                    <a:pt x="6" y="0"/>
                  </a:cubicBezTo>
                </a:path>
              </a:pathLst>
            </a:custGeom>
            <a:solidFill>
              <a:srgbClr val="B6E4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9" name="Freeform 1261">
              <a:extLst>
                <a:ext uri="{FF2B5EF4-FFF2-40B4-BE49-F238E27FC236}">
                  <a16:creationId xmlns:a16="http://schemas.microsoft.com/office/drawing/2014/main" id="{B6281957-128A-8A7F-728D-8A4FEE03BB36}"/>
                </a:ext>
              </a:extLst>
            </p:cNvPr>
            <p:cNvSpPr>
              <a:spLocks/>
            </p:cNvSpPr>
            <p:nvPr/>
          </p:nvSpPr>
          <p:spPr bwMode="auto">
            <a:xfrm>
              <a:off x="3860800" y="4587875"/>
              <a:ext cx="9525" cy="9525"/>
            </a:xfrm>
            <a:custGeom>
              <a:avLst/>
              <a:gdLst>
                <a:gd name="T0" fmla="*/ 5 w 10"/>
                <a:gd name="T1" fmla="*/ 0 h 11"/>
                <a:gd name="T2" fmla="*/ 1 w 10"/>
                <a:gd name="T3" fmla="*/ 2 h 11"/>
                <a:gd name="T4" fmla="*/ 0 w 10"/>
                <a:gd name="T5" fmla="*/ 6 h 11"/>
                <a:gd name="T6" fmla="*/ 1 w 10"/>
                <a:gd name="T7" fmla="*/ 9 h 11"/>
                <a:gd name="T8" fmla="*/ 5 w 10"/>
                <a:gd name="T9" fmla="*/ 11 h 11"/>
                <a:gd name="T10" fmla="*/ 9 w 10"/>
                <a:gd name="T11" fmla="*/ 9 h 11"/>
                <a:gd name="T12" fmla="*/ 10 w 10"/>
                <a:gd name="T13" fmla="*/ 6 h 11"/>
                <a:gd name="T14" fmla="*/ 9 w 10"/>
                <a:gd name="T15" fmla="*/ 2 h 11"/>
                <a:gd name="T16" fmla="*/ 5 w 10"/>
                <a:gd name="T1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1">
                  <a:moveTo>
                    <a:pt x="5" y="0"/>
                  </a:moveTo>
                  <a:cubicBezTo>
                    <a:pt x="3" y="0"/>
                    <a:pt x="2" y="1"/>
                    <a:pt x="1" y="2"/>
                  </a:cubicBezTo>
                  <a:cubicBezTo>
                    <a:pt x="0" y="3"/>
                    <a:pt x="0" y="4"/>
                    <a:pt x="0" y="6"/>
                  </a:cubicBezTo>
                  <a:cubicBezTo>
                    <a:pt x="0" y="7"/>
                    <a:pt x="0" y="8"/>
                    <a:pt x="1" y="9"/>
                  </a:cubicBezTo>
                  <a:cubicBezTo>
                    <a:pt x="2" y="10"/>
                    <a:pt x="3" y="11"/>
                    <a:pt x="5" y="11"/>
                  </a:cubicBezTo>
                  <a:cubicBezTo>
                    <a:pt x="7" y="11"/>
                    <a:pt x="8" y="10"/>
                    <a:pt x="9" y="9"/>
                  </a:cubicBezTo>
                  <a:cubicBezTo>
                    <a:pt x="10" y="8"/>
                    <a:pt x="10" y="7"/>
                    <a:pt x="10" y="6"/>
                  </a:cubicBezTo>
                  <a:cubicBezTo>
                    <a:pt x="10" y="4"/>
                    <a:pt x="10" y="3"/>
                    <a:pt x="9" y="2"/>
                  </a:cubicBezTo>
                  <a:cubicBezTo>
                    <a:pt x="8" y="1"/>
                    <a:pt x="7" y="0"/>
                    <a:pt x="5" y="0"/>
                  </a:cubicBezTo>
                </a:path>
              </a:pathLst>
            </a:custGeom>
            <a:solidFill>
              <a:srgbClr val="B6E4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30" name="Freeform 1262">
              <a:extLst>
                <a:ext uri="{FF2B5EF4-FFF2-40B4-BE49-F238E27FC236}">
                  <a16:creationId xmlns:a16="http://schemas.microsoft.com/office/drawing/2014/main" id="{EE69E760-9275-55B6-574F-F803B51D643A}"/>
                </a:ext>
              </a:extLst>
            </p:cNvPr>
            <p:cNvSpPr>
              <a:spLocks/>
            </p:cNvSpPr>
            <p:nvPr/>
          </p:nvSpPr>
          <p:spPr bwMode="auto">
            <a:xfrm>
              <a:off x="3876675" y="4587875"/>
              <a:ext cx="9525" cy="9525"/>
            </a:xfrm>
            <a:custGeom>
              <a:avLst/>
              <a:gdLst>
                <a:gd name="T0" fmla="*/ 6 w 11"/>
                <a:gd name="T1" fmla="*/ 0 h 11"/>
                <a:gd name="T2" fmla="*/ 2 w 11"/>
                <a:gd name="T3" fmla="*/ 2 h 11"/>
                <a:gd name="T4" fmla="*/ 0 w 11"/>
                <a:gd name="T5" fmla="*/ 6 h 11"/>
                <a:gd name="T6" fmla="*/ 2 w 11"/>
                <a:gd name="T7" fmla="*/ 9 h 11"/>
                <a:gd name="T8" fmla="*/ 6 w 11"/>
                <a:gd name="T9" fmla="*/ 11 h 11"/>
                <a:gd name="T10" fmla="*/ 9 w 11"/>
                <a:gd name="T11" fmla="*/ 9 h 11"/>
                <a:gd name="T12" fmla="*/ 11 w 11"/>
                <a:gd name="T13" fmla="*/ 6 h 11"/>
                <a:gd name="T14" fmla="*/ 9 w 11"/>
                <a:gd name="T15" fmla="*/ 2 h 11"/>
                <a:gd name="T16" fmla="*/ 6 w 11"/>
                <a:gd name="T1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1">
                  <a:moveTo>
                    <a:pt x="6" y="0"/>
                  </a:moveTo>
                  <a:cubicBezTo>
                    <a:pt x="4" y="0"/>
                    <a:pt x="3" y="1"/>
                    <a:pt x="2" y="2"/>
                  </a:cubicBezTo>
                  <a:cubicBezTo>
                    <a:pt x="1" y="3"/>
                    <a:pt x="0" y="4"/>
                    <a:pt x="0" y="6"/>
                  </a:cubicBezTo>
                  <a:cubicBezTo>
                    <a:pt x="0" y="7"/>
                    <a:pt x="1" y="8"/>
                    <a:pt x="2" y="9"/>
                  </a:cubicBezTo>
                  <a:cubicBezTo>
                    <a:pt x="3" y="10"/>
                    <a:pt x="4" y="11"/>
                    <a:pt x="6" y="11"/>
                  </a:cubicBezTo>
                  <a:cubicBezTo>
                    <a:pt x="7" y="11"/>
                    <a:pt x="8" y="10"/>
                    <a:pt x="9" y="9"/>
                  </a:cubicBezTo>
                  <a:cubicBezTo>
                    <a:pt x="10" y="8"/>
                    <a:pt x="11" y="7"/>
                    <a:pt x="11" y="6"/>
                  </a:cubicBezTo>
                  <a:cubicBezTo>
                    <a:pt x="11" y="4"/>
                    <a:pt x="10" y="3"/>
                    <a:pt x="9" y="2"/>
                  </a:cubicBezTo>
                  <a:cubicBezTo>
                    <a:pt x="8" y="1"/>
                    <a:pt x="7" y="0"/>
                    <a:pt x="6" y="0"/>
                  </a:cubicBezTo>
                </a:path>
              </a:pathLst>
            </a:custGeom>
            <a:solidFill>
              <a:srgbClr val="B6E4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31" name="Freeform 1263">
              <a:extLst>
                <a:ext uri="{FF2B5EF4-FFF2-40B4-BE49-F238E27FC236}">
                  <a16:creationId xmlns:a16="http://schemas.microsoft.com/office/drawing/2014/main" id="{0E7DC4C2-1008-EB87-0690-F89D3161239D}"/>
                </a:ext>
              </a:extLst>
            </p:cNvPr>
            <p:cNvSpPr>
              <a:spLocks noEditPoints="1"/>
            </p:cNvSpPr>
            <p:nvPr/>
          </p:nvSpPr>
          <p:spPr bwMode="auto">
            <a:xfrm>
              <a:off x="3746500" y="4705350"/>
              <a:ext cx="15875" cy="11113"/>
            </a:xfrm>
            <a:custGeom>
              <a:avLst/>
              <a:gdLst>
                <a:gd name="T0" fmla="*/ 17 w 19"/>
                <a:gd name="T1" fmla="*/ 7 h 13"/>
                <a:gd name="T2" fmla="*/ 16 w 19"/>
                <a:gd name="T3" fmla="*/ 7 h 13"/>
                <a:gd name="T4" fmla="*/ 11 w 19"/>
                <a:gd name="T5" fmla="*/ 10 h 13"/>
                <a:gd name="T6" fmla="*/ 19 w 19"/>
                <a:gd name="T7" fmla="*/ 13 h 13"/>
                <a:gd name="T8" fmla="*/ 17 w 19"/>
                <a:gd name="T9" fmla="*/ 7 h 13"/>
                <a:gd name="T10" fmla="*/ 7 w 19"/>
                <a:gd name="T11" fmla="*/ 0 h 13"/>
                <a:gd name="T12" fmla="*/ 0 w 19"/>
                <a:gd name="T13" fmla="*/ 0 h 13"/>
                <a:gd name="T14" fmla="*/ 0 w 19"/>
                <a:gd name="T15" fmla="*/ 1 h 13"/>
                <a:gd name="T16" fmla="*/ 0 w 19"/>
                <a:gd name="T17" fmla="*/ 5 h 13"/>
                <a:gd name="T18" fmla="*/ 6 w 19"/>
                <a:gd name="T19" fmla="*/ 8 h 13"/>
                <a:gd name="T20" fmla="*/ 6 w 19"/>
                <a:gd name="T21" fmla="*/ 7 h 13"/>
                <a:gd name="T22" fmla="*/ 7 w 19"/>
                <a:gd name="T23" fmla="*/ 1 h 13"/>
                <a:gd name="T24" fmla="*/ 7 w 19"/>
                <a:gd name="T25"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13">
                  <a:moveTo>
                    <a:pt x="17" y="7"/>
                  </a:moveTo>
                  <a:cubicBezTo>
                    <a:pt x="16" y="7"/>
                    <a:pt x="16" y="7"/>
                    <a:pt x="16" y="7"/>
                  </a:cubicBezTo>
                  <a:cubicBezTo>
                    <a:pt x="15" y="8"/>
                    <a:pt x="13" y="9"/>
                    <a:pt x="11" y="10"/>
                  </a:cubicBezTo>
                  <a:cubicBezTo>
                    <a:pt x="14" y="11"/>
                    <a:pt x="16" y="12"/>
                    <a:pt x="19" y="13"/>
                  </a:cubicBezTo>
                  <a:cubicBezTo>
                    <a:pt x="17" y="7"/>
                    <a:pt x="17" y="7"/>
                    <a:pt x="17" y="7"/>
                  </a:cubicBezTo>
                  <a:moveTo>
                    <a:pt x="7" y="0"/>
                  </a:moveTo>
                  <a:cubicBezTo>
                    <a:pt x="0" y="0"/>
                    <a:pt x="0" y="0"/>
                    <a:pt x="0" y="0"/>
                  </a:cubicBezTo>
                  <a:cubicBezTo>
                    <a:pt x="0" y="1"/>
                    <a:pt x="0" y="1"/>
                    <a:pt x="0" y="1"/>
                  </a:cubicBezTo>
                  <a:cubicBezTo>
                    <a:pt x="0" y="2"/>
                    <a:pt x="0" y="4"/>
                    <a:pt x="0" y="5"/>
                  </a:cubicBezTo>
                  <a:cubicBezTo>
                    <a:pt x="2" y="6"/>
                    <a:pt x="4" y="7"/>
                    <a:pt x="6" y="8"/>
                  </a:cubicBezTo>
                  <a:cubicBezTo>
                    <a:pt x="6" y="7"/>
                    <a:pt x="6" y="7"/>
                    <a:pt x="6" y="7"/>
                  </a:cubicBezTo>
                  <a:cubicBezTo>
                    <a:pt x="6" y="5"/>
                    <a:pt x="7" y="3"/>
                    <a:pt x="7" y="1"/>
                  </a:cubicBezTo>
                  <a:cubicBezTo>
                    <a:pt x="7" y="0"/>
                    <a:pt x="7" y="0"/>
                    <a:pt x="7" y="0"/>
                  </a:cubicBezTo>
                </a:path>
              </a:pathLst>
            </a:custGeom>
            <a:solidFill>
              <a:srgbClr val="B6E4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32" name="Freeform 1264">
              <a:extLst>
                <a:ext uri="{FF2B5EF4-FFF2-40B4-BE49-F238E27FC236}">
                  <a16:creationId xmlns:a16="http://schemas.microsoft.com/office/drawing/2014/main" id="{2E9184CA-095D-3B54-E57B-072204C52BFA}"/>
                </a:ext>
              </a:extLst>
            </p:cNvPr>
            <p:cNvSpPr>
              <a:spLocks noEditPoints="1"/>
            </p:cNvSpPr>
            <p:nvPr/>
          </p:nvSpPr>
          <p:spPr bwMode="auto">
            <a:xfrm>
              <a:off x="3773488" y="4705350"/>
              <a:ext cx="23813" cy="30163"/>
            </a:xfrm>
            <a:custGeom>
              <a:avLst/>
              <a:gdLst>
                <a:gd name="T0" fmla="*/ 29 w 29"/>
                <a:gd name="T1" fmla="*/ 35 h 37"/>
                <a:gd name="T2" fmla="*/ 25 w 29"/>
                <a:gd name="T3" fmla="*/ 35 h 37"/>
                <a:gd name="T4" fmla="*/ 29 w 29"/>
                <a:gd name="T5" fmla="*/ 37 h 37"/>
                <a:gd name="T6" fmla="*/ 29 w 29"/>
                <a:gd name="T7" fmla="*/ 35 h 37"/>
                <a:gd name="T8" fmla="*/ 23 w 29"/>
                <a:gd name="T9" fmla="*/ 0 h 37"/>
                <a:gd name="T10" fmla="*/ 16 w 29"/>
                <a:gd name="T11" fmla="*/ 0 h 37"/>
                <a:gd name="T12" fmla="*/ 8 w 29"/>
                <a:gd name="T13" fmla="*/ 8 h 37"/>
                <a:gd name="T14" fmla="*/ 1 w 29"/>
                <a:gd name="T15" fmla="*/ 18 h 37"/>
                <a:gd name="T16" fmla="*/ 0 w 29"/>
                <a:gd name="T17" fmla="*/ 20 h 37"/>
                <a:gd name="T18" fmla="*/ 5 w 29"/>
                <a:gd name="T19" fmla="*/ 23 h 37"/>
                <a:gd name="T20" fmla="*/ 6 w 29"/>
                <a:gd name="T21" fmla="*/ 21 h 37"/>
                <a:gd name="T22" fmla="*/ 11 w 29"/>
                <a:gd name="T23" fmla="*/ 14 h 37"/>
                <a:gd name="T24" fmla="*/ 16 w 29"/>
                <a:gd name="T25" fmla="*/ 9 h 37"/>
                <a:gd name="T26" fmla="*/ 16 w 29"/>
                <a:gd name="T27" fmla="*/ 29 h 37"/>
                <a:gd name="T28" fmla="*/ 23 w 29"/>
                <a:gd name="T29" fmla="*/ 33 h 37"/>
                <a:gd name="T30" fmla="*/ 23 w 29"/>
                <a:gd name="T31"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 h="37">
                  <a:moveTo>
                    <a:pt x="29" y="35"/>
                  </a:moveTo>
                  <a:cubicBezTo>
                    <a:pt x="25" y="35"/>
                    <a:pt x="25" y="35"/>
                    <a:pt x="25" y="35"/>
                  </a:cubicBezTo>
                  <a:cubicBezTo>
                    <a:pt x="27" y="35"/>
                    <a:pt x="28" y="36"/>
                    <a:pt x="29" y="37"/>
                  </a:cubicBezTo>
                  <a:cubicBezTo>
                    <a:pt x="29" y="35"/>
                    <a:pt x="29" y="35"/>
                    <a:pt x="29" y="35"/>
                  </a:cubicBezTo>
                  <a:moveTo>
                    <a:pt x="23" y="0"/>
                  </a:moveTo>
                  <a:cubicBezTo>
                    <a:pt x="16" y="0"/>
                    <a:pt x="16" y="0"/>
                    <a:pt x="16" y="0"/>
                  </a:cubicBezTo>
                  <a:cubicBezTo>
                    <a:pt x="13" y="2"/>
                    <a:pt x="11" y="5"/>
                    <a:pt x="8" y="8"/>
                  </a:cubicBezTo>
                  <a:cubicBezTo>
                    <a:pt x="6" y="12"/>
                    <a:pt x="3" y="15"/>
                    <a:pt x="1" y="18"/>
                  </a:cubicBezTo>
                  <a:cubicBezTo>
                    <a:pt x="1" y="19"/>
                    <a:pt x="0" y="20"/>
                    <a:pt x="0" y="20"/>
                  </a:cubicBezTo>
                  <a:cubicBezTo>
                    <a:pt x="1" y="21"/>
                    <a:pt x="3" y="22"/>
                    <a:pt x="5" y="23"/>
                  </a:cubicBezTo>
                  <a:cubicBezTo>
                    <a:pt x="5" y="22"/>
                    <a:pt x="6" y="21"/>
                    <a:pt x="6" y="21"/>
                  </a:cubicBezTo>
                  <a:cubicBezTo>
                    <a:pt x="8" y="18"/>
                    <a:pt x="9" y="16"/>
                    <a:pt x="11" y="14"/>
                  </a:cubicBezTo>
                  <a:cubicBezTo>
                    <a:pt x="13" y="12"/>
                    <a:pt x="14" y="10"/>
                    <a:pt x="16" y="9"/>
                  </a:cubicBezTo>
                  <a:cubicBezTo>
                    <a:pt x="16" y="29"/>
                    <a:pt x="16" y="29"/>
                    <a:pt x="16" y="29"/>
                  </a:cubicBezTo>
                  <a:cubicBezTo>
                    <a:pt x="18" y="30"/>
                    <a:pt x="21" y="32"/>
                    <a:pt x="23" y="33"/>
                  </a:cubicBezTo>
                  <a:cubicBezTo>
                    <a:pt x="23" y="0"/>
                    <a:pt x="23" y="0"/>
                    <a:pt x="23" y="0"/>
                  </a:cubicBezTo>
                </a:path>
              </a:pathLst>
            </a:custGeom>
            <a:solidFill>
              <a:srgbClr val="B6E4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33" name="Freeform 1265">
              <a:extLst>
                <a:ext uri="{FF2B5EF4-FFF2-40B4-BE49-F238E27FC236}">
                  <a16:creationId xmlns:a16="http://schemas.microsoft.com/office/drawing/2014/main" id="{8573F242-C03C-58C5-F23B-B2A82A635263}"/>
                </a:ext>
              </a:extLst>
            </p:cNvPr>
            <p:cNvSpPr>
              <a:spLocks noEditPoints="1"/>
            </p:cNvSpPr>
            <p:nvPr/>
          </p:nvSpPr>
          <p:spPr bwMode="auto">
            <a:xfrm>
              <a:off x="3803650" y="4721225"/>
              <a:ext cx="30163" cy="19050"/>
            </a:xfrm>
            <a:custGeom>
              <a:avLst/>
              <a:gdLst>
                <a:gd name="T0" fmla="*/ 36 w 36"/>
                <a:gd name="T1" fmla="*/ 17 h 24"/>
                <a:gd name="T2" fmla="*/ 0 w 36"/>
                <a:gd name="T3" fmla="*/ 17 h 24"/>
                <a:gd name="T4" fmla="*/ 0 w 36"/>
                <a:gd name="T5" fmla="*/ 23 h 24"/>
                <a:gd name="T6" fmla="*/ 1 w 36"/>
                <a:gd name="T7" fmla="*/ 24 h 24"/>
                <a:gd name="T8" fmla="*/ 36 w 36"/>
                <a:gd name="T9" fmla="*/ 24 h 24"/>
                <a:gd name="T10" fmla="*/ 36 w 36"/>
                <a:gd name="T11" fmla="*/ 17 h 24"/>
                <a:gd name="T12" fmla="*/ 36 w 36"/>
                <a:gd name="T13" fmla="*/ 0 h 24"/>
                <a:gd name="T14" fmla="*/ 0 w 36"/>
                <a:gd name="T15" fmla="*/ 0 h 24"/>
                <a:gd name="T16" fmla="*/ 0 w 36"/>
                <a:gd name="T17" fmla="*/ 7 h 24"/>
                <a:gd name="T18" fmla="*/ 36 w 36"/>
                <a:gd name="T19" fmla="*/ 7 h 24"/>
                <a:gd name="T20" fmla="*/ 36 w 36"/>
                <a:gd name="T2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24">
                  <a:moveTo>
                    <a:pt x="36" y="17"/>
                  </a:moveTo>
                  <a:cubicBezTo>
                    <a:pt x="0" y="17"/>
                    <a:pt x="0" y="17"/>
                    <a:pt x="0" y="17"/>
                  </a:cubicBezTo>
                  <a:cubicBezTo>
                    <a:pt x="0" y="23"/>
                    <a:pt x="0" y="23"/>
                    <a:pt x="0" y="23"/>
                  </a:cubicBezTo>
                  <a:cubicBezTo>
                    <a:pt x="0" y="23"/>
                    <a:pt x="0" y="23"/>
                    <a:pt x="1" y="24"/>
                  </a:cubicBezTo>
                  <a:cubicBezTo>
                    <a:pt x="36" y="24"/>
                    <a:pt x="36" y="24"/>
                    <a:pt x="36" y="24"/>
                  </a:cubicBezTo>
                  <a:cubicBezTo>
                    <a:pt x="36" y="17"/>
                    <a:pt x="36" y="17"/>
                    <a:pt x="36" y="17"/>
                  </a:cubicBezTo>
                  <a:moveTo>
                    <a:pt x="36" y="0"/>
                  </a:moveTo>
                  <a:cubicBezTo>
                    <a:pt x="0" y="0"/>
                    <a:pt x="0" y="0"/>
                    <a:pt x="0" y="0"/>
                  </a:cubicBezTo>
                  <a:cubicBezTo>
                    <a:pt x="0" y="7"/>
                    <a:pt x="0" y="7"/>
                    <a:pt x="0" y="7"/>
                  </a:cubicBezTo>
                  <a:cubicBezTo>
                    <a:pt x="36" y="7"/>
                    <a:pt x="36" y="7"/>
                    <a:pt x="36" y="7"/>
                  </a:cubicBezTo>
                  <a:cubicBezTo>
                    <a:pt x="36" y="0"/>
                    <a:pt x="36" y="0"/>
                    <a:pt x="36" y="0"/>
                  </a:cubicBezTo>
                </a:path>
              </a:pathLst>
            </a:custGeom>
            <a:solidFill>
              <a:srgbClr val="B6E4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34" name="Freeform 1266">
              <a:extLst>
                <a:ext uri="{FF2B5EF4-FFF2-40B4-BE49-F238E27FC236}">
                  <a16:creationId xmlns:a16="http://schemas.microsoft.com/office/drawing/2014/main" id="{B023783A-F657-BECB-2B94-0FE1791107B0}"/>
                </a:ext>
              </a:extLst>
            </p:cNvPr>
            <p:cNvSpPr>
              <a:spLocks/>
            </p:cNvSpPr>
            <p:nvPr/>
          </p:nvSpPr>
          <p:spPr bwMode="auto">
            <a:xfrm>
              <a:off x="3840163" y="4741863"/>
              <a:ext cx="7938" cy="9525"/>
            </a:xfrm>
            <a:custGeom>
              <a:avLst/>
              <a:gdLst>
                <a:gd name="T0" fmla="*/ 5 w 10"/>
                <a:gd name="T1" fmla="*/ 0 h 11"/>
                <a:gd name="T2" fmla="*/ 1 w 10"/>
                <a:gd name="T3" fmla="*/ 2 h 11"/>
                <a:gd name="T4" fmla="*/ 0 w 10"/>
                <a:gd name="T5" fmla="*/ 5 h 11"/>
                <a:gd name="T6" fmla="*/ 1 w 10"/>
                <a:gd name="T7" fmla="*/ 9 h 11"/>
                <a:gd name="T8" fmla="*/ 5 w 10"/>
                <a:gd name="T9" fmla="*/ 11 h 11"/>
                <a:gd name="T10" fmla="*/ 9 w 10"/>
                <a:gd name="T11" fmla="*/ 9 h 11"/>
                <a:gd name="T12" fmla="*/ 10 w 10"/>
                <a:gd name="T13" fmla="*/ 5 h 11"/>
                <a:gd name="T14" fmla="*/ 9 w 10"/>
                <a:gd name="T15" fmla="*/ 2 h 11"/>
                <a:gd name="T16" fmla="*/ 5 w 10"/>
                <a:gd name="T1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1">
                  <a:moveTo>
                    <a:pt x="5" y="0"/>
                  </a:moveTo>
                  <a:cubicBezTo>
                    <a:pt x="3" y="0"/>
                    <a:pt x="2" y="1"/>
                    <a:pt x="1" y="2"/>
                  </a:cubicBezTo>
                  <a:cubicBezTo>
                    <a:pt x="0" y="3"/>
                    <a:pt x="0" y="4"/>
                    <a:pt x="0" y="5"/>
                  </a:cubicBezTo>
                  <a:cubicBezTo>
                    <a:pt x="0" y="7"/>
                    <a:pt x="0" y="8"/>
                    <a:pt x="1" y="9"/>
                  </a:cubicBezTo>
                  <a:cubicBezTo>
                    <a:pt x="2" y="10"/>
                    <a:pt x="3" y="11"/>
                    <a:pt x="5" y="11"/>
                  </a:cubicBezTo>
                  <a:cubicBezTo>
                    <a:pt x="7" y="11"/>
                    <a:pt x="8" y="10"/>
                    <a:pt x="9" y="9"/>
                  </a:cubicBezTo>
                  <a:cubicBezTo>
                    <a:pt x="10" y="8"/>
                    <a:pt x="10" y="7"/>
                    <a:pt x="10" y="5"/>
                  </a:cubicBezTo>
                  <a:cubicBezTo>
                    <a:pt x="10" y="4"/>
                    <a:pt x="10" y="3"/>
                    <a:pt x="9" y="2"/>
                  </a:cubicBezTo>
                  <a:cubicBezTo>
                    <a:pt x="8" y="1"/>
                    <a:pt x="7" y="0"/>
                    <a:pt x="5" y="0"/>
                  </a:cubicBezTo>
                </a:path>
              </a:pathLst>
            </a:custGeom>
            <a:solidFill>
              <a:srgbClr val="B6E4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35" name="Freeform 1267">
              <a:extLst>
                <a:ext uri="{FF2B5EF4-FFF2-40B4-BE49-F238E27FC236}">
                  <a16:creationId xmlns:a16="http://schemas.microsoft.com/office/drawing/2014/main" id="{EA01276F-2CC7-2253-B053-F5EA7A4931A3}"/>
                </a:ext>
              </a:extLst>
            </p:cNvPr>
            <p:cNvSpPr>
              <a:spLocks/>
            </p:cNvSpPr>
            <p:nvPr/>
          </p:nvSpPr>
          <p:spPr bwMode="auto">
            <a:xfrm>
              <a:off x="3856038" y="4741863"/>
              <a:ext cx="7938" cy="9525"/>
            </a:xfrm>
            <a:custGeom>
              <a:avLst/>
              <a:gdLst>
                <a:gd name="T0" fmla="*/ 5 w 11"/>
                <a:gd name="T1" fmla="*/ 0 h 11"/>
                <a:gd name="T2" fmla="*/ 2 w 11"/>
                <a:gd name="T3" fmla="*/ 2 h 11"/>
                <a:gd name="T4" fmla="*/ 0 w 11"/>
                <a:gd name="T5" fmla="*/ 5 h 11"/>
                <a:gd name="T6" fmla="*/ 2 w 11"/>
                <a:gd name="T7" fmla="*/ 9 h 11"/>
                <a:gd name="T8" fmla="*/ 5 w 11"/>
                <a:gd name="T9" fmla="*/ 11 h 11"/>
                <a:gd name="T10" fmla="*/ 9 w 11"/>
                <a:gd name="T11" fmla="*/ 9 h 11"/>
                <a:gd name="T12" fmla="*/ 11 w 11"/>
                <a:gd name="T13" fmla="*/ 5 h 11"/>
                <a:gd name="T14" fmla="*/ 9 w 11"/>
                <a:gd name="T15" fmla="*/ 2 h 11"/>
                <a:gd name="T16" fmla="*/ 5 w 11"/>
                <a:gd name="T1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1">
                  <a:moveTo>
                    <a:pt x="5" y="0"/>
                  </a:moveTo>
                  <a:cubicBezTo>
                    <a:pt x="4" y="0"/>
                    <a:pt x="3" y="1"/>
                    <a:pt x="2" y="2"/>
                  </a:cubicBezTo>
                  <a:cubicBezTo>
                    <a:pt x="1" y="3"/>
                    <a:pt x="0" y="4"/>
                    <a:pt x="0" y="5"/>
                  </a:cubicBezTo>
                  <a:cubicBezTo>
                    <a:pt x="0" y="7"/>
                    <a:pt x="1" y="8"/>
                    <a:pt x="2" y="9"/>
                  </a:cubicBezTo>
                  <a:cubicBezTo>
                    <a:pt x="3" y="10"/>
                    <a:pt x="4" y="11"/>
                    <a:pt x="5" y="11"/>
                  </a:cubicBezTo>
                  <a:cubicBezTo>
                    <a:pt x="7" y="11"/>
                    <a:pt x="8" y="10"/>
                    <a:pt x="9" y="9"/>
                  </a:cubicBezTo>
                  <a:cubicBezTo>
                    <a:pt x="10" y="8"/>
                    <a:pt x="11" y="7"/>
                    <a:pt x="11" y="5"/>
                  </a:cubicBezTo>
                  <a:cubicBezTo>
                    <a:pt x="11" y="4"/>
                    <a:pt x="10" y="3"/>
                    <a:pt x="9" y="2"/>
                  </a:cubicBezTo>
                  <a:cubicBezTo>
                    <a:pt x="8" y="1"/>
                    <a:pt x="7" y="0"/>
                    <a:pt x="5" y="0"/>
                  </a:cubicBezTo>
                </a:path>
              </a:pathLst>
            </a:custGeom>
            <a:solidFill>
              <a:srgbClr val="B6E4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36" name="Freeform 1268">
              <a:extLst>
                <a:ext uri="{FF2B5EF4-FFF2-40B4-BE49-F238E27FC236}">
                  <a16:creationId xmlns:a16="http://schemas.microsoft.com/office/drawing/2014/main" id="{AF8B848C-8409-B4F1-08E1-4FB6392A8074}"/>
                </a:ext>
              </a:extLst>
            </p:cNvPr>
            <p:cNvSpPr>
              <a:spLocks/>
            </p:cNvSpPr>
            <p:nvPr/>
          </p:nvSpPr>
          <p:spPr bwMode="auto">
            <a:xfrm>
              <a:off x="3871913" y="4741863"/>
              <a:ext cx="7938" cy="9525"/>
            </a:xfrm>
            <a:custGeom>
              <a:avLst/>
              <a:gdLst>
                <a:gd name="T0" fmla="*/ 5 w 10"/>
                <a:gd name="T1" fmla="*/ 0 h 11"/>
                <a:gd name="T2" fmla="*/ 1 w 10"/>
                <a:gd name="T3" fmla="*/ 2 h 11"/>
                <a:gd name="T4" fmla="*/ 0 w 10"/>
                <a:gd name="T5" fmla="*/ 5 h 11"/>
                <a:gd name="T6" fmla="*/ 1 w 10"/>
                <a:gd name="T7" fmla="*/ 9 h 11"/>
                <a:gd name="T8" fmla="*/ 5 w 10"/>
                <a:gd name="T9" fmla="*/ 11 h 11"/>
                <a:gd name="T10" fmla="*/ 9 w 10"/>
                <a:gd name="T11" fmla="*/ 9 h 11"/>
                <a:gd name="T12" fmla="*/ 10 w 10"/>
                <a:gd name="T13" fmla="*/ 5 h 11"/>
                <a:gd name="T14" fmla="*/ 9 w 10"/>
                <a:gd name="T15" fmla="*/ 2 h 11"/>
                <a:gd name="T16" fmla="*/ 5 w 10"/>
                <a:gd name="T1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1">
                  <a:moveTo>
                    <a:pt x="5" y="0"/>
                  </a:moveTo>
                  <a:cubicBezTo>
                    <a:pt x="3" y="0"/>
                    <a:pt x="2" y="1"/>
                    <a:pt x="1" y="2"/>
                  </a:cubicBezTo>
                  <a:cubicBezTo>
                    <a:pt x="0" y="3"/>
                    <a:pt x="0" y="4"/>
                    <a:pt x="0" y="5"/>
                  </a:cubicBezTo>
                  <a:cubicBezTo>
                    <a:pt x="0" y="7"/>
                    <a:pt x="0" y="8"/>
                    <a:pt x="1" y="9"/>
                  </a:cubicBezTo>
                  <a:cubicBezTo>
                    <a:pt x="2" y="10"/>
                    <a:pt x="3" y="11"/>
                    <a:pt x="5" y="11"/>
                  </a:cubicBezTo>
                  <a:cubicBezTo>
                    <a:pt x="7" y="11"/>
                    <a:pt x="8" y="10"/>
                    <a:pt x="9" y="9"/>
                  </a:cubicBezTo>
                  <a:cubicBezTo>
                    <a:pt x="10" y="8"/>
                    <a:pt x="10" y="7"/>
                    <a:pt x="10" y="5"/>
                  </a:cubicBezTo>
                  <a:cubicBezTo>
                    <a:pt x="10" y="4"/>
                    <a:pt x="10" y="3"/>
                    <a:pt x="9" y="2"/>
                  </a:cubicBezTo>
                  <a:cubicBezTo>
                    <a:pt x="8" y="1"/>
                    <a:pt x="7" y="0"/>
                    <a:pt x="5" y="0"/>
                  </a:cubicBezTo>
                </a:path>
              </a:pathLst>
            </a:custGeom>
            <a:solidFill>
              <a:srgbClr val="B6E4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37" name="Freeform 1269">
              <a:extLst>
                <a:ext uri="{FF2B5EF4-FFF2-40B4-BE49-F238E27FC236}">
                  <a16:creationId xmlns:a16="http://schemas.microsoft.com/office/drawing/2014/main" id="{E6957985-8470-70A8-FBC5-02F67786951B}"/>
                </a:ext>
              </a:extLst>
            </p:cNvPr>
            <p:cNvSpPr>
              <a:spLocks/>
            </p:cNvSpPr>
            <p:nvPr/>
          </p:nvSpPr>
          <p:spPr bwMode="auto">
            <a:xfrm>
              <a:off x="3336925" y="4689475"/>
              <a:ext cx="601663" cy="288925"/>
            </a:xfrm>
            <a:custGeom>
              <a:avLst/>
              <a:gdLst>
                <a:gd name="T0" fmla="*/ 370 w 740"/>
                <a:gd name="T1" fmla="*/ 0 h 356"/>
                <a:gd name="T2" fmla="*/ 0 w 740"/>
                <a:gd name="T3" fmla="*/ 356 h 356"/>
                <a:gd name="T4" fmla="*/ 113 w 740"/>
                <a:gd name="T5" fmla="*/ 356 h 356"/>
                <a:gd name="T6" fmla="*/ 370 w 740"/>
                <a:gd name="T7" fmla="*/ 113 h 356"/>
                <a:gd name="T8" fmla="*/ 627 w 740"/>
                <a:gd name="T9" fmla="*/ 356 h 356"/>
                <a:gd name="T10" fmla="*/ 740 w 740"/>
                <a:gd name="T11" fmla="*/ 356 h 356"/>
                <a:gd name="T12" fmla="*/ 370 w 740"/>
                <a:gd name="T13" fmla="*/ 0 h 356"/>
              </a:gdLst>
              <a:ahLst/>
              <a:cxnLst>
                <a:cxn ang="0">
                  <a:pos x="T0" y="T1"/>
                </a:cxn>
                <a:cxn ang="0">
                  <a:pos x="T2" y="T3"/>
                </a:cxn>
                <a:cxn ang="0">
                  <a:pos x="T4" y="T5"/>
                </a:cxn>
                <a:cxn ang="0">
                  <a:pos x="T6" y="T7"/>
                </a:cxn>
                <a:cxn ang="0">
                  <a:pos x="T8" y="T9"/>
                </a:cxn>
                <a:cxn ang="0">
                  <a:pos x="T10" y="T11"/>
                </a:cxn>
                <a:cxn ang="0">
                  <a:pos x="T12" y="T13"/>
                </a:cxn>
              </a:cxnLst>
              <a:rect l="0" t="0" r="r" b="b"/>
              <a:pathLst>
                <a:path w="740" h="356">
                  <a:moveTo>
                    <a:pt x="370" y="0"/>
                  </a:moveTo>
                  <a:cubicBezTo>
                    <a:pt x="171" y="0"/>
                    <a:pt x="8" y="158"/>
                    <a:pt x="0" y="356"/>
                  </a:cubicBezTo>
                  <a:cubicBezTo>
                    <a:pt x="113" y="356"/>
                    <a:pt x="113" y="356"/>
                    <a:pt x="113" y="356"/>
                  </a:cubicBezTo>
                  <a:cubicBezTo>
                    <a:pt x="121" y="220"/>
                    <a:pt x="233" y="113"/>
                    <a:pt x="370" y="113"/>
                  </a:cubicBezTo>
                  <a:cubicBezTo>
                    <a:pt x="507" y="113"/>
                    <a:pt x="620" y="220"/>
                    <a:pt x="627" y="356"/>
                  </a:cubicBezTo>
                  <a:cubicBezTo>
                    <a:pt x="740" y="356"/>
                    <a:pt x="740" y="356"/>
                    <a:pt x="740" y="356"/>
                  </a:cubicBezTo>
                  <a:cubicBezTo>
                    <a:pt x="732" y="158"/>
                    <a:pt x="570" y="0"/>
                    <a:pt x="370" y="0"/>
                  </a:cubicBezTo>
                </a:path>
              </a:pathLst>
            </a:custGeom>
            <a:solidFill>
              <a:srgbClr val="FF87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38" name="Rectangle 1270">
              <a:extLst>
                <a:ext uri="{FF2B5EF4-FFF2-40B4-BE49-F238E27FC236}">
                  <a16:creationId xmlns:a16="http://schemas.microsoft.com/office/drawing/2014/main" id="{2E46F3BF-7D34-B83E-42B3-2E22E7B02584}"/>
                </a:ext>
              </a:extLst>
            </p:cNvPr>
            <p:cNvSpPr>
              <a:spLocks noChangeArrowheads="1"/>
            </p:cNvSpPr>
            <p:nvPr/>
          </p:nvSpPr>
          <p:spPr bwMode="auto">
            <a:xfrm>
              <a:off x="3336925" y="4978400"/>
              <a:ext cx="601663" cy="104775"/>
            </a:xfrm>
            <a:prstGeom prst="rect">
              <a:avLst/>
            </a:prstGeom>
            <a:solidFill>
              <a:srgbClr val="C6C6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39" name="Rectangle 1271">
              <a:extLst>
                <a:ext uri="{FF2B5EF4-FFF2-40B4-BE49-F238E27FC236}">
                  <a16:creationId xmlns:a16="http://schemas.microsoft.com/office/drawing/2014/main" id="{FF0D0C3D-BF87-3D34-C912-0ACADACABE98}"/>
                </a:ext>
              </a:extLst>
            </p:cNvPr>
            <p:cNvSpPr>
              <a:spLocks noChangeArrowheads="1"/>
            </p:cNvSpPr>
            <p:nvPr/>
          </p:nvSpPr>
          <p:spPr bwMode="auto">
            <a:xfrm>
              <a:off x="3336925" y="4978400"/>
              <a:ext cx="601663" cy="10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40" name="Freeform 1272">
              <a:extLst>
                <a:ext uri="{FF2B5EF4-FFF2-40B4-BE49-F238E27FC236}">
                  <a16:creationId xmlns:a16="http://schemas.microsoft.com/office/drawing/2014/main" id="{8B0F4B43-3490-F573-8223-505AB488C408}"/>
                </a:ext>
              </a:extLst>
            </p:cNvPr>
            <p:cNvSpPr>
              <a:spLocks/>
            </p:cNvSpPr>
            <p:nvPr/>
          </p:nvSpPr>
          <p:spPr bwMode="auto">
            <a:xfrm>
              <a:off x="3360738" y="4978400"/>
              <a:ext cx="11113" cy="77788"/>
            </a:xfrm>
            <a:custGeom>
              <a:avLst/>
              <a:gdLst>
                <a:gd name="T0" fmla="*/ 6 w 12"/>
                <a:gd name="T1" fmla="*/ 0 h 96"/>
                <a:gd name="T2" fmla="*/ 6 w 12"/>
                <a:gd name="T3" fmla="*/ 0 h 96"/>
                <a:gd name="T4" fmla="*/ 0 w 12"/>
                <a:gd name="T5" fmla="*/ 5 h 96"/>
                <a:gd name="T6" fmla="*/ 0 w 12"/>
                <a:gd name="T7" fmla="*/ 90 h 96"/>
                <a:gd name="T8" fmla="*/ 6 w 12"/>
                <a:gd name="T9" fmla="*/ 96 h 96"/>
                <a:gd name="T10" fmla="*/ 6 w 12"/>
                <a:gd name="T11" fmla="*/ 96 h 96"/>
                <a:gd name="T12" fmla="*/ 12 w 12"/>
                <a:gd name="T13" fmla="*/ 90 h 96"/>
                <a:gd name="T14" fmla="*/ 12 w 12"/>
                <a:gd name="T15" fmla="*/ 5 h 96"/>
                <a:gd name="T16" fmla="*/ 6 w 12"/>
                <a:gd name="T17"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96">
                  <a:moveTo>
                    <a:pt x="6" y="0"/>
                  </a:moveTo>
                  <a:cubicBezTo>
                    <a:pt x="6" y="0"/>
                    <a:pt x="6" y="0"/>
                    <a:pt x="6" y="0"/>
                  </a:cubicBezTo>
                  <a:cubicBezTo>
                    <a:pt x="3" y="0"/>
                    <a:pt x="0" y="2"/>
                    <a:pt x="0" y="5"/>
                  </a:cubicBezTo>
                  <a:cubicBezTo>
                    <a:pt x="0" y="90"/>
                    <a:pt x="0" y="90"/>
                    <a:pt x="0" y="90"/>
                  </a:cubicBezTo>
                  <a:cubicBezTo>
                    <a:pt x="0" y="93"/>
                    <a:pt x="3" y="96"/>
                    <a:pt x="6" y="96"/>
                  </a:cubicBezTo>
                  <a:cubicBezTo>
                    <a:pt x="6" y="96"/>
                    <a:pt x="6" y="96"/>
                    <a:pt x="6" y="96"/>
                  </a:cubicBezTo>
                  <a:cubicBezTo>
                    <a:pt x="9" y="96"/>
                    <a:pt x="12" y="93"/>
                    <a:pt x="12" y="90"/>
                  </a:cubicBezTo>
                  <a:cubicBezTo>
                    <a:pt x="12" y="5"/>
                    <a:pt x="12" y="5"/>
                    <a:pt x="12" y="5"/>
                  </a:cubicBezTo>
                  <a:cubicBezTo>
                    <a:pt x="12" y="2"/>
                    <a:pt x="9" y="0"/>
                    <a:pt x="6" y="0"/>
                  </a:cubicBezTo>
                </a:path>
              </a:pathLst>
            </a:custGeom>
            <a:solidFill>
              <a:srgbClr val="8A8A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41" name="Freeform 1273">
              <a:extLst>
                <a:ext uri="{FF2B5EF4-FFF2-40B4-BE49-F238E27FC236}">
                  <a16:creationId xmlns:a16="http://schemas.microsoft.com/office/drawing/2014/main" id="{84F57C53-6CB5-C66F-FB36-8A88567E65E9}"/>
                </a:ext>
              </a:extLst>
            </p:cNvPr>
            <p:cNvSpPr>
              <a:spLocks/>
            </p:cNvSpPr>
            <p:nvPr/>
          </p:nvSpPr>
          <p:spPr bwMode="auto">
            <a:xfrm>
              <a:off x="3449638" y="4978400"/>
              <a:ext cx="9525" cy="77788"/>
            </a:xfrm>
            <a:custGeom>
              <a:avLst/>
              <a:gdLst>
                <a:gd name="T0" fmla="*/ 6 w 11"/>
                <a:gd name="T1" fmla="*/ 0 h 96"/>
                <a:gd name="T2" fmla="*/ 6 w 11"/>
                <a:gd name="T3" fmla="*/ 0 h 96"/>
                <a:gd name="T4" fmla="*/ 0 w 11"/>
                <a:gd name="T5" fmla="*/ 5 h 96"/>
                <a:gd name="T6" fmla="*/ 0 w 11"/>
                <a:gd name="T7" fmla="*/ 90 h 96"/>
                <a:gd name="T8" fmla="*/ 6 w 11"/>
                <a:gd name="T9" fmla="*/ 96 h 96"/>
                <a:gd name="T10" fmla="*/ 6 w 11"/>
                <a:gd name="T11" fmla="*/ 96 h 96"/>
                <a:gd name="T12" fmla="*/ 11 w 11"/>
                <a:gd name="T13" fmla="*/ 90 h 96"/>
                <a:gd name="T14" fmla="*/ 11 w 11"/>
                <a:gd name="T15" fmla="*/ 5 h 96"/>
                <a:gd name="T16" fmla="*/ 6 w 11"/>
                <a:gd name="T17"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96">
                  <a:moveTo>
                    <a:pt x="6" y="0"/>
                  </a:moveTo>
                  <a:cubicBezTo>
                    <a:pt x="6" y="0"/>
                    <a:pt x="6" y="0"/>
                    <a:pt x="6" y="0"/>
                  </a:cubicBezTo>
                  <a:cubicBezTo>
                    <a:pt x="2" y="0"/>
                    <a:pt x="0" y="2"/>
                    <a:pt x="0" y="5"/>
                  </a:cubicBezTo>
                  <a:cubicBezTo>
                    <a:pt x="0" y="90"/>
                    <a:pt x="0" y="90"/>
                    <a:pt x="0" y="90"/>
                  </a:cubicBezTo>
                  <a:cubicBezTo>
                    <a:pt x="0" y="93"/>
                    <a:pt x="2" y="96"/>
                    <a:pt x="6" y="96"/>
                  </a:cubicBezTo>
                  <a:cubicBezTo>
                    <a:pt x="6" y="96"/>
                    <a:pt x="6" y="96"/>
                    <a:pt x="6" y="96"/>
                  </a:cubicBezTo>
                  <a:cubicBezTo>
                    <a:pt x="9" y="96"/>
                    <a:pt x="11" y="93"/>
                    <a:pt x="11" y="90"/>
                  </a:cubicBezTo>
                  <a:cubicBezTo>
                    <a:pt x="11" y="5"/>
                    <a:pt x="11" y="5"/>
                    <a:pt x="11" y="5"/>
                  </a:cubicBezTo>
                  <a:cubicBezTo>
                    <a:pt x="11" y="2"/>
                    <a:pt x="9" y="0"/>
                    <a:pt x="6" y="0"/>
                  </a:cubicBezTo>
                </a:path>
              </a:pathLst>
            </a:custGeom>
            <a:solidFill>
              <a:srgbClr val="8A8A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42" name="Freeform 1274">
              <a:extLst>
                <a:ext uri="{FF2B5EF4-FFF2-40B4-BE49-F238E27FC236}">
                  <a16:creationId xmlns:a16="http://schemas.microsoft.com/office/drawing/2014/main" id="{664E31FD-EDCF-A217-8BE9-8A453933DC02}"/>
                </a:ext>
              </a:extLst>
            </p:cNvPr>
            <p:cNvSpPr>
              <a:spLocks/>
            </p:cNvSpPr>
            <p:nvPr/>
          </p:nvSpPr>
          <p:spPr bwMode="auto">
            <a:xfrm>
              <a:off x="3536950" y="4978400"/>
              <a:ext cx="11113" cy="77788"/>
            </a:xfrm>
            <a:custGeom>
              <a:avLst/>
              <a:gdLst>
                <a:gd name="T0" fmla="*/ 6 w 12"/>
                <a:gd name="T1" fmla="*/ 0 h 96"/>
                <a:gd name="T2" fmla="*/ 6 w 12"/>
                <a:gd name="T3" fmla="*/ 0 h 96"/>
                <a:gd name="T4" fmla="*/ 0 w 12"/>
                <a:gd name="T5" fmla="*/ 5 h 96"/>
                <a:gd name="T6" fmla="*/ 0 w 12"/>
                <a:gd name="T7" fmla="*/ 90 h 96"/>
                <a:gd name="T8" fmla="*/ 6 w 12"/>
                <a:gd name="T9" fmla="*/ 96 h 96"/>
                <a:gd name="T10" fmla="*/ 6 w 12"/>
                <a:gd name="T11" fmla="*/ 96 h 96"/>
                <a:gd name="T12" fmla="*/ 12 w 12"/>
                <a:gd name="T13" fmla="*/ 90 h 96"/>
                <a:gd name="T14" fmla="*/ 12 w 12"/>
                <a:gd name="T15" fmla="*/ 5 h 96"/>
                <a:gd name="T16" fmla="*/ 6 w 12"/>
                <a:gd name="T17"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96">
                  <a:moveTo>
                    <a:pt x="6" y="0"/>
                  </a:moveTo>
                  <a:cubicBezTo>
                    <a:pt x="6" y="0"/>
                    <a:pt x="6" y="0"/>
                    <a:pt x="6" y="0"/>
                  </a:cubicBezTo>
                  <a:cubicBezTo>
                    <a:pt x="3" y="0"/>
                    <a:pt x="0" y="2"/>
                    <a:pt x="0" y="5"/>
                  </a:cubicBezTo>
                  <a:cubicBezTo>
                    <a:pt x="0" y="90"/>
                    <a:pt x="0" y="90"/>
                    <a:pt x="0" y="90"/>
                  </a:cubicBezTo>
                  <a:cubicBezTo>
                    <a:pt x="0" y="93"/>
                    <a:pt x="3" y="96"/>
                    <a:pt x="6" y="96"/>
                  </a:cubicBezTo>
                  <a:cubicBezTo>
                    <a:pt x="6" y="96"/>
                    <a:pt x="6" y="96"/>
                    <a:pt x="6" y="96"/>
                  </a:cubicBezTo>
                  <a:cubicBezTo>
                    <a:pt x="9" y="96"/>
                    <a:pt x="12" y="93"/>
                    <a:pt x="12" y="90"/>
                  </a:cubicBezTo>
                  <a:cubicBezTo>
                    <a:pt x="12" y="5"/>
                    <a:pt x="12" y="5"/>
                    <a:pt x="12" y="5"/>
                  </a:cubicBezTo>
                  <a:cubicBezTo>
                    <a:pt x="12" y="2"/>
                    <a:pt x="9" y="0"/>
                    <a:pt x="6" y="0"/>
                  </a:cubicBezTo>
                </a:path>
              </a:pathLst>
            </a:custGeom>
            <a:solidFill>
              <a:srgbClr val="8A8A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43" name="Freeform 1275">
              <a:extLst>
                <a:ext uri="{FF2B5EF4-FFF2-40B4-BE49-F238E27FC236}">
                  <a16:creationId xmlns:a16="http://schemas.microsoft.com/office/drawing/2014/main" id="{A40C4653-5D76-9791-5402-500B9807E8B7}"/>
                </a:ext>
              </a:extLst>
            </p:cNvPr>
            <p:cNvSpPr>
              <a:spLocks/>
            </p:cNvSpPr>
            <p:nvPr/>
          </p:nvSpPr>
          <p:spPr bwMode="auto">
            <a:xfrm>
              <a:off x="3625850" y="4978400"/>
              <a:ext cx="9525" cy="77788"/>
            </a:xfrm>
            <a:custGeom>
              <a:avLst/>
              <a:gdLst>
                <a:gd name="T0" fmla="*/ 6 w 11"/>
                <a:gd name="T1" fmla="*/ 0 h 96"/>
                <a:gd name="T2" fmla="*/ 6 w 11"/>
                <a:gd name="T3" fmla="*/ 0 h 96"/>
                <a:gd name="T4" fmla="*/ 0 w 11"/>
                <a:gd name="T5" fmla="*/ 5 h 96"/>
                <a:gd name="T6" fmla="*/ 0 w 11"/>
                <a:gd name="T7" fmla="*/ 90 h 96"/>
                <a:gd name="T8" fmla="*/ 6 w 11"/>
                <a:gd name="T9" fmla="*/ 96 h 96"/>
                <a:gd name="T10" fmla="*/ 6 w 11"/>
                <a:gd name="T11" fmla="*/ 96 h 96"/>
                <a:gd name="T12" fmla="*/ 11 w 11"/>
                <a:gd name="T13" fmla="*/ 90 h 96"/>
                <a:gd name="T14" fmla="*/ 11 w 11"/>
                <a:gd name="T15" fmla="*/ 5 h 96"/>
                <a:gd name="T16" fmla="*/ 6 w 11"/>
                <a:gd name="T17"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96">
                  <a:moveTo>
                    <a:pt x="6" y="0"/>
                  </a:moveTo>
                  <a:cubicBezTo>
                    <a:pt x="6" y="0"/>
                    <a:pt x="6" y="0"/>
                    <a:pt x="6" y="0"/>
                  </a:cubicBezTo>
                  <a:cubicBezTo>
                    <a:pt x="3" y="0"/>
                    <a:pt x="0" y="2"/>
                    <a:pt x="0" y="5"/>
                  </a:cubicBezTo>
                  <a:cubicBezTo>
                    <a:pt x="0" y="90"/>
                    <a:pt x="0" y="90"/>
                    <a:pt x="0" y="90"/>
                  </a:cubicBezTo>
                  <a:cubicBezTo>
                    <a:pt x="0" y="93"/>
                    <a:pt x="3" y="96"/>
                    <a:pt x="6" y="96"/>
                  </a:cubicBezTo>
                  <a:cubicBezTo>
                    <a:pt x="6" y="96"/>
                    <a:pt x="6" y="96"/>
                    <a:pt x="6" y="96"/>
                  </a:cubicBezTo>
                  <a:cubicBezTo>
                    <a:pt x="9" y="96"/>
                    <a:pt x="11" y="93"/>
                    <a:pt x="11" y="90"/>
                  </a:cubicBezTo>
                  <a:cubicBezTo>
                    <a:pt x="11" y="5"/>
                    <a:pt x="11" y="5"/>
                    <a:pt x="11" y="5"/>
                  </a:cubicBezTo>
                  <a:cubicBezTo>
                    <a:pt x="11" y="2"/>
                    <a:pt x="9" y="0"/>
                    <a:pt x="6" y="0"/>
                  </a:cubicBezTo>
                </a:path>
              </a:pathLst>
            </a:custGeom>
            <a:solidFill>
              <a:srgbClr val="8A8A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44" name="Freeform 1276">
              <a:extLst>
                <a:ext uri="{FF2B5EF4-FFF2-40B4-BE49-F238E27FC236}">
                  <a16:creationId xmlns:a16="http://schemas.microsoft.com/office/drawing/2014/main" id="{220CDC66-724B-B11C-CE35-4224746DE3F5}"/>
                </a:ext>
              </a:extLst>
            </p:cNvPr>
            <p:cNvSpPr>
              <a:spLocks/>
            </p:cNvSpPr>
            <p:nvPr/>
          </p:nvSpPr>
          <p:spPr bwMode="auto">
            <a:xfrm>
              <a:off x="3721100" y="5049838"/>
              <a:ext cx="3175" cy="6350"/>
            </a:xfrm>
            <a:custGeom>
              <a:avLst/>
              <a:gdLst>
                <a:gd name="T0" fmla="*/ 3 w 3"/>
                <a:gd name="T1" fmla="*/ 0 h 8"/>
                <a:gd name="T2" fmla="*/ 0 w 3"/>
                <a:gd name="T3" fmla="*/ 8 h 8"/>
                <a:gd name="T4" fmla="*/ 3 w 3"/>
                <a:gd name="T5" fmla="*/ 3 h 8"/>
                <a:gd name="T6" fmla="*/ 3 w 3"/>
                <a:gd name="T7" fmla="*/ 0 h 8"/>
              </a:gdLst>
              <a:ahLst/>
              <a:cxnLst>
                <a:cxn ang="0">
                  <a:pos x="T0" y="T1"/>
                </a:cxn>
                <a:cxn ang="0">
                  <a:pos x="T2" y="T3"/>
                </a:cxn>
                <a:cxn ang="0">
                  <a:pos x="T4" y="T5"/>
                </a:cxn>
                <a:cxn ang="0">
                  <a:pos x="T6" y="T7"/>
                </a:cxn>
              </a:cxnLst>
              <a:rect l="0" t="0" r="r" b="b"/>
              <a:pathLst>
                <a:path w="3" h="8">
                  <a:moveTo>
                    <a:pt x="3" y="0"/>
                  </a:moveTo>
                  <a:cubicBezTo>
                    <a:pt x="0" y="8"/>
                    <a:pt x="0" y="8"/>
                    <a:pt x="0" y="8"/>
                  </a:cubicBezTo>
                  <a:cubicBezTo>
                    <a:pt x="2" y="7"/>
                    <a:pt x="3" y="5"/>
                    <a:pt x="3" y="3"/>
                  </a:cubicBezTo>
                  <a:cubicBezTo>
                    <a:pt x="3" y="0"/>
                    <a:pt x="3" y="0"/>
                    <a:pt x="3" y="0"/>
                  </a:cubicBezTo>
                </a:path>
              </a:pathLst>
            </a:custGeom>
            <a:solidFill>
              <a:srgbClr val="8A8A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45" name="Freeform 1277">
              <a:extLst>
                <a:ext uri="{FF2B5EF4-FFF2-40B4-BE49-F238E27FC236}">
                  <a16:creationId xmlns:a16="http://schemas.microsoft.com/office/drawing/2014/main" id="{8359994B-9E48-87A3-79FC-DBD857679059}"/>
                </a:ext>
              </a:extLst>
            </p:cNvPr>
            <p:cNvSpPr>
              <a:spLocks/>
            </p:cNvSpPr>
            <p:nvPr/>
          </p:nvSpPr>
          <p:spPr bwMode="auto">
            <a:xfrm>
              <a:off x="3802063" y="5006975"/>
              <a:ext cx="9525" cy="49213"/>
            </a:xfrm>
            <a:custGeom>
              <a:avLst/>
              <a:gdLst>
                <a:gd name="T0" fmla="*/ 12 w 12"/>
                <a:gd name="T1" fmla="*/ 0 h 62"/>
                <a:gd name="T2" fmla="*/ 0 w 12"/>
                <a:gd name="T3" fmla="*/ 31 h 62"/>
                <a:gd name="T4" fmla="*/ 0 w 12"/>
                <a:gd name="T5" fmla="*/ 56 h 62"/>
                <a:gd name="T6" fmla="*/ 6 w 12"/>
                <a:gd name="T7" fmla="*/ 62 h 62"/>
                <a:gd name="T8" fmla="*/ 6 w 12"/>
                <a:gd name="T9" fmla="*/ 62 h 62"/>
                <a:gd name="T10" fmla="*/ 12 w 12"/>
                <a:gd name="T11" fmla="*/ 56 h 62"/>
                <a:gd name="T12" fmla="*/ 12 w 12"/>
                <a:gd name="T13" fmla="*/ 0 h 62"/>
              </a:gdLst>
              <a:ahLst/>
              <a:cxnLst>
                <a:cxn ang="0">
                  <a:pos x="T0" y="T1"/>
                </a:cxn>
                <a:cxn ang="0">
                  <a:pos x="T2" y="T3"/>
                </a:cxn>
                <a:cxn ang="0">
                  <a:pos x="T4" y="T5"/>
                </a:cxn>
                <a:cxn ang="0">
                  <a:pos x="T6" y="T7"/>
                </a:cxn>
                <a:cxn ang="0">
                  <a:pos x="T8" y="T9"/>
                </a:cxn>
                <a:cxn ang="0">
                  <a:pos x="T10" y="T11"/>
                </a:cxn>
                <a:cxn ang="0">
                  <a:pos x="T12" y="T13"/>
                </a:cxn>
              </a:cxnLst>
              <a:rect l="0" t="0" r="r" b="b"/>
              <a:pathLst>
                <a:path w="12" h="62">
                  <a:moveTo>
                    <a:pt x="12" y="0"/>
                  </a:moveTo>
                  <a:cubicBezTo>
                    <a:pt x="0" y="31"/>
                    <a:pt x="0" y="31"/>
                    <a:pt x="0" y="31"/>
                  </a:cubicBezTo>
                  <a:cubicBezTo>
                    <a:pt x="0" y="56"/>
                    <a:pt x="0" y="56"/>
                    <a:pt x="0" y="56"/>
                  </a:cubicBezTo>
                  <a:cubicBezTo>
                    <a:pt x="0" y="59"/>
                    <a:pt x="3" y="62"/>
                    <a:pt x="6" y="62"/>
                  </a:cubicBezTo>
                  <a:cubicBezTo>
                    <a:pt x="6" y="62"/>
                    <a:pt x="6" y="62"/>
                    <a:pt x="6" y="62"/>
                  </a:cubicBezTo>
                  <a:cubicBezTo>
                    <a:pt x="9" y="62"/>
                    <a:pt x="12" y="59"/>
                    <a:pt x="12" y="56"/>
                  </a:cubicBezTo>
                  <a:cubicBezTo>
                    <a:pt x="12" y="0"/>
                    <a:pt x="12" y="0"/>
                    <a:pt x="12" y="0"/>
                  </a:cubicBezTo>
                </a:path>
              </a:pathLst>
            </a:custGeom>
            <a:solidFill>
              <a:srgbClr val="8A8A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46" name="Freeform 1278">
              <a:extLst>
                <a:ext uri="{FF2B5EF4-FFF2-40B4-BE49-F238E27FC236}">
                  <a16:creationId xmlns:a16="http://schemas.microsoft.com/office/drawing/2014/main" id="{EB7EBC15-D235-1C8E-581A-0636CCDE0CBF}"/>
                </a:ext>
              </a:extLst>
            </p:cNvPr>
            <p:cNvSpPr>
              <a:spLocks/>
            </p:cNvSpPr>
            <p:nvPr/>
          </p:nvSpPr>
          <p:spPr bwMode="auto">
            <a:xfrm>
              <a:off x="3890963" y="4978400"/>
              <a:ext cx="7938" cy="77788"/>
            </a:xfrm>
            <a:custGeom>
              <a:avLst/>
              <a:gdLst>
                <a:gd name="T0" fmla="*/ 7 w 11"/>
                <a:gd name="T1" fmla="*/ 0 h 96"/>
                <a:gd name="T2" fmla="*/ 0 w 11"/>
                <a:gd name="T3" fmla="*/ 19 h 96"/>
                <a:gd name="T4" fmla="*/ 0 w 11"/>
                <a:gd name="T5" fmla="*/ 90 h 96"/>
                <a:gd name="T6" fmla="*/ 6 w 11"/>
                <a:gd name="T7" fmla="*/ 96 h 96"/>
                <a:gd name="T8" fmla="*/ 6 w 11"/>
                <a:gd name="T9" fmla="*/ 96 h 96"/>
                <a:gd name="T10" fmla="*/ 11 w 11"/>
                <a:gd name="T11" fmla="*/ 90 h 96"/>
                <a:gd name="T12" fmla="*/ 11 w 11"/>
                <a:gd name="T13" fmla="*/ 5 h 96"/>
                <a:gd name="T14" fmla="*/ 7 w 11"/>
                <a:gd name="T15" fmla="*/ 0 h 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96">
                  <a:moveTo>
                    <a:pt x="7" y="0"/>
                  </a:moveTo>
                  <a:cubicBezTo>
                    <a:pt x="0" y="19"/>
                    <a:pt x="0" y="19"/>
                    <a:pt x="0" y="19"/>
                  </a:cubicBezTo>
                  <a:cubicBezTo>
                    <a:pt x="0" y="90"/>
                    <a:pt x="0" y="90"/>
                    <a:pt x="0" y="90"/>
                  </a:cubicBezTo>
                  <a:cubicBezTo>
                    <a:pt x="0" y="93"/>
                    <a:pt x="3" y="96"/>
                    <a:pt x="6" y="96"/>
                  </a:cubicBezTo>
                  <a:cubicBezTo>
                    <a:pt x="6" y="96"/>
                    <a:pt x="6" y="96"/>
                    <a:pt x="6" y="96"/>
                  </a:cubicBezTo>
                  <a:cubicBezTo>
                    <a:pt x="9" y="96"/>
                    <a:pt x="11" y="93"/>
                    <a:pt x="11" y="90"/>
                  </a:cubicBezTo>
                  <a:cubicBezTo>
                    <a:pt x="11" y="5"/>
                    <a:pt x="11" y="5"/>
                    <a:pt x="11" y="5"/>
                  </a:cubicBezTo>
                  <a:cubicBezTo>
                    <a:pt x="11" y="3"/>
                    <a:pt x="10" y="1"/>
                    <a:pt x="7" y="0"/>
                  </a:cubicBezTo>
                </a:path>
              </a:pathLst>
            </a:custGeom>
            <a:solidFill>
              <a:srgbClr val="8A8A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47" name="Freeform 1279">
              <a:extLst>
                <a:ext uri="{FF2B5EF4-FFF2-40B4-BE49-F238E27FC236}">
                  <a16:creationId xmlns:a16="http://schemas.microsoft.com/office/drawing/2014/main" id="{7DCD4A96-C46E-5B76-0511-11F39531C4BD}"/>
                </a:ext>
              </a:extLst>
            </p:cNvPr>
            <p:cNvSpPr>
              <a:spLocks noEditPoints="1"/>
            </p:cNvSpPr>
            <p:nvPr/>
          </p:nvSpPr>
          <p:spPr bwMode="auto">
            <a:xfrm>
              <a:off x="3783013" y="5056188"/>
              <a:ext cx="155575" cy="26988"/>
            </a:xfrm>
            <a:custGeom>
              <a:avLst/>
              <a:gdLst>
                <a:gd name="T0" fmla="*/ 19 w 98"/>
                <a:gd name="T1" fmla="*/ 0 h 17"/>
                <a:gd name="T2" fmla="*/ 15 w 98"/>
                <a:gd name="T3" fmla="*/ 0 h 17"/>
                <a:gd name="T4" fmla="*/ 15 w 98"/>
                <a:gd name="T5" fmla="*/ 0 h 17"/>
                <a:gd name="T6" fmla="*/ 15 w 98"/>
                <a:gd name="T7" fmla="*/ 0 h 17"/>
                <a:gd name="T8" fmla="*/ 7 w 98"/>
                <a:gd name="T9" fmla="*/ 0 h 17"/>
                <a:gd name="T10" fmla="*/ 0 w 98"/>
                <a:gd name="T11" fmla="*/ 17 h 17"/>
                <a:gd name="T12" fmla="*/ 13 w 98"/>
                <a:gd name="T13" fmla="*/ 17 h 17"/>
                <a:gd name="T14" fmla="*/ 19 w 98"/>
                <a:gd name="T15" fmla="*/ 0 h 17"/>
                <a:gd name="T16" fmla="*/ 98 w 98"/>
                <a:gd name="T17" fmla="*/ 0 h 17"/>
                <a:gd name="T18" fmla="*/ 71 w 98"/>
                <a:gd name="T19" fmla="*/ 0 h 17"/>
                <a:gd name="T20" fmla="*/ 71 w 98"/>
                <a:gd name="T21" fmla="*/ 0 h 17"/>
                <a:gd name="T22" fmla="*/ 71 w 98"/>
                <a:gd name="T23" fmla="*/ 0 h 17"/>
                <a:gd name="T24" fmla="*/ 54 w 98"/>
                <a:gd name="T25" fmla="*/ 0 h 17"/>
                <a:gd name="T26" fmla="*/ 47 w 98"/>
                <a:gd name="T27" fmla="*/ 17 h 17"/>
                <a:gd name="T28" fmla="*/ 98 w 98"/>
                <a:gd name="T29" fmla="*/ 17 h 17"/>
                <a:gd name="T30" fmla="*/ 98 w 98"/>
                <a:gd name="T31"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8" h="17">
                  <a:moveTo>
                    <a:pt x="19" y="0"/>
                  </a:moveTo>
                  <a:lnTo>
                    <a:pt x="15" y="0"/>
                  </a:lnTo>
                  <a:lnTo>
                    <a:pt x="15" y="0"/>
                  </a:lnTo>
                  <a:lnTo>
                    <a:pt x="15" y="0"/>
                  </a:lnTo>
                  <a:lnTo>
                    <a:pt x="7" y="0"/>
                  </a:lnTo>
                  <a:lnTo>
                    <a:pt x="0" y="17"/>
                  </a:lnTo>
                  <a:lnTo>
                    <a:pt x="13" y="17"/>
                  </a:lnTo>
                  <a:lnTo>
                    <a:pt x="19" y="0"/>
                  </a:lnTo>
                  <a:close/>
                  <a:moveTo>
                    <a:pt x="98" y="0"/>
                  </a:moveTo>
                  <a:lnTo>
                    <a:pt x="71" y="0"/>
                  </a:lnTo>
                  <a:lnTo>
                    <a:pt x="71" y="0"/>
                  </a:lnTo>
                  <a:lnTo>
                    <a:pt x="71" y="0"/>
                  </a:lnTo>
                  <a:lnTo>
                    <a:pt x="54" y="0"/>
                  </a:lnTo>
                  <a:lnTo>
                    <a:pt x="47" y="17"/>
                  </a:lnTo>
                  <a:lnTo>
                    <a:pt x="98" y="17"/>
                  </a:lnTo>
                  <a:lnTo>
                    <a:pt x="98" y="0"/>
                  </a:lnTo>
                  <a:close/>
                </a:path>
              </a:pathLst>
            </a:custGeom>
            <a:solidFill>
              <a:srgbClr val="D1D1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48" name="Freeform 1280">
              <a:extLst>
                <a:ext uri="{FF2B5EF4-FFF2-40B4-BE49-F238E27FC236}">
                  <a16:creationId xmlns:a16="http://schemas.microsoft.com/office/drawing/2014/main" id="{F756EF51-9B21-5CA2-4324-F5C44DF4B7DC}"/>
                </a:ext>
              </a:extLst>
            </p:cNvPr>
            <p:cNvSpPr>
              <a:spLocks noEditPoints="1"/>
            </p:cNvSpPr>
            <p:nvPr/>
          </p:nvSpPr>
          <p:spPr bwMode="auto">
            <a:xfrm>
              <a:off x="3783013" y="5056188"/>
              <a:ext cx="155575" cy="26988"/>
            </a:xfrm>
            <a:custGeom>
              <a:avLst/>
              <a:gdLst>
                <a:gd name="T0" fmla="*/ 19 w 98"/>
                <a:gd name="T1" fmla="*/ 0 h 17"/>
                <a:gd name="T2" fmla="*/ 15 w 98"/>
                <a:gd name="T3" fmla="*/ 0 h 17"/>
                <a:gd name="T4" fmla="*/ 15 w 98"/>
                <a:gd name="T5" fmla="*/ 0 h 17"/>
                <a:gd name="T6" fmla="*/ 15 w 98"/>
                <a:gd name="T7" fmla="*/ 0 h 17"/>
                <a:gd name="T8" fmla="*/ 7 w 98"/>
                <a:gd name="T9" fmla="*/ 0 h 17"/>
                <a:gd name="T10" fmla="*/ 0 w 98"/>
                <a:gd name="T11" fmla="*/ 17 h 17"/>
                <a:gd name="T12" fmla="*/ 13 w 98"/>
                <a:gd name="T13" fmla="*/ 17 h 17"/>
                <a:gd name="T14" fmla="*/ 19 w 98"/>
                <a:gd name="T15" fmla="*/ 0 h 17"/>
                <a:gd name="T16" fmla="*/ 98 w 98"/>
                <a:gd name="T17" fmla="*/ 0 h 17"/>
                <a:gd name="T18" fmla="*/ 71 w 98"/>
                <a:gd name="T19" fmla="*/ 0 h 17"/>
                <a:gd name="T20" fmla="*/ 71 w 98"/>
                <a:gd name="T21" fmla="*/ 0 h 17"/>
                <a:gd name="T22" fmla="*/ 71 w 98"/>
                <a:gd name="T23" fmla="*/ 0 h 17"/>
                <a:gd name="T24" fmla="*/ 54 w 98"/>
                <a:gd name="T25" fmla="*/ 0 h 17"/>
                <a:gd name="T26" fmla="*/ 47 w 98"/>
                <a:gd name="T27" fmla="*/ 17 h 17"/>
                <a:gd name="T28" fmla="*/ 98 w 98"/>
                <a:gd name="T29" fmla="*/ 17 h 17"/>
                <a:gd name="T30" fmla="*/ 98 w 98"/>
                <a:gd name="T31"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8" h="17">
                  <a:moveTo>
                    <a:pt x="19" y="0"/>
                  </a:moveTo>
                  <a:lnTo>
                    <a:pt x="15" y="0"/>
                  </a:lnTo>
                  <a:lnTo>
                    <a:pt x="15" y="0"/>
                  </a:lnTo>
                  <a:lnTo>
                    <a:pt x="15" y="0"/>
                  </a:lnTo>
                  <a:lnTo>
                    <a:pt x="7" y="0"/>
                  </a:lnTo>
                  <a:lnTo>
                    <a:pt x="0" y="17"/>
                  </a:lnTo>
                  <a:lnTo>
                    <a:pt x="13" y="17"/>
                  </a:lnTo>
                  <a:lnTo>
                    <a:pt x="19" y="0"/>
                  </a:lnTo>
                  <a:moveTo>
                    <a:pt x="98" y="0"/>
                  </a:moveTo>
                  <a:lnTo>
                    <a:pt x="71" y="0"/>
                  </a:lnTo>
                  <a:lnTo>
                    <a:pt x="71" y="0"/>
                  </a:lnTo>
                  <a:lnTo>
                    <a:pt x="71" y="0"/>
                  </a:lnTo>
                  <a:lnTo>
                    <a:pt x="54" y="0"/>
                  </a:lnTo>
                  <a:lnTo>
                    <a:pt x="47" y="17"/>
                  </a:lnTo>
                  <a:lnTo>
                    <a:pt x="98" y="17"/>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49" name="Freeform 1281">
              <a:extLst>
                <a:ext uri="{FF2B5EF4-FFF2-40B4-BE49-F238E27FC236}">
                  <a16:creationId xmlns:a16="http://schemas.microsoft.com/office/drawing/2014/main" id="{3121B716-3AFF-EDA3-77A4-F4D312D1F927}"/>
                </a:ext>
              </a:extLst>
            </p:cNvPr>
            <p:cNvSpPr>
              <a:spLocks noEditPoints="1"/>
            </p:cNvSpPr>
            <p:nvPr/>
          </p:nvSpPr>
          <p:spPr bwMode="auto">
            <a:xfrm>
              <a:off x="3336925" y="5056188"/>
              <a:ext cx="401638" cy="26988"/>
            </a:xfrm>
            <a:custGeom>
              <a:avLst/>
              <a:gdLst>
                <a:gd name="T0" fmla="*/ 208 w 253"/>
                <a:gd name="T1" fmla="*/ 0 h 17"/>
                <a:gd name="T2" fmla="*/ 185 w 253"/>
                <a:gd name="T3" fmla="*/ 0 h 17"/>
                <a:gd name="T4" fmla="*/ 185 w 253"/>
                <a:gd name="T5" fmla="*/ 0 h 17"/>
                <a:gd name="T6" fmla="*/ 185 w 253"/>
                <a:gd name="T7" fmla="*/ 0 h 17"/>
                <a:gd name="T8" fmla="*/ 130 w 253"/>
                <a:gd name="T9" fmla="*/ 0 h 17"/>
                <a:gd name="T10" fmla="*/ 130 w 253"/>
                <a:gd name="T11" fmla="*/ 0 h 17"/>
                <a:gd name="T12" fmla="*/ 130 w 253"/>
                <a:gd name="T13" fmla="*/ 0 h 17"/>
                <a:gd name="T14" fmla="*/ 74 w 253"/>
                <a:gd name="T15" fmla="*/ 0 h 17"/>
                <a:gd name="T16" fmla="*/ 74 w 253"/>
                <a:gd name="T17" fmla="*/ 0 h 17"/>
                <a:gd name="T18" fmla="*/ 74 w 253"/>
                <a:gd name="T19" fmla="*/ 0 h 17"/>
                <a:gd name="T20" fmla="*/ 19 w 253"/>
                <a:gd name="T21" fmla="*/ 0 h 17"/>
                <a:gd name="T22" fmla="*/ 19 w 253"/>
                <a:gd name="T23" fmla="*/ 0 h 17"/>
                <a:gd name="T24" fmla="*/ 19 w 253"/>
                <a:gd name="T25" fmla="*/ 0 h 17"/>
                <a:gd name="T26" fmla="*/ 0 w 253"/>
                <a:gd name="T27" fmla="*/ 0 h 17"/>
                <a:gd name="T28" fmla="*/ 0 w 253"/>
                <a:gd name="T29" fmla="*/ 17 h 17"/>
                <a:gd name="T30" fmla="*/ 202 w 253"/>
                <a:gd name="T31" fmla="*/ 17 h 17"/>
                <a:gd name="T32" fmla="*/ 208 w 253"/>
                <a:gd name="T33" fmla="*/ 0 h 17"/>
                <a:gd name="T34" fmla="*/ 253 w 253"/>
                <a:gd name="T35" fmla="*/ 0 h 17"/>
                <a:gd name="T36" fmla="*/ 242 w 253"/>
                <a:gd name="T37" fmla="*/ 0 h 17"/>
                <a:gd name="T38" fmla="*/ 236 w 253"/>
                <a:gd name="T39" fmla="*/ 17 h 17"/>
                <a:gd name="T40" fmla="*/ 247 w 253"/>
                <a:gd name="T41" fmla="*/ 17 h 17"/>
                <a:gd name="T42" fmla="*/ 253 w 253"/>
                <a:gd name="T43"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3" h="17">
                  <a:moveTo>
                    <a:pt x="208" y="0"/>
                  </a:moveTo>
                  <a:lnTo>
                    <a:pt x="185" y="0"/>
                  </a:lnTo>
                  <a:lnTo>
                    <a:pt x="185" y="0"/>
                  </a:lnTo>
                  <a:lnTo>
                    <a:pt x="185" y="0"/>
                  </a:lnTo>
                  <a:lnTo>
                    <a:pt x="130" y="0"/>
                  </a:lnTo>
                  <a:lnTo>
                    <a:pt x="130" y="0"/>
                  </a:lnTo>
                  <a:lnTo>
                    <a:pt x="130" y="0"/>
                  </a:lnTo>
                  <a:lnTo>
                    <a:pt x="74" y="0"/>
                  </a:lnTo>
                  <a:lnTo>
                    <a:pt x="74" y="0"/>
                  </a:lnTo>
                  <a:lnTo>
                    <a:pt x="74" y="0"/>
                  </a:lnTo>
                  <a:lnTo>
                    <a:pt x="19" y="0"/>
                  </a:lnTo>
                  <a:lnTo>
                    <a:pt x="19" y="0"/>
                  </a:lnTo>
                  <a:lnTo>
                    <a:pt x="19" y="0"/>
                  </a:lnTo>
                  <a:lnTo>
                    <a:pt x="0" y="0"/>
                  </a:lnTo>
                  <a:lnTo>
                    <a:pt x="0" y="17"/>
                  </a:lnTo>
                  <a:lnTo>
                    <a:pt x="202" y="17"/>
                  </a:lnTo>
                  <a:lnTo>
                    <a:pt x="208" y="0"/>
                  </a:lnTo>
                  <a:close/>
                  <a:moveTo>
                    <a:pt x="253" y="0"/>
                  </a:moveTo>
                  <a:lnTo>
                    <a:pt x="242" y="0"/>
                  </a:lnTo>
                  <a:lnTo>
                    <a:pt x="236" y="17"/>
                  </a:lnTo>
                  <a:lnTo>
                    <a:pt x="247" y="17"/>
                  </a:lnTo>
                  <a:lnTo>
                    <a:pt x="253" y="0"/>
                  </a:lnTo>
                  <a:close/>
                </a:path>
              </a:pathLst>
            </a:custGeom>
            <a:solidFill>
              <a:srgbClr val="D1D1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50" name="Freeform 1282">
              <a:extLst>
                <a:ext uri="{FF2B5EF4-FFF2-40B4-BE49-F238E27FC236}">
                  <a16:creationId xmlns:a16="http://schemas.microsoft.com/office/drawing/2014/main" id="{50216E17-ECC4-832B-1DD9-CDAC396BD649}"/>
                </a:ext>
              </a:extLst>
            </p:cNvPr>
            <p:cNvSpPr>
              <a:spLocks noEditPoints="1"/>
            </p:cNvSpPr>
            <p:nvPr/>
          </p:nvSpPr>
          <p:spPr bwMode="auto">
            <a:xfrm>
              <a:off x="3336925" y="5056188"/>
              <a:ext cx="401638" cy="26988"/>
            </a:xfrm>
            <a:custGeom>
              <a:avLst/>
              <a:gdLst>
                <a:gd name="T0" fmla="*/ 208 w 253"/>
                <a:gd name="T1" fmla="*/ 0 h 17"/>
                <a:gd name="T2" fmla="*/ 185 w 253"/>
                <a:gd name="T3" fmla="*/ 0 h 17"/>
                <a:gd name="T4" fmla="*/ 185 w 253"/>
                <a:gd name="T5" fmla="*/ 0 h 17"/>
                <a:gd name="T6" fmla="*/ 185 w 253"/>
                <a:gd name="T7" fmla="*/ 0 h 17"/>
                <a:gd name="T8" fmla="*/ 130 w 253"/>
                <a:gd name="T9" fmla="*/ 0 h 17"/>
                <a:gd name="T10" fmla="*/ 130 w 253"/>
                <a:gd name="T11" fmla="*/ 0 h 17"/>
                <a:gd name="T12" fmla="*/ 130 w 253"/>
                <a:gd name="T13" fmla="*/ 0 h 17"/>
                <a:gd name="T14" fmla="*/ 74 w 253"/>
                <a:gd name="T15" fmla="*/ 0 h 17"/>
                <a:gd name="T16" fmla="*/ 74 w 253"/>
                <a:gd name="T17" fmla="*/ 0 h 17"/>
                <a:gd name="T18" fmla="*/ 74 w 253"/>
                <a:gd name="T19" fmla="*/ 0 h 17"/>
                <a:gd name="T20" fmla="*/ 19 w 253"/>
                <a:gd name="T21" fmla="*/ 0 h 17"/>
                <a:gd name="T22" fmla="*/ 19 w 253"/>
                <a:gd name="T23" fmla="*/ 0 h 17"/>
                <a:gd name="T24" fmla="*/ 19 w 253"/>
                <a:gd name="T25" fmla="*/ 0 h 17"/>
                <a:gd name="T26" fmla="*/ 0 w 253"/>
                <a:gd name="T27" fmla="*/ 0 h 17"/>
                <a:gd name="T28" fmla="*/ 0 w 253"/>
                <a:gd name="T29" fmla="*/ 17 h 17"/>
                <a:gd name="T30" fmla="*/ 202 w 253"/>
                <a:gd name="T31" fmla="*/ 17 h 17"/>
                <a:gd name="T32" fmla="*/ 208 w 253"/>
                <a:gd name="T33" fmla="*/ 0 h 17"/>
                <a:gd name="T34" fmla="*/ 253 w 253"/>
                <a:gd name="T35" fmla="*/ 0 h 17"/>
                <a:gd name="T36" fmla="*/ 242 w 253"/>
                <a:gd name="T37" fmla="*/ 0 h 17"/>
                <a:gd name="T38" fmla="*/ 236 w 253"/>
                <a:gd name="T39" fmla="*/ 17 h 17"/>
                <a:gd name="T40" fmla="*/ 247 w 253"/>
                <a:gd name="T41" fmla="*/ 17 h 17"/>
                <a:gd name="T42" fmla="*/ 253 w 253"/>
                <a:gd name="T43"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3" h="17">
                  <a:moveTo>
                    <a:pt x="208" y="0"/>
                  </a:moveTo>
                  <a:lnTo>
                    <a:pt x="185" y="0"/>
                  </a:lnTo>
                  <a:lnTo>
                    <a:pt x="185" y="0"/>
                  </a:lnTo>
                  <a:lnTo>
                    <a:pt x="185" y="0"/>
                  </a:lnTo>
                  <a:lnTo>
                    <a:pt x="130" y="0"/>
                  </a:lnTo>
                  <a:lnTo>
                    <a:pt x="130" y="0"/>
                  </a:lnTo>
                  <a:lnTo>
                    <a:pt x="130" y="0"/>
                  </a:lnTo>
                  <a:lnTo>
                    <a:pt x="74" y="0"/>
                  </a:lnTo>
                  <a:lnTo>
                    <a:pt x="74" y="0"/>
                  </a:lnTo>
                  <a:lnTo>
                    <a:pt x="74" y="0"/>
                  </a:lnTo>
                  <a:lnTo>
                    <a:pt x="19" y="0"/>
                  </a:lnTo>
                  <a:lnTo>
                    <a:pt x="19" y="0"/>
                  </a:lnTo>
                  <a:lnTo>
                    <a:pt x="19" y="0"/>
                  </a:lnTo>
                  <a:lnTo>
                    <a:pt x="0" y="0"/>
                  </a:lnTo>
                  <a:lnTo>
                    <a:pt x="0" y="17"/>
                  </a:lnTo>
                  <a:lnTo>
                    <a:pt x="202" y="17"/>
                  </a:lnTo>
                  <a:lnTo>
                    <a:pt x="208" y="0"/>
                  </a:lnTo>
                  <a:moveTo>
                    <a:pt x="253" y="0"/>
                  </a:moveTo>
                  <a:lnTo>
                    <a:pt x="242" y="0"/>
                  </a:lnTo>
                  <a:lnTo>
                    <a:pt x="236" y="17"/>
                  </a:lnTo>
                  <a:lnTo>
                    <a:pt x="247" y="17"/>
                  </a:lnTo>
                  <a:lnTo>
                    <a:pt x="2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51" name="Freeform 1283">
              <a:extLst>
                <a:ext uri="{FF2B5EF4-FFF2-40B4-BE49-F238E27FC236}">
                  <a16:creationId xmlns:a16="http://schemas.microsoft.com/office/drawing/2014/main" id="{973137BB-B929-34E0-88B5-1043DD9B899D}"/>
                </a:ext>
              </a:extLst>
            </p:cNvPr>
            <p:cNvSpPr>
              <a:spLocks/>
            </p:cNvSpPr>
            <p:nvPr/>
          </p:nvSpPr>
          <p:spPr bwMode="auto">
            <a:xfrm>
              <a:off x="3582988" y="4857750"/>
              <a:ext cx="204788" cy="452438"/>
            </a:xfrm>
            <a:custGeom>
              <a:avLst/>
              <a:gdLst>
                <a:gd name="T0" fmla="*/ 193 w 252"/>
                <a:gd name="T1" fmla="*/ 0 h 557"/>
                <a:gd name="T2" fmla="*/ 192 w 252"/>
                <a:gd name="T3" fmla="*/ 2 h 557"/>
                <a:gd name="T4" fmla="*/ 6 w 252"/>
                <a:gd name="T5" fmla="*/ 510 h 557"/>
                <a:gd name="T6" fmla="*/ 25 w 252"/>
                <a:gd name="T7" fmla="*/ 551 h 557"/>
                <a:gd name="T8" fmla="*/ 65 w 252"/>
                <a:gd name="T9" fmla="*/ 532 h 557"/>
                <a:gd name="T10" fmla="*/ 251 w 252"/>
                <a:gd name="T11" fmla="*/ 24 h 557"/>
                <a:gd name="T12" fmla="*/ 252 w 252"/>
                <a:gd name="T13" fmla="*/ 21 h 557"/>
                <a:gd name="T14" fmla="*/ 222 w 252"/>
                <a:gd name="T15" fmla="*/ 11 h 557"/>
                <a:gd name="T16" fmla="*/ 193 w 252"/>
                <a:gd name="T17" fmla="*/ 0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2" h="557">
                  <a:moveTo>
                    <a:pt x="193" y="0"/>
                  </a:moveTo>
                  <a:cubicBezTo>
                    <a:pt x="193" y="1"/>
                    <a:pt x="192" y="1"/>
                    <a:pt x="192" y="2"/>
                  </a:cubicBezTo>
                  <a:cubicBezTo>
                    <a:pt x="6" y="510"/>
                    <a:pt x="6" y="510"/>
                    <a:pt x="6" y="510"/>
                  </a:cubicBezTo>
                  <a:cubicBezTo>
                    <a:pt x="0" y="527"/>
                    <a:pt x="8" y="545"/>
                    <a:pt x="25" y="551"/>
                  </a:cubicBezTo>
                  <a:cubicBezTo>
                    <a:pt x="41" y="557"/>
                    <a:pt x="59" y="548"/>
                    <a:pt x="65" y="532"/>
                  </a:cubicBezTo>
                  <a:cubicBezTo>
                    <a:pt x="251" y="24"/>
                    <a:pt x="251" y="24"/>
                    <a:pt x="251" y="24"/>
                  </a:cubicBezTo>
                  <a:cubicBezTo>
                    <a:pt x="251" y="23"/>
                    <a:pt x="252" y="22"/>
                    <a:pt x="252" y="21"/>
                  </a:cubicBezTo>
                  <a:cubicBezTo>
                    <a:pt x="222" y="11"/>
                    <a:pt x="222" y="11"/>
                    <a:pt x="222" y="11"/>
                  </a:cubicBezTo>
                  <a:cubicBezTo>
                    <a:pt x="193" y="0"/>
                    <a:pt x="193" y="0"/>
                    <a:pt x="193" y="0"/>
                  </a:cubicBezTo>
                </a:path>
              </a:pathLst>
            </a:custGeom>
            <a:solidFill>
              <a:srgbClr val="FFAB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52" name="Freeform 1284">
              <a:extLst>
                <a:ext uri="{FF2B5EF4-FFF2-40B4-BE49-F238E27FC236}">
                  <a16:creationId xmlns:a16="http://schemas.microsoft.com/office/drawing/2014/main" id="{C1973B88-BE6F-8416-01A2-9523CA875E0B}"/>
                </a:ext>
              </a:extLst>
            </p:cNvPr>
            <p:cNvSpPr>
              <a:spLocks/>
            </p:cNvSpPr>
            <p:nvPr/>
          </p:nvSpPr>
          <p:spPr bwMode="auto">
            <a:xfrm>
              <a:off x="3740150" y="4826000"/>
              <a:ext cx="47625" cy="49213"/>
            </a:xfrm>
            <a:custGeom>
              <a:avLst/>
              <a:gdLst>
                <a:gd name="T0" fmla="*/ 24 w 30"/>
                <a:gd name="T1" fmla="*/ 0 h 31"/>
                <a:gd name="T2" fmla="*/ 27 w 30"/>
                <a:gd name="T3" fmla="*/ 15 h 31"/>
                <a:gd name="T4" fmla="*/ 30 w 30"/>
                <a:gd name="T5" fmla="*/ 31 h 31"/>
                <a:gd name="T6" fmla="*/ 14 w 30"/>
                <a:gd name="T7" fmla="*/ 30 h 31"/>
                <a:gd name="T8" fmla="*/ 0 w 30"/>
                <a:gd name="T9" fmla="*/ 20 h 31"/>
                <a:gd name="T10" fmla="*/ 12 w 30"/>
                <a:gd name="T11" fmla="*/ 10 h 31"/>
                <a:gd name="T12" fmla="*/ 24 w 30"/>
                <a:gd name="T13" fmla="*/ 0 h 31"/>
              </a:gdLst>
              <a:ahLst/>
              <a:cxnLst>
                <a:cxn ang="0">
                  <a:pos x="T0" y="T1"/>
                </a:cxn>
                <a:cxn ang="0">
                  <a:pos x="T2" y="T3"/>
                </a:cxn>
                <a:cxn ang="0">
                  <a:pos x="T4" y="T5"/>
                </a:cxn>
                <a:cxn ang="0">
                  <a:pos x="T6" y="T7"/>
                </a:cxn>
                <a:cxn ang="0">
                  <a:pos x="T8" y="T9"/>
                </a:cxn>
                <a:cxn ang="0">
                  <a:pos x="T10" y="T11"/>
                </a:cxn>
                <a:cxn ang="0">
                  <a:pos x="T12" y="T13"/>
                </a:cxn>
              </a:cxnLst>
              <a:rect l="0" t="0" r="r" b="b"/>
              <a:pathLst>
                <a:path w="30" h="31">
                  <a:moveTo>
                    <a:pt x="24" y="0"/>
                  </a:moveTo>
                  <a:lnTo>
                    <a:pt x="27" y="15"/>
                  </a:lnTo>
                  <a:lnTo>
                    <a:pt x="30" y="31"/>
                  </a:lnTo>
                  <a:lnTo>
                    <a:pt x="14" y="30"/>
                  </a:lnTo>
                  <a:lnTo>
                    <a:pt x="0" y="20"/>
                  </a:lnTo>
                  <a:lnTo>
                    <a:pt x="12" y="10"/>
                  </a:lnTo>
                  <a:lnTo>
                    <a:pt x="24" y="0"/>
                  </a:lnTo>
                  <a:close/>
                </a:path>
              </a:pathLst>
            </a:custGeom>
            <a:solidFill>
              <a:srgbClr val="F9E0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53" name="Freeform 1285">
              <a:extLst>
                <a:ext uri="{FF2B5EF4-FFF2-40B4-BE49-F238E27FC236}">
                  <a16:creationId xmlns:a16="http://schemas.microsoft.com/office/drawing/2014/main" id="{9D02E135-0796-8751-B299-9D7AF1641ABF}"/>
                </a:ext>
              </a:extLst>
            </p:cNvPr>
            <p:cNvSpPr>
              <a:spLocks/>
            </p:cNvSpPr>
            <p:nvPr/>
          </p:nvSpPr>
          <p:spPr bwMode="auto">
            <a:xfrm>
              <a:off x="3740150" y="4826000"/>
              <a:ext cx="47625" cy="49213"/>
            </a:xfrm>
            <a:custGeom>
              <a:avLst/>
              <a:gdLst>
                <a:gd name="T0" fmla="*/ 24 w 30"/>
                <a:gd name="T1" fmla="*/ 0 h 31"/>
                <a:gd name="T2" fmla="*/ 27 w 30"/>
                <a:gd name="T3" fmla="*/ 15 h 31"/>
                <a:gd name="T4" fmla="*/ 30 w 30"/>
                <a:gd name="T5" fmla="*/ 31 h 31"/>
                <a:gd name="T6" fmla="*/ 14 w 30"/>
                <a:gd name="T7" fmla="*/ 30 h 31"/>
                <a:gd name="T8" fmla="*/ 0 w 30"/>
                <a:gd name="T9" fmla="*/ 20 h 31"/>
                <a:gd name="T10" fmla="*/ 12 w 30"/>
                <a:gd name="T11" fmla="*/ 10 h 31"/>
                <a:gd name="T12" fmla="*/ 24 w 30"/>
                <a:gd name="T13" fmla="*/ 0 h 31"/>
              </a:gdLst>
              <a:ahLst/>
              <a:cxnLst>
                <a:cxn ang="0">
                  <a:pos x="T0" y="T1"/>
                </a:cxn>
                <a:cxn ang="0">
                  <a:pos x="T2" y="T3"/>
                </a:cxn>
                <a:cxn ang="0">
                  <a:pos x="T4" y="T5"/>
                </a:cxn>
                <a:cxn ang="0">
                  <a:pos x="T6" y="T7"/>
                </a:cxn>
                <a:cxn ang="0">
                  <a:pos x="T8" y="T9"/>
                </a:cxn>
                <a:cxn ang="0">
                  <a:pos x="T10" y="T11"/>
                </a:cxn>
                <a:cxn ang="0">
                  <a:pos x="T12" y="T13"/>
                </a:cxn>
              </a:cxnLst>
              <a:rect l="0" t="0" r="r" b="b"/>
              <a:pathLst>
                <a:path w="30" h="31">
                  <a:moveTo>
                    <a:pt x="24" y="0"/>
                  </a:moveTo>
                  <a:lnTo>
                    <a:pt x="27" y="15"/>
                  </a:lnTo>
                  <a:lnTo>
                    <a:pt x="30" y="31"/>
                  </a:lnTo>
                  <a:lnTo>
                    <a:pt x="14" y="30"/>
                  </a:lnTo>
                  <a:lnTo>
                    <a:pt x="0" y="20"/>
                  </a:lnTo>
                  <a:lnTo>
                    <a:pt x="12" y="10"/>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54" name="Rectangle 1286">
              <a:extLst>
                <a:ext uri="{FF2B5EF4-FFF2-40B4-BE49-F238E27FC236}">
                  <a16:creationId xmlns:a16="http://schemas.microsoft.com/office/drawing/2014/main" id="{B028390A-CA12-CC86-2AE8-0AE43BFE1E14}"/>
                </a:ext>
              </a:extLst>
            </p:cNvPr>
            <p:cNvSpPr>
              <a:spLocks noChangeArrowheads="1"/>
            </p:cNvSpPr>
            <p:nvPr/>
          </p:nvSpPr>
          <p:spPr bwMode="auto">
            <a:xfrm>
              <a:off x="3771900" y="4830763"/>
              <a:ext cx="1588" cy="1588"/>
            </a:xfrm>
            <a:prstGeom prst="rect">
              <a:avLst/>
            </a:prstGeom>
            <a:solidFill>
              <a:srgbClr val="03312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55" name="Rectangle 1287">
              <a:extLst>
                <a:ext uri="{FF2B5EF4-FFF2-40B4-BE49-F238E27FC236}">
                  <a16:creationId xmlns:a16="http://schemas.microsoft.com/office/drawing/2014/main" id="{98481CF5-EA55-069B-5F2B-6FF1C9644DFD}"/>
                </a:ext>
              </a:extLst>
            </p:cNvPr>
            <p:cNvSpPr>
              <a:spLocks noChangeArrowheads="1"/>
            </p:cNvSpPr>
            <p:nvPr/>
          </p:nvSpPr>
          <p:spPr bwMode="auto">
            <a:xfrm>
              <a:off x="3771900" y="4830763"/>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56" name="Freeform 1288">
              <a:extLst>
                <a:ext uri="{FF2B5EF4-FFF2-40B4-BE49-F238E27FC236}">
                  <a16:creationId xmlns:a16="http://schemas.microsoft.com/office/drawing/2014/main" id="{E2EDCDDB-D112-EE4A-551C-0CE4976621AB}"/>
                </a:ext>
              </a:extLst>
            </p:cNvPr>
            <p:cNvSpPr>
              <a:spLocks/>
            </p:cNvSpPr>
            <p:nvPr/>
          </p:nvSpPr>
          <p:spPr bwMode="auto">
            <a:xfrm>
              <a:off x="3771900" y="4826000"/>
              <a:ext cx="6350" cy="4763"/>
            </a:xfrm>
            <a:custGeom>
              <a:avLst/>
              <a:gdLst>
                <a:gd name="T0" fmla="*/ 4 w 4"/>
                <a:gd name="T1" fmla="*/ 0 h 3"/>
                <a:gd name="T2" fmla="*/ 0 w 4"/>
                <a:gd name="T3" fmla="*/ 3 h 3"/>
                <a:gd name="T4" fmla="*/ 0 w 4"/>
                <a:gd name="T5" fmla="*/ 3 h 3"/>
                <a:gd name="T6" fmla="*/ 4 w 4"/>
                <a:gd name="T7" fmla="*/ 0 h 3"/>
              </a:gdLst>
              <a:ahLst/>
              <a:cxnLst>
                <a:cxn ang="0">
                  <a:pos x="T0" y="T1"/>
                </a:cxn>
                <a:cxn ang="0">
                  <a:pos x="T2" y="T3"/>
                </a:cxn>
                <a:cxn ang="0">
                  <a:pos x="T4" y="T5"/>
                </a:cxn>
                <a:cxn ang="0">
                  <a:pos x="T6" y="T7"/>
                </a:cxn>
              </a:cxnLst>
              <a:rect l="0" t="0" r="r" b="b"/>
              <a:pathLst>
                <a:path w="4" h="3">
                  <a:moveTo>
                    <a:pt x="4" y="0"/>
                  </a:moveTo>
                  <a:lnTo>
                    <a:pt x="0" y="3"/>
                  </a:lnTo>
                  <a:lnTo>
                    <a:pt x="0" y="3"/>
                  </a:lnTo>
                  <a:lnTo>
                    <a:pt x="4" y="0"/>
                  </a:lnTo>
                  <a:close/>
                </a:path>
              </a:pathLst>
            </a:custGeom>
            <a:solidFill>
              <a:srgbClr val="4C280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57" name="Freeform 1289">
              <a:extLst>
                <a:ext uri="{FF2B5EF4-FFF2-40B4-BE49-F238E27FC236}">
                  <a16:creationId xmlns:a16="http://schemas.microsoft.com/office/drawing/2014/main" id="{E205273C-5A7C-DE3D-D67D-907BF1A27016}"/>
                </a:ext>
              </a:extLst>
            </p:cNvPr>
            <p:cNvSpPr>
              <a:spLocks/>
            </p:cNvSpPr>
            <p:nvPr/>
          </p:nvSpPr>
          <p:spPr bwMode="auto">
            <a:xfrm>
              <a:off x="3771900" y="4826000"/>
              <a:ext cx="6350" cy="4763"/>
            </a:xfrm>
            <a:custGeom>
              <a:avLst/>
              <a:gdLst>
                <a:gd name="T0" fmla="*/ 4 w 4"/>
                <a:gd name="T1" fmla="*/ 0 h 3"/>
                <a:gd name="T2" fmla="*/ 0 w 4"/>
                <a:gd name="T3" fmla="*/ 3 h 3"/>
                <a:gd name="T4" fmla="*/ 0 w 4"/>
                <a:gd name="T5" fmla="*/ 3 h 3"/>
                <a:gd name="T6" fmla="*/ 4 w 4"/>
                <a:gd name="T7" fmla="*/ 0 h 3"/>
              </a:gdLst>
              <a:ahLst/>
              <a:cxnLst>
                <a:cxn ang="0">
                  <a:pos x="T0" y="T1"/>
                </a:cxn>
                <a:cxn ang="0">
                  <a:pos x="T2" y="T3"/>
                </a:cxn>
                <a:cxn ang="0">
                  <a:pos x="T4" y="T5"/>
                </a:cxn>
                <a:cxn ang="0">
                  <a:pos x="T6" y="T7"/>
                </a:cxn>
              </a:cxnLst>
              <a:rect l="0" t="0" r="r" b="b"/>
              <a:pathLst>
                <a:path w="4" h="3">
                  <a:moveTo>
                    <a:pt x="4" y="0"/>
                  </a:moveTo>
                  <a:lnTo>
                    <a:pt x="0" y="3"/>
                  </a:lnTo>
                  <a:lnTo>
                    <a:pt x="0" y="3"/>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58" name="Freeform 1290">
              <a:extLst>
                <a:ext uri="{FF2B5EF4-FFF2-40B4-BE49-F238E27FC236}">
                  <a16:creationId xmlns:a16="http://schemas.microsoft.com/office/drawing/2014/main" id="{1C639421-4892-ADC8-CD7A-5B4DCD6D1623}"/>
                </a:ext>
              </a:extLst>
            </p:cNvPr>
            <p:cNvSpPr>
              <a:spLocks/>
            </p:cNvSpPr>
            <p:nvPr/>
          </p:nvSpPr>
          <p:spPr bwMode="auto">
            <a:xfrm>
              <a:off x="3771900" y="4826000"/>
              <a:ext cx="9525" cy="12700"/>
            </a:xfrm>
            <a:custGeom>
              <a:avLst/>
              <a:gdLst>
                <a:gd name="T0" fmla="*/ 4 w 6"/>
                <a:gd name="T1" fmla="*/ 0 h 8"/>
                <a:gd name="T2" fmla="*/ 0 w 6"/>
                <a:gd name="T3" fmla="*/ 3 h 8"/>
                <a:gd name="T4" fmla="*/ 0 w 6"/>
                <a:gd name="T5" fmla="*/ 4 h 8"/>
                <a:gd name="T6" fmla="*/ 0 w 6"/>
                <a:gd name="T7" fmla="*/ 7 h 8"/>
                <a:gd name="T8" fmla="*/ 2 w 6"/>
                <a:gd name="T9" fmla="*/ 6 h 8"/>
                <a:gd name="T10" fmla="*/ 3 w 6"/>
                <a:gd name="T11" fmla="*/ 8 h 8"/>
                <a:gd name="T12" fmla="*/ 6 w 6"/>
                <a:gd name="T13" fmla="*/ 7 h 8"/>
                <a:gd name="T14" fmla="*/ 4 w 6"/>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8">
                  <a:moveTo>
                    <a:pt x="4" y="0"/>
                  </a:moveTo>
                  <a:lnTo>
                    <a:pt x="0" y="3"/>
                  </a:lnTo>
                  <a:lnTo>
                    <a:pt x="0" y="4"/>
                  </a:lnTo>
                  <a:lnTo>
                    <a:pt x="0" y="7"/>
                  </a:lnTo>
                  <a:lnTo>
                    <a:pt x="2" y="6"/>
                  </a:lnTo>
                  <a:lnTo>
                    <a:pt x="3" y="8"/>
                  </a:lnTo>
                  <a:lnTo>
                    <a:pt x="6" y="7"/>
                  </a:lnTo>
                  <a:lnTo>
                    <a:pt x="4" y="0"/>
                  </a:lnTo>
                  <a:close/>
                </a:path>
              </a:pathLst>
            </a:custGeom>
            <a:solidFill>
              <a:srgbClr val="4A43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59" name="Freeform 1291">
              <a:extLst>
                <a:ext uri="{FF2B5EF4-FFF2-40B4-BE49-F238E27FC236}">
                  <a16:creationId xmlns:a16="http://schemas.microsoft.com/office/drawing/2014/main" id="{BBFA566C-E1E5-1CFC-F1EB-6C3EF2D29C81}"/>
                </a:ext>
              </a:extLst>
            </p:cNvPr>
            <p:cNvSpPr>
              <a:spLocks/>
            </p:cNvSpPr>
            <p:nvPr/>
          </p:nvSpPr>
          <p:spPr bwMode="auto">
            <a:xfrm>
              <a:off x="3771900" y="4826000"/>
              <a:ext cx="9525" cy="12700"/>
            </a:xfrm>
            <a:custGeom>
              <a:avLst/>
              <a:gdLst>
                <a:gd name="T0" fmla="*/ 4 w 6"/>
                <a:gd name="T1" fmla="*/ 0 h 8"/>
                <a:gd name="T2" fmla="*/ 0 w 6"/>
                <a:gd name="T3" fmla="*/ 3 h 8"/>
                <a:gd name="T4" fmla="*/ 0 w 6"/>
                <a:gd name="T5" fmla="*/ 4 h 8"/>
                <a:gd name="T6" fmla="*/ 0 w 6"/>
                <a:gd name="T7" fmla="*/ 7 h 8"/>
                <a:gd name="T8" fmla="*/ 2 w 6"/>
                <a:gd name="T9" fmla="*/ 6 h 8"/>
                <a:gd name="T10" fmla="*/ 3 w 6"/>
                <a:gd name="T11" fmla="*/ 8 h 8"/>
                <a:gd name="T12" fmla="*/ 6 w 6"/>
                <a:gd name="T13" fmla="*/ 7 h 8"/>
                <a:gd name="T14" fmla="*/ 4 w 6"/>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8">
                  <a:moveTo>
                    <a:pt x="4" y="0"/>
                  </a:moveTo>
                  <a:lnTo>
                    <a:pt x="0" y="3"/>
                  </a:lnTo>
                  <a:lnTo>
                    <a:pt x="0" y="4"/>
                  </a:lnTo>
                  <a:lnTo>
                    <a:pt x="0" y="7"/>
                  </a:lnTo>
                  <a:lnTo>
                    <a:pt x="2" y="6"/>
                  </a:lnTo>
                  <a:lnTo>
                    <a:pt x="3" y="8"/>
                  </a:lnTo>
                  <a:lnTo>
                    <a:pt x="6" y="7"/>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60" name="Freeform 1292">
              <a:extLst>
                <a:ext uri="{FF2B5EF4-FFF2-40B4-BE49-F238E27FC236}">
                  <a16:creationId xmlns:a16="http://schemas.microsoft.com/office/drawing/2014/main" id="{FBBBAD5C-E857-B8F0-B42B-EF8B83002D93}"/>
                </a:ext>
              </a:extLst>
            </p:cNvPr>
            <p:cNvSpPr>
              <a:spLocks/>
            </p:cNvSpPr>
            <p:nvPr/>
          </p:nvSpPr>
          <p:spPr bwMode="auto">
            <a:xfrm>
              <a:off x="3584575" y="5273675"/>
              <a:ext cx="50800" cy="34925"/>
            </a:xfrm>
            <a:custGeom>
              <a:avLst/>
              <a:gdLst>
                <a:gd name="T0" fmla="*/ 4 w 63"/>
                <a:gd name="T1" fmla="*/ 0 h 44"/>
                <a:gd name="T2" fmla="*/ 24 w 63"/>
                <a:gd name="T3" fmla="*/ 39 h 44"/>
                <a:gd name="T4" fmla="*/ 63 w 63"/>
                <a:gd name="T5" fmla="*/ 22 h 44"/>
                <a:gd name="T6" fmla="*/ 4 w 63"/>
                <a:gd name="T7" fmla="*/ 0 h 44"/>
              </a:gdLst>
              <a:ahLst/>
              <a:cxnLst>
                <a:cxn ang="0">
                  <a:pos x="T0" y="T1"/>
                </a:cxn>
                <a:cxn ang="0">
                  <a:pos x="T2" y="T3"/>
                </a:cxn>
                <a:cxn ang="0">
                  <a:pos x="T4" y="T5"/>
                </a:cxn>
                <a:cxn ang="0">
                  <a:pos x="T6" y="T7"/>
                </a:cxn>
              </a:cxnLst>
              <a:rect l="0" t="0" r="r" b="b"/>
              <a:pathLst>
                <a:path w="63" h="44">
                  <a:moveTo>
                    <a:pt x="4" y="0"/>
                  </a:moveTo>
                  <a:cubicBezTo>
                    <a:pt x="0" y="16"/>
                    <a:pt x="8" y="33"/>
                    <a:pt x="24" y="39"/>
                  </a:cubicBezTo>
                  <a:cubicBezTo>
                    <a:pt x="39" y="44"/>
                    <a:pt x="56" y="37"/>
                    <a:pt x="63" y="22"/>
                  </a:cubicBezTo>
                  <a:cubicBezTo>
                    <a:pt x="4" y="0"/>
                    <a:pt x="4" y="0"/>
                    <a:pt x="4" y="0"/>
                  </a:cubicBezTo>
                </a:path>
              </a:pathLst>
            </a:custGeom>
            <a:solidFill>
              <a:srgbClr val="FF43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61" name="Freeform 1293">
              <a:extLst>
                <a:ext uri="{FF2B5EF4-FFF2-40B4-BE49-F238E27FC236}">
                  <a16:creationId xmlns:a16="http://schemas.microsoft.com/office/drawing/2014/main" id="{11250C7B-6335-D67B-18EA-42FB7B1675A1}"/>
                </a:ext>
              </a:extLst>
            </p:cNvPr>
            <p:cNvSpPr>
              <a:spLocks/>
            </p:cNvSpPr>
            <p:nvPr/>
          </p:nvSpPr>
          <p:spPr bwMode="auto">
            <a:xfrm>
              <a:off x="3587750" y="4857750"/>
              <a:ext cx="168275" cy="422275"/>
            </a:xfrm>
            <a:custGeom>
              <a:avLst/>
              <a:gdLst>
                <a:gd name="T0" fmla="*/ 188 w 209"/>
                <a:gd name="T1" fmla="*/ 0 h 521"/>
                <a:gd name="T2" fmla="*/ 187 w 209"/>
                <a:gd name="T3" fmla="*/ 2 h 521"/>
                <a:gd name="T4" fmla="*/ 14 w 209"/>
                <a:gd name="T5" fmla="*/ 476 h 521"/>
                <a:gd name="T6" fmla="*/ 1 w 209"/>
                <a:gd name="T7" fmla="*/ 510 h 521"/>
                <a:gd name="T8" fmla="*/ 1 w 209"/>
                <a:gd name="T9" fmla="*/ 510 h 521"/>
                <a:gd name="T10" fmla="*/ 0 w 209"/>
                <a:gd name="T11" fmla="*/ 512 h 521"/>
                <a:gd name="T12" fmla="*/ 0 w 209"/>
                <a:gd name="T13" fmla="*/ 512 h 521"/>
                <a:gd name="T14" fmla="*/ 24 w 209"/>
                <a:gd name="T15" fmla="*/ 521 h 521"/>
                <a:gd name="T16" fmla="*/ 209 w 209"/>
                <a:gd name="T17" fmla="*/ 15 h 521"/>
                <a:gd name="T18" fmla="*/ 188 w 209"/>
                <a:gd name="T19" fmla="*/ 0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9" h="521">
                  <a:moveTo>
                    <a:pt x="188" y="0"/>
                  </a:moveTo>
                  <a:cubicBezTo>
                    <a:pt x="188" y="1"/>
                    <a:pt x="187" y="1"/>
                    <a:pt x="187" y="2"/>
                  </a:cubicBezTo>
                  <a:cubicBezTo>
                    <a:pt x="14" y="476"/>
                    <a:pt x="14" y="476"/>
                    <a:pt x="14" y="476"/>
                  </a:cubicBezTo>
                  <a:cubicBezTo>
                    <a:pt x="1" y="510"/>
                    <a:pt x="1" y="510"/>
                    <a:pt x="1" y="510"/>
                  </a:cubicBezTo>
                  <a:cubicBezTo>
                    <a:pt x="1" y="510"/>
                    <a:pt x="1" y="510"/>
                    <a:pt x="1" y="510"/>
                  </a:cubicBezTo>
                  <a:cubicBezTo>
                    <a:pt x="1" y="511"/>
                    <a:pt x="0" y="512"/>
                    <a:pt x="0" y="512"/>
                  </a:cubicBezTo>
                  <a:cubicBezTo>
                    <a:pt x="0" y="512"/>
                    <a:pt x="0" y="512"/>
                    <a:pt x="0" y="512"/>
                  </a:cubicBezTo>
                  <a:cubicBezTo>
                    <a:pt x="24" y="521"/>
                    <a:pt x="24" y="521"/>
                    <a:pt x="24" y="521"/>
                  </a:cubicBezTo>
                  <a:cubicBezTo>
                    <a:pt x="209" y="15"/>
                    <a:pt x="209" y="15"/>
                    <a:pt x="209" y="15"/>
                  </a:cubicBezTo>
                  <a:cubicBezTo>
                    <a:pt x="188" y="0"/>
                    <a:pt x="188" y="0"/>
                    <a:pt x="188" y="0"/>
                  </a:cubicBezTo>
                </a:path>
              </a:pathLst>
            </a:custGeom>
            <a:solidFill>
              <a:srgbClr val="FFB4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62" name="Freeform 1294">
              <a:extLst>
                <a:ext uri="{FF2B5EF4-FFF2-40B4-BE49-F238E27FC236}">
                  <a16:creationId xmlns:a16="http://schemas.microsoft.com/office/drawing/2014/main" id="{866F950C-D217-13B7-EA65-CD0A1E258384}"/>
                </a:ext>
              </a:extLst>
            </p:cNvPr>
            <p:cNvSpPr>
              <a:spLocks/>
            </p:cNvSpPr>
            <p:nvPr/>
          </p:nvSpPr>
          <p:spPr bwMode="auto">
            <a:xfrm>
              <a:off x="3740150" y="4857750"/>
              <a:ext cx="19050" cy="12700"/>
            </a:xfrm>
            <a:custGeom>
              <a:avLst/>
              <a:gdLst>
                <a:gd name="T0" fmla="*/ 0 w 24"/>
                <a:gd name="T1" fmla="*/ 0 h 15"/>
                <a:gd name="T2" fmla="*/ 0 w 24"/>
                <a:gd name="T3" fmla="*/ 0 h 15"/>
                <a:gd name="T4" fmla="*/ 0 w 24"/>
                <a:gd name="T5" fmla="*/ 0 h 15"/>
                <a:gd name="T6" fmla="*/ 21 w 24"/>
                <a:gd name="T7" fmla="*/ 15 h 15"/>
                <a:gd name="T8" fmla="*/ 24 w 24"/>
                <a:gd name="T9" fmla="*/ 9 h 15"/>
                <a:gd name="T10" fmla="*/ 0 w 24"/>
                <a:gd name="T11" fmla="*/ 0 h 15"/>
              </a:gdLst>
              <a:ahLst/>
              <a:cxnLst>
                <a:cxn ang="0">
                  <a:pos x="T0" y="T1"/>
                </a:cxn>
                <a:cxn ang="0">
                  <a:pos x="T2" y="T3"/>
                </a:cxn>
                <a:cxn ang="0">
                  <a:pos x="T4" y="T5"/>
                </a:cxn>
                <a:cxn ang="0">
                  <a:pos x="T6" y="T7"/>
                </a:cxn>
                <a:cxn ang="0">
                  <a:pos x="T8" y="T9"/>
                </a:cxn>
                <a:cxn ang="0">
                  <a:pos x="T10" y="T11"/>
                </a:cxn>
              </a:cxnLst>
              <a:rect l="0" t="0" r="r" b="b"/>
              <a:pathLst>
                <a:path w="24" h="15">
                  <a:moveTo>
                    <a:pt x="0" y="0"/>
                  </a:moveTo>
                  <a:cubicBezTo>
                    <a:pt x="0" y="0"/>
                    <a:pt x="0" y="0"/>
                    <a:pt x="0" y="0"/>
                  </a:cubicBezTo>
                  <a:cubicBezTo>
                    <a:pt x="0" y="0"/>
                    <a:pt x="0" y="0"/>
                    <a:pt x="0" y="0"/>
                  </a:cubicBezTo>
                  <a:cubicBezTo>
                    <a:pt x="21" y="15"/>
                    <a:pt x="21" y="15"/>
                    <a:pt x="21" y="15"/>
                  </a:cubicBezTo>
                  <a:cubicBezTo>
                    <a:pt x="24" y="9"/>
                    <a:pt x="24" y="9"/>
                    <a:pt x="24" y="9"/>
                  </a:cubicBezTo>
                  <a:cubicBezTo>
                    <a:pt x="0" y="0"/>
                    <a:pt x="0" y="0"/>
                    <a:pt x="0" y="0"/>
                  </a:cubicBezTo>
                </a:path>
              </a:pathLst>
            </a:custGeom>
            <a:solidFill>
              <a:srgbClr val="FAE3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63" name="Freeform 1295">
              <a:extLst>
                <a:ext uri="{FF2B5EF4-FFF2-40B4-BE49-F238E27FC236}">
                  <a16:creationId xmlns:a16="http://schemas.microsoft.com/office/drawing/2014/main" id="{F7B90B6F-E956-87F9-0FED-6033F656CA12}"/>
                </a:ext>
              </a:extLst>
            </p:cNvPr>
            <p:cNvSpPr>
              <a:spLocks/>
            </p:cNvSpPr>
            <p:nvPr/>
          </p:nvSpPr>
          <p:spPr bwMode="auto">
            <a:xfrm>
              <a:off x="3587750" y="5287963"/>
              <a:ext cx="3175" cy="7938"/>
            </a:xfrm>
            <a:custGeom>
              <a:avLst/>
              <a:gdLst>
                <a:gd name="T0" fmla="*/ 0 w 5"/>
                <a:gd name="T1" fmla="*/ 0 h 11"/>
                <a:gd name="T2" fmla="*/ 4 w 5"/>
                <a:gd name="T3" fmla="*/ 10 h 11"/>
                <a:gd name="T4" fmla="*/ 5 w 5"/>
                <a:gd name="T5" fmla="*/ 11 h 11"/>
                <a:gd name="T6" fmla="*/ 0 w 5"/>
                <a:gd name="T7" fmla="*/ 0 h 11"/>
              </a:gdLst>
              <a:ahLst/>
              <a:cxnLst>
                <a:cxn ang="0">
                  <a:pos x="T0" y="T1"/>
                </a:cxn>
                <a:cxn ang="0">
                  <a:pos x="T2" y="T3"/>
                </a:cxn>
                <a:cxn ang="0">
                  <a:pos x="T4" y="T5"/>
                </a:cxn>
                <a:cxn ang="0">
                  <a:pos x="T6" y="T7"/>
                </a:cxn>
              </a:cxnLst>
              <a:rect l="0" t="0" r="r" b="b"/>
              <a:pathLst>
                <a:path w="5" h="11">
                  <a:moveTo>
                    <a:pt x="0" y="0"/>
                  </a:moveTo>
                  <a:cubicBezTo>
                    <a:pt x="1" y="3"/>
                    <a:pt x="2" y="7"/>
                    <a:pt x="4" y="10"/>
                  </a:cubicBezTo>
                  <a:cubicBezTo>
                    <a:pt x="5" y="11"/>
                    <a:pt x="5" y="11"/>
                    <a:pt x="5" y="11"/>
                  </a:cubicBezTo>
                  <a:cubicBezTo>
                    <a:pt x="3" y="7"/>
                    <a:pt x="1" y="4"/>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64" name="Freeform 1296">
              <a:extLst>
                <a:ext uri="{FF2B5EF4-FFF2-40B4-BE49-F238E27FC236}">
                  <a16:creationId xmlns:a16="http://schemas.microsoft.com/office/drawing/2014/main" id="{B045904F-E7DE-5F77-DE69-FAD8E7883001}"/>
                </a:ext>
              </a:extLst>
            </p:cNvPr>
            <p:cNvSpPr>
              <a:spLocks/>
            </p:cNvSpPr>
            <p:nvPr/>
          </p:nvSpPr>
          <p:spPr bwMode="auto">
            <a:xfrm>
              <a:off x="3587750" y="5287963"/>
              <a:ext cx="3175" cy="7938"/>
            </a:xfrm>
            <a:custGeom>
              <a:avLst/>
              <a:gdLst>
                <a:gd name="T0" fmla="*/ 0 w 5"/>
                <a:gd name="T1" fmla="*/ 0 h 11"/>
                <a:gd name="T2" fmla="*/ 0 w 5"/>
                <a:gd name="T3" fmla="*/ 0 h 11"/>
                <a:gd name="T4" fmla="*/ 5 w 5"/>
                <a:gd name="T5" fmla="*/ 11 h 11"/>
                <a:gd name="T6" fmla="*/ 5 w 5"/>
                <a:gd name="T7" fmla="*/ 11 h 11"/>
                <a:gd name="T8" fmla="*/ 0 w 5"/>
                <a:gd name="T9" fmla="*/ 0 h 11"/>
              </a:gdLst>
              <a:ahLst/>
              <a:cxnLst>
                <a:cxn ang="0">
                  <a:pos x="T0" y="T1"/>
                </a:cxn>
                <a:cxn ang="0">
                  <a:pos x="T2" y="T3"/>
                </a:cxn>
                <a:cxn ang="0">
                  <a:pos x="T4" y="T5"/>
                </a:cxn>
                <a:cxn ang="0">
                  <a:pos x="T6" y="T7"/>
                </a:cxn>
                <a:cxn ang="0">
                  <a:pos x="T8" y="T9"/>
                </a:cxn>
              </a:cxnLst>
              <a:rect l="0" t="0" r="r" b="b"/>
              <a:pathLst>
                <a:path w="5" h="11">
                  <a:moveTo>
                    <a:pt x="0" y="0"/>
                  </a:moveTo>
                  <a:cubicBezTo>
                    <a:pt x="0" y="0"/>
                    <a:pt x="0" y="0"/>
                    <a:pt x="0" y="0"/>
                  </a:cubicBezTo>
                  <a:cubicBezTo>
                    <a:pt x="1" y="4"/>
                    <a:pt x="3" y="7"/>
                    <a:pt x="5" y="11"/>
                  </a:cubicBezTo>
                  <a:cubicBezTo>
                    <a:pt x="5" y="11"/>
                    <a:pt x="5" y="11"/>
                    <a:pt x="5" y="11"/>
                  </a:cubicBezTo>
                  <a:cubicBezTo>
                    <a:pt x="3" y="7"/>
                    <a:pt x="1" y="4"/>
                    <a:pt x="0" y="0"/>
                  </a:cubicBezTo>
                </a:path>
              </a:pathLst>
            </a:custGeom>
            <a:solidFill>
              <a:srgbClr val="FFB4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65" name="Freeform 1297">
              <a:extLst>
                <a:ext uri="{FF2B5EF4-FFF2-40B4-BE49-F238E27FC236}">
                  <a16:creationId xmlns:a16="http://schemas.microsoft.com/office/drawing/2014/main" id="{529D943E-47F6-D2DA-D2FA-2E5A824799C8}"/>
                </a:ext>
              </a:extLst>
            </p:cNvPr>
            <p:cNvSpPr>
              <a:spLocks/>
            </p:cNvSpPr>
            <p:nvPr/>
          </p:nvSpPr>
          <p:spPr bwMode="auto">
            <a:xfrm>
              <a:off x="3586163" y="5273675"/>
              <a:ext cx="20638" cy="28575"/>
            </a:xfrm>
            <a:custGeom>
              <a:avLst/>
              <a:gdLst>
                <a:gd name="T0" fmla="*/ 1 w 25"/>
                <a:gd name="T1" fmla="*/ 0 h 36"/>
                <a:gd name="T2" fmla="*/ 1 w 25"/>
                <a:gd name="T3" fmla="*/ 0 h 36"/>
                <a:gd name="T4" fmla="*/ 1 w 25"/>
                <a:gd name="T5" fmla="*/ 17 h 36"/>
                <a:gd name="T6" fmla="*/ 6 w 25"/>
                <a:gd name="T7" fmla="*/ 28 h 36"/>
                <a:gd name="T8" fmla="*/ 15 w 25"/>
                <a:gd name="T9" fmla="*/ 36 h 36"/>
                <a:gd name="T10" fmla="*/ 25 w 25"/>
                <a:gd name="T11" fmla="*/ 9 h 36"/>
                <a:gd name="T12" fmla="*/ 1 w 25"/>
                <a:gd name="T13" fmla="*/ 0 h 36"/>
              </a:gdLst>
              <a:ahLst/>
              <a:cxnLst>
                <a:cxn ang="0">
                  <a:pos x="T0" y="T1"/>
                </a:cxn>
                <a:cxn ang="0">
                  <a:pos x="T2" y="T3"/>
                </a:cxn>
                <a:cxn ang="0">
                  <a:pos x="T4" y="T5"/>
                </a:cxn>
                <a:cxn ang="0">
                  <a:pos x="T6" y="T7"/>
                </a:cxn>
                <a:cxn ang="0">
                  <a:pos x="T8" y="T9"/>
                </a:cxn>
                <a:cxn ang="0">
                  <a:pos x="T10" y="T11"/>
                </a:cxn>
                <a:cxn ang="0">
                  <a:pos x="T12" y="T13"/>
                </a:cxn>
              </a:cxnLst>
              <a:rect l="0" t="0" r="r" b="b"/>
              <a:pathLst>
                <a:path w="25" h="36">
                  <a:moveTo>
                    <a:pt x="1" y="0"/>
                  </a:moveTo>
                  <a:cubicBezTo>
                    <a:pt x="1" y="0"/>
                    <a:pt x="1" y="0"/>
                    <a:pt x="1" y="0"/>
                  </a:cubicBezTo>
                  <a:cubicBezTo>
                    <a:pt x="0" y="6"/>
                    <a:pt x="0" y="11"/>
                    <a:pt x="1" y="17"/>
                  </a:cubicBezTo>
                  <a:cubicBezTo>
                    <a:pt x="2" y="21"/>
                    <a:pt x="4" y="24"/>
                    <a:pt x="6" y="28"/>
                  </a:cubicBezTo>
                  <a:cubicBezTo>
                    <a:pt x="15" y="36"/>
                    <a:pt x="15" y="36"/>
                    <a:pt x="15" y="36"/>
                  </a:cubicBezTo>
                  <a:cubicBezTo>
                    <a:pt x="25" y="9"/>
                    <a:pt x="25" y="9"/>
                    <a:pt x="25" y="9"/>
                  </a:cubicBezTo>
                  <a:cubicBezTo>
                    <a:pt x="1" y="0"/>
                    <a:pt x="1" y="0"/>
                    <a:pt x="1" y="0"/>
                  </a:cubicBezTo>
                </a:path>
              </a:pathLst>
            </a:custGeom>
            <a:solidFill>
              <a:srgbClr val="FF56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66" name="Freeform 1298">
              <a:extLst>
                <a:ext uri="{FF2B5EF4-FFF2-40B4-BE49-F238E27FC236}">
                  <a16:creationId xmlns:a16="http://schemas.microsoft.com/office/drawing/2014/main" id="{B7FBCC0E-FD31-8FD2-9916-2EE8309E85BB}"/>
                </a:ext>
              </a:extLst>
            </p:cNvPr>
            <p:cNvSpPr>
              <a:spLocks noEditPoints="1"/>
            </p:cNvSpPr>
            <p:nvPr/>
          </p:nvSpPr>
          <p:spPr bwMode="auto">
            <a:xfrm>
              <a:off x="3635375" y="528955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67" name="Freeform 1299">
              <a:extLst>
                <a:ext uri="{FF2B5EF4-FFF2-40B4-BE49-F238E27FC236}">
                  <a16:creationId xmlns:a16="http://schemas.microsoft.com/office/drawing/2014/main" id="{DB65A7A1-11D3-F8EF-706D-26C38495943B}"/>
                </a:ext>
              </a:extLst>
            </p:cNvPr>
            <p:cNvSpPr>
              <a:spLocks/>
            </p:cNvSpPr>
            <p:nvPr/>
          </p:nvSpPr>
          <p:spPr bwMode="auto">
            <a:xfrm>
              <a:off x="3625850" y="4873625"/>
              <a:ext cx="161925" cy="427038"/>
            </a:xfrm>
            <a:custGeom>
              <a:avLst/>
              <a:gdLst>
                <a:gd name="T0" fmla="*/ 186 w 200"/>
                <a:gd name="T1" fmla="*/ 0 h 526"/>
                <a:gd name="T2" fmla="*/ 0 w 200"/>
                <a:gd name="T3" fmla="*/ 509 h 526"/>
                <a:gd name="T4" fmla="*/ 12 w 200"/>
                <a:gd name="T5" fmla="*/ 514 h 526"/>
                <a:gd name="T6" fmla="*/ 2 w 200"/>
                <a:gd name="T7" fmla="*/ 526 h 526"/>
                <a:gd name="T8" fmla="*/ 13 w 200"/>
                <a:gd name="T9" fmla="*/ 512 h 526"/>
                <a:gd name="T10" fmla="*/ 13 w 200"/>
                <a:gd name="T11" fmla="*/ 512 h 526"/>
                <a:gd name="T12" fmla="*/ 13 w 200"/>
                <a:gd name="T13" fmla="*/ 512 h 526"/>
                <a:gd name="T14" fmla="*/ 13 w 200"/>
                <a:gd name="T15" fmla="*/ 512 h 526"/>
                <a:gd name="T16" fmla="*/ 13 w 200"/>
                <a:gd name="T17" fmla="*/ 512 h 526"/>
                <a:gd name="T18" fmla="*/ 199 w 200"/>
                <a:gd name="T19" fmla="*/ 4 h 526"/>
                <a:gd name="T20" fmla="*/ 200 w 200"/>
                <a:gd name="T21" fmla="*/ 1 h 526"/>
                <a:gd name="T22" fmla="*/ 187 w 200"/>
                <a:gd name="T23" fmla="*/ 0 h 526"/>
                <a:gd name="T24" fmla="*/ 186 w 200"/>
                <a:gd name="T25" fmla="*/ 0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526">
                  <a:moveTo>
                    <a:pt x="186" y="0"/>
                  </a:moveTo>
                  <a:cubicBezTo>
                    <a:pt x="0" y="509"/>
                    <a:pt x="0" y="509"/>
                    <a:pt x="0" y="509"/>
                  </a:cubicBezTo>
                  <a:cubicBezTo>
                    <a:pt x="12" y="514"/>
                    <a:pt x="12" y="514"/>
                    <a:pt x="12" y="514"/>
                  </a:cubicBezTo>
                  <a:cubicBezTo>
                    <a:pt x="10" y="519"/>
                    <a:pt x="6" y="523"/>
                    <a:pt x="2" y="526"/>
                  </a:cubicBezTo>
                  <a:cubicBezTo>
                    <a:pt x="7" y="523"/>
                    <a:pt x="11" y="518"/>
                    <a:pt x="13" y="512"/>
                  </a:cubicBezTo>
                  <a:cubicBezTo>
                    <a:pt x="13" y="512"/>
                    <a:pt x="13" y="512"/>
                    <a:pt x="13" y="512"/>
                  </a:cubicBezTo>
                  <a:cubicBezTo>
                    <a:pt x="13" y="512"/>
                    <a:pt x="13" y="512"/>
                    <a:pt x="13" y="512"/>
                  </a:cubicBezTo>
                  <a:cubicBezTo>
                    <a:pt x="13" y="512"/>
                    <a:pt x="13" y="512"/>
                    <a:pt x="13" y="512"/>
                  </a:cubicBezTo>
                  <a:cubicBezTo>
                    <a:pt x="13" y="512"/>
                    <a:pt x="13" y="512"/>
                    <a:pt x="13" y="512"/>
                  </a:cubicBezTo>
                  <a:cubicBezTo>
                    <a:pt x="199" y="4"/>
                    <a:pt x="199" y="4"/>
                    <a:pt x="199" y="4"/>
                  </a:cubicBezTo>
                  <a:cubicBezTo>
                    <a:pt x="199" y="3"/>
                    <a:pt x="200" y="2"/>
                    <a:pt x="200" y="1"/>
                  </a:cubicBezTo>
                  <a:cubicBezTo>
                    <a:pt x="187" y="0"/>
                    <a:pt x="187" y="0"/>
                    <a:pt x="187" y="0"/>
                  </a:cubicBezTo>
                  <a:cubicBezTo>
                    <a:pt x="186" y="0"/>
                    <a:pt x="186" y="0"/>
                    <a:pt x="186" y="0"/>
                  </a:cubicBezTo>
                </a:path>
              </a:pathLst>
            </a:custGeom>
            <a:solidFill>
              <a:srgbClr val="CC89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68" name="Freeform 1300">
              <a:extLst>
                <a:ext uri="{FF2B5EF4-FFF2-40B4-BE49-F238E27FC236}">
                  <a16:creationId xmlns:a16="http://schemas.microsoft.com/office/drawing/2014/main" id="{AD2956EF-85C8-760A-5D93-4DE684D5A6DB}"/>
                </a:ext>
              </a:extLst>
            </p:cNvPr>
            <p:cNvSpPr>
              <a:spLocks/>
            </p:cNvSpPr>
            <p:nvPr/>
          </p:nvSpPr>
          <p:spPr bwMode="auto">
            <a:xfrm>
              <a:off x="3776663" y="4873625"/>
              <a:ext cx="11113" cy="1588"/>
            </a:xfrm>
            <a:custGeom>
              <a:avLst/>
              <a:gdLst>
                <a:gd name="T0" fmla="*/ 0 w 13"/>
                <a:gd name="T1" fmla="*/ 0 h 1"/>
                <a:gd name="T2" fmla="*/ 13 w 13"/>
                <a:gd name="T3" fmla="*/ 1 h 1"/>
                <a:gd name="T4" fmla="*/ 13 w 13"/>
                <a:gd name="T5" fmla="*/ 1 h 1"/>
                <a:gd name="T6" fmla="*/ 0 w 13"/>
                <a:gd name="T7" fmla="*/ 0 h 1"/>
              </a:gdLst>
              <a:ahLst/>
              <a:cxnLst>
                <a:cxn ang="0">
                  <a:pos x="T0" y="T1"/>
                </a:cxn>
                <a:cxn ang="0">
                  <a:pos x="T2" y="T3"/>
                </a:cxn>
                <a:cxn ang="0">
                  <a:pos x="T4" y="T5"/>
                </a:cxn>
                <a:cxn ang="0">
                  <a:pos x="T6" y="T7"/>
                </a:cxn>
              </a:cxnLst>
              <a:rect l="0" t="0" r="r" b="b"/>
              <a:pathLst>
                <a:path w="13" h="1">
                  <a:moveTo>
                    <a:pt x="0" y="0"/>
                  </a:moveTo>
                  <a:cubicBezTo>
                    <a:pt x="13" y="1"/>
                    <a:pt x="13" y="1"/>
                    <a:pt x="13" y="1"/>
                  </a:cubicBezTo>
                  <a:cubicBezTo>
                    <a:pt x="13" y="1"/>
                    <a:pt x="13" y="1"/>
                    <a:pt x="13" y="1"/>
                  </a:cubicBezTo>
                  <a:cubicBezTo>
                    <a:pt x="0" y="0"/>
                    <a:pt x="0" y="0"/>
                    <a:pt x="0" y="0"/>
                  </a:cubicBezTo>
                </a:path>
              </a:pathLst>
            </a:custGeom>
            <a:solidFill>
              <a:srgbClr val="C7B3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69" name="Freeform 1301">
              <a:extLst>
                <a:ext uri="{FF2B5EF4-FFF2-40B4-BE49-F238E27FC236}">
                  <a16:creationId xmlns:a16="http://schemas.microsoft.com/office/drawing/2014/main" id="{51D586B7-E7C1-6E8D-5276-24A02F1D6DB5}"/>
                </a:ext>
              </a:extLst>
            </p:cNvPr>
            <p:cNvSpPr>
              <a:spLocks/>
            </p:cNvSpPr>
            <p:nvPr/>
          </p:nvSpPr>
          <p:spPr bwMode="auto">
            <a:xfrm>
              <a:off x="3627438" y="530066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path>
              </a:pathLst>
            </a:custGeom>
            <a:solidFill>
              <a:srgbClr val="CC89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70" name="Freeform 1302">
              <a:extLst>
                <a:ext uri="{FF2B5EF4-FFF2-40B4-BE49-F238E27FC236}">
                  <a16:creationId xmlns:a16="http://schemas.microsoft.com/office/drawing/2014/main" id="{7DF63045-212D-BEC8-6B8A-5046A23773C4}"/>
                </a:ext>
              </a:extLst>
            </p:cNvPr>
            <p:cNvSpPr>
              <a:spLocks/>
            </p:cNvSpPr>
            <p:nvPr/>
          </p:nvSpPr>
          <p:spPr bwMode="auto">
            <a:xfrm>
              <a:off x="3619500" y="5287963"/>
              <a:ext cx="15875" cy="17463"/>
            </a:xfrm>
            <a:custGeom>
              <a:avLst/>
              <a:gdLst>
                <a:gd name="T0" fmla="*/ 8 w 20"/>
                <a:gd name="T1" fmla="*/ 0 h 22"/>
                <a:gd name="T2" fmla="*/ 0 w 20"/>
                <a:gd name="T3" fmla="*/ 22 h 22"/>
                <a:gd name="T4" fmla="*/ 10 w 20"/>
                <a:gd name="T5" fmla="*/ 17 h 22"/>
                <a:gd name="T6" fmla="*/ 10 w 20"/>
                <a:gd name="T7" fmla="*/ 17 h 22"/>
                <a:gd name="T8" fmla="*/ 10 w 20"/>
                <a:gd name="T9" fmla="*/ 17 h 22"/>
                <a:gd name="T10" fmla="*/ 20 w 20"/>
                <a:gd name="T11" fmla="*/ 5 h 22"/>
                <a:gd name="T12" fmla="*/ 8 w 20"/>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20" h="22">
                  <a:moveTo>
                    <a:pt x="8" y="0"/>
                  </a:moveTo>
                  <a:cubicBezTo>
                    <a:pt x="0" y="22"/>
                    <a:pt x="0" y="22"/>
                    <a:pt x="0" y="22"/>
                  </a:cubicBezTo>
                  <a:cubicBezTo>
                    <a:pt x="3" y="21"/>
                    <a:pt x="7" y="20"/>
                    <a:pt x="10" y="17"/>
                  </a:cubicBezTo>
                  <a:cubicBezTo>
                    <a:pt x="10" y="17"/>
                    <a:pt x="10" y="17"/>
                    <a:pt x="10" y="17"/>
                  </a:cubicBezTo>
                  <a:cubicBezTo>
                    <a:pt x="10" y="17"/>
                    <a:pt x="10" y="17"/>
                    <a:pt x="10" y="17"/>
                  </a:cubicBezTo>
                  <a:cubicBezTo>
                    <a:pt x="14" y="14"/>
                    <a:pt x="18" y="10"/>
                    <a:pt x="20" y="5"/>
                  </a:cubicBezTo>
                  <a:cubicBezTo>
                    <a:pt x="8" y="0"/>
                    <a:pt x="8" y="0"/>
                    <a:pt x="8" y="0"/>
                  </a:cubicBezTo>
                </a:path>
              </a:pathLst>
            </a:custGeom>
            <a:solidFill>
              <a:srgbClr val="CC36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71" name="Freeform 1303">
              <a:extLst>
                <a:ext uri="{FF2B5EF4-FFF2-40B4-BE49-F238E27FC236}">
                  <a16:creationId xmlns:a16="http://schemas.microsoft.com/office/drawing/2014/main" id="{82D4FC39-892F-02D2-BE64-92F82AFAD8E7}"/>
                </a:ext>
              </a:extLst>
            </p:cNvPr>
            <p:cNvSpPr>
              <a:spLocks/>
            </p:cNvSpPr>
            <p:nvPr/>
          </p:nvSpPr>
          <p:spPr bwMode="auto">
            <a:xfrm>
              <a:off x="3667125" y="4826000"/>
              <a:ext cx="204788" cy="450850"/>
            </a:xfrm>
            <a:custGeom>
              <a:avLst/>
              <a:gdLst>
                <a:gd name="T0" fmla="*/ 193 w 251"/>
                <a:gd name="T1" fmla="*/ 0 h 556"/>
                <a:gd name="T2" fmla="*/ 192 w 251"/>
                <a:gd name="T3" fmla="*/ 2 h 556"/>
                <a:gd name="T4" fmla="*/ 5 w 251"/>
                <a:gd name="T5" fmla="*/ 510 h 556"/>
                <a:gd name="T6" fmla="*/ 24 w 251"/>
                <a:gd name="T7" fmla="*/ 550 h 556"/>
                <a:gd name="T8" fmla="*/ 65 w 251"/>
                <a:gd name="T9" fmla="*/ 532 h 556"/>
                <a:gd name="T10" fmla="*/ 251 w 251"/>
                <a:gd name="T11" fmla="*/ 24 h 556"/>
                <a:gd name="T12" fmla="*/ 251 w 251"/>
                <a:gd name="T13" fmla="*/ 21 h 556"/>
                <a:gd name="T14" fmla="*/ 222 w 251"/>
                <a:gd name="T15" fmla="*/ 11 h 556"/>
                <a:gd name="T16" fmla="*/ 193 w 251"/>
                <a:gd name="T17" fmla="*/ 0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1" h="556">
                  <a:moveTo>
                    <a:pt x="193" y="0"/>
                  </a:moveTo>
                  <a:cubicBezTo>
                    <a:pt x="192" y="0"/>
                    <a:pt x="192" y="1"/>
                    <a:pt x="192" y="2"/>
                  </a:cubicBezTo>
                  <a:cubicBezTo>
                    <a:pt x="5" y="510"/>
                    <a:pt x="5" y="510"/>
                    <a:pt x="5" y="510"/>
                  </a:cubicBezTo>
                  <a:cubicBezTo>
                    <a:pt x="0" y="526"/>
                    <a:pt x="8" y="544"/>
                    <a:pt x="24" y="550"/>
                  </a:cubicBezTo>
                  <a:cubicBezTo>
                    <a:pt x="40" y="556"/>
                    <a:pt x="59" y="548"/>
                    <a:pt x="65" y="532"/>
                  </a:cubicBezTo>
                  <a:cubicBezTo>
                    <a:pt x="251" y="24"/>
                    <a:pt x="251" y="24"/>
                    <a:pt x="251" y="24"/>
                  </a:cubicBezTo>
                  <a:cubicBezTo>
                    <a:pt x="251" y="23"/>
                    <a:pt x="251" y="22"/>
                    <a:pt x="251" y="21"/>
                  </a:cubicBezTo>
                  <a:cubicBezTo>
                    <a:pt x="222" y="11"/>
                    <a:pt x="222" y="11"/>
                    <a:pt x="222" y="11"/>
                  </a:cubicBezTo>
                  <a:cubicBezTo>
                    <a:pt x="193" y="0"/>
                    <a:pt x="193" y="0"/>
                    <a:pt x="193" y="0"/>
                  </a:cubicBezTo>
                </a:path>
              </a:pathLst>
            </a:custGeom>
            <a:solidFill>
              <a:srgbClr val="FF71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72" name="Freeform 1304">
              <a:extLst>
                <a:ext uri="{FF2B5EF4-FFF2-40B4-BE49-F238E27FC236}">
                  <a16:creationId xmlns:a16="http://schemas.microsoft.com/office/drawing/2014/main" id="{AFF37CAF-0108-F34C-4E11-2259AC410F28}"/>
                </a:ext>
              </a:extLst>
            </p:cNvPr>
            <p:cNvSpPr>
              <a:spLocks/>
            </p:cNvSpPr>
            <p:nvPr/>
          </p:nvSpPr>
          <p:spPr bwMode="auto">
            <a:xfrm>
              <a:off x="3822700" y="4792663"/>
              <a:ext cx="49213" cy="49213"/>
            </a:xfrm>
            <a:custGeom>
              <a:avLst/>
              <a:gdLst>
                <a:gd name="T0" fmla="*/ 25 w 31"/>
                <a:gd name="T1" fmla="*/ 0 h 31"/>
                <a:gd name="T2" fmla="*/ 28 w 31"/>
                <a:gd name="T3" fmla="*/ 16 h 31"/>
                <a:gd name="T4" fmla="*/ 31 w 31"/>
                <a:gd name="T5" fmla="*/ 31 h 31"/>
                <a:gd name="T6" fmla="*/ 15 w 31"/>
                <a:gd name="T7" fmla="*/ 30 h 31"/>
                <a:gd name="T8" fmla="*/ 0 w 31"/>
                <a:gd name="T9" fmla="*/ 21 h 31"/>
                <a:gd name="T10" fmla="*/ 13 w 31"/>
                <a:gd name="T11" fmla="*/ 10 h 31"/>
                <a:gd name="T12" fmla="*/ 25 w 31"/>
                <a:gd name="T13" fmla="*/ 0 h 31"/>
              </a:gdLst>
              <a:ahLst/>
              <a:cxnLst>
                <a:cxn ang="0">
                  <a:pos x="T0" y="T1"/>
                </a:cxn>
                <a:cxn ang="0">
                  <a:pos x="T2" y="T3"/>
                </a:cxn>
                <a:cxn ang="0">
                  <a:pos x="T4" y="T5"/>
                </a:cxn>
                <a:cxn ang="0">
                  <a:pos x="T6" y="T7"/>
                </a:cxn>
                <a:cxn ang="0">
                  <a:pos x="T8" y="T9"/>
                </a:cxn>
                <a:cxn ang="0">
                  <a:pos x="T10" y="T11"/>
                </a:cxn>
                <a:cxn ang="0">
                  <a:pos x="T12" y="T13"/>
                </a:cxn>
              </a:cxnLst>
              <a:rect l="0" t="0" r="r" b="b"/>
              <a:pathLst>
                <a:path w="31" h="31">
                  <a:moveTo>
                    <a:pt x="25" y="0"/>
                  </a:moveTo>
                  <a:lnTo>
                    <a:pt x="28" y="16"/>
                  </a:lnTo>
                  <a:lnTo>
                    <a:pt x="31" y="31"/>
                  </a:lnTo>
                  <a:lnTo>
                    <a:pt x="15" y="30"/>
                  </a:lnTo>
                  <a:lnTo>
                    <a:pt x="0" y="21"/>
                  </a:lnTo>
                  <a:lnTo>
                    <a:pt x="13" y="10"/>
                  </a:lnTo>
                  <a:lnTo>
                    <a:pt x="25" y="0"/>
                  </a:lnTo>
                  <a:close/>
                </a:path>
              </a:pathLst>
            </a:custGeom>
            <a:solidFill>
              <a:srgbClr val="F9E0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73" name="Freeform 1305">
              <a:extLst>
                <a:ext uri="{FF2B5EF4-FFF2-40B4-BE49-F238E27FC236}">
                  <a16:creationId xmlns:a16="http://schemas.microsoft.com/office/drawing/2014/main" id="{23149F1C-F2A9-72A4-90DA-C3487479CC1E}"/>
                </a:ext>
              </a:extLst>
            </p:cNvPr>
            <p:cNvSpPr>
              <a:spLocks/>
            </p:cNvSpPr>
            <p:nvPr/>
          </p:nvSpPr>
          <p:spPr bwMode="auto">
            <a:xfrm>
              <a:off x="3822700" y="4792663"/>
              <a:ext cx="49213" cy="49213"/>
            </a:xfrm>
            <a:custGeom>
              <a:avLst/>
              <a:gdLst>
                <a:gd name="T0" fmla="*/ 25 w 31"/>
                <a:gd name="T1" fmla="*/ 0 h 31"/>
                <a:gd name="T2" fmla="*/ 28 w 31"/>
                <a:gd name="T3" fmla="*/ 16 h 31"/>
                <a:gd name="T4" fmla="*/ 31 w 31"/>
                <a:gd name="T5" fmla="*/ 31 h 31"/>
                <a:gd name="T6" fmla="*/ 15 w 31"/>
                <a:gd name="T7" fmla="*/ 30 h 31"/>
                <a:gd name="T8" fmla="*/ 0 w 31"/>
                <a:gd name="T9" fmla="*/ 21 h 31"/>
                <a:gd name="T10" fmla="*/ 13 w 31"/>
                <a:gd name="T11" fmla="*/ 10 h 31"/>
                <a:gd name="T12" fmla="*/ 25 w 31"/>
                <a:gd name="T13" fmla="*/ 0 h 31"/>
              </a:gdLst>
              <a:ahLst/>
              <a:cxnLst>
                <a:cxn ang="0">
                  <a:pos x="T0" y="T1"/>
                </a:cxn>
                <a:cxn ang="0">
                  <a:pos x="T2" y="T3"/>
                </a:cxn>
                <a:cxn ang="0">
                  <a:pos x="T4" y="T5"/>
                </a:cxn>
                <a:cxn ang="0">
                  <a:pos x="T6" y="T7"/>
                </a:cxn>
                <a:cxn ang="0">
                  <a:pos x="T8" y="T9"/>
                </a:cxn>
                <a:cxn ang="0">
                  <a:pos x="T10" y="T11"/>
                </a:cxn>
                <a:cxn ang="0">
                  <a:pos x="T12" y="T13"/>
                </a:cxn>
              </a:cxnLst>
              <a:rect l="0" t="0" r="r" b="b"/>
              <a:pathLst>
                <a:path w="31" h="31">
                  <a:moveTo>
                    <a:pt x="25" y="0"/>
                  </a:moveTo>
                  <a:lnTo>
                    <a:pt x="28" y="16"/>
                  </a:lnTo>
                  <a:lnTo>
                    <a:pt x="31" y="31"/>
                  </a:lnTo>
                  <a:lnTo>
                    <a:pt x="15" y="30"/>
                  </a:lnTo>
                  <a:lnTo>
                    <a:pt x="0" y="21"/>
                  </a:lnTo>
                  <a:lnTo>
                    <a:pt x="13" y="10"/>
                  </a:lnTo>
                  <a:lnTo>
                    <a:pt x="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74" name="Freeform 1306">
              <a:extLst>
                <a:ext uri="{FF2B5EF4-FFF2-40B4-BE49-F238E27FC236}">
                  <a16:creationId xmlns:a16="http://schemas.microsoft.com/office/drawing/2014/main" id="{AAEA7927-43CE-4E67-1789-0FC0D231DBB8}"/>
                </a:ext>
              </a:extLst>
            </p:cNvPr>
            <p:cNvSpPr>
              <a:spLocks/>
            </p:cNvSpPr>
            <p:nvPr/>
          </p:nvSpPr>
          <p:spPr bwMode="auto">
            <a:xfrm>
              <a:off x="3854450" y="4792663"/>
              <a:ext cx="7938" cy="6350"/>
            </a:xfrm>
            <a:custGeom>
              <a:avLst/>
              <a:gdLst>
                <a:gd name="T0" fmla="*/ 5 w 5"/>
                <a:gd name="T1" fmla="*/ 0 h 4"/>
                <a:gd name="T2" fmla="*/ 0 w 5"/>
                <a:gd name="T3" fmla="*/ 4 h 4"/>
                <a:gd name="T4" fmla="*/ 0 w 5"/>
                <a:gd name="T5" fmla="*/ 4 h 4"/>
                <a:gd name="T6" fmla="*/ 5 w 5"/>
                <a:gd name="T7" fmla="*/ 0 h 4"/>
              </a:gdLst>
              <a:ahLst/>
              <a:cxnLst>
                <a:cxn ang="0">
                  <a:pos x="T0" y="T1"/>
                </a:cxn>
                <a:cxn ang="0">
                  <a:pos x="T2" y="T3"/>
                </a:cxn>
                <a:cxn ang="0">
                  <a:pos x="T4" y="T5"/>
                </a:cxn>
                <a:cxn ang="0">
                  <a:pos x="T6" y="T7"/>
                </a:cxn>
              </a:cxnLst>
              <a:rect l="0" t="0" r="r" b="b"/>
              <a:pathLst>
                <a:path w="5" h="4">
                  <a:moveTo>
                    <a:pt x="5" y="0"/>
                  </a:moveTo>
                  <a:lnTo>
                    <a:pt x="0" y="4"/>
                  </a:lnTo>
                  <a:lnTo>
                    <a:pt x="0" y="4"/>
                  </a:lnTo>
                  <a:lnTo>
                    <a:pt x="5" y="0"/>
                  </a:lnTo>
                  <a:close/>
                </a:path>
              </a:pathLst>
            </a:custGeom>
            <a:solidFill>
              <a:srgbClr val="4C280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75" name="Freeform 1307">
              <a:extLst>
                <a:ext uri="{FF2B5EF4-FFF2-40B4-BE49-F238E27FC236}">
                  <a16:creationId xmlns:a16="http://schemas.microsoft.com/office/drawing/2014/main" id="{2986BADB-B14E-DA77-0BBB-0F1A6676A23D}"/>
                </a:ext>
              </a:extLst>
            </p:cNvPr>
            <p:cNvSpPr>
              <a:spLocks/>
            </p:cNvSpPr>
            <p:nvPr/>
          </p:nvSpPr>
          <p:spPr bwMode="auto">
            <a:xfrm>
              <a:off x="3854450" y="4792663"/>
              <a:ext cx="7938" cy="6350"/>
            </a:xfrm>
            <a:custGeom>
              <a:avLst/>
              <a:gdLst>
                <a:gd name="T0" fmla="*/ 5 w 5"/>
                <a:gd name="T1" fmla="*/ 0 h 4"/>
                <a:gd name="T2" fmla="*/ 0 w 5"/>
                <a:gd name="T3" fmla="*/ 4 h 4"/>
                <a:gd name="T4" fmla="*/ 0 w 5"/>
                <a:gd name="T5" fmla="*/ 4 h 4"/>
                <a:gd name="T6" fmla="*/ 5 w 5"/>
                <a:gd name="T7" fmla="*/ 0 h 4"/>
              </a:gdLst>
              <a:ahLst/>
              <a:cxnLst>
                <a:cxn ang="0">
                  <a:pos x="T0" y="T1"/>
                </a:cxn>
                <a:cxn ang="0">
                  <a:pos x="T2" y="T3"/>
                </a:cxn>
                <a:cxn ang="0">
                  <a:pos x="T4" y="T5"/>
                </a:cxn>
                <a:cxn ang="0">
                  <a:pos x="T6" y="T7"/>
                </a:cxn>
              </a:cxnLst>
              <a:rect l="0" t="0" r="r" b="b"/>
              <a:pathLst>
                <a:path w="5" h="4">
                  <a:moveTo>
                    <a:pt x="5" y="0"/>
                  </a:moveTo>
                  <a:lnTo>
                    <a:pt x="0" y="4"/>
                  </a:lnTo>
                  <a:lnTo>
                    <a:pt x="0" y="4"/>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76" name="Freeform 1308">
              <a:extLst>
                <a:ext uri="{FF2B5EF4-FFF2-40B4-BE49-F238E27FC236}">
                  <a16:creationId xmlns:a16="http://schemas.microsoft.com/office/drawing/2014/main" id="{ED386C65-BC43-BD55-F233-A0075F5F137C}"/>
                </a:ext>
              </a:extLst>
            </p:cNvPr>
            <p:cNvSpPr>
              <a:spLocks/>
            </p:cNvSpPr>
            <p:nvPr/>
          </p:nvSpPr>
          <p:spPr bwMode="auto">
            <a:xfrm>
              <a:off x="3854450" y="4792663"/>
              <a:ext cx="9525" cy="14288"/>
            </a:xfrm>
            <a:custGeom>
              <a:avLst/>
              <a:gdLst>
                <a:gd name="T0" fmla="*/ 5 w 6"/>
                <a:gd name="T1" fmla="*/ 0 h 9"/>
                <a:gd name="T2" fmla="*/ 0 w 6"/>
                <a:gd name="T3" fmla="*/ 4 h 9"/>
                <a:gd name="T4" fmla="*/ 1 w 6"/>
                <a:gd name="T5" fmla="*/ 8 h 9"/>
                <a:gd name="T6" fmla="*/ 3 w 6"/>
                <a:gd name="T7" fmla="*/ 7 h 9"/>
                <a:gd name="T8" fmla="*/ 4 w 6"/>
                <a:gd name="T9" fmla="*/ 9 h 9"/>
                <a:gd name="T10" fmla="*/ 6 w 6"/>
                <a:gd name="T11" fmla="*/ 8 h 9"/>
                <a:gd name="T12" fmla="*/ 5 w 6"/>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6" h="9">
                  <a:moveTo>
                    <a:pt x="5" y="0"/>
                  </a:moveTo>
                  <a:lnTo>
                    <a:pt x="0" y="4"/>
                  </a:lnTo>
                  <a:lnTo>
                    <a:pt x="1" y="8"/>
                  </a:lnTo>
                  <a:lnTo>
                    <a:pt x="3" y="7"/>
                  </a:lnTo>
                  <a:lnTo>
                    <a:pt x="4" y="9"/>
                  </a:lnTo>
                  <a:lnTo>
                    <a:pt x="6" y="8"/>
                  </a:lnTo>
                  <a:lnTo>
                    <a:pt x="5" y="0"/>
                  </a:lnTo>
                  <a:close/>
                </a:path>
              </a:pathLst>
            </a:custGeom>
            <a:solidFill>
              <a:srgbClr val="4A43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77" name="Freeform 1309">
              <a:extLst>
                <a:ext uri="{FF2B5EF4-FFF2-40B4-BE49-F238E27FC236}">
                  <a16:creationId xmlns:a16="http://schemas.microsoft.com/office/drawing/2014/main" id="{B130E065-2E58-4E03-46B4-D4178A1E91E5}"/>
                </a:ext>
              </a:extLst>
            </p:cNvPr>
            <p:cNvSpPr>
              <a:spLocks/>
            </p:cNvSpPr>
            <p:nvPr/>
          </p:nvSpPr>
          <p:spPr bwMode="auto">
            <a:xfrm>
              <a:off x="3854450" y="4792663"/>
              <a:ext cx="9525" cy="14288"/>
            </a:xfrm>
            <a:custGeom>
              <a:avLst/>
              <a:gdLst>
                <a:gd name="T0" fmla="*/ 5 w 6"/>
                <a:gd name="T1" fmla="*/ 0 h 9"/>
                <a:gd name="T2" fmla="*/ 0 w 6"/>
                <a:gd name="T3" fmla="*/ 4 h 9"/>
                <a:gd name="T4" fmla="*/ 1 w 6"/>
                <a:gd name="T5" fmla="*/ 8 h 9"/>
                <a:gd name="T6" fmla="*/ 3 w 6"/>
                <a:gd name="T7" fmla="*/ 7 h 9"/>
                <a:gd name="T8" fmla="*/ 4 w 6"/>
                <a:gd name="T9" fmla="*/ 9 h 9"/>
                <a:gd name="T10" fmla="*/ 6 w 6"/>
                <a:gd name="T11" fmla="*/ 8 h 9"/>
                <a:gd name="T12" fmla="*/ 5 w 6"/>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6" h="9">
                  <a:moveTo>
                    <a:pt x="5" y="0"/>
                  </a:moveTo>
                  <a:lnTo>
                    <a:pt x="0" y="4"/>
                  </a:lnTo>
                  <a:lnTo>
                    <a:pt x="1" y="8"/>
                  </a:lnTo>
                  <a:lnTo>
                    <a:pt x="3" y="7"/>
                  </a:lnTo>
                  <a:lnTo>
                    <a:pt x="4" y="9"/>
                  </a:lnTo>
                  <a:lnTo>
                    <a:pt x="6" y="8"/>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78" name="Freeform 1310">
              <a:extLst>
                <a:ext uri="{FF2B5EF4-FFF2-40B4-BE49-F238E27FC236}">
                  <a16:creationId xmlns:a16="http://schemas.microsoft.com/office/drawing/2014/main" id="{109CEA5C-C354-4C16-AD2C-63D850F1EE56}"/>
                </a:ext>
              </a:extLst>
            </p:cNvPr>
            <p:cNvSpPr>
              <a:spLocks/>
            </p:cNvSpPr>
            <p:nvPr/>
          </p:nvSpPr>
          <p:spPr bwMode="auto">
            <a:xfrm>
              <a:off x="3667125" y="5240338"/>
              <a:ext cx="52388" cy="36513"/>
            </a:xfrm>
            <a:custGeom>
              <a:avLst/>
              <a:gdLst>
                <a:gd name="T0" fmla="*/ 5 w 64"/>
                <a:gd name="T1" fmla="*/ 0 h 44"/>
                <a:gd name="T2" fmla="*/ 24 w 64"/>
                <a:gd name="T3" fmla="*/ 38 h 44"/>
                <a:gd name="T4" fmla="*/ 64 w 64"/>
                <a:gd name="T5" fmla="*/ 22 h 44"/>
                <a:gd name="T6" fmla="*/ 5 w 64"/>
                <a:gd name="T7" fmla="*/ 0 h 44"/>
              </a:gdLst>
              <a:ahLst/>
              <a:cxnLst>
                <a:cxn ang="0">
                  <a:pos x="T0" y="T1"/>
                </a:cxn>
                <a:cxn ang="0">
                  <a:pos x="T2" y="T3"/>
                </a:cxn>
                <a:cxn ang="0">
                  <a:pos x="T4" y="T5"/>
                </a:cxn>
                <a:cxn ang="0">
                  <a:pos x="T6" y="T7"/>
                </a:cxn>
              </a:cxnLst>
              <a:rect l="0" t="0" r="r" b="b"/>
              <a:pathLst>
                <a:path w="64" h="44">
                  <a:moveTo>
                    <a:pt x="5" y="0"/>
                  </a:moveTo>
                  <a:cubicBezTo>
                    <a:pt x="0" y="16"/>
                    <a:pt x="9" y="33"/>
                    <a:pt x="24" y="38"/>
                  </a:cubicBezTo>
                  <a:cubicBezTo>
                    <a:pt x="40" y="44"/>
                    <a:pt x="57" y="37"/>
                    <a:pt x="64" y="22"/>
                  </a:cubicBezTo>
                  <a:cubicBezTo>
                    <a:pt x="5" y="0"/>
                    <a:pt x="5" y="0"/>
                    <a:pt x="5" y="0"/>
                  </a:cubicBezTo>
                </a:path>
              </a:pathLst>
            </a:custGeom>
            <a:solidFill>
              <a:srgbClr val="FF43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79" name="Freeform 1311">
              <a:extLst>
                <a:ext uri="{FF2B5EF4-FFF2-40B4-BE49-F238E27FC236}">
                  <a16:creationId xmlns:a16="http://schemas.microsoft.com/office/drawing/2014/main" id="{89B0777E-36A0-4291-8FC6-06BA674511F7}"/>
                </a:ext>
              </a:extLst>
            </p:cNvPr>
            <p:cNvSpPr>
              <a:spLocks noEditPoints="1"/>
            </p:cNvSpPr>
            <p:nvPr/>
          </p:nvSpPr>
          <p:spPr bwMode="auto">
            <a:xfrm>
              <a:off x="3671888" y="5083175"/>
              <a:ext cx="57150" cy="155575"/>
            </a:xfrm>
            <a:custGeom>
              <a:avLst/>
              <a:gdLst>
                <a:gd name="T0" fmla="*/ 0 w 71"/>
                <a:gd name="T1" fmla="*/ 193 h 193"/>
                <a:gd name="T2" fmla="*/ 0 w 71"/>
                <a:gd name="T3" fmla="*/ 193 h 193"/>
                <a:gd name="T4" fmla="*/ 0 w 71"/>
                <a:gd name="T5" fmla="*/ 193 h 193"/>
                <a:gd name="T6" fmla="*/ 71 w 71"/>
                <a:gd name="T7" fmla="*/ 0 h 193"/>
                <a:gd name="T8" fmla="*/ 71 w 71"/>
                <a:gd name="T9" fmla="*/ 0 h 193"/>
                <a:gd name="T10" fmla="*/ 0 w 71"/>
                <a:gd name="T11" fmla="*/ 193 h 193"/>
                <a:gd name="T12" fmla="*/ 0 w 71"/>
                <a:gd name="T13" fmla="*/ 193 h 193"/>
                <a:gd name="T14" fmla="*/ 0 w 71"/>
                <a:gd name="T15" fmla="*/ 193 h 193"/>
                <a:gd name="T16" fmla="*/ 71 w 71"/>
                <a:gd name="T17" fmla="*/ 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193">
                  <a:moveTo>
                    <a:pt x="0" y="193"/>
                  </a:moveTo>
                  <a:cubicBezTo>
                    <a:pt x="0" y="193"/>
                    <a:pt x="0" y="193"/>
                    <a:pt x="0" y="193"/>
                  </a:cubicBezTo>
                  <a:cubicBezTo>
                    <a:pt x="0" y="193"/>
                    <a:pt x="0" y="193"/>
                    <a:pt x="0" y="193"/>
                  </a:cubicBezTo>
                  <a:moveTo>
                    <a:pt x="71" y="0"/>
                  </a:moveTo>
                  <a:cubicBezTo>
                    <a:pt x="71" y="0"/>
                    <a:pt x="71" y="0"/>
                    <a:pt x="71" y="0"/>
                  </a:cubicBezTo>
                  <a:cubicBezTo>
                    <a:pt x="0" y="193"/>
                    <a:pt x="0" y="193"/>
                    <a:pt x="0" y="193"/>
                  </a:cubicBezTo>
                  <a:cubicBezTo>
                    <a:pt x="0" y="193"/>
                    <a:pt x="0" y="193"/>
                    <a:pt x="0" y="193"/>
                  </a:cubicBezTo>
                  <a:cubicBezTo>
                    <a:pt x="0" y="193"/>
                    <a:pt x="0" y="193"/>
                    <a:pt x="0" y="193"/>
                  </a:cubicBezTo>
                  <a:cubicBezTo>
                    <a:pt x="71" y="0"/>
                    <a:pt x="71" y="0"/>
                    <a:pt x="71" y="0"/>
                  </a:cubicBezTo>
                </a:path>
              </a:pathLst>
            </a:custGeom>
            <a:solidFill>
              <a:srgbClr val="2C8D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80" name="Freeform 1312">
              <a:extLst>
                <a:ext uri="{FF2B5EF4-FFF2-40B4-BE49-F238E27FC236}">
                  <a16:creationId xmlns:a16="http://schemas.microsoft.com/office/drawing/2014/main" id="{0A486E95-05BD-9CC2-5F1F-C3A527435778}"/>
                </a:ext>
              </a:extLst>
            </p:cNvPr>
            <p:cNvSpPr>
              <a:spLocks/>
            </p:cNvSpPr>
            <p:nvPr/>
          </p:nvSpPr>
          <p:spPr bwMode="auto">
            <a:xfrm>
              <a:off x="3671888" y="4826000"/>
              <a:ext cx="169863" cy="422275"/>
            </a:xfrm>
            <a:custGeom>
              <a:avLst/>
              <a:gdLst>
                <a:gd name="T0" fmla="*/ 188 w 209"/>
                <a:gd name="T1" fmla="*/ 0 h 521"/>
                <a:gd name="T2" fmla="*/ 187 w 209"/>
                <a:gd name="T3" fmla="*/ 2 h 521"/>
                <a:gd name="T4" fmla="*/ 71 w 209"/>
                <a:gd name="T5" fmla="*/ 317 h 521"/>
                <a:gd name="T6" fmla="*/ 0 w 209"/>
                <a:gd name="T7" fmla="*/ 510 h 521"/>
                <a:gd name="T8" fmla="*/ 0 w 209"/>
                <a:gd name="T9" fmla="*/ 510 h 521"/>
                <a:gd name="T10" fmla="*/ 0 w 209"/>
                <a:gd name="T11" fmla="*/ 510 h 521"/>
                <a:gd name="T12" fmla="*/ 0 w 209"/>
                <a:gd name="T13" fmla="*/ 510 h 521"/>
                <a:gd name="T14" fmla="*/ 0 w 209"/>
                <a:gd name="T15" fmla="*/ 512 h 521"/>
                <a:gd name="T16" fmla="*/ 0 w 209"/>
                <a:gd name="T17" fmla="*/ 512 h 521"/>
                <a:gd name="T18" fmla="*/ 23 w 209"/>
                <a:gd name="T19" fmla="*/ 521 h 521"/>
                <a:gd name="T20" fmla="*/ 209 w 209"/>
                <a:gd name="T21" fmla="*/ 15 h 521"/>
                <a:gd name="T22" fmla="*/ 188 w 209"/>
                <a:gd name="T23" fmla="*/ 0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9" h="521">
                  <a:moveTo>
                    <a:pt x="188" y="0"/>
                  </a:moveTo>
                  <a:cubicBezTo>
                    <a:pt x="187" y="0"/>
                    <a:pt x="187" y="1"/>
                    <a:pt x="187" y="2"/>
                  </a:cubicBezTo>
                  <a:cubicBezTo>
                    <a:pt x="71" y="317"/>
                    <a:pt x="71" y="317"/>
                    <a:pt x="71" y="317"/>
                  </a:cubicBezTo>
                  <a:cubicBezTo>
                    <a:pt x="0" y="510"/>
                    <a:pt x="0" y="510"/>
                    <a:pt x="0" y="510"/>
                  </a:cubicBezTo>
                  <a:cubicBezTo>
                    <a:pt x="0" y="510"/>
                    <a:pt x="0" y="510"/>
                    <a:pt x="0" y="510"/>
                  </a:cubicBezTo>
                  <a:cubicBezTo>
                    <a:pt x="0" y="510"/>
                    <a:pt x="0" y="510"/>
                    <a:pt x="0" y="510"/>
                  </a:cubicBezTo>
                  <a:cubicBezTo>
                    <a:pt x="0" y="510"/>
                    <a:pt x="0" y="510"/>
                    <a:pt x="0" y="510"/>
                  </a:cubicBezTo>
                  <a:cubicBezTo>
                    <a:pt x="0" y="511"/>
                    <a:pt x="0" y="512"/>
                    <a:pt x="0" y="512"/>
                  </a:cubicBezTo>
                  <a:cubicBezTo>
                    <a:pt x="0" y="512"/>
                    <a:pt x="0" y="512"/>
                    <a:pt x="0" y="512"/>
                  </a:cubicBezTo>
                  <a:cubicBezTo>
                    <a:pt x="23" y="521"/>
                    <a:pt x="23" y="521"/>
                    <a:pt x="23" y="521"/>
                  </a:cubicBezTo>
                  <a:cubicBezTo>
                    <a:pt x="209" y="15"/>
                    <a:pt x="209" y="15"/>
                    <a:pt x="209" y="15"/>
                  </a:cubicBezTo>
                  <a:cubicBezTo>
                    <a:pt x="188" y="0"/>
                    <a:pt x="188" y="0"/>
                    <a:pt x="188" y="0"/>
                  </a:cubicBezTo>
                </a:path>
              </a:pathLst>
            </a:custGeom>
            <a:solidFill>
              <a:srgbClr val="FF7F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81" name="Freeform 1313">
              <a:extLst>
                <a:ext uri="{FF2B5EF4-FFF2-40B4-BE49-F238E27FC236}">
                  <a16:creationId xmlns:a16="http://schemas.microsoft.com/office/drawing/2014/main" id="{778DBC7C-6D8C-0EBA-34F4-D250C78772D1}"/>
                </a:ext>
              </a:extLst>
            </p:cNvPr>
            <p:cNvSpPr>
              <a:spLocks/>
            </p:cNvSpPr>
            <p:nvPr/>
          </p:nvSpPr>
          <p:spPr bwMode="auto">
            <a:xfrm>
              <a:off x="3824288" y="4826000"/>
              <a:ext cx="19050" cy="11113"/>
            </a:xfrm>
            <a:custGeom>
              <a:avLst/>
              <a:gdLst>
                <a:gd name="T0" fmla="*/ 0 w 23"/>
                <a:gd name="T1" fmla="*/ 0 h 15"/>
                <a:gd name="T2" fmla="*/ 0 w 23"/>
                <a:gd name="T3" fmla="*/ 0 h 15"/>
                <a:gd name="T4" fmla="*/ 0 w 23"/>
                <a:gd name="T5" fmla="*/ 0 h 15"/>
                <a:gd name="T6" fmla="*/ 21 w 23"/>
                <a:gd name="T7" fmla="*/ 15 h 15"/>
                <a:gd name="T8" fmla="*/ 23 w 23"/>
                <a:gd name="T9" fmla="*/ 8 h 15"/>
                <a:gd name="T10" fmla="*/ 0 w 23"/>
                <a:gd name="T11" fmla="*/ 0 h 15"/>
              </a:gdLst>
              <a:ahLst/>
              <a:cxnLst>
                <a:cxn ang="0">
                  <a:pos x="T0" y="T1"/>
                </a:cxn>
                <a:cxn ang="0">
                  <a:pos x="T2" y="T3"/>
                </a:cxn>
                <a:cxn ang="0">
                  <a:pos x="T4" y="T5"/>
                </a:cxn>
                <a:cxn ang="0">
                  <a:pos x="T6" y="T7"/>
                </a:cxn>
                <a:cxn ang="0">
                  <a:pos x="T8" y="T9"/>
                </a:cxn>
                <a:cxn ang="0">
                  <a:pos x="T10" y="T11"/>
                </a:cxn>
              </a:cxnLst>
              <a:rect l="0" t="0" r="r" b="b"/>
              <a:pathLst>
                <a:path w="23" h="15">
                  <a:moveTo>
                    <a:pt x="0" y="0"/>
                  </a:moveTo>
                  <a:cubicBezTo>
                    <a:pt x="0" y="0"/>
                    <a:pt x="0" y="0"/>
                    <a:pt x="0" y="0"/>
                  </a:cubicBezTo>
                  <a:cubicBezTo>
                    <a:pt x="0" y="0"/>
                    <a:pt x="0" y="0"/>
                    <a:pt x="0" y="0"/>
                  </a:cubicBezTo>
                  <a:cubicBezTo>
                    <a:pt x="21" y="15"/>
                    <a:pt x="21" y="15"/>
                    <a:pt x="21" y="15"/>
                  </a:cubicBezTo>
                  <a:cubicBezTo>
                    <a:pt x="23" y="8"/>
                    <a:pt x="23" y="8"/>
                    <a:pt x="23" y="8"/>
                  </a:cubicBezTo>
                  <a:cubicBezTo>
                    <a:pt x="0" y="0"/>
                    <a:pt x="0" y="0"/>
                    <a:pt x="0" y="0"/>
                  </a:cubicBezTo>
                </a:path>
              </a:pathLst>
            </a:custGeom>
            <a:solidFill>
              <a:srgbClr val="FAE3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82" name="Freeform 1314">
              <a:extLst>
                <a:ext uri="{FF2B5EF4-FFF2-40B4-BE49-F238E27FC236}">
                  <a16:creationId xmlns:a16="http://schemas.microsoft.com/office/drawing/2014/main" id="{762D2059-4C21-B63C-251D-39896F053C8B}"/>
                </a:ext>
              </a:extLst>
            </p:cNvPr>
            <p:cNvSpPr>
              <a:spLocks/>
            </p:cNvSpPr>
            <p:nvPr/>
          </p:nvSpPr>
          <p:spPr bwMode="auto">
            <a:xfrm>
              <a:off x="3671888" y="5254625"/>
              <a:ext cx="3175" cy="7938"/>
            </a:xfrm>
            <a:custGeom>
              <a:avLst/>
              <a:gdLst>
                <a:gd name="T0" fmla="*/ 0 w 5"/>
                <a:gd name="T1" fmla="*/ 0 h 10"/>
                <a:gd name="T2" fmla="*/ 4 w 5"/>
                <a:gd name="T3" fmla="*/ 9 h 10"/>
                <a:gd name="T4" fmla="*/ 5 w 5"/>
                <a:gd name="T5" fmla="*/ 10 h 10"/>
                <a:gd name="T6" fmla="*/ 0 w 5"/>
                <a:gd name="T7" fmla="*/ 0 h 10"/>
              </a:gdLst>
              <a:ahLst/>
              <a:cxnLst>
                <a:cxn ang="0">
                  <a:pos x="T0" y="T1"/>
                </a:cxn>
                <a:cxn ang="0">
                  <a:pos x="T2" y="T3"/>
                </a:cxn>
                <a:cxn ang="0">
                  <a:pos x="T4" y="T5"/>
                </a:cxn>
                <a:cxn ang="0">
                  <a:pos x="T6" y="T7"/>
                </a:cxn>
              </a:cxnLst>
              <a:rect l="0" t="0" r="r" b="b"/>
              <a:pathLst>
                <a:path w="5" h="10">
                  <a:moveTo>
                    <a:pt x="0" y="0"/>
                  </a:moveTo>
                  <a:cubicBezTo>
                    <a:pt x="0" y="3"/>
                    <a:pt x="2" y="7"/>
                    <a:pt x="4" y="9"/>
                  </a:cubicBezTo>
                  <a:cubicBezTo>
                    <a:pt x="5" y="10"/>
                    <a:pt x="5" y="10"/>
                    <a:pt x="5" y="10"/>
                  </a:cubicBezTo>
                  <a:cubicBezTo>
                    <a:pt x="2" y="7"/>
                    <a:pt x="1" y="4"/>
                    <a:pt x="0" y="0"/>
                  </a:cubicBezTo>
                </a:path>
              </a:pathLst>
            </a:custGeom>
            <a:solidFill>
              <a:srgbClr val="2C8D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83" name="Freeform 1315">
              <a:extLst>
                <a:ext uri="{FF2B5EF4-FFF2-40B4-BE49-F238E27FC236}">
                  <a16:creationId xmlns:a16="http://schemas.microsoft.com/office/drawing/2014/main" id="{2FA97BC9-72CA-9A1C-1D5D-1F944A3A622E}"/>
                </a:ext>
              </a:extLst>
            </p:cNvPr>
            <p:cNvSpPr>
              <a:spLocks/>
            </p:cNvSpPr>
            <p:nvPr/>
          </p:nvSpPr>
          <p:spPr bwMode="auto">
            <a:xfrm>
              <a:off x="3671888" y="5254625"/>
              <a:ext cx="3175" cy="7938"/>
            </a:xfrm>
            <a:custGeom>
              <a:avLst/>
              <a:gdLst>
                <a:gd name="T0" fmla="*/ 0 w 5"/>
                <a:gd name="T1" fmla="*/ 0 h 10"/>
                <a:gd name="T2" fmla="*/ 0 w 5"/>
                <a:gd name="T3" fmla="*/ 0 h 10"/>
                <a:gd name="T4" fmla="*/ 5 w 5"/>
                <a:gd name="T5" fmla="*/ 10 h 10"/>
                <a:gd name="T6" fmla="*/ 5 w 5"/>
                <a:gd name="T7" fmla="*/ 10 h 10"/>
                <a:gd name="T8" fmla="*/ 0 w 5"/>
                <a:gd name="T9" fmla="*/ 0 h 10"/>
              </a:gdLst>
              <a:ahLst/>
              <a:cxnLst>
                <a:cxn ang="0">
                  <a:pos x="T0" y="T1"/>
                </a:cxn>
                <a:cxn ang="0">
                  <a:pos x="T2" y="T3"/>
                </a:cxn>
                <a:cxn ang="0">
                  <a:pos x="T4" y="T5"/>
                </a:cxn>
                <a:cxn ang="0">
                  <a:pos x="T6" y="T7"/>
                </a:cxn>
                <a:cxn ang="0">
                  <a:pos x="T8" y="T9"/>
                </a:cxn>
              </a:cxnLst>
              <a:rect l="0" t="0" r="r" b="b"/>
              <a:pathLst>
                <a:path w="5" h="10">
                  <a:moveTo>
                    <a:pt x="0" y="0"/>
                  </a:moveTo>
                  <a:cubicBezTo>
                    <a:pt x="0" y="0"/>
                    <a:pt x="0" y="0"/>
                    <a:pt x="0" y="0"/>
                  </a:cubicBezTo>
                  <a:cubicBezTo>
                    <a:pt x="1" y="4"/>
                    <a:pt x="2" y="7"/>
                    <a:pt x="5" y="10"/>
                  </a:cubicBezTo>
                  <a:cubicBezTo>
                    <a:pt x="5" y="10"/>
                    <a:pt x="5" y="10"/>
                    <a:pt x="5" y="10"/>
                  </a:cubicBezTo>
                  <a:cubicBezTo>
                    <a:pt x="2" y="7"/>
                    <a:pt x="0" y="3"/>
                    <a:pt x="0" y="0"/>
                  </a:cubicBezTo>
                </a:path>
              </a:pathLst>
            </a:custGeom>
            <a:solidFill>
              <a:srgbClr val="FF7F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84" name="Freeform 1316">
              <a:extLst>
                <a:ext uri="{FF2B5EF4-FFF2-40B4-BE49-F238E27FC236}">
                  <a16:creationId xmlns:a16="http://schemas.microsoft.com/office/drawing/2014/main" id="{42532E8D-A4BF-9FFC-E8A3-24326EFC80F5}"/>
                </a:ext>
              </a:extLst>
            </p:cNvPr>
            <p:cNvSpPr>
              <a:spLocks/>
            </p:cNvSpPr>
            <p:nvPr/>
          </p:nvSpPr>
          <p:spPr bwMode="auto">
            <a:xfrm>
              <a:off x="3683000" y="527050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path>
              </a:pathLst>
            </a:custGeom>
            <a:solidFill>
              <a:srgbClr val="2C8D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85" name="Freeform 1317">
              <a:extLst>
                <a:ext uri="{FF2B5EF4-FFF2-40B4-BE49-F238E27FC236}">
                  <a16:creationId xmlns:a16="http://schemas.microsoft.com/office/drawing/2014/main" id="{020458E4-399F-3746-E6B1-C9A372B5F344}"/>
                </a:ext>
              </a:extLst>
            </p:cNvPr>
            <p:cNvSpPr>
              <a:spLocks/>
            </p:cNvSpPr>
            <p:nvPr/>
          </p:nvSpPr>
          <p:spPr bwMode="auto">
            <a:xfrm>
              <a:off x="3670300" y="5240338"/>
              <a:ext cx="20638" cy="30163"/>
            </a:xfrm>
            <a:custGeom>
              <a:avLst/>
              <a:gdLst>
                <a:gd name="T0" fmla="*/ 2 w 25"/>
                <a:gd name="T1" fmla="*/ 0 h 36"/>
                <a:gd name="T2" fmla="*/ 2 w 25"/>
                <a:gd name="T3" fmla="*/ 0 h 36"/>
                <a:gd name="T4" fmla="*/ 2 w 25"/>
                <a:gd name="T5" fmla="*/ 17 h 36"/>
                <a:gd name="T6" fmla="*/ 7 w 25"/>
                <a:gd name="T7" fmla="*/ 27 h 36"/>
                <a:gd name="T8" fmla="*/ 16 w 25"/>
                <a:gd name="T9" fmla="*/ 36 h 36"/>
                <a:gd name="T10" fmla="*/ 16 w 25"/>
                <a:gd name="T11" fmla="*/ 36 h 36"/>
                <a:gd name="T12" fmla="*/ 25 w 25"/>
                <a:gd name="T13" fmla="*/ 9 h 36"/>
                <a:gd name="T14" fmla="*/ 2 w 25"/>
                <a:gd name="T15" fmla="*/ 0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36">
                  <a:moveTo>
                    <a:pt x="2" y="0"/>
                  </a:moveTo>
                  <a:cubicBezTo>
                    <a:pt x="2" y="0"/>
                    <a:pt x="2" y="0"/>
                    <a:pt x="2" y="0"/>
                  </a:cubicBezTo>
                  <a:cubicBezTo>
                    <a:pt x="0" y="6"/>
                    <a:pt x="0" y="11"/>
                    <a:pt x="2" y="17"/>
                  </a:cubicBezTo>
                  <a:cubicBezTo>
                    <a:pt x="2" y="20"/>
                    <a:pt x="4" y="24"/>
                    <a:pt x="7" y="27"/>
                  </a:cubicBezTo>
                  <a:cubicBezTo>
                    <a:pt x="16" y="36"/>
                    <a:pt x="16" y="36"/>
                    <a:pt x="16" y="36"/>
                  </a:cubicBezTo>
                  <a:cubicBezTo>
                    <a:pt x="16" y="36"/>
                    <a:pt x="16" y="36"/>
                    <a:pt x="16" y="36"/>
                  </a:cubicBezTo>
                  <a:cubicBezTo>
                    <a:pt x="25" y="9"/>
                    <a:pt x="25" y="9"/>
                    <a:pt x="25" y="9"/>
                  </a:cubicBezTo>
                  <a:cubicBezTo>
                    <a:pt x="2" y="0"/>
                    <a:pt x="2" y="0"/>
                    <a:pt x="2" y="0"/>
                  </a:cubicBezTo>
                </a:path>
              </a:pathLst>
            </a:custGeom>
            <a:solidFill>
              <a:srgbClr val="FF56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86" name="Freeform 1318">
              <a:extLst>
                <a:ext uri="{FF2B5EF4-FFF2-40B4-BE49-F238E27FC236}">
                  <a16:creationId xmlns:a16="http://schemas.microsoft.com/office/drawing/2014/main" id="{EFC33BA7-27FF-146F-D56C-AB30621C3071}"/>
                </a:ext>
              </a:extLst>
            </p:cNvPr>
            <p:cNvSpPr>
              <a:spLocks noEditPoints="1"/>
            </p:cNvSpPr>
            <p:nvPr/>
          </p:nvSpPr>
          <p:spPr bwMode="auto">
            <a:xfrm>
              <a:off x="3717925" y="5257800"/>
              <a:ext cx="1588" cy="1588"/>
            </a:xfrm>
            <a:custGeom>
              <a:avLst/>
              <a:gdLst>
                <a:gd name="T0" fmla="*/ 0 w 2"/>
                <a:gd name="T1" fmla="*/ 3 h 3"/>
                <a:gd name="T2" fmla="*/ 0 w 2"/>
                <a:gd name="T3" fmla="*/ 3 h 3"/>
                <a:gd name="T4" fmla="*/ 0 w 2"/>
                <a:gd name="T5" fmla="*/ 3 h 3"/>
                <a:gd name="T6" fmla="*/ 0 w 2"/>
                <a:gd name="T7" fmla="*/ 2 h 3"/>
                <a:gd name="T8" fmla="*/ 0 w 2"/>
                <a:gd name="T9" fmla="*/ 2 h 3"/>
                <a:gd name="T10" fmla="*/ 0 w 2"/>
                <a:gd name="T11" fmla="*/ 2 h 3"/>
                <a:gd name="T12" fmla="*/ 1 w 2"/>
                <a:gd name="T13" fmla="*/ 2 h 3"/>
                <a:gd name="T14" fmla="*/ 1 w 2"/>
                <a:gd name="T15" fmla="*/ 2 h 3"/>
                <a:gd name="T16" fmla="*/ 1 w 2"/>
                <a:gd name="T17" fmla="*/ 2 h 3"/>
                <a:gd name="T18" fmla="*/ 1 w 2"/>
                <a:gd name="T19" fmla="*/ 2 h 3"/>
                <a:gd name="T20" fmla="*/ 1 w 2"/>
                <a:gd name="T21" fmla="*/ 2 h 3"/>
                <a:gd name="T22" fmla="*/ 1 w 2"/>
                <a:gd name="T23" fmla="*/ 2 h 3"/>
                <a:gd name="T24" fmla="*/ 1 w 2"/>
                <a:gd name="T25" fmla="*/ 2 h 3"/>
                <a:gd name="T26" fmla="*/ 1 w 2"/>
                <a:gd name="T27" fmla="*/ 2 h 3"/>
                <a:gd name="T28" fmla="*/ 1 w 2"/>
                <a:gd name="T29" fmla="*/ 2 h 3"/>
                <a:gd name="T30" fmla="*/ 1 w 2"/>
                <a:gd name="T31" fmla="*/ 2 h 3"/>
                <a:gd name="T32" fmla="*/ 1 w 2"/>
                <a:gd name="T33" fmla="*/ 2 h 3"/>
                <a:gd name="T34" fmla="*/ 1 w 2"/>
                <a:gd name="T35" fmla="*/ 2 h 3"/>
                <a:gd name="T36" fmla="*/ 1 w 2"/>
                <a:gd name="T37" fmla="*/ 2 h 3"/>
                <a:gd name="T38" fmla="*/ 1 w 2"/>
                <a:gd name="T39" fmla="*/ 2 h 3"/>
                <a:gd name="T40" fmla="*/ 1 w 2"/>
                <a:gd name="T41" fmla="*/ 2 h 3"/>
                <a:gd name="T42" fmla="*/ 1 w 2"/>
                <a:gd name="T43" fmla="*/ 1 h 3"/>
                <a:gd name="T44" fmla="*/ 1 w 2"/>
                <a:gd name="T45" fmla="*/ 1 h 3"/>
                <a:gd name="T46" fmla="*/ 1 w 2"/>
                <a:gd name="T47" fmla="*/ 1 h 3"/>
                <a:gd name="T48" fmla="*/ 1 w 2"/>
                <a:gd name="T49" fmla="*/ 1 h 3"/>
                <a:gd name="T50" fmla="*/ 1 w 2"/>
                <a:gd name="T51" fmla="*/ 1 h 3"/>
                <a:gd name="T52" fmla="*/ 1 w 2"/>
                <a:gd name="T53" fmla="*/ 1 h 3"/>
                <a:gd name="T54" fmla="*/ 1 w 2"/>
                <a:gd name="T55" fmla="*/ 1 h 3"/>
                <a:gd name="T56" fmla="*/ 1 w 2"/>
                <a:gd name="T57" fmla="*/ 1 h 3"/>
                <a:gd name="T58" fmla="*/ 1 w 2"/>
                <a:gd name="T59" fmla="*/ 1 h 3"/>
                <a:gd name="T60" fmla="*/ 1 w 2"/>
                <a:gd name="T61" fmla="*/ 1 h 3"/>
                <a:gd name="T62" fmla="*/ 1 w 2"/>
                <a:gd name="T63" fmla="*/ 1 h 3"/>
                <a:gd name="T64" fmla="*/ 1 w 2"/>
                <a:gd name="T65" fmla="*/ 1 h 3"/>
                <a:gd name="T66" fmla="*/ 1 w 2"/>
                <a:gd name="T67" fmla="*/ 1 h 3"/>
                <a:gd name="T68" fmla="*/ 1 w 2"/>
                <a:gd name="T69" fmla="*/ 1 h 3"/>
                <a:gd name="T70" fmla="*/ 1 w 2"/>
                <a:gd name="T71" fmla="*/ 1 h 3"/>
                <a:gd name="T72" fmla="*/ 1 w 2"/>
                <a:gd name="T73" fmla="*/ 1 h 3"/>
                <a:gd name="T74" fmla="*/ 1 w 2"/>
                <a:gd name="T75" fmla="*/ 1 h 3"/>
                <a:gd name="T76" fmla="*/ 1 w 2"/>
                <a:gd name="T77" fmla="*/ 1 h 3"/>
                <a:gd name="T78" fmla="*/ 1 w 2"/>
                <a:gd name="T79" fmla="*/ 0 h 3"/>
                <a:gd name="T80" fmla="*/ 1 w 2"/>
                <a:gd name="T81" fmla="*/ 1 h 3"/>
                <a:gd name="T82" fmla="*/ 1 w 2"/>
                <a:gd name="T83" fmla="*/ 0 h 3"/>
                <a:gd name="T84" fmla="*/ 1 w 2"/>
                <a:gd name="T85" fmla="*/ 0 h 3"/>
                <a:gd name="T86" fmla="*/ 1 w 2"/>
                <a:gd name="T87" fmla="*/ 0 h 3"/>
                <a:gd name="T88" fmla="*/ 1 w 2"/>
                <a:gd name="T89" fmla="*/ 0 h 3"/>
                <a:gd name="T90" fmla="*/ 1 w 2"/>
                <a:gd name="T91" fmla="*/ 0 h 3"/>
                <a:gd name="T92" fmla="*/ 1 w 2"/>
                <a:gd name="T93" fmla="*/ 0 h 3"/>
                <a:gd name="T94" fmla="*/ 1 w 2"/>
                <a:gd name="T95" fmla="*/ 0 h 3"/>
                <a:gd name="T96" fmla="*/ 1 w 2"/>
                <a:gd name="T97" fmla="*/ 0 h 3"/>
                <a:gd name="T98" fmla="*/ 1 w 2"/>
                <a:gd name="T99" fmla="*/ 0 h 3"/>
                <a:gd name="T100" fmla="*/ 1 w 2"/>
                <a:gd name="T101" fmla="*/ 0 h 3"/>
                <a:gd name="T102" fmla="*/ 1 w 2"/>
                <a:gd name="T103" fmla="*/ 0 h 3"/>
                <a:gd name="T104" fmla="*/ 1 w 2"/>
                <a:gd name="T105" fmla="*/ 0 h 3"/>
                <a:gd name="T106" fmla="*/ 1 w 2"/>
                <a:gd name="T107" fmla="*/ 0 h 3"/>
                <a:gd name="T108" fmla="*/ 2 w 2"/>
                <a:gd name="T109" fmla="*/ 0 h 3"/>
                <a:gd name="T110" fmla="*/ 1 w 2"/>
                <a:gd name="T111" fmla="*/ 0 h 3"/>
                <a:gd name="T112" fmla="*/ 2 w 2"/>
                <a:gd name="T113"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 h="3">
                  <a:moveTo>
                    <a:pt x="0" y="3"/>
                  </a:moveTo>
                  <a:cubicBezTo>
                    <a:pt x="0" y="3"/>
                    <a:pt x="0" y="3"/>
                    <a:pt x="0" y="3"/>
                  </a:cubicBezTo>
                  <a:cubicBezTo>
                    <a:pt x="0" y="3"/>
                    <a:pt x="0" y="3"/>
                    <a:pt x="0" y="3"/>
                  </a:cubicBezTo>
                  <a:moveTo>
                    <a:pt x="0" y="2"/>
                  </a:moveTo>
                  <a:cubicBezTo>
                    <a:pt x="0" y="2"/>
                    <a:pt x="0" y="2"/>
                    <a:pt x="0" y="2"/>
                  </a:cubicBezTo>
                  <a:cubicBezTo>
                    <a:pt x="0" y="2"/>
                    <a:pt x="0" y="2"/>
                    <a:pt x="0" y="2"/>
                  </a:cubicBezTo>
                  <a:moveTo>
                    <a:pt x="1" y="2"/>
                  </a:moveTo>
                  <a:cubicBezTo>
                    <a:pt x="1" y="2"/>
                    <a:pt x="1" y="2"/>
                    <a:pt x="1" y="2"/>
                  </a:cubicBezTo>
                  <a:cubicBezTo>
                    <a:pt x="1" y="2"/>
                    <a:pt x="1" y="2"/>
                    <a:pt x="1" y="2"/>
                  </a:cubicBezTo>
                  <a:moveTo>
                    <a:pt x="1" y="2"/>
                  </a:moveTo>
                  <a:cubicBezTo>
                    <a:pt x="1" y="2"/>
                    <a:pt x="1" y="2"/>
                    <a:pt x="1" y="2"/>
                  </a:cubicBezTo>
                  <a:cubicBezTo>
                    <a:pt x="1" y="2"/>
                    <a:pt x="1" y="2"/>
                    <a:pt x="1" y="2"/>
                  </a:cubicBezTo>
                  <a:moveTo>
                    <a:pt x="1" y="2"/>
                  </a:moveTo>
                  <a:cubicBezTo>
                    <a:pt x="1" y="2"/>
                    <a:pt x="1" y="2"/>
                    <a:pt x="1" y="2"/>
                  </a:cubicBezTo>
                  <a:cubicBezTo>
                    <a:pt x="1" y="2"/>
                    <a:pt x="1" y="2"/>
                    <a:pt x="1" y="2"/>
                  </a:cubicBezTo>
                  <a:moveTo>
                    <a:pt x="1" y="2"/>
                  </a:moveTo>
                  <a:cubicBezTo>
                    <a:pt x="1" y="2"/>
                    <a:pt x="1" y="2"/>
                    <a:pt x="1" y="2"/>
                  </a:cubicBezTo>
                  <a:cubicBezTo>
                    <a:pt x="1" y="2"/>
                    <a:pt x="1" y="2"/>
                    <a:pt x="1" y="2"/>
                  </a:cubicBezTo>
                  <a:moveTo>
                    <a:pt x="1" y="2"/>
                  </a:moveTo>
                  <a:cubicBezTo>
                    <a:pt x="1" y="2"/>
                    <a:pt x="1" y="2"/>
                    <a:pt x="1" y="2"/>
                  </a:cubicBezTo>
                  <a:cubicBezTo>
                    <a:pt x="1" y="2"/>
                    <a:pt x="1" y="2"/>
                    <a:pt x="1" y="2"/>
                  </a:cubicBezTo>
                  <a:moveTo>
                    <a:pt x="1" y="1"/>
                  </a:moveTo>
                  <a:cubicBezTo>
                    <a:pt x="1" y="1"/>
                    <a:pt x="1" y="1"/>
                    <a:pt x="1" y="1"/>
                  </a:cubicBezTo>
                  <a:cubicBezTo>
                    <a:pt x="1" y="1"/>
                    <a:pt x="1" y="1"/>
                    <a:pt x="1" y="1"/>
                  </a:cubicBezTo>
                  <a:moveTo>
                    <a:pt x="1" y="1"/>
                  </a:moveTo>
                  <a:cubicBezTo>
                    <a:pt x="1" y="1"/>
                    <a:pt x="1" y="1"/>
                    <a:pt x="1" y="1"/>
                  </a:cubicBezTo>
                  <a:cubicBezTo>
                    <a:pt x="1" y="1"/>
                    <a:pt x="1" y="1"/>
                    <a:pt x="1" y="1"/>
                  </a:cubicBezTo>
                  <a:moveTo>
                    <a:pt x="1" y="1"/>
                  </a:moveTo>
                  <a:cubicBezTo>
                    <a:pt x="1" y="1"/>
                    <a:pt x="1" y="1"/>
                    <a:pt x="1" y="1"/>
                  </a:cubicBezTo>
                  <a:cubicBezTo>
                    <a:pt x="1" y="1"/>
                    <a:pt x="1" y="1"/>
                    <a:pt x="1" y="1"/>
                  </a:cubicBezTo>
                  <a:moveTo>
                    <a:pt x="1" y="1"/>
                  </a:moveTo>
                  <a:cubicBezTo>
                    <a:pt x="1" y="1"/>
                    <a:pt x="1" y="1"/>
                    <a:pt x="1" y="1"/>
                  </a:cubicBezTo>
                  <a:cubicBezTo>
                    <a:pt x="1" y="1"/>
                    <a:pt x="1" y="1"/>
                    <a:pt x="1" y="1"/>
                  </a:cubicBezTo>
                  <a:moveTo>
                    <a:pt x="1" y="1"/>
                  </a:moveTo>
                  <a:cubicBezTo>
                    <a:pt x="1" y="1"/>
                    <a:pt x="1" y="1"/>
                    <a:pt x="1" y="1"/>
                  </a:cubicBezTo>
                  <a:cubicBezTo>
                    <a:pt x="1" y="1"/>
                    <a:pt x="1" y="1"/>
                    <a:pt x="1" y="1"/>
                  </a:cubicBezTo>
                  <a:moveTo>
                    <a:pt x="1" y="1"/>
                  </a:moveTo>
                  <a:cubicBezTo>
                    <a:pt x="1" y="1"/>
                    <a:pt x="1" y="1"/>
                    <a:pt x="1" y="1"/>
                  </a:cubicBezTo>
                  <a:cubicBezTo>
                    <a:pt x="1" y="1"/>
                    <a:pt x="1" y="1"/>
                    <a:pt x="1" y="1"/>
                  </a:cubicBezTo>
                  <a:moveTo>
                    <a:pt x="1" y="0"/>
                  </a:moveTo>
                  <a:cubicBezTo>
                    <a:pt x="1" y="1"/>
                    <a:pt x="1" y="1"/>
                    <a:pt x="1" y="1"/>
                  </a:cubicBezTo>
                  <a:cubicBezTo>
                    <a:pt x="1" y="1"/>
                    <a:pt x="1" y="1"/>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2" y="0"/>
                  </a:moveTo>
                  <a:cubicBezTo>
                    <a:pt x="2" y="0"/>
                    <a:pt x="1" y="0"/>
                    <a:pt x="1" y="0"/>
                  </a:cubicBezTo>
                  <a:cubicBezTo>
                    <a:pt x="1" y="0"/>
                    <a:pt x="2" y="0"/>
                    <a:pt x="2" y="0"/>
                  </a:cubicBezTo>
                </a:path>
              </a:pathLst>
            </a:custGeom>
            <a:solidFill>
              <a:srgbClr val="1066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87" name="Freeform 1319">
              <a:extLst>
                <a:ext uri="{FF2B5EF4-FFF2-40B4-BE49-F238E27FC236}">
                  <a16:creationId xmlns:a16="http://schemas.microsoft.com/office/drawing/2014/main" id="{4864C70A-6E6D-41A9-DFFB-39B55C846A3B}"/>
                </a:ext>
              </a:extLst>
            </p:cNvPr>
            <p:cNvSpPr>
              <a:spLocks/>
            </p:cNvSpPr>
            <p:nvPr/>
          </p:nvSpPr>
          <p:spPr bwMode="auto">
            <a:xfrm>
              <a:off x="3708400" y="4841875"/>
              <a:ext cx="163513" cy="427038"/>
            </a:xfrm>
            <a:custGeom>
              <a:avLst/>
              <a:gdLst>
                <a:gd name="T0" fmla="*/ 187 w 200"/>
                <a:gd name="T1" fmla="*/ 0 h 527"/>
                <a:gd name="T2" fmla="*/ 0 w 200"/>
                <a:gd name="T3" fmla="*/ 509 h 527"/>
                <a:gd name="T4" fmla="*/ 13 w 200"/>
                <a:gd name="T5" fmla="*/ 514 h 527"/>
                <a:gd name="T6" fmla="*/ 2 w 200"/>
                <a:gd name="T7" fmla="*/ 527 h 527"/>
                <a:gd name="T8" fmla="*/ 12 w 200"/>
                <a:gd name="T9" fmla="*/ 515 h 527"/>
                <a:gd name="T10" fmla="*/ 12 w 200"/>
                <a:gd name="T11" fmla="*/ 515 h 527"/>
                <a:gd name="T12" fmla="*/ 12 w 200"/>
                <a:gd name="T13" fmla="*/ 514 h 527"/>
                <a:gd name="T14" fmla="*/ 12 w 200"/>
                <a:gd name="T15" fmla="*/ 514 h 527"/>
                <a:gd name="T16" fmla="*/ 13 w 200"/>
                <a:gd name="T17" fmla="*/ 514 h 527"/>
                <a:gd name="T18" fmla="*/ 13 w 200"/>
                <a:gd name="T19" fmla="*/ 514 h 527"/>
                <a:gd name="T20" fmla="*/ 13 w 200"/>
                <a:gd name="T21" fmla="*/ 514 h 527"/>
                <a:gd name="T22" fmla="*/ 13 w 200"/>
                <a:gd name="T23" fmla="*/ 514 h 527"/>
                <a:gd name="T24" fmla="*/ 13 w 200"/>
                <a:gd name="T25" fmla="*/ 514 h 527"/>
                <a:gd name="T26" fmla="*/ 13 w 200"/>
                <a:gd name="T27" fmla="*/ 514 h 527"/>
                <a:gd name="T28" fmla="*/ 13 w 200"/>
                <a:gd name="T29" fmla="*/ 514 h 527"/>
                <a:gd name="T30" fmla="*/ 13 w 200"/>
                <a:gd name="T31" fmla="*/ 514 h 527"/>
                <a:gd name="T32" fmla="*/ 13 w 200"/>
                <a:gd name="T33" fmla="*/ 514 h 527"/>
                <a:gd name="T34" fmla="*/ 13 w 200"/>
                <a:gd name="T35" fmla="*/ 514 h 527"/>
                <a:gd name="T36" fmla="*/ 13 w 200"/>
                <a:gd name="T37" fmla="*/ 513 h 527"/>
                <a:gd name="T38" fmla="*/ 13 w 200"/>
                <a:gd name="T39" fmla="*/ 513 h 527"/>
                <a:gd name="T40" fmla="*/ 13 w 200"/>
                <a:gd name="T41" fmla="*/ 513 h 527"/>
                <a:gd name="T42" fmla="*/ 13 w 200"/>
                <a:gd name="T43" fmla="*/ 513 h 527"/>
                <a:gd name="T44" fmla="*/ 13 w 200"/>
                <a:gd name="T45" fmla="*/ 513 h 527"/>
                <a:gd name="T46" fmla="*/ 13 w 200"/>
                <a:gd name="T47" fmla="*/ 513 h 527"/>
                <a:gd name="T48" fmla="*/ 13 w 200"/>
                <a:gd name="T49" fmla="*/ 513 h 527"/>
                <a:gd name="T50" fmla="*/ 13 w 200"/>
                <a:gd name="T51" fmla="*/ 513 h 527"/>
                <a:gd name="T52" fmla="*/ 13 w 200"/>
                <a:gd name="T53" fmla="*/ 513 h 527"/>
                <a:gd name="T54" fmla="*/ 13 w 200"/>
                <a:gd name="T55" fmla="*/ 513 h 527"/>
                <a:gd name="T56" fmla="*/ 13 w 200"/>
                <a:gd name="T57" fmla="*/ 513 h 527"/>
                <a:gd name="T58" fmla="*/ 13 w 200"/>
                <a:gd name="T59" fmla="*/ 513 h 527"/>
                <a:gd name="T60" fmla="*/ 13 w 200"/>
                <a:gd name="T61" fmla="*/ 513 h 527"/>
                <a:gd name="T62" fmla="*/ 13 w 200"/>
                <a:gd name="T63" fmla="*/ 512 h 527"/>
                <a:gd name="T64" fmla="*/ 13 w 200"/>
                <a:gd name="T65" fmla="*/ 512 h 527"/>
                <a:gd name="T66" fmla="*/ 13 w 200"/>
                <a:gd name="T67" fmla="*/ 512 h 527"/>
                <a:gd name="T68" fmla="*/ 13 w 200"/>
                <a:gd name="T69" fmla="*/ 512 h 527"/>
                <a:gd name="T70" fmla="*/ 13 w 200"/>
                <a:gd name="T71" fmla="*/ 512 h 527"/>
                <a:gd name="T72" fmla="*/ 13 w 200"/>
                <a:gd name="T73" fmla="*/ 512 h 527"/>
                <a:gd name="T74" fmla="*/ 13 w 200"/>
                <a:gd name="T75" fmla="*/ 512 h 527"/>
                <a:gd name="T76" fmla="*/ 13 w 200"/>
                <a:gd name="T77" fmla="*/ 512 h 527"/>
                <a:gd name="T78" fmla="*/ 13 w 200"/>
                <a:gd name="T79" fmla="*/ 512 h 527"/>
                <a:gd name="T80" fmla="*/ 13 w 200"/>
                <a:gd name="T81" fmla="*/ 512 h 527"/>
                <a:gd name="T82" fmla="*/ 14 w 200"/>
                <a:gd name="T83" fmla="*/ 512 h 527"/>
                <a:gd name="T84" fmla="*/ 14 w 200"/>
                <a:gd name="T85" fmla="*/ 512 h 527"/>
                <a:gd name="T86" fmla="*/ 200 w 200"/>
                <a:gd name="T87" fmla="*/ 4 h 527"/>
                <a:gd name="T88" fmla="*/ 200 w 200"/>
                <a:gd name="T89" fmla="*/ 1 h 527"/>
                <a:gd name="T90" fmla="*/ 192 w 200"/>
                <a:gd name="T91" fmla="*/ 1 h 527"/>
                <a:gd name="T92" fmla="*/ 187 w 200"/>
                <a:gd name="T93" fmla="*/ 0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0" h="527">
                  <a:moveTo>
                    <a:pt x="187" y="0"/>
                  </a:moveTo>
                  <a:cubicBezTo>
                    <a:pt x="0" y="509"/>
                    <a:pt x="0" y="509"/>
                    <a:pt x="0" y="509"/>
                  </a:cubicBezTo>
                  <a:cubicBezTo>
                    <a:pt x="13" y="514"/>
                    <a:pt x="13" y="514"/>
                    <a:pt x="13" y="514"/>
                  </a:cubicBezTo>
                  <a:cubicBezTo>
                    <a:pt x="10" y="519"/>
                    <a:pt x="6" y="524"/>
                    <a:pt x="2" y="527"/>
                  </a:cubicBezTo>
                  <a:cubicBezTo>
                    <a:pt x="6" y="524"/>
                    <a:pt x="10" y="520"/>
                    <a:pt x="12" y="515"/>
                  </a:cubicBezTo>
                  <a:cubicBezTo>
                    <a:pt x="12" y="515"/>
                    <a:pt x="12" y="515"/>
                    <a:pt x="12" y="515"/>
                  </a:cubicBezTo>
                  <a:cubicBezTo>
                    <a:pt x="12" y="515"/>
                    <a:pt x="12" y="514"/>
                    <a:pt x="12" y="514"/>
                  </a:cubicBezTo>
                  <a:cubicBezTo>
                    <a:pt x="12" y="514"/>
                    <a:pt x="12" y="514"/>
                    <a:pt x="12" y="514"/>
                  </a:cubicBezTo>
                  <a:cubicBezTo>
                    <a:pt x="12" y="514"/>
                    <a:pt x="12" y="514"/>
                    <a:pt x="13" y="514"/>
                  </a:cubicBezTo>
                  <a:cubicBezTo>
                    <a:pt x="13" y="514"/>
                    <a:pt x="13" y="514"/>
                    <a:pt x="13" y="514"/>
                  </a:cubicBezTo>
                  <a:cubicBezTo>
                    <a:pt x="13" y="514"/>
                    <a:pt x="13" y="514"/>
                    <a:pt x="13" y="514"/>
                  </a:cubicBezTo>
                  <a:cubicBezTo>
                    <a:pt x="13" y="514"/>
                    <a:pt x="13" y="514"/>
                    <a:pt x="13" y="514"/>
                  </a:cubicBezTo>
                  <a:cubicBezTo>
                    <a:pt x="13" y="514"/>
                    <a:pt x="13" y="514"/>
                    <a:pt x="13" y="514"/>
                  </a:cubicBezTo>
                  <a:cubicBezTo>
                    <a:pt x="13" y="514"/>
                    <a:pt x="13" y="514"/>
                    <a:pt x="13" y="514"/>
                  </a:cubicBezTo>
                  <a:cubicBezTo>
                    <a:pt x="13" y="514"/>
                    <a:pt x="13" y="514"/>
                    <a:pt x="13" y="514"/>
                  </a:cubicBezTo>
                  <a:cubicBezTo>
                    <a:pt x="13" y="514"/>
                    <a:pt x="13" y="514"/>
                    <a:pt x="13" y="514"/>
                  </a:cubicBezTo>
                  <a:cubicBezTo>
                    <a:pt x="13" y="514"/>
                    <a:pt x="13" y="514"/>
                    <a:pt x="13" y="514"/>
                  </a:cubicBezTo>
                  <a:cubicBezTo>
                    <a:pt x="13" y="514"/>
                    <a:pt x="13" y="514"/>
                    <a:pt x="13" y="514"/>
                  </a:cubicBezTo>
                  <a:cubicBezTo>
                    <a:pt x="13" y="513"/>
                    <a:pt x="13" y="513"/>
                    <a:pt x="13" y="513"/>
                  </a:cubicBezTo>
                  <a:cubicBezTo>
                    <a:pt x="13" y="513"/>
                    <a:pt x="13" y="513"/>
                    <a:pt x="13" y="513"/>
                  </a:cubicBezTo>
                  <a:cubicBezTo>
                    <a:pt x="13" y="513"/>
                    <a:pt x="13" y="513"/>
                    <a:pt x="13" y="513"/>
                  </a:cubicBezTo>
                  <a:cubicBezTo>
                    <a:pt x="13" y="513"/>
                    <a:pt x="13" y="513"/>
                    <a:pt x="13" y="513"/>
                  </a:cubicBezTo>
                  <a:cubicBezTo>
                    <a:pt x="13" y="513"/>
                    <a:pt x="13" y="513"/>
                    <a:pt x="13" y="513"/>
                  </a:cubicBezTo>
                  <a:cubicBezTo>
                    <a:pt x="13" y="513"/>
                    <a:pt x="13" y="513"/>
                    <a:pt x="13" y="513"/>
                  </a:cubicBezTo>
                  <a:cubicBezTo>
                    <a:pt x="13" y="513"/>
                    <a:pt x="13" y="513"/>
                    <a:pt x="13" y="513"/>
                  </a:cubicBezTo>
                  <a:cubicBezTo>
                    <a:pt x="13" y="513"/>
                    <a:pt x="13" y="513"/>
                    <a:pt x="13" y="513"/>
                  </a:cubicBezTo>
                  <a:cubicBezTo>
                    <a:pt x="13" y="513"/>
                    <a:pt x="13" y="513"/>
                    <a:pt x="13" y="513"/>
                  </a:cubicBezTo>
                  <a:cubicBezTo>
                    <a:pt x="13" y="513"/>
                    <a:pt x="13" y="513"/>
                    <a:pt x="13" y="513"/>
                  </a:cubicBezTo>
                  <a:cubicBezTo>
                    <a:pt x="13" y="513"/>
                    <a:pt x="13" y="513"/>
                    <a:pt x="13" y="513"/>
                  </a:cubicBezTo>
                  <a:cubicBezTo>
                    <a:pt x="13" y="513"/>
                    <a:pt x="13" y="513"/>
                    <a:pt x="13" y="513"/>
                  </a:cubicBezTo>
                  <a:cubicBezTo>
                    <a:pt x="13" y="513"/>
                    <a:pt x="13" y="513"/>
                    <a:pt x="13" y="513"/>
                  </a:cubicBezTo>
                  <a:cubicBezTo>
                    <a:pt x="13" y="513"/>
                    <a:pt x="13" y="513"/>
                    <a:pt x="13" y="512"/>
                  </a:cubicBezTo>
                  <a:cubicBezTo>
                    <a:pt x="13" y="512"/>
                    <a:pt x="13" y="512"/>
                    <a:pt x="13" y="512"/>
                  </a:cubicBezTo>
                  <a:cubicBezTo>
                    <a:pt x="13" y="512"/>
                    <a:pt x="13" y="512"/>
                    <a:pt x="13" y="512"/>
                  </a:cubicBezTo>
                  <a:cubicBezTo>
                    <a:pt x="13" y="512"/>
                    <a:pt x="13" y="512"/>
                    <a:pt x="13" y="512"/>
                  </a:cubicBezTo>
                  <a:cubicBezTo>
                    <a:pt x="13" y="512"/>
                    <a:pt x="13" y="512"/>
                    <a:pt x="13" y="512"/>
                  </a:cubicBezTo>
                  <a:cubicBezTo>
                    <a:pt x="13" y="512"/>
                    <a:pt x="13" y="512"/>
                    <a:pt x="13" y="512"/>
                  </a:cubicBezTo>
                  <a:cubicBezTo>
                    <a:pt x="13" y="512"/>
                    <a:pt x="13" y="512"/>
                    <a:pt x="13" y="512"/>
                  </a:cubicBezTo>
                  <a:cubicBezTo>
                    <a:pt x="13" y="512"/>
                    <a:pt x="13" y="512"/>
                    <a:pt x="13" y="512"/>
                  </a:cubicBezTo>
                  <a:cubicBezTo>
                    <a:pt x="13" y="512"/>
                    <a:pt x="13" y="512"/>
                    <a:pt x="13" y="512"/>
                  </a:cubicBezTo>
                  <a:cubicBezTo>
                    <a:pt x="13" y="512"/>
                    <a:pt x="13" y="512"/>
                    <a:pt x="13" y="512"/>
                  </a:cubicBezTo>
                  <a:cubicBezTo>
                    <a:pt x="13" y="512"/>
                    <a:pt x="14" y="512"/>
                    <a:pt x="14" y="512"/>
                  </a:cubicBezTo>
                  <a:cubicBezTo>
                    <a:pt x="14" y="512"/>
                    <a:pt x="14" y="512"/>
                    <a:pt x="14" y="512"/>
                  </a:cubicBezTo>
                  <a:cubicBezTo>
                    <a:pt x="200" y="4"/>
                    <a:pt x="200" y="4"/>
                    <a:pt x="200" y="4"/>
                  </a:cubicBezTo>
                  <a:cubicBezTo>
                    <a:pt x="200" y="3"/>
                    <a:pt x="200" y="2"/>
                    <a:pt x="200" y="1"/>
                  </a:cubicBezTo>
                  <a:cubicBezTo>
                    <a:pt x="192" y="1"/>
                    <a:pt x="192" y="1"/>
                    <a:pt x="192" y="1"/>
                  </a:cubicBezTo>
                  <a:cubicBezTo>
                    <a:pt x="187" y="0"/>
                    <a:pt x="187" y="0"/>
                    <a:pt x="187" y="0"/>
                  </a:cubicBezTo>
                </a:path>
              </a:pathLst>
            </a:custGeom>
            <a:solidFill>
              <a:srgbClr val="CC5A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88" name="Freeform 1320">
              <a:extLst>
                <a:ext uri="{FF2B5EF4-FFF2-40B4-BE49-F238E27FC236}">
                  <a16:creationId xmlns:a16="http://schemas.microsoft.com/office/drawing/2014/main" id="{66EFAB0A-1ED0-C77D-C381-C170C36E3246}"/>
                </a:ext>
              </a:extLst>
            </p:cNvPr>
            <p:cNvSpPr>
              <a:spLocks/>
            </p:cNvSpPr>
            <p:nvPr/>
          </p:nvSpPr>
          <p:spPr bwMode="auto">
            <a:xfrm>
              <a:off x="3863975" y="4841875"/>
              <a:ext cx="7938" cy="0"/>
            </a:xfrm>
            <a:custGeom>
              <a:avLst/>
              <a:gdLst>
                <a:gd name="T0" fmla="*/ 0 w 8"/>
                <a:gd name="T1" fmla="*/ 8 w 8"/>
                <a:gd name="T2" fmla="*/ 8 w 8"/>
                <a:gd name="T3" fmla="*/ 0 w 8"/>
              </a:gdLst>
              <a:ahLst/>
              <a:cxnLst>
                <a:cxn ang="0">
                  <a:pos x="T0" y="0"/>
                </a:cxn>
                <a:cxn ang="0">
                  <a:pos x="T1" y="0"/>
                </a:cxn>
                <a:cxn ang="0">
                  <a:pos x="T2" y="0"/>
                </a:cxn>
                <a:cxn ang="0">
                  <a:pos x="T3" y="0"/>
                </a:cxn>
              </a:cxnLst>
              <a:rect l="0" t="0" r="r" b="b"/>
              <a:pathLst>
                <a:path w="8">
                  <a:moveTo>
                    <a:pt x="0" y="0"/>
                  </a:moveTo>
                  <a:cubicBezTo>
                    <a:pt x="8" y="0"/>
                    <a:pt x="8" y="0"/>
                    <a:pt x="8" y="0"/>
                  </a:cubicBezTo>
                  <a:cubicBezTo>
                    <a:pt x="8" y="0"/>
                    <a:pt x="8" y="0"/>
                    <a:pt x="8" y="0"/>
                  </a:cubicBezTo>
                  <a:cubicBezTo>
                    <a:pt x="0" y="0"/>
                    <a:pt x="0" y="0"/>
                    <a:pt x="0" y="0"/>
                  </a:cubicBezTo>
                </a:path>
              </a:pathLst>
            </a:custGeom>
            <a:solidFill>
              <a:srgbClr val="C7B3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89" name="Freeform 1321">
              <a:extLst>
                <a:ext uri="{FF2B5EF4-FFF2-40B4-BE49-F238E27FC236}">
                  <a16:creationId xmlns:a16="http://schemas.microsoft.com/office/drawing/2014/main" id="{DB945C6A-3FA2-1787-FA32-88EBE2C91774}"/>
                </a:ext>
              </a:extLst>
            </p:cNvPr>
            <p:cNvSpPr>
              <a:spLocks/>
            </p:cNvSpPr>
            <p:nvPr/>
          </p:nvSpPr>
          <p:spPr bwMode="auto">
            <a:xfrm>
              <a:off x="3709988" y="5268913"/>
              <a:ext cx="0"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0" y="0"/>
                    <a:pt x="0" y="0"/>
                  </a:cubicBezTo>
                  <a:cubicBezTo>
                    <a:pt x="0" y="0"/>
                    <a:pt x="1" y="0"/>
                    <a:pt x="1" y="0"/>
                  </a:cubicBezTo>
                </a:path>
              </a:pathLst>
            </a:custGeom>
            <a:solidFill>
              <a:srgbClr val="CC5A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90" name="Freeform 1322">
              <a:extLst>
                <a:ext uri="{FF2B5EF4-FFF2-40B4-BE49-F238E27FC236}">
                  <a16:creationId xmlns:a16="http://schemas.microsoft.com/office/drawing/2014/main" id="{8B251039-F01A-8638-03FB-CAD07A1B8268}"/>
                </a:ext>
              </a:extLst>
            </p:cNvPr>
            <p:cNvSpPr>
              <a:spLocks/>
            </p:cNvSpPr>
            <p:nvPr/>
          </p:nvSpPr>
          <p:spPr bwMode="auto">
            <a:xfrm>
              <a:off x="3702050" y="5254625"/>
              <a:ext cx="17463" cy="17463"/>
            </a:xfrm>
            <a:custGeom>
              <a:avLst/>
              <a:gdLst>
                <a:gd name="T0" fmla="*/ 8 w 21"/>
                <a:gd name="T1" fmla="*/ 0 h 22"/>
                <a:gd name="T2" fmla="*/ 0 w 21"/>
                <a:gd name="T3" fmla="*/ 22 h 22"/>
                <a:gd name="T4" fmla="*/ 9 w 21"/>
                <a:gd name="T5" fmla="*/ 18 h 22"/>
                <a:gd name="T6" fmla="*/ 10 w 21"/>
                <a:gd name="T7" fmla="*/ 18 h 22"/>
                <a:gd name="T8" fmla="*/ 10 w 21"/>
                <a:gd name="T9" fmla="*/ 18 h 22"/>
                <a:gd name="T10" fmla="*/ 21 w 21"/>
                <a:gd name="T11" fmla="*/ 5 h 22"/>
                <a:gd name="T12" fmla="*/ 8 w 21"/>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21" h="22">
                  <a:moveTo>
                    <a:pt x="8" y="0"/>
                  </a:moveTo>
                  <a:cubicBezTo>
                    <a:pt x="0" y="22"/>
                    <a:pt x="0" y="22"/>
                    <a:pt x="0" y="22"/>
                  </a:cubicBezTo>
                  <a:cubicBezTo>
                    <a:pt x="4" y="21"/>
                    <a:pt x="7" y="20"/>
                    <a:pt x="9" y="18"/>
                  </a:cubicBezTo>
                  <a:cubicBezTo>
                    <a:pt x="9" y="18"/>
                    <a:pt x="10" y="18"/>
                    <a:pt x="10" y="18"/>
                  </a:cubicBezTo>
                  <a:cubicBezTo>
                    <a:pt x="10" y="18"/>
                    <a:pt x="10" y="18"/>
                    <a:pt x="10" y="18"/>
                  </a:cubicBezTo>
                  <a:cubicBezTo>
                    <a:pt x="14" y="15"/>
                    <a:pt x="18" y="10"/>
                    <a:pt x="21" y="5"/>
                  </a:cubicBezTo>
                  <a:cubicBezTo>
                    <a:pt x="8" y="0"/>
                    <a:pt x="8" y="0"/>
                    <a:pt x="8" y="0"/>
                  </a:cubicBezTo>
                </a:path>
              </a:pathLst>
            </a:custGeom>
            <a:solidFill>
              <a:srgbClr val="CC36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91" name="Freeform 1323">
              <a:extLst>
                <a:ext uri="{FF2B5EF4-FFF2-40B4-BE49-F238E27FC236}">
                  <a16:creationId xmlns:a16="http://schemas.microsoft.com/office/drawing/2014/main" id="{DF320C0B-9895-26E6-B71A-546EF9C4A492}"/>
                </a:ext>
              </a:extLst>
            </p:cNvPr>
            <p:cNvSpPr>
              <a:spLocks/>
            </p:cNvSpPr>
            <p:nvPr/>
          </p:nvSpPr>
          <p:spPr bwMode="auto">
            <a:xfrm>
              <a:off x="3754438" y="4787900"/>
              <a:ext cx="204788" cy="450850"/>
            </a:xfrm>
            <a:custGeom>
              <a:avLst/>
              <a:gdLst>
                <a:gd name="T0" fmla="*/ 194 w 252"/>
                <a:gd name="T1" fmla="*/ 0 h 557"/>
                <a:gd name="T2" fmla="*/ 193 w 252"/>
                <a:gd name="T3" fmla="*/ 3 h 557"/>
                <a:gd name="T4" fmla="*/ 6 w 252"/>
                <a:gd name="T5" fmla="*/ 511 h 557"/>
                <a:gd name="T6" fmla="*/ 25 w 252"/>
                <a:gd name="T7" fmla="*/ 551 h 557"/>
                <a:gd name="T8" fmla="*/ 66 w 252"/>
                <a:gd name="T9" fmla="*/ 532 h 557"/>
                <a:gd name="T10" fmla="*/ 252 w 252"/>
                <a:gd name="T11" fmla="*/ 24 h 557"/>
                <a:gd name="T12" fmla="*/ 252 w 252"/>
                <a:gd name="T13" fmla="*/ 22 h 557"/>
                <a:gd name="T14" fmla="*/ 223 w 252"/>
                <a:gd name="T15" fmla="*/ 11 h 557"/>
                <a:gd name="T16" fmla="*/ 194 w 252"/>
                <a:gd name="T17" fmla="*/ 0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2" h="557">
                  <a:moveTo>
                    <a:pt x="194" y="0"/>
                  </a:moveTo>
                  <a:cubicBezTo>
                    <a:pt x="193" y="1"/>
                    <a:pt x="193" y="2"/>
                    <a:pt x="193" y="3"/>
                  </a:cubicBezTo>
                  <a:cubicBezTo>
                    <a:pt x="6" y="511"/>
                    <a:pt x="6" y="511"/>
                    <a:pt x="6" y="511"/>
                  </a:cubicBezTo>
                  <a:cubicBezTo>
                    <a:pt x="0" y="527"/>
                    <a:pt x="9" y="545"/>
                    <a:pt x="25" y="551"/>
                  </a:cubicBezTo>
                  <a:cubicBezTo>
                    <a:pt x="41" y="557"/>
                    <a:pt x="60" y="549"/>
                    <a:pt x="66" y="532"/>
                  </a:cubicBezTo>
                  <a:cubicBezTo>
                    <a:pt x="252" y="24"/>
                    <a:pt x="252" y="24"/>
                    <a:pt x="252" y="24"/>
                  </a:cubicBezTo>
                  <a:cubicBezTo>
                    <a:pt x="252" y="23"/>
                    <a:pt x="252" y="23"/>
                    <a:pt x="252" y="22"/>
                  </a:cubicBezTo>
                  <a:cubicBezTo>
                    <a:pt x="223" y="11"/>
                    <a:pt x="223" y="11"/>
                    <a:pt x="223" y="11"/>
                  </a:cubicBezTo>
                  <a:cubicBezTo>
                    <a:pt x="194" y="0"/>
                    <a:pt x="194" y="0"/>
                    <a:pt x="194" y="0"/>
                  </a:cubicBezTo>
                </a:path>
              </a:pathLst>
            </a:custGeom>
            <a:solidFill>
              <a:srgbClr val="007C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92" name="Freeform 1324">
              <a:extLst>
                <a:ext uri="{FF2B5EF4-FFF2-40B4-BE49-F238E27FC236}">
                  <a16:creationId xmlns:a16="http://schemas.microsoft.com/office/drawing/2014/main" id="{F8597E05-704B-B0FD-C11A-E0E2EF3E4D0A}"/>
                </a:ext>
              </a:extLst>
            </p:cNvPr>
            <p:cNvSpPr>
              <a:spLocks/>
            </p:cNvSpPr>
            <p:nvPr/>
          </p:nvSpPr>
          <p:spPr bwMode="auto">
            <a:xfrm>
              <a:off x="3911600" y="4754563"/>
              <a:ext cx="47625" cy="50800"/>
            </a:xfrm>
            <a:custGeom>
              <a:avLst/>
              <a:gdLst>
                <a:gd name="T0" fmla="*/ 25 w 30"/>
                <a:gd name="T1" fmla="*/ 0 h 32"/>
                <a:gd name="T2" fmla="*/ 28 w 30"/>
                <a:gd name="T3" fmla="*/ 16 h 32"/>
                <a:gd name="T4" fmla="*/ 30 w 30"/>
                <a:gd name="T5" fmla="*/ 32 h 32"/>
                <a:gd name="T6" fmla="*/ 14 w 30"/>
                <a:gd name="T7" fmla="*/ 30 h 32"/>
                <a:gd name="T8" fmla="*/ 0 w 30"/>
                <a:gd name="T9" fmla="*/ 21 h 32"/>
                <a:gd name="T10" fmla="*/ 13 w 30"/>
                <a:gd name="T11" fmla="*/ 10 h 32"/>
                <a:gd name="T12" fmla="*/ 25 w 30"/>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30" h="32">
                  <a:moveTo>
                    <a:pt x="25" y="0"/>
                  </a:moveTo>
                  <a:lnTo>
                    <a:pt x="28" y="16"/>
                  </a:lnTo>
                  <a:lnTo>
                    <a:pt x="30" y="32"/>
                  </a:lnTo>
                  <a:lnTo>
                    <a:pt x="14" y="30"/>
                  </a:lnTo>
                  <a:lnTo>
                    <a:pt x="0" y="21"/>
                  </a:lnTo>
                  <a:lnTo>
                    <a:pt x="13" y="10"/>
                  </a:lnTo>
                  <a:lnTo>
                    <a:pt x="25" y="0"/>
                  </a:lnTo>
                  <a:close/>
                </a:path>
              </a:pathLst>
            </a:custGeom>
            <a:solidFill>
              <a:srgbClr val="F9E0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93" name="Freeform 1325">
              <a:extLst>
                <a:ext uri="{FF2B5EF4-FFF2-40B4-BE49-F238E27FC236}">
                  <a16:creationId xmlns:a16="http://schemas.microsoft.com/office/drawing/2014/main" id="{58D727B7-7A3F-6649-B396-E657852CD4AE}"/>
                </a:ext>
              </a:extLst>
            </p:cNvPr>
            <p:cNvSpPr>
              <a:spLocks/>
            </p:cNvSpPr>
            <p:nvPr/>
          </p:nvSpPr>
          <p:spPr bwMode="auto">
            <a:xfrm>
              <a:off x="3911600" y="4754563"/>
              <a:ext cx="47625" cy="50800"/>
            </a:xfrm>
            <a:custGeom>
              <a:avLst/>
              <a:gdLst>
                <a:gd name="T0" fmla="*/ 25 w 30"/>
                <a:gd name="T1" fmla="*/ 0 h 32"/>
                <a:gd name="T2" fmla="*/ 28 w 30"/>
                <a:gd name="T3" fmla="*/ 16 h 32"/>
                <a:gd name="T4" fmla="*/ 30 w 30"/>
                <a:gd name="T5" fmla="*/ 32 h 32"/>
                <a:gd name="T6" fmla="*/ 14 w 30"/>
                <a:gd name="T7" fmla="*/ 30 h 32"/>
                <a:gd name="T8" fmla="*/ 0 w 30"/>
                <a:gd name="T9" fmla="*/ 21 h 32"/>
                <a:gd name="T10" fmla="*/ 13 w 30"/>
                <a:gd name="T11" fmla="*/ 10 h 32"/>
                <a:gd name="T12" fmla="*/ 25 w 30"/>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30" h="32">
                  <a:moveTo>
                    <a:pt x="25" y="0"/>
                  </a:moveTo>
                  <a:lnTo>
                    <a:pt x="28" y="16"/>
                  </a:lnTo>
                  <a:lnTo>
                    <a:pt x="30" y="32"/>
                  </a:lnTo>
                  <a:lnTo>
                    <a:pt x="14" y="30"/>
                  </a:lnTo>
                  <a:lnTo>
                    <a:pt x="0" y="21"/>
                  </a:lnTo>
                  <a:lnTo>
                    <a:pt x="13" y="10"/>
                  </a:lnTo>
                  <a:lnTo>
                    <a:pt x="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94" name="Freeform 1326">
              <a:extLst>
                <a:ext uri="{FF2B5EF4-FFF2-40B4-BE49-F238E27FC236}">
                  <a16:creationId xmlns:a16="http://schemas.microsoft.com/office/drawing/2014/main" id="{FDB81D14-2EE2-4CC8-C603-35F658C1E9F6}"/>
                </a:ext>
              </a:extLst>
            </p:cNvPr>
            <p:cNvSpPr>
              <a:spLocks/>
            </p:cNvSpPr>
            <p:nvPr/>
          </p:nvSpPr>
          <p:spPr bwMode="auto">
            <a:xfrm>
              <a:off x="3943350" y="4754563"/>
              <a:ext cx="9525" cy="14288"/>
            </a:xfrm>
            <a:custGeom>
              <a:avLst/>
              <a:gdLst>
                <a:gd name="T0" fmla="*/ 5 w 6"/>
                <a:gd name="T1" fmla="*/ 0 h 9"/>
                <a:gd name="T2" fmla="*/ 5 w 6"/>
                <a:gd name="T3" fmla="*/ 0 h 9"/>
                <a:gd name="T4" fmla="*/ 0 w 6"/>
                <a:gd name="T5" fmla="*/ 4 h 9"/>
                <a:gd name="T6" fmla="*/ 1 w 6"/>
                <a:gd name="T7" fmla="*/ 8 h 9"/>
                <a:gd name="T8" fmla="*/ 3 w 6"/>
                <a:gd name="T9" fmla="*/ 7 h 9"/>
                <a:gd name="T10" fmla="*/ 4 w 6"/>
                <a:gd name="T11" fmla="*/ 9 h 9"/>
                <a:gd name="T12" fmla="*/ 6 w 6"/>
                <a:gd name="T13" fmla="*/ 8 h 9"/>
                <a:gd name="T14" fmla="*/ 5 w 6"/>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9">
                  <a:moveTo>
                    <a:pt x="5" y="0"/>
                  </a:moveTo>
                  <a:lnTo>
                    <a:pt x="5" y="0"/>
                  </a:lnTo>
                  <a:lnTo>
                    <a:pt x="0" y="4"/>
                  </a:lnTo>
                  <a:lnTo>
                    <a:pt x="1" y="8"/>
                  </a:lnTo>
                  <a:lnTo>
                    <a:pt x="3" y="7"/>
                  </a:lnTo>
                  <a:lnTo>
                    <a:pt x="4" y="9"/>
                  </a:lnTo>
                  <a:lnTo>
                    <a:pt x="6" y="8"/>
                  </a:lnTo>
                  <a:lnTo>
                    <a:pt x="5" y="0"/>
                  </a:lnTo>
                  <a:close/>
                </a:path>
              </a:pathLst>
            </a:custGeom>
            <a:solidFill>
              <a:srgbClr val="4A43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95" name="Freeform 1327">
              <a:extLst>
                <a:ext uri="{FF2B5EF4-FFF2-40B4-BE49-F238E27FC236}">
                  <a16:creationId xmlns:a16="http://schemas.microsoft.com/office/drawing/2014/main" id="{4B95E583-EB39-DD10-B0AF-620C7E4DE989}"/>
                </a:ext>
              </a:extLst>
            </p:cNvPr>
            <p:cNvSpPr>
              <a:spLocks/>
            </p:cNvSpPr>
            <p:nvPr/>
          </p:nvSpPr>
          <p:spPr bwMode="auto">
            <a:xfrm>
              <a:off x="3943350" y="4754563"/>
              <a:ext cx="9525" cy="14288"/>
            </a:xfrm>
            <a:custGeom>
              <a:avLst/>
              <a:gdLst>
                <a:gd name="T0" fmla="*/ 5 w 6"/>
                <a:gd name="T1" fmla="*/ 0 h 9"/>
                <a:gd name="T2" fmla="*/ 5 w 6"/>
                <a:gd name="T3" fmla="*/ 0 h 9"/>
                <a:gd name="T4" fmla="*/ 0 w 6"/>
                <a:gd name="T5" fmla="*/ 4 h 9"/>
                <a:gd name="T6" fmla="*/ 1 w 6"/>
                <a:gd name="T7" fmla="*/ 8 h 9"/>
                <a:gd name="T8" fmla="*/ 3 w 6"/>
                <a:gd name="T9" fmla="*/ 7 h 9"/>
                <a:gd name="T10" fmla="*/ 4 w 6"/>
                <a:gd name="T11" fmla="*/ 9 h 9"/>
                <a:gd name="T12" fmla="*/ 6 w 6"/>
                <a:gd name="T13" fmla="*/ 8 h 9"/>
                <a:gd name="T14" fmla="*/ 5 w 6"/>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9">
                  <a:moveTo>
                    <a:pt x="5" y="0"/>
                  </a:moveTo>
                  <a:lnTo>
                    <a:pt x="5" y="0"/>
                  </a:lnTo>
                  <a:lnTo>
                    <a:pt x="0" y="4"/>
                  </a:lnTo>
                  <a:lnTo>
                    <a:pt x="1" y="8"/>
                  </a:lnTo>
                  <a:lnTo>
                    <a:pt x="3" y="7"/>
                  </a:lnTo>
                  <a:lnTo>
                    <a:pt x="4" y="9"/>
                  </a:lnTo>
                  <a:lnTo>
                    <a:pt x="6" y="8"/>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96" name="Freeform 1328">
              <a:extLst>
                <a:ext uri="{FF2B5EF4-FFF2-40B4-BE49-F238E27FC236}">
                  <a16:creationId xmlns:a16="http://schemas.microsoft.com/office/drawing/2014/main" id="{A9BD7AFB-C034-5761-A85F-6F89F305662D}"/>
                </a:ext>
              </a:extLst>
            </p:cNvPr>
            <p:cNvSpPr>
              <a:spLocks/>
            </p:cNvSpPr>
            <p:nvPr/>
          </p:nvSpPr>
          <p:spPr bwMode="auto">
            <a:xfrm>
              <a:off x="3756025" y="5203825"/>
              <a:ext cx="52388" cy="34925"/>
            </a:xfrm>
            <a:custGeom>
              <a:avLst/>
              <a:gdLst>
                <a:gd name="T0" fmla="*/ 5 w 64"/>
                <a:gd name="T1" fmla="*/ 0 h 44"/>
                <a:gd name="T2" fmla="*/ 24 w 64"/>
                <a:gd name="T3" fmla="*/ 38 h 44"/>
                <a:gd name="T4" fmla="*/ 64 w 64"/>
                <a:gd name="T5" fmla="*/ 21 h 44"/>
                <a:gd name="T6" fmla="*/ 5 w 64"/>
                <a:gd name="T7" fmla="*/ 0 h 44"/>
              </a:gdLst>
              <a:ahLst/>
              <a:cxnLst>
                <a:cxn ang="0">
                  <a:pos x="T0" y="T1"/>
                </a:cxn>
                <a:cxn ang="0">
                  <a:pos x="T2" y="T3"/>
                </a:cxn>
                <a:cxn ang="0">
                  <a:pos x="T4" y="T5"/>
                </a:cxn>
                <a:cxn ang="0">
                  <a:pos x="T6" y="T7"/>
                </a:cxn>
              </a:cxnLst>
              <a:rect l="0" t="0" r="r" b="b"/>
              <a:pathLst>
                <a:path w="64" h="44">
                  <a:moveTo>
                    <a:pt x="5" y="0"/>
                  </a:moveTo>
                  <a:cubicBezTo>
                    <a:pt x="0" y="15"/>
                    <a:pt x="9" y="32"/>
                    <a:pt x="24" y="38"/>
                  </a:cubicBezTo>
                  <a:cubicBezTo>
                    <a:pt x="40" y="44"/>
                    <a:pt x="57" y="36"/>
                    <a:pt x="64" y="21"/>
                  </a:cubicBezTo>
                  <a:cubicBezTo>
                    <a:pt x="5" y="0"/>
                    <a:pt x="5" y="0"/>
                    <a:pt x="5" y="0"/>
                  </a:cubicBezTo>
                </a:path>
              </a:pathLst>
            </a:custGeom>
            <a:solidFill>
              <a:srgbClr val="FF43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97" name="Freeform 1329">
              <a:extLst>
                <a:ext uri="{FF2B5EF4-FFF2-40B4-BE49-F238E27FC236}">
                  <a16:creationId xmlns:a16="http://schemas.microsoft.com/office/drawing/2014/main" id="{FECFC39C-75B3-8D2D-3E07-CB8154EA1039}"/>
                </a:ext>
              </a:extLst>
            </p:cNvPr>
            <p:cNvSpPr>
              <a:spLocks/>
            </p:cNvSpPr>
            <p:nvPr/>
          </p:nvSpPr>
          <p:spPr bwMode="auto">
            <a:xfrm>
              <a:off x="3760788" y="5083175"/>
              <a:ext cx="42863" cy="119063"/>
            </a:xfrm>
            <a:custGeom>
              <a:avLst/>
              <a:gdLst>
                <a:gd name="T0" fmla="*/ 54 w 54"/>
                <a:gd name="T1" fmla="*/ 0 h 147"/>
                <a:gd name="T2" fmla="*/ 54 w 54"/>
                <a:gd name="T3" fmla="*/ 0 h 147"/>
                <a:gd name="T4" fmla="*/ 0 w 54"/>
                <a:gd name="T5" fmla="*/ 147 h 147"/>
                <a:gd name="T6" fmla="*/ 0 w 54"/>
                <a:gd name="T7" fmla="*/ 147 h 147"/>
                <a:gd name="T8" fmla="*/ 0 w 54"/>
                <a:gd name="T9" fmla="*/ 147 h 147"/>
                <a:gd name="T10" fmla="*/ 54 w 54"/>
                <a:gd name="T11" fmla="*/ 0 h 147"/>
              </a:gdLst>
              <a:ahLst/>
              <a:cxnLst>
                <a:cxn ang="0">
                  <a:pos x="T0" y="T1"/>
                </a:cxn>
                <a:cxn ang="0">
                  <a:pos x="T2" y="T3"/>
                </a:cxn>
                <a:cxn ang="0">
                  <a:pos x="T4" y="T5"/>
                </a:cxn>
                <a:cxn ang="0">
                  <a:pos x="T6" y="T7"/>
                </a:cxn>
                <a:cxn ang="0">
                  <a:pos x="T8" y="T9"/>
                </a:cxn>
                <a:cxn ang="0">
                  <a:pos x="T10" y="T11"/>
                </a:cxn>
              </a:cxnLst>
              <a:rect l="0" t="0" r="r" b="b"/>
              <a:pathLst>
                <a:path w="54" h="147">
                  <a:moveTo>
                    <a:pt x="54" y="0"/>
                  </a:moveTo>
                  <a:cubicBezTo>
                    <a:pt x="54" y="0"/>
                    <a:pt x="54" y="0"/>
                    <a:pt x="54" y="0"/>
                  </a:cubicBezTo>
                  <a:cubicBezTo>
                    <a:pt x="0" y="147"/>
                    <a:pt x="0" y="147"/>
                    <a:pt x="0" y="147"/>
                  </a:cubicBezTo>
                  <a:cubicBezTo>
                    <a:pt x="0" y="147"/>
                    <a:pt x="0" y="147"/>
                    <a:pt x="0" y="147"/>
                  </a:cubicBezTo>
                  <a:cubicBezTo>
                    <a:pt x="0" y="147"/>
                    <a:pt x="0" y="147"/>
                    <a:pt x="0" y="147"/>
                  </a:cubicBezTo>
                  <a:cubicBezTo>
                    <a:pt x="54" y="0"/>
                    <a:pt x="54" y="0"/>
                    <a:pt x="54" y="0"/>
                  </a:cubicBezTo>
                </a:path>
              </a:pathLst>
            </a:custGeom>
            <a:solidFill>
              <a:srgbClr val="2C8D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98" name="Freeform 1330">
              <a:extLst>
                <a:ext uri="{FF2B5EF4-FFF2-40B4-BE49-F238E27FC236}">
                  <a16:creationId xmlns:a16="http://schemas.microsoft.com/office/drawing/2014/main" id="{76A35AD0-DB0C-8BA5-EDA2-308A37BF0F59}"/>
                </a:ext>
              </a:extLst>
            </p:cNvPr>
            <p:cNvSpPr>
              <a:spLocks/>
            </p:cNvSpPr>
            <p:nvPr/>
          </p:nvSpPr>
          <p:spPr bwMode="auto">
            <a:xfrm>
              <a:off x="3760788" y="4787900"/>
              <a:ext cx="168275" cy="422275"/>
            </a:xfrm>
            <a:custGeom>
              <a:avLst/>
              <a:gdLst>
                <a:gd name="T0" fmla="*/ 188 w 209"/>
                <a:gd name="T1" fmla="*/ 0 h 521"/>
                <a:gd name="T2" fmla="*/ 187 w 209"/>
                <a:gd name="T3" fmla="*/ 3 h 521"/>
                <a:gd name="T4" fmla="*/ 166 w 209"/>
                <a:gd name="T5" fmla="*/ 59 h 521"/>
                <a:gd name="T6" fmla="*/ 105 w 209"/>
                <a:gd name="T7" fmla="*/ 224 h 521"/>
                <a:gd name="T8" fmla="*/ 54 w 209"/>
                <a:gd name="T9" fmla="*/ 364 h 521"/>
                <a:gd name="T10" fmla="*/ 0 w 209"/>
                <a:gd name="T11" fmla="*/ 511 h 521"/>
                <a:gd name="T12" fmla="*/ 0 w 209"/>
                <a:gd name="T13" fmla="*/ 511 h 521"/>
                <a:gd name="T14" fmla="*/ 0 w 209"/>
                <a:gd name="T15" fmla="*/ 514 h 521"/>
                <a:gd name="T16" fmla="*/ 0 w 209"/>
                <a:gd name="T17" fmla="*/ 513 h 521"/>
                <a:gd name="T18" fmla="*/ 23 w 209"/>
                <a:gd name="T19" fmla="*/ 521 h 521"/>
                <a:gd name="T20" fmla="*/ 209 w 209"/>
                <a:gd name="T21" fmla="*/ 15 h 521"/>
                <a:gd name="T22" fmla="*/ 188 w 209"/>
                <a:gd name="T23" fmla="*/ 0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9" h="521">
                  <a:moveTo>
                    <a:pt x="188" y="0"/>
                  </a:moveTo>
                  <a:cubicBezTo>
                    <a:pt x="187" y="1"/>
                    <a:pt x="187" y="2"/>
                    <a:pt x="187" y="3"/>
                  </a:cubicBezTo>
                  <a:cubicBezTo>
                    <a:pt x="166" y="59"/>
                    <a:pt x="166" y="59"/>
                    <a:pt x="166" y="59"/>
                  </a:cubicBezTo>
                  <a:cubicBezTo>
                    <a:pt x="105" y="224"/>
                    <a:pt x="105" y="224"/>
                    <a:pt x="105" y="224"/>
                  </a:cubicBezTo>
                  <a:cubicBezTo>
                    <a:pt x="54" y="364"/>
                    <a:pt x="54" y="364"/>
                    <a:pt x="54" y="364"/>
                  </a:cubicBezTo>
                  <a:cubicBezTo>
                    <a:pt x="0" y="511"/>
                    <a:pt x="0" y="511"/>
                    <a:pt x="0" y="511"/>
                  </a:cubicBezTo>
                  <a:cubicBezTo>
                    <a:pt x="0" y="511"/>
                    <a:pt x="0" y="511"/>
                    <a:pt x="0" y="511"/>
                  </a:cubicBezTo>
                  <a:cubicBezTo>
                    <a:pt x="0" y="512"/>
                    <a:pt x="0" y="513"/>
                    <a:pt x="0" y="514"/>
                  </a:cubicBezTo>
                  <a:cubicBezTo>
                    <a:pt x="0" y="513"/>
                    <a:pt x="0" y="513"/>
                    <a:pt x="0" y="513"/>
                  </a:cubicBezTo>
                  <a:cubicBezTo>
                    <a:pt x="23" y="521"/>
                    <a:pt x="23" y="521"/>
                    <a:pt x="23" y="521"/>
                  </a:cubicBezTo>
                  <a:cubicBezTo>
                    <a:pt x="209" y="15"/>
                    <a:pt x="209" y="15"/>
                    <a:pt x="209" y="15"/>
                  </a:cubicBezTo>
                  <a:cubicBezTo>
                    <a:pt x="188" y="0"/>
                    <a:pt x="188" y="0"/>
                    <a:pt x="188" y="0"/>
                  </a:cubicBezTo>
                </a:path>
              </a:pathLst>
            </a:custGeom>
            <a:solidFill>
              <a:srgbClr val="1A89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99" name="Freeform 1331">
              <a:extLst>
                <a:ext uri="{FF2B5EF4-FFF2-40B4-BE49-F238E27FC236}">
                  <a16:creationId xmlns:a16="http://schemas.microsoft.com/office/drawing/2014/main" id="{B459F982-17BC-1405-CAC2-D075765BC17B}"/>
                </a:ext>
              </a:extLst>
            </p:cNvPr>
            <p:cNvSpPr>
              <a:spLocks/>
            </p:cNvSpPr>
            <p:nvPr/>
          </p:nvSpPr>
          <p:spPr bwMode="auto">
            <a:xfrm>
              <a:off x="3913188" y="4787900"/>
              <a:ext cx="17463" cy="11113"/>
            </a:xfrm>
            <a:custGeom>
              <a:avLst/>
              <a:gdLst>
                <a:gd name="T0" fmla="*/ 0 w 23"/>
                <a:gd name="T1" fmla="*/ 0 h 15"/>
                <a:gd name="T2" fmla="*/ 0 w 23"/>
                <a:gd name="T3" fmla="*/ 0 h 15"/>
                <a:gd name="T4" fmla="*/ 0 w 23"/>
                <a:gd name="T5" fmla="*/ 0 h 15"/>
                <a:gd name="T6" fmla="*/ 21 w 23"/>
                <a:gd name="T7" fmla="*/ 15 h 15"/>
                <a:gd name="T8" fmla="*/ 23 w 23"/>
                <a:gd name="T9" fmla="*/ 9 h 15"/>
                <a:gd name="T10" fmla="*/ 0 w 23"/>
                <a:gd name="T11" fmla="*/ 0 h 15"/>
              </a:gdLst>
              <a:ahLst/>
              <a:cxnLst>
                <a:cxn ang="0">
                  <a:pos x="T0" y="T1"/>
                </a:cxn>
                <a:cxn ang="0">
                  <a:pos x="T2" y="T3"/>
                </a:cxn>
                <a:cxn ang="0">
                  <a:pos x="T4" y="T5"/>
                </a:cxn>
                <a:cxn ang="0">
                  <a:pos x="T6" y="T7"/>
                </a:cxn>
                <a:cxn ang="0">
                  <a:pos x="T8" y="T9"/>
                </a:cxn>
                <a:cxn ang="0">
                  <a:pos x="T10" y="T11"/>
                </a:cxn>
              </a:cxnLst>
              <a:rect l="0" t="0" r="r" b="b"/>
              <a:pathLst>
                <a:path w="23" h="15">
                  <a:moveTo>
                    <a:pt x="0" y="0"/>
                  </a:moveTo>
                  <a:cubicBezTo>
                    <a:pt x="0" y="0"/>
                    <a:pt x="0" y="0"/>
                    <a:pt x="0" y="0"/>
                  </a:cubicBezTo>
                  <a:cubicBezTo>
                    <a:pt x="0" y="0"/>
                    <a:pt x="0" y="0"/>
                    <a:pt x="0" y="0"/>
                  </a:cubicBezTo>
                  <a:cubicBezTo>
                    <a:pt x="21" y="15"/>
                    <a:pt x="21" y="15"/>
                    <a:pt x="21" y="15"/>
                  </a:cubicBezTo>
                  <a:cubicBezTo>
                    <a:pt x="23" y="9"/>
                    <a:pt x="23" y="9"/>
                    <a:pt x="23" y="9"/>
                  </a:cubicBezTo>
                  <a:cubicBezTo>
                    <a:pt x="0" y="0"/>
                    <a:pt x="0" y="0"/>
                    <a:pt x="0" y="0"/>
                  </a:cubicBezTo>
                </a:path>
              </a:pathLst>
            </a:custGeom>
            <a:solidFill>
              <a:srgbClr val="FAE3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00" name="Freeform 1332">
              <a:extLst>
                <a:ext uri="{FF2B5EF4-FFF2-40B4-BE49-F238E27FC236}">
                  <a16:creationId xmlns:a16="http://schemas.microsoft.com/office/drawing/2014/main" id="{232BEFF9-CEF6-F731-0BE2-045EC3BFC49B}"/>
                </a:ext>
              </a:extLst>
            </p:cNvPr>
            <p:cNvSpPr>
              <a:spLocks/>
            </p:cNvSpPr>
            <p:nvPr/>
          </p:nvSpPr>
          <p:spPr bwMode="auto">
            <a:xfrm>
              <a:off x="3760788" y="5216525"/>
              <a:ext cx="3175" cy="9525"/>
            </a:xfrm>
            <a:custGeom>
              <a:avLst/>
              <a:gdLst>
                <a:gd name="T0" fmla="*/ 0 w 5"/>
                <a:gd name="T1" fmla="*/ 0 h 11"/>
                <a:gd name="T2" fmla="*/ 4 w 5"/>
                <a:gd name="T3" fmla="*/ 10 h 11"/>
                <a:gd name="T4" fmla="*/ 5 w 5"/>
                <a:gd name="T5" fmla="*/ 11 h 11"/>
                <a:gd name="T6" fmla="*/ 0 w 5"/>
                <a:gd name="T7" fmla="*/ 0 h 11"/>
              </a:gdLst>
              <a:ahLst/>
              <a:cxnLst>
                <a:cxn ang="0">
                  <a:pos x="T0" y="T1"/>
                </a:cxn>
                <a:cxn ang="0">
                  <a:pos x="T2" y="T3"/>
                </a:cxn>
                <a:cxn ang="0">
                  <a:pos x="T4" y="T5"/>
                </a:cxn>
                <a:cxn ang="0">
                  <a:pos x="T6" y="T7"/>
                </a:cxn>
              </a:cxnLst>
              <a:rect l="0" t="0" r="r" b="b"/>
              <a:pathLst>
                <a:path w="5" h="11">
                  <a:moveTo>
                    <a:pt x="0" y="0"/>
                  </a:moveTo>
                  <a:cubicBezTo>
                    <a:pt x="0" y="4"/>
                    <a:pt x="2" y="7"/>
                    <a:pt x="4" y="10"/>
                  </a:cubicBezTo>
                  <a:cubicBezTo>
                    <a:pt x="5" y="11"/>
                    <a:pt x="5" y="11"/>
                    <a:pt x="5" y="11"/>
                  </a:cubicBezTo>
                  <a:cubicBezTo>
                    <a:pt x="2" y="8"/>
                    <a:pt x="1" y="4"/>
                    <a:pt x="0" y="0"/>
                  </a:cubicBezTo>
                </a:path>
              </a:pathLst>
            </a:custGeom>
            <a:solidFill>
              <a:srgbClr val="2C8D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01" name="Freeform 1333">
              <a:extLst>
                <a:ext uri="{FF2B5EF4-FFF2-40B4-BE49-F238E27FC236}">
                  <a16:creationId xmlns:a16="http://schemas.microsoft.com/office/drawing/2014/main" id="{4C2A52CB-2041-8795-653C-84F3A9C415AC}"/>
                </a:ext>
              </a:extLst>
            </p:cNvPr>
            <p:cNvSpPr>
              <a:spLocks/>
            </p:cNvSpPr>
            <p:nvPr/>
          </p:nvSpPr>
          <p:spPr bwMode="auto">
            <a:xfrm>
              <a:off x="3759200" y="5216525"/>
              <a:ext cx="4763" cy="9525"/>
            </a:xfrm>
            <a:custGeom>
              <a:avLst/>
              <a:gdLst>
                <a:gd name="T0" fmla="*/ 0 w 6"/>
                <a:gd name="T1" fmla="*/ 0 h 11"/>
                <a:gd name="T2" fmla="*/ 1 w 6"/>
                <a:gd name="T3" fmla="*/ 0 h 11"/>
                <a:gd name="T4" fmla="*/ 6 w 6"/>
                <a:gd name="T5" fmla="*/ 11 h 11"/>
                <a:gd name="T6" fmla="*/ 6 w 6"/>
                <a:gd name="T7" fmla="*/ 11 h 11"/>
                <a:gd name="T8" fmla="*/ 0 w 6"/>
                <a:gd name="T9" fmla="*/ 0 h 11"/>
              </a:gdLst>
              <a:ahLst/>
              <a:cxnLst>
                <a:cxn ang="0">
                  <a:pos x="T0" y="T1"/>
                </a:cxn>
                <a:cxn ang="0">
                  <a:pos x="T2" y="T3"/>
                </a:cxn>
                <a:cxn ang="0">
                  <a:pos x="T4" y="T5"/>
                </a:cxn>
                <a:cxn ang="0">
                  <a:pos x="T6" y="T7"/>
                </a:cxn>
                <a:cxn ang="0">
                  <a:pos x="T8" y="T9"/>
                </a:cxn>
              </a:cxnLst>
              <a:rect l="0" t="0" r="r" b="b"/>
              <a:pathLst>
                <a:path w="6" h="11">
                  <a:moveTo>
                    <a:pt x="0" y="0"/>
                  </a:moveTo>
                  <a:cubicBezTo>
                    <a:pt x="0" y="0"/>
                    <a:pt x="1" y="0"/>
                    <a:pt x="1" y="0"/>
                  </a:cubicBezTo>
                  <a:cubicBezTo>
                    <a:pt x="2" y="4"/>
                    <a:pt x="3" y="8"/>
                    <a:pt x="6" y="11"/>
                  </a:cubicBezTo>
                  <a:cubicBezTo>
                    <a:pt x="6" y="11"/>
                    <a:pt x="6" y="11"/>
                    <a:pt x="6" y="11"/>
                  </a:cubicBezTo>
                  <a:cubicBezTo>
                    <a:pt x="3" y="8"/>
                    <a:pt x="1" y="4"/>
                    <a:pt x="0" y="0"/>
                  </a:cubicBezTo>
                </a:path>
              </a:pathLst>
            </a:custGeom>
            <a:solidFill>
              <a:srgbClr val="1A89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02" name="Freeform 1334">
              <a:extLst>
                <a:ext uri="{FF2B5EF4-FFF2-40B4-BE49-F238E27FC236}">
                  <a16:creationId xmlns:a16="http://schemas.microsoft.com/office/drawing/2014/main" id="{2AF2BA48-FE86-5F34-8C07-2B4DE34146BF}"/>
                </a:ext>
              </a:extLst>
            </p:cNvPr>
            <p:cNvSpPr>
              <a:spLocks/>
            </p:cNvSpPr>
            <p:nvPr/>
          </p:nvSpPr>
          <p:spPr bwMode="auto">
            <a:xfrm>
              <a:off x="3759200" y="5203825"/>
              <a:ext cx="19050" cy="28575"/>
            </a:xfrm>
            <a:custGeom>
              <a:avLst/>
              <a:gdLst>
                <a:gd name="T0" fmla="*/ 2 w 25"/>
                <a:gd name="T1" fmla="*/ 0 h 35"/>
                <a:gd name="T2" fmla="*/ 2 w 25"/>
                <a:gd name="T3" fmla="*/ 1 h 35"/>
                <a:gd name="T4" fmla="*/ 1 w 25"/>
                <a:gd name="T5" fmla="*/ 16 h 35"/>
                <a:gd name="T6" fmla="*/ 7 w 25"/>
                <a:gd name="T7" fmla="*/ 27 h 35"/>
                <a:gd name="T8" fmla="*/ 16 w 25"/>
                <a:gd name="T9" fmla="*/ 35 h 35"/>
                <a:gd name="T10" fmla="*/ 25 w 25"/>
                <a:gd name="T11" fmla="*/ 8 h 35"/>
                <a:gd name="T12" fmla="*/ 2 w 25"/>
                <a:gd name="T13" fmla="*/ 0 h 35"/>
              </a:gdLst>
              <a:ahLst/>
              <a:cxnLst>
                <a:cxn ang="0">
                  <a:pos x="T0" y="T1"/>
                </a:cxn>
                <a:cxn ang="0">
                  <a:pos x="T2" y="T3"/>
                </a:cxn>
                <a:cxn ang="0">
                  <a:pos x="T4" y="T5"/>
                </a:cxn>
                <a:cxn ang="0">
                  <a:pos x="T6" y="T7"/>
                </a:cxn>
                <a:cxn ang="0">
                  <a:pos x="T8" y="T9"/>
                </a:cxn>
                <a:cxn ang="0">
                  <a:pos x="T10" y="T11"/>
                </a:cxn>
                <a:cxn ang="0">
                  <a:pos x="T12" y="T13"/>
                </a:cxn>
              </a:cxnLst>
              <a:rect l="0" t="0" r="r" b="b"/>
              <a:pathLst>
                <a:path w="25" h="35">
                  <a:moveTo>
                    <a:pt x="2" y="0"/>
                  </a:moveTo>
                  <a:cubicBezTo>
                    <a:pt x="2" y="0"/>
                    <a:pt x="2" y="0"/>
                    <a:pt x="2" y="1"/>
                  </a:cubicBezTo>
                  <a:cubicBezTo>
                    <a:pt x="0" y="6"/>
                    <a:pt x="0" y="11"/>
                    <a:pt x="1" y="16"/>
                  </a:cubicBezTo>
                  <a:cubicBezTo>
                    <a:pt x="2" y="20"/>
                    <a:pt x="4" y="24"/>
                    <a:pt x="7" y="27"/>
                  </a:cubicBezTo>
                  <a:cubicBezTo>
                    <a:pt x="16" y="35"/>
                    <a:pt x="16" y="35"/>
                    <a:pt x="16" y="35"/>
                  </a:cubicBezTo>
                  <a:cubicBezTo>
                    <a:pt x="25" y="8"/>
                    <a:pt x="25" y="8"/>
                    <a:pt x="25" y="8"/>
                  </a:cubicBezTo>
                  <a:cubicBezTo>
                    <a:pt x="2" y="0"/>
                    <a:pt x="2" y="0"/>
                    <a:pt x="2" y="0"/>
                  </a:cubicBezTo>
                </a:path>
              </a:pathLst>
            </a:custGeom>
            <a:solidFill>
              <a:srgbClr val="FF56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03" name="Freeform 1335">
              <a:extLst>
                <a:ext uri="{FF2B5EF4-FFF2-40B4-BE49-F238E27FC236}">
                  <a16:creationId xmlns:a16="http://schemas.microsoft.com/office/drawing/2014/main" id="{83090C90-423F-30BD-4A51-2406C42D7F67}"/>
                </a:ext>
              </a:extLst>
            </p:cNvPr>
            <p:cNvSpPr>
              <a:spLocks noEditPoints="1"/>
            </p:cNvSpPr>
            <p:nvPr/>
          </p:nvSpPr>
          <p:spPr bwMode="auto">
            <a:xfrm>
              <a:off x="3806825" y="5219700"/>
              <a:ext cx="1588" cy="3175"/>
            </a:xfrm>
            <a:custGeom>
              <a:avLst/>
              <a:gdLst>
                <a:gd name="T0" fmla="*/ 0 w 2"/>
                <a:gd name="T1" fmla="*/ 4 h 5"/>
                <a:gd name="T2" fmla="*/ 0 w 2"/>
                <a:gd name="T3" fmla="*/ 5 h 5"/>
                <a:gd name="T4" fmla="*/ 0 w 2"/>
                <a:gd name="T5" fmla="*/ 4 h 5"/>
                <a:gd name="T6" fmla="*/ 0 w 2"/>
                <a:gd name="T7" fmla="*/ 4 h 5"/>
                <a:gd name="T8" fmla="*/ 0 w 2"/>
                <a:gd name="T9" fmla="*/ 4 h 5"/>
                <a:gd name="T10" fmla="*/ 0 w 2"/>
                <a:gd name="T11" fmla="*/ 4 h 5"/>
                <a:gd name="T12" fmla="*/ 0 w 2"/>
                <a:gd name="T13" fmla="*/ 4 h 5"/>
                <a:gd name="T14" fmla="*/ 0 w 2"/>
                <a:gd name="T15" fmla="*/ 4 h 5"/>
                <a:gd name="T16" fmla="*/ 0 w 2"/>
                <a:gd name="T17" fmla="*/ 4 h 5"/>
                <a:gd name="T18" fmla="*/ 0 w 2"/>
                <a:gd name="T19" fmla="*/ 4 h 5"/>
                <a:gd name="T20" fmla="*/ 0 w 2"/>
                <a:gd name="T21" fmla="*/ 4 h 5"/>
                <a:gd name="T22" fmla="*/ 0 w 2"/>
                <a:gd name="T23" fmla="*/ 4 h 5"/>
                <a:gd name="T24" fmla="*/ 1 w 2"/>
                <a:gd name="T25" fmla="*/ 1 h 5"/>
                <a:gd name="T26" fmla="*/ 0 w 2"/>
                <a:gd name="T27" fmla="*/ 4 h 5"/>
                <a:gd name="T28" fmla="*/ 1 w 2"/>
                <a:gd name="T29" fmla="*/ 1 h 5"/>
                <a:gd name="T30" fmla="*/ 1 w 2"/>
                <a:gd name="T31" fmla="*/ 0 h 5"/>
                <a:gd name="T32" fmla="*/ 1 w 2"/>
                <a:gd name="T33" fmla="*/ 1 h 5"/>
                <a:gd name="T34" fmla="*/ 1 w 2"/>
                <a:gd name="T35" fmla="*/ 0 h 5"/>
                <a:gd name="T36" fmla="*/ 2 w 2"/>
                <a:gd name="T37" fmla="*/ 0 h 5"/>
                <a:gd name="T38" fmla="*/ 1 w 2"/>
                <a:gd name="T39" fmla="*/ 0 h 5"/>
                <a:gd name="T40" fmla="*/ 2 w 2"/>
                <a:gd name="T41"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 h="5">
                  <a:moveTo>
                    <a:pt x="0" y="4"/>
                  </a:moveTo>
                  <a:cubicBezTo>
                    <a:pt x="0" y="5"/>
                    <a:pt x="0" y="5"/>
                    <a:pt x="0" y="5"/>
                  </a:cubicBezTo>
                  <a:cubicBezTo>
                    <a:pt x="0" y="5"/>
                    <a:pt x="0" y="5"/>
                    <a:pt x="0" y="4"/>
                  </a:cubicBezTo>
                  <a:moveTo>
                    <a:pt x="0" y="4"/>
                  </a:moveTo>
                  <a:cubicBezTo>
                    <a:pt x="0" y="4"/>
                    <a:pt x="0" y="4"/>
                    <a:pt x="0" y="4"/>
                  </a:cubicBezTo>
                  <a:cubicBezTo>
                    <a:pt x="0" y="4"/>
                    <a:pt x="0" y="4"/>
                    <a:pt x="0" y="4"/>
                  </a:cubicBezTo>
                  <a:moveTo>
                    <a:pt x="0" y="4"/>
                  </a:moveTo>
                  <a:cubicBezTo>
                    <a:pt x="0" y="4"/>
                    <a:pt x="0" y="4"/>
                    <a:pt x="0" y="4"/>
                  </a:cubicBezTo>
                  <a:cubicBezTo>
                    <a:pt x="0" y="4"/>
                    <a:pt x="0" y="4"/>
                    <a:pt x="0" y="4"/>
                  </a:cubicBezTo>
                  <a:moveTo>
                    <a:pt x="0" y="4"/>
                  </a:moveTo>
                  <a:cubicBezTo>
                    <a:pt x="0" y="4"/>
                    <a:pt x="0" y="4"/>
                    <a:pt x="0" y="4"/>
                  </a:cubicBezTo>
                  <a:cubicBezTo>
                    <a:pt x="0" y="4"/>
                    <a:pt x="0" y="4"/>
                    <a:pt x="0" y="4"/>
                  </a:cubicBezTo>
                  <a:moveTo>
                    <a:pt x="1" y="1"/>
                  </a:moveTo>
                  <a:cubicBezTo>
                    <a:pt x="1" y="2"/>
                    <a:pt x="0" y="3"/>
                    <a:pt x="0" y="4"/>
                  </a:cubicBezTo>
                  <a:cubicBezTo>
                    <a:pt x="0" y="3"/>
                    <a:pt x="1" y="2"/>
                    <a:pt x="1" y="1"/>
                  </a:cubicBezTo>
                  <a:moveTo>
                    <a:pt x="1" y="0"/>
                  </a:moveTo>
                  <a:cubicBezTo>
                    <a:pt x="1" y="1"/>
                    <a:pt x="1" y="1"/>
                    <a:pt x="1" y="1"/>
                  </a:cubicBezTo>
                  <a:cubicBezTo>
                    <a:pt x="1" y="1"/>
                    <a:pt x="1" y="1"/>
                    <a:pt x="1" y="0"/>
                  </a:cubicBezTo>
                  <a:moveTo>
                    <a:pt x="2" y="0"/>
                  </a:moveTo>
                  <a:cubicBezTo>
                    <a:pt x="1" y="0"/>
                    <a:pt x="1" y="0"/>
                    <a:pt x="1" y="0"/>
                  </a:cubicBezTo>
                  <a:cubicBezTo>
                    <a:pt x="1" y="0"/>
                    <a:pt x="1" y="0"/>
                    <a:pt x="2" y="0"/>
                  </a:cubicBezTo>
                </a:path>
              </a:pathLst>
            </a:custGeom>
            <a:solidFill>
              <a:srgbClr val="1066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04" name="Freeform 1336">
              <a:extLst>
                <a:ext uri="{FF2B5EF4-FFF2-40B4-BE49-F238E27FC236}">
                  <a16:creationId xmlns:a16="http://schemas.microsoft.com/office/drawing/2014/main" id="{B6FA016E-576B-1B2B-22F4-4A9BAEE0BA91}"/>
                </a:ext>
              </a:extLst>
            </p:cNvPr>
            <p:cNvSpPr>
              <a:spLocks noEditPoints="1"/>
            </p:cNvSpPr>
            <p:nvPr/>
          </p:nvSpPr>
          <p:spPr bwMode="auto">
            <a:xfrm>
              <a:off x="3797300" y="4803775"/>
              <a:ext cx="161925" cy="428625"/>
            </a:xfrm>
            <a:custGeom>
              <a:avLst/>
              <a:gdLst>
                <a:gd name="T0" fmla="*/ 1 w 200"/>
                <a:gd name="T1" fmla="*/ 527 h 527"/>
                <a:gd name="T2" fmla="*/ 1 w 200"/>
                <a:gd name="T3" fmla="*/ 527 h 527"/>
                <a:gd name="T4" fmla="*/ 1 w 200"/>
                <a:gd name="T5" fmla="*/ 527 h 527"/>
                <a:gd name="T6" fmla="*/ 187 w 200"/>
                <a:gd name="T7" fmla="*/ 0 h 527"/>
                <a:gd name="T8" fmla="*/ 0 w 200"/>
                <a:gd name="T9" fmla="*/ 509 h 527"/>
                <a:gd name="T10" fmla="*/ 13 w 200"/>
                <a:gd name="T11" fmla="*/ 513 h 527"/>
                <a:gd name="T12" fmla="*/ 1 w 200"/>
                <a:gd name="T13" fmla="*/ 527 h 527"/>
                <a:gd name="T14" fmla="*/ 12 w 200"/>
                <a:gd name="T15" fmla="*/ 516 h 527"/>
                <a:gd name="T16" fmla="*/ 12 w 200"/>
                <a:gd name="T17" fmla="*/ 515 h 527"/>
                <a:gd name="T18" fmla="*/ 12 w 200"/>
                <a:gd name="T19" fmla="*/ 515 h 527"/>
                <a:gd name="T20" fmla="*/ 12 w 200"/>
                <a:gd name="T21" fmla="*/ 515 h 527"/>
                <a:gd name="T22" fmla="*/ 12 w 200"/>
                <a:gd name="T23" fmla="*/ 515 h 527"/>
                <a:gd name="T24" fmla="*/ 12 w 200"/>
                <a:gd name="T25" fmla="*/ 515 h 527"/>
                <a:gd name="T26" fmla="*/ 12 w 200"/>
                <a:gd name="T27" fmla="*/ 515 h 527"/>
                <a:gd name="T28" fmla="*/ 12 w 200"/>
                <a:gd name="T29" fmla="*/ 515 h 527"/>
                <a:gd name="T30" fmla="*/ 12 w 200"/>
                <a:gd name="T31" fmla="*/ 515 h 527"/>
                <a:gd name="T32" fmla="*/ 13 w 200"/>
                <a:gd name="T33" fmla="*/ 512 h 527"/>
                <a:gd name="T34" fmla="*/ 13 w 200"/>
                <a:gd name="T35" fmla="*/ 512 h 527"/>
                <a:gd name="T36" fmla="*/ 13 w 200"/>
                <a:gd name="T37" fmla="*/ 511 h 527"/>
                <a:gd name="T38" fmla="*/ 13 w 200"/>
                <a:gd name="T39" fmla="*/ 511 h 527"/>
                <a:gd name="T40" fmla="*/ 14 w 200"/>
                <a:gd name="T41" fmla="*/ 511 h 527"/>
                <a:gd name="T42" fmla="*/ 14 w 200"/>
                <a:gd name="T43" fmla="*/ 511 h 527"/>
                <a:gd name="T44" fmla="*/ 200 w 200"/>
                <a:gd name="T45" fmla="*/ 3 h 527"/>
                <a:gd name="T46" fmla="*/ 200 w 200"/>
                <a:gd name="T47" fmla="*/ 1 h 527"/>
                <a:gd name="T48" fmla="*/ 187 w 200"/>
                <a:gd name="T49" fmla="*/ 0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0" h="527">
                  <a:moveTo>
                    <a:pt x="1" y="527"/>
                  </a:moveTo>
                  <a:cubicBezTo>
                    <a:pt x="1" y="527"/>
                    <a:pt x="1" y="527"/>
                    <a:pt x="1" y="527"/>
                  </a:cubicBezTo>
                  <a:cubicBezTo>
                    <a:pt x="1" y="527"/>
                    <a:pt x="1" y="527"/>
                    <a:pt x="1" y="527"/>
                  </a:cubicBezTo>
                  <a:moveTo>
                    <a:pt x="187" y="0"/>
                  </a:moveTo>
                  <a:cubicBezTo>
                    <a:pt x="0" y="509"/>
                    <a:pt x="0" y="509"/>
                    <a:pt x="0" y="509"/>
                  </a:cubicBezTo>
                  <a:cubicBezTo>
                    <a:pt x="13" y="513"/>
                    <a:pt x="13" y="513"/>
                    <a:pt x="13" y="513"/>
                  </a:cubicBezTo>
                  <a:cubicBezTo>
                    <a:pt x="10" y="519"/>
                    <a:pt x="6" y="524"/>
                    <a:pt x="1" y="527"/>
                  </a:cubicBezTo>
                  <a:cubicBezTo>
                    <a:pt x="5" y="524"/>
                    <a:pt x="9" y="520"/>
                    <a:pt x="12" y="516"/>
                  </a:cubicBezTo>
                  <a:cubicBezTo>
                    <a:pt x="12" y="516"/>
                    <a:pt x="12" y="516"/>
                    <a:pt x="12" y="515"/>
                  </a:cubicBezTo>
                  <a:cubicBezTo>
                    <a:pt x="12" y="515"/>
                    <a:pt x="12" y="515"/>
                    <a:pt x="12" y="515"/>
                  </a:cubicBezTo>
                  <a:cubicBezTo>
                    <a:pt x="12" y="515"/>
                    <a:pt x="12" y="515"/>
                    <a:pt x="12" y="515"/>
                  </a:cubicBezTo>
                  <a:cubicBezTo>
                    <a:pt x="12" y="515"/>
                    <a:pt x="12" y="515"/>
                    <a:pt x="12" y="515"/>
                  </a:cubicBezTo>
                  <a:cubicBezTo>
                    <a:pt x="12" y="515"/>
                    <a:pt x="12" y="515"/>
                    <a:pt x="12" y="515"/>
                  </a:cubicBezTo>
                  <a:cubicBezTo>
                    <a:pt x="12" y="515"/>
                    <a:pt x="12" y="515"/>
                    <a:pt x="12" y="515"/>
                  </a:cubicBezTo>
                  <a:cubicBezTo>
                    <a:pt x="12" y="515"/>
                    <a:pt x="12" y="515"/>
                    <a:pt x="12" y="515"/>
                  </a:cubicBezTo>
                  <a:cubicBezTo>
                    <a:pt x="12" y="515"/>
                    <a:pt x="12" y="515"/>
                    <a:pt x="12" y="515"/>
                  </a:cubicBezTo>
                  <a:cubicBezTo>
                    <a:pt x="12" y="514"/>
                    <a:pt x="13" y="513"/>
                    <a:pt x="13" y="512"/>
                  </a:cubicBezTo>
                  <a:cubicBezTo>
                    <a:pt x="13" y="512"/>
                    <a:pt x="13" y="512"/>
                    <a:pt x="13" y="512"/>
                  </a:cubicBezTo>
                  <a:cubicBezTo>
                    <a:pt x="13" y="512"/>
                    <a:pt x="13" y="512"/>
                    <a:pt x="13" y="511"/>
                  </a:cubicBezTo>
                  <a:cubicBezTo>
                    <a:pt x="13" y="511"/>
                    <a:pt x="13" y="511"/>
                    <a:pt x="13" y="511"/>
                  </a:cubicBezTo>
                  <a:cubicBezTo>
                    <a:pt x="13" y="511"/>
                    <a:pt x="13" y="511"/>
                    <a:pt x="14" y="511"/>
                  </a:cubicBezTo>
                  <a:cubicBezTo>
                    <a:pt x="14" y="511"/>
                    <a:pt x="14" y="511"/>
                    <a:pt x="14" y="511"/>
                  </a:cubicBezTo>
                  <a:cubicBezTo>
                    <a:pt x="200" y="3"/>
                    <a:pt x="200" y="3"/>
                    <a:pt x="200" y="3"/>
                  </a:cubicBezTo>
                  <a:cubicBezTo>
                    <a:pt x="200" y="2"/>
                    <a:pt x="200" y="2"/>
                    <a:pt x="200" y="1"/>
                  </a:cubicBezTo>
                  <a:cubicBezTo>
                    <a:pt x="187" y="0"/>
                    <a:pt x="187" y="0"/>
                    <a:pt x="187" y="0"/>
                  </a:cubicBezTo>
                </a:path>
              </a:pathLst>
            </a:custGeom>
            <a:solidFill>
              <a:srgbClr val="0063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05" name="Freeform 1337">
              <a:extLst>
                <a:ext uri="{FF2B5EF4-FFF2-40B4-BE49-F238E27FC236}">
                  <a16:creationId xmlns:a16="http://schemas.microsoft.com/office/drawing/2014/main" id="{EA737FB8-4F4C-46E3-9645-2DD1C15759AD}"/>
                </a:ext>
              </a:extLst>
            </p:cNvPr>
            <p:cNvSpPr>
              <a:spLocks/>
            </p:cNvSpPr>
            <p:nvPr/>
          </p:nvSpPr>
          <p:spPr bwMode="auto">
            <a:xfrm>
              <a:off x="3949700" y="4803775"/>
              <a:ext cx="9525" cy="1588"/>
            </a:xfrm>
            <a:custGeom>
              <a:avLst/>
              <a:gdLst>
                <a:gd name="T0" fmla="*/ 0 w 13"/>
                <a:gd name="T1" fmla="*/ 0 h 1"/>
                <a:gd name="T2" fmla="*/ 0 w 13"/>
                <a:gd name="T3" fmla="*/ 0 h 1"/>
                <a:gd name="T4" fmla="*/ 13 w 13"/>
                <a:gd name="T5" fmla="*/ 1 h 1"/>
                <a:gd name="T6" fmla="*/ 13 w 13"/>
                <a:gd name="T7" fmla="*/ 1 h 1"/>
                <a:gd name="T8" fmla="*/ 0 w 13"/>
                <a:gd name="T9" fmla="*/ 0 h 1"/>
              </a:gdLst>
              <a:ahLst/>
              <a:cxnLst>
                <a:cxn ang="0">
                  <a:pos x="T0" y="T1"/>
                </a:cxn>
                <a:cxn ang="0">
                  <a:pos x="T2" y="T3"/>
                </a:cxn>
                <a:cxn ang="0">
                  <a:pos x="T4" y="T5"/>
                </a:cxn>
                <a:cxn ang="0">
                  <a:pos x="T6" y="T7"/>
                </a:cxn>
                <a:cxn ang="0">
                  <a:pos x="T8" y="T9"/>
                </a:cxn>
              </a:cxnLst>
              <a:rect l="0" t="0" r="r" b="b"/>
              <a:pathLst>
                <a:path w="13" h="1">
                  <a:moveTo>
                    <a:pt x="0" y="0"/>
                  </a:moveTo>
                  <a:cubicBezTo>
                    <a:pt x="0" y="0"/>
                    <a:pt x="0" y="0"/>
                    <a:pt x="0" y="0"/>
                  </a:cubicBezTo>
                  <a:cubicBezTo>
                    <a:pt x="13" y="1"/>
                    <a:pt x="13" y="1"/>
                    <a:pt x="13" y="1"/>
                  </a:cubicBezTo>
                  <a:cubicBezTo>
                    <a:pt x="13" y="1"/>
                    <a:pt x="13" y="1"/>
                    <a:pt x="13" y="1"/>
                  </a:cubicBezTo>
                  <a:cubicBezTo>
                    <a:pt x="0" y="0"/>
                    <a:pt x="0" y="0"/>
                    <a:pt x="0" y="0"/>
                  </a:cubicBezTo>
                </a:path>
              </a:pathLst>
            </a:custGeom>
            <a:solidFill>
              <a:srgbClr val="C7B3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06" name="Freeform 1338">
              <a:extLst>
                <a:ext uri="{FF2B5EF4-FFF2-40B4-BE49-F238E27FC236}">
                  <a16:creationId xmlns:a16="http://schemas.microsoft.com/office/drawing/2014/main" id="{338E5C09-B4DD-39FB-AF79-8511AB73CFEB}"/>
                </a:ext>
              </a:extLst>
            </p:cNvPr>
            <p:cNvSpPr>
              <a:spLocks/>
            </p:cNvSpPr>
            <p:nvPr/>
          </p:nvSpPr>
          <p:spPr bwMode="auto">
            <a:xfrm>
              <a:off x="3790950" y="5218113"/>
              <a:ext cx="17463" cy="17463"/>
            </a:xfrm>
            <a:custGeom>
              <a:avLst/>
              <a:gdLst>
                <a:gd name="T0" fmla="*/ 8 w 21"/>
                <a:gd name="T1" fmla="*/ 0 h 22"/>
                <a:gd name="T2" fmla="*/ 0 w 21"/>
                <a:gd name="T3" fmla="*/ 22 h 22"/>
                <a:gd name="T4" fmla="*/ 9 w 21"/>
                <a:gd name="T5" fmla="*/ 18 h 22"/>
                <a:gd name="T6" fmla="*/ 9 w 21"/>
                <a:gd name="T7" fmla="*/ 18 h 22"/>
                <a:gd name="T8" fmla="*/ 9 w 21"/>
                <a:gd name="T9" fmla="*/ 18 h 22"/>
                <a:gd name="T10" fmla="*/ 21 w 21"/>
                <a:gd name="T11" fmla="*/ 4 h 22"/>
                <a:gd name="T12" fmla="*/ 8 w 21"/>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21" h="22">
                  <a:moveTo>
                    <a:pt x="8" y="0"/>
                  </a:moveTo>
                  <a:cubicBezTo>
                    <a:pt x="0" y="22"/>
                    <a:pt x="0" y="22"/>
                    <a:pt x="0" y="22"/>
                  </a:cubicBezTo>
                  <a:cubicBezTo>
                    <a:pt x="3" y="21"/>
                    <a:pt x="6" y="20"/>
                    <a:pt x="9" y="18"/>
                  </a:cubicBezTo>
                  <a:cubicBezTo>
                    <a:pt x="9" y="18"/>
                    <a:pt x="9" y="18"/>
                    <a:pt x="9" y="18"/>
                  </a:cubicBezTo>
                  <a:cubicBezTo>
                    <a:pt x="9" y="18"/>
                    <a:pt x="9" y="18"/>
                    <a:pt x="9" y="18"/>
                  </a:cubicBezTo>
                  <a:cubicBezTo>
                    <a:pt x="14" y="15"/>
                    <a:pt x="18" y="10"/>
                    <a:pt x="21" y="4"/>
                  </a:cubicBezTo>
                  <a:cubicBezTo>
                    <a:pt x="8" y="0"/>
                    <a:pt x="8" y="0"/>
                    <a:pt x="8" y="0"/>
                  </a:cubicBezTo>
                </a:path>
              </a:pathLst>
            </a:custGeom>
            <a:solidFill>
              <a:srgbClr val="CC36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07" name="Freeform 1339">
              <a:extLst>
                <a:ext uri="{FF2B5EF4-FFF2-40B4-BE49-F238E27FC236}">
                  <a16:creationId xmlns:a16="http://schemas.microsoft.com/office/drawing/2014/main" id="{6F6C2281-3881-3FFB-1CCE-6E74EB525313}"/>
                </a:ext>
              </a:extLst>
            </p:cNvPr>
            <p:cNvSpPr>
              <a:spLocks/>
            </p:cNvSpPr>
            <p:nvPr/>
          </p:nvSpPr>
          <p:spPr bwMode="auto">
            <a:xfrm>
              <a:off x="4276725" y="4730750"/>
              <a:ext cx="87313" cy="90488"/>
            </a:xfrm>
            <a:custGeom>
              <a:avLst/>
              <a:gdLst>
                <a:gd name="T0" fmla="*/ 108 w 108"/>
                <a:gd name="T1" fmla="*/ 1 h 111"/>
                <a:gd name="T2" fmla="*/ 96 w 108"/>
                <a:gd name="T3" fmla="*/ 0 h 111"/>
                <a:gd name="T4" fmla="*/ 0 w 108"/>
                <a:gd name="T5" fmla="*/ 96 h 111"/>
                <a:gd name="T6" fmla="*/ 1 w 108"/>
                <a:gd name="T7" fmla="*/ 111 h 111"/>
                <a:gd name="T8" fmla="*/ 15 w 108"/>
                <a:gd name="T9" fmla="*/ 111 h 111"/>
                <a:gd name="T10" fmla="*/ 13 w 108"/>
                <a:gd name="T11" fmla="*/ 96 h 111"/>
                <a:gd name="T12" fmla="*/ 96 w 108"/>
                <a:gd name="T13" fmla="*/ 13 h 111"/>
                <a:gd name="T14" fmla="*/ 108 w 108"/>
                <a:gd name="T15" fmla="*/ 14 h 111"/>
                <a:gd name="T16" fmla="*/ 108 w 108"/>
                <a:gd name="T17" fmla="*/ 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11">
                  <a:moveTo>
                    <a:pt x="108" y="1"/>
                  </a:moveTo>
                  <a:cubicBezTo>
                    <a:pt x="104" y="1"/>
                    <a:pt x="100" y="0"/>
                    <a:pt x="96" y="0"/>
                  </a:cubicBezTo>
                  <a:cubicBezTo>
                    <a:pt x="43" y="0"/>
                    <a:pt x="0" y="43"/>
                    <a:pt x="0" y="96"/>
                  </a:cubicBezTo>
                  <a:cubicBezTo>
                    <a:pt x="0" y="101"/>
                    <a:pt x="0" y="106"/>
                    <a:pt x="1" y="111"/>
                  </a:cubicBezTo>
                  <a:cubicBezTo>
                    <a:pt x="15" y="111"/>
                    <a:pt x="15" y="111"/>
                    <a:pt x="15" y="111"/>
                  </a:cubicBezTo>
                  <a:cubicBezTo>
                    <a:pt x="14" y="106"/>
                    <a:pt x="13" y="101"/>
                    <a:pt x="13" y="96"/>
                  </a:cubicBezTo>
                  <a:cubicBezTo>
                    <a:pt x="13" y="50"/>
                    <a:pt x="50" y="13"/>
                    <a:pt x="96" y="13"/>
                  </a:cubicBezTo>
                  <a:cubicBezTo>
                    <a:pt x="100" y="13"/>
                    <a:pt x="104" y="14"/>
                    <a:pt x="108" y="14"/>
                  </a:cubicBezTo>
                  <a:lnTo>
                    <a:pt x="108" y="1"/>
                  </a:lnTo>
                  <a:close/>
                </a:path>
              </a:pathLst>
            </a:custGeom>
            <a:solidFill>
              <a:srgbClr val="ED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08" name="Freeform 1340">
              <a:extLst>
                <a:ext uri="{FF2B5EF4-FFF2-40B4-BE49-F238E27FC236}">
                  <a16:creationId xmlns:a16="http://schemas.microsoft.com/office/drawing/2014/main" id="{ABF3201B-C911-2A29-E9AB-16F8DFACF75C}"/>
                </a:ext>
              </a:extLst>
            </p:cNvPr>
            <p:cNvSpPr>
              <a:spLocks noEditPoints="1"/>
            </p:cNvSpPr>
            <p:nvPr/>
          </p:nvSpPr>
          <p:spPr bwMode="auto">
            <a:xfrm>
              <a:off x="4306888" y="4767263"/>
              <a:ext cx="15875" cy="28575"/>
            </a:xfrm>
            <a:custGeom>
              <a:avLst/>
              <a:gdLst>
                <a:gd name="T0" fmla="*/ 21 w 21"/>
                <a:gd name="T1" fmla="*/ 14 h 34"/>
                <a:gd name="T2" fmla="*/ 16 w 21"/>
                <a:gd name="T3" fmla="*/ 29 h 34"/>
                <a:gd name="T4" fmla="*/ 2 w 21"/>
                <a:gd name="T5" fmla="*/ 34 h 34"/>
                <a:gd name="T6" fmla="*/ 2 w 21"/>
                <a:gd name="T7" fmla="*/ 30 h 34"/>
                <a:gd name="T8" fmla="*/ 7 w 21"/>
                <a:gd name="T9" fmla="*/ 30 h 34"/>
                <a:gd name="T10" fmla="*/ 11 w 21"/>
                <a:gd name="T11" fmla="*/ 28 h 34"/>
                <a:gd name="T12" fmla="*/ 14 w 21"/>
                <a:gd name="T13" fmla="*/ 25 h 34"/>
                <a:gd name="T14" fmla="*/ 16 w 21"/>
                <a:gd name="T15" fmla="*/ 20 h 34"/>
                <a:gd name="T16" fmla="*/ 13 w 21"/>
                <a:gd name="T17" fmla="*/ 21 h 34"/>
                <a:gd name="T18" fmla="*/ 10 w 21"/>
                <a:gd name="T19" fmla="*/ 21 h 34"/>
                <a:gd name="T20" fmla="*/ 5 w 21"/>
                <a:gd name="T21" fmla="*/ 20 h 34"/>
                <a:gd name="T22" fmla="*/ 2 w 21"/>
                <a:gd name="T23" fmla="*/ 18 h 34"/>
                <a:gd name="T24" fmla="*/ 0 w 21"/>
                <a:gd name="T25" fmla="*/ 15 h 34"/>
                <a:gd name="T26" fmla="*/ 0 w 21"/>
                <a:gd name="T27" fmla="*/ 11 h 34"/>
                <a:gd name="T28" fmla="*/ 1 w 21"/>
                <a:gd name="T29" fmla="*/ 7 h 34"/>
                <a:gd name="T30" fmla="*/ 2 w 21"/>
                <a:gd name="T31" fmla="*/ 4 h 34"/>
                <a:gd name="T32" fmla="*/ 6 w 21"/>
                <a:gd name="T33" fmla="*/ 1 h 34"/>
                <a:gd name="T34" fmla="*/ 10 w 21"/>
                <a:gd name="T35" fmla="*/ 0 h 34"/>
                <a:gd name="T36" fmla="*/ 15 w 21"/>
                <a:gd name="T37" fmla="*/ 1 h 34"/>
                <a:gd name="T38" fmla="*/ 19 w 21"/>
                <a:gd name="T39" fmla="*/ 4 h 34"/>
                <a:gd name="T40" fmla="*/ 21 w 21"/>
                <a:gd name="T41" fmla="*/ 8 h 34"/>
                <a:gd name="T42" fmla="*/ 21 w 21"/>
                <a:gd name="T43" fmla="*/ 14 h 34"/>
                <a:gd name="T44" fmla="*/ 11 w 21"/>
                <a:gd name="T45" fmla="*/ 17 h 34"/>
                <a:gd name="T46" fmla="*/ 14 w 21"/>
                <a:gd name="T47" fmla="*/ 17 h 34"/>
                <a:gd name="T48" fmla="*/ 17 w 21"/>
                <a:gd name="T49" fmla="*/ 16 h 34"/>
                <a:gd name="T50" fmla="*/ 17 w 21"/>
                <a:gd name="T51" fmla="*/ 15 h 34"/>
                <a:gd name="T52" fmla="*/ 17 w 21"/>
                <a:gd name="T53" fmla="*/ 14 h 34"/>
                <a:gd name="T54" fmla="*/ 16 w 21"/>
                <a:gd name="T55" fmla="*/ 10 h 34"/>
                <a:gd name="T56" fmla="*/ 15 w 21"/>
                <a:gd name="T57" fmla="*/ 7 h 34"/>
                <a:gd name="T58" fmla="*/ 13 w 21"/>
                <a:gd name="T59" fmla="*/ 5 h 34"/>
                <a:gd name="T60" fmla="*/ 10 w 21"/>
                <a:gd name="T61" fmla="*/ 4 h 34"/>
                <a:gd name="T62" fmla="*/ 8 w 21"/>
                <a:gd name="T63" fmla="*/ 4 h 34"/>
                <a:gd name="T64" fmla="*/ 6 w 21"/>
                <a:gd name="T65" fmla="*/ 6 h 34"/>
                <a:gd name="T66" fmla="*/ 5 w 21"/>
                <a:gd name="T67" fmla="*/ 8 h 34"/>
                <a:gd name="T68" fmla="*/ 4 w 21"/>
                <a:gd name="T69" fmla="*/ 11 h 34"/>
                <a:gd name="T70" fmla="*/ 6 w 21"/>
                <a:gd name="T71" fmla="*/ 16 h 34"/>
                <a:gd name="T72" fmla="*/ 11 w 21"/>
                <a:gd name="T73"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1" h="34">
                  <a:moveTo>
                    <a:pt x="21" y="14"/>
                  </a:moveTo>
                  <a:cubicBezTo>
                    <a:pt x="21" y="21"/>
                    <a:pt x="20" y="26"/>
                    <a:pt x="16" y="29"/>
                  </a:cubicBezTo>
                  <a:cubicBezTo>
                    <a:pt x="13" y="32"/>
                    <a:pt x="8" y="34"/>
                    <a:pt x="2" y="34"/>
                  </a:cubicBezTo>
                  <a:cubicBezTo>
                    <a:pt x="2" y="30"/>
                    <a:pt x="2" y="30"/>
                    <a:pt x="2" y="30"/>
                  </a:cubicBezTo>
                  <a:cubicBezTo>
                    <a:pt x="4" y="30"/>
                    <a:pt x="6" y="30"/>
                    <a:pt x="7" y="30"/>
                  </a:cubicBezTo>
                  <a:cubicBezTo>
                    <a:pt x="9" y="29"/>
                    <a:pt x="10" y="29"/>
                    <a:pt x="11" y="28"/>
                  </a:cubicBezTo>
                  <a:cubicBezTo>
                    <a:pt x="13" y="27"/>
                    <a:pt x="14" y="26"/>
                    <a:pt x="14" y="25"/>
                  </a:cubicBezTo>
                  <a:cubicBezTo>
                    <a:pt x="15" y="23"/>
                    <a:pt x="16" y="22"/>
                    <a:pt x="16" y="20"/>
                  </a:cubicBezTo>
                  <a:cubicBezTo>
                    <a:pt x="15" y="20"/>
                    <a:pt x="15" y="20"/>
                    <a:pt x="13" y="21"/>
                  </a:cubicBezTo>
                  <a:cubicBezTo>
                    <a:pt x="12" y="21"/>
                    <a:pt x="11" y="21"/>
                    <a:pt x="10" y="21"/>
                  </a:cubicBezTo>
                  <a:cubicBezTo>
                    <a:pt x="8" y="21"/>
                    <a:pt x="7" y="21"/>
                    <a:pt x="5" y="20"/>
                  </a:cubicBezTo>
                  <a:cubicBezTo>
                    <a:pt x="4" y="20"/>
                    <a:pt x="3" y="19"/>
                    <a:pt x="2" y="18"/>
                  </a:cubicBezTo>
                  <a:cubicBezTo>
                    <a:pt x="1" y="17"/>
                    <a:pt x="1" y="16"/>
                    <a:pt x="0" y="15"/>
                  </a:cubicBezTo>
                  <a:cubicBezTo>
                    <a:pt x="0" y="13"/>
                    <a:pt x="0" y="12"/>
                    <a:pt x="0" y="11"/>
                  </a:cubicBezTo>
                  <a:cubicBezTo>
                    <a:pt x="0" y="10"/>
                    <a:pt x="0" y="8"/>
                    <a:pt x="1" y="7"/>
                  </a:cubicBezTo>
                  <a:cubicBezTo>
                    <a:pt x="1" y="6"/>
                    <a:pt x="2" y="5"/>
                    <a:pt x="2" y="4"/>
                  </a:cubicBezTo>
                  <a:cubicBezTo>
                    <a:pt x="3" y="3"/>
                    <a:pt x="4" y="2"/>
                    <a:pt x="6" y="1"/>
                  </a:cubicBezTo>
                  <a:cubicBezTo>
                    <a:pt x="7" y="0"/>
                    <a:pt x="8" y="0"/>
                    <a:pt x="10" y="0"/>
                  </a:cubicBezTo>
                  <a:cubicBezTo>
                    <a:pt x="12" y="0"/>
                    <a:pt x="14" y="0"/>
                    <a:pt x="15" y="1"/>
                  </a:cubicBezTo>
                  <a:cubicBezTo>
                    <a:pt x="16" y="2"/>
                    <a:pt x="18" y="3"/>
                    <a:pt x="19" y="4"/>
                  </a:cubicBezTo>
                  <a:cubicBezTo>
                    <a:pt x="19" y="5"/>
                    <a:pt x="20" y="7"/>
                    <a:pt x="21" y="8"/>
                  </a:cubicBezTo>
                  <a:cubicBezTo>
                    <a:pt x="21" y="10"/>
                    <a:pt x="21" y="12"/>
                    <a:pt x="21" y="14"/>
                  </a:cubicBezTo>
                  <a:close/>
                  <a:moveTo>
                    <a:pt x="11" y="17"/>
                  </a:moveTo>
                  <a:cubicBezTo>
                    <a:pt x="12" y="17"/>
                    <a:pt x="13" y="17"/>
                    <a:pt x="14" y="17"/>
                  </a:cubicBezTo>
                  <a:cubicBezTo>
                    <a:pt x="15" y="17"/>
                    <a:pt x="16" y="17"/>
                    <a:pt x="17" y="16"/>
                  </a:cubicBezTo>
                  <a:cubicBezTo>
                    <a:pt x="17" y="16"/>
                    <a:pt x="17" y="15"/>
                    <a:pt x="17" y="15"/>
                  </a:cubicBezTo>
                  <a:cubicBezTo>
                    <a:pt x="17" y="15"/>
                    <a:pt x="17" y="14"/>
                    <a:pt x="17" y="14"/>
                  </a:cubicBezTo>
                  <a:cubicBezTo>
                    <a:pt x="17" y="13"/>
                    <a:pt x="17" y="11"/>
                    <a:pt x="16" y="10"/>
                  </a:cubicBezTo>
                  <a:cubicBezTo>
                    <a:pt x="16" y="9"/>
                    <a:pt x="16" y="8"/>
                    <a:pt x="15" y="7"/>
                  </a:cubicBezTo>
                  <a:cubicBezTo>
                    <a:pt x="15" y="6"/>
                    <a:pt x="14" y="5"/>
                    <a:pt x="13" y="5"/>
                  </a:cubicBezTo>
                  <a:cubicBezTo>
                    <a:pt x="13" y="4"/>
                    <a:pt x="12" y="4"/>
                    <a:pt x="10" y="4"/>
                  </a:cubicBezTo>
                  <a:cubicBezTo>
                    <a:pt x="9" y="4"/>
                    <a:pt x="8" y="4"/>
                    <a:pt x="8" y="4"/>
                  </a:cubicBezTo>
                  <a:cubicBezTo>
                    <a:pt x="7" y="5"/>
                    <a:pt x="6" y="6"/>
                    <a:pt x="6" y="6"/>
                  </a:cubicBezTo>
                  <a:cubicBezTo>
                    <a:pt x="5" y="7"/>
                    <a:pt x="5" y="8"/>
                    <a:pt x="5" y="8"/>
                  </a:cubicBezTo>
                  <a:cubicBezTo>
                    <a:pt x="5" y="9"/>
                    <a:pt x="4" y="10"/>
                    <a:pt x="4" y="11"/>
                  </a:cubicBezTo>
                  <a:cubicBezTo>
                    <a:pt x="4" y="13"/>
                    <a:pt x="5" y="15"/>
                    <a:pt x="6" y="16"/>
                  </a:cubicBezTo>
                  <a:cubicBezTo>
                    <a:pt x="7" y="17"/>
                    <a:pt x="9" y="17"/>
                    <a:pt x="11" y="17"/>
                  </a:cubicBez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09" name="Freeform 1341">
              <a:extLst>
                <a:ext uri="{FF2B5EF4-FFF2-40B4-BE49-F238E27FC236}">
                  <a16:creationId xmlns:a16="http://schemas.microsoft.com/office/drawing/2014/main" id="{6E36906B-06BE-4CB4-BE7C-26138D63BA29}"/>
                </a:ext>
              </a:extLst>
            </p:cNvPr>
            <p:cNvSpPr>
              <a:spLocks noEditPoints="1"/>
            </p:cNvSpPr>
            <p:nvPr/>
          </p:nvSpPr>
          <p:spPr bwMode="auto">
            <a:xfrm>
              <a:off x="4327525" y="4767263"/>
              <a:ext cx="19050" cy="28575"/>
            </a:xfrm>
            <a:custGeom>
              <a:avLst/>
              <a:gdLst>
                <a:gd name="T0" fmla="*/ 0 w 22"/>
                <a:gd name="T1" fmla="*/ 17 h 35"/>
                <a:gd name="T2" fmla="*/ 3 w 22"/>
                <a:gd name="T3" fmla="*/ 5 h 35"/>
                <a:gd name="T4" fmla="*/ 11 w 22"/>
                <a:gd name="T5" fmla="*/ 0 h 35"/>
                <a:gd name="T6" fmla="*/ 19 w 22"/>
                <a:gd name="T7" fmla="*/ 5 h 35"/>
                <a:gd name="T8" fmla="*/ 22 w 22"/>
                <a:gd name="T9" fmla="*/ 17 h 35"/>
                <a:gd name="T10" fmla="*/ 19 w 22"/>
                <a:gd name="T11" fmla="*/ 30 h 35"/>
                <a:gd name="T12" fmla="*/ 11 w 22"/>
                <a:gd name="T13" fmla="*/ 35 h 35"/>
                <a:gd name="T14" fmla="*/ 3 w 22"/>
                <a:gd name="T15" fmla="*/ 30 h 35"/>
                <a:gd name="T16" fmla="*/ 0 w 22"/>
                <a:gd name="T17" fmla="*/ 17 h 35"/>
                <a:gd name="T18" fmla="*/ 17 w 22"/>
                <a:gd name="T19" fmla="*/ 17 h 35"/>
                <a:gd name="T20" fmla="*/ 17 w 22"/>
                <a:gd name="T21" fmla="*/ 12 h 35"/>
                <a:gd name="T22" fmla="*/ 16 w 22"/>
                <a:gd name="T23" fmla="*/ 8 h 35"/>
                <a:gd name="T24" fmla="*/ 14 w 22"/>
                <a:gd name="T25" fmla="*/ 5 h 35"/>
                <a:gd name="T26" fmla="*/ 11 w 22"/>
                <a:gd name="T27" fmla="*/ 4 h 35"/>
                <a:gd name="T28" fmla="*/ 8 w 22"/>
                <a:gd name="T29" fmla="*/ 5 h 35"/>
                <a:gd name="T30" fmla="*/ 6 w 22"/>
                <a:gd name="T31" fmla="*/ 8 h 35"/>
                <a:gd name="T32" fmla="*/ 5 w 22"/>
                <a:gd name="T33" fmla="*/ 12 h 35"/>
                <a:gd name="T34" fmla="*/ 4 w 22"/>
                <a:gd name="T35" fmla="*/ 17 h 35"/>
                <a:gd name="T36" fmla="*/ 5 w 22"/>
                <a:gd name="T37" fmla="*/ 23 h 35"/>
                <a:gd name="T38" fmla="*/ 6 w 22"/>
                <a:gd name="T39" fmla="*/ 27 h 35"/>
                <a:gd name="T40" fmla="*/ 8 w 22"/>
                <a:gd name="T41" fmla="*/ 30 h 35"/>
                <a:gd name="T42" fmla="*/ 11 w 22"/>
                <a:gd name="T43" fmla="*/ 31 h 35"/>
                <a:gd name="T44" fmla="*/ 14 w 22"/>
                <a:gd name="T45" fmla="*/ 30 h 35"/>
                <a:gd name="T46" fmla="*/ 16 w 22"/>
                <a:gd name="T47" fmla="*/ 27 h 35"/>
                <a:gd name="T48" fmla="*/ 17 w 22"/>
                <a:gd name="T49" fmla="*/ 23 h 35"/>
                <a:gd name="T50" fmla="*/ 17 w 22"/>
                <a:gd name="T51" fmla="*/ 1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 h="35">
                  <a:moveTo>
                    <a:pt x="0" y="17"/>
                  </a:moveTo>
                  <a:cubicBezTo>
                    <a:pt x="0" y="12"/>
                    <a:pt x="1" y="8"/>
                    <a:pt x="3" y="5"/>
                  </a:cubicBezTo>
                  <a:cubicBezTo>
                    <a:pt x="5" y="2"/>
                    <a:pt x="7" y="0"/>
                    <a:pt x="11" y="0"/>
                  </a:cubicBezTo>
                  <a:cubicBezTo>
                    <a:pt x="14" y="0"/>
                    <a:pt x="17" y="2"/>
                    <a:pt x="19" y="5"/>
                  </a:cubicBezTo>
                  <a:cubicBezTo>
                    <a:pt x="21" y="8"/>
                    <a:pt x="22" y="12"/>
                    <a:pt x="22" y="17"/>
                  </a:cubicBezTo>
                  <a:cubicBezTo>
                    <a:pt x="22" y="23"/>
                    <a:pt x="21" y="27"/>
                    <a:pt x="19" y="30"/>
                  </a:cubicBezTo>
                  <a:cubicBezTo>
                    <a:pt x="17" y="33"/>
                    <a:pt x="14" y="35"/>
                    <a:pt x="11" y="35"/>
                  </a:cubicBezTo>
                  <a:cubicBezTo>
                    <a:pt x="7" y="35"/>
                    <a:pt x="5" y="33"/>
                    <a:pt x="3" y="30"/>
                  </a:cubicBezTo>
                  <a:cubicBezTo>
                    <a:pt x="1" y="27"/>
                    <a:pt x="0" y="23"/>
                    <a:pt x="0" y="17"/>
                  </a:cubicBezTo>
                  <a:close/>
                  <a:moveTo>
                    <a:pt x="17" y="17"/>
                  </a:moveTo>
                  <a:cubicBezTo>
                    <a:pt x="17" y="16"/>
                    <a:pt x="17" y="14"/>
                    <a:pt x="17" y="12"/>
                  </a:cubicBezTo>
                  <a:cubicBezTo>
                    <a:pt x="17" y="11"/>
                    <a:pt x="16" y="9"/>
                    <a:pt x="16" y="8"/>
                  </a:cubicBezTo>
                  <a:cubicBezTo>
                    <a:pt x="15" y="7"/>
                    <a:pt x="15" y="6"/>
                    <a:pt x="14" y="5"/>
                  </a:cubicBezTo>
                  <a:cubicBezTo>
                    <a:pt x="13" y="4"/>
                    <a:pt x="12" y="4"/>
                    <a:pt x="11" y="4"/>
                  </a:cubicBezTo>
                  <a:cubicBezTo>
                    <a:pt x="10" y="4"/>
                    <a:pt x="9" y="4"/>
                    <a:pt x="8" y="5"/>
                  </a:cubicBezTo>
                  <a:cubicBezTo>
                    <a:pt x="7" y="6"/>
                    <a:pt x="6" y="7"/>
                    <a:pt x="6" y="8"/>
                  </a:cubicBezTo>
                  <a:cubicBezTo>
                    <a:pt x="5" y="9"/>
                    <a:pt x="5" y="11"/>
                    <a:pt x="5" y="12"/>
                  </a:cubicBezTo>
                  <a:cubicBezTo>
                    <a:pt x="5" y="14"/>
                    <a:pt x="4" y="16"/>
                    <a:pt x="4" y="17"/>
                  </a:cubicBezTo>
                  <a:cubicBezTo>
                    <a:pt x="4" y="19"/>
                    <a:pt x="5" y="21"/>
                    <a:pt x="5" y="23"/>
                  </a:cubicBezTo>
                  <a:cubicBezTo>
                    <a:pt x="5" y="24"/>
                    <a:pt x="5" y="26"/>
                    <a:pt x="6" y="27"/>
                  </a:cubicBezTo>
                  <a:cubicBezTo>
                    <a:pt x="6" y="28"/>
                    <a:pt x="7" y="29"/>
                    <a:pt x="8" y="30"/>
                  </a:cubicBezTo>
                  <a:cubicBezTo>
                    <a:pt x="9" y="30"/>
                    <a:pt x="10" y="31"/>
                    <a:pt x="11" y="31"/>
                  </a:cubicBezTo>
                  <a:cubicBezTo>
                    <a:pt x="12" y="31"/>
                    <a:pt x="13" y="30"/>
                    <a:pt x="14" y="30"/>
                  </a:cubicBezTo>
                  <a:cubicBezTo>
                    <a:pt x="15" y="29"/>
                    <a:pt x="15" y="28"/>
                    <a:pt x="16" y="27"/>
                  </a:cubicBezTo>
                  <a:cubicBezTo>
                    <a:pt x="16" y="26"/>
                    <a:pt x="17" y="24"/>
                    <a:pt x="17" y="23"/>
                  </a:cubicBezTo>
                  <a:cubicBezTo>
                    <a:pt x="17" y="21"/>
                    <a:pt x="17" y="19"/>
                    <a:pt x="17" y="17"/>
                  </a:cubicBez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10" name="Freeform 1342">
              <a:extLst>
                <a:ext uri="{FF2B5EF4-FFF2-40B4-BE49-F238E27FC236}">
                  <a16:creationId xmlns:a16="http://schemas.microsoft.com/office/drawing/2014/main" id="{2C2FAE30-50B0-6B50-388A-440DDAE56781}"/>
                </a:ext>
              </a:extLst>
            </p:cNvPr>
            <p:cNvSpPr>
              <a:spLocks noEditPoints="1"/>
            </p:cNvSpPr>
            <p:nvPr/>
          </p:nvSpPr>
          <p:spPr bwMode="auto">
            <a:xfrm>
              <a:off x="4041775" y="4498975"/>
              <a:ext cx="322263" cy="322263"/>
            </a:xfrm>
            <a:custGeom>
              <a:avLst/>
              <a:gdLst>
                <a:gd name="T0" fmla="*/ 203 w 203"/>
                <a:gd name="T1" fmla="*/ 203 h 203"/>
                <a:gd name="T2" fmla="*/ 0 w 203"/>
                <a:gd name="T3" fmla="*/ 203 h 203"/>
                <a:gd name="T4" fmla="*/ 203 w 203"/>
                <a:gd name="T5" fmla="*/ 0 h 203"/>
                <a:gd name="T6" fmla="*/ 203 w 203"/>
                <a:gd name="T7" fmla="*/ 203 h 203"/>
                <a:gd name="T8" fmla="*/ 12 w 203"/>
                <a:gd name="T9" fmla="*/ 198 h 203"/>
                <a:gd name="T10" fmla="*/ 198 w 203"/>
                <a:gd name="T11" fmla="*/ 198 h 203"/>
                <a:gd name="T12" fmla="*/ 198 w 203"/>
                <a:gd name="T13" fmla="*/ 11 h 203"/>
                <a:gd name="T14" fmla="*/ 12 w 203"/>
                <a:gd name="T15" fmla="*/ 198 h 2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3" h="203">
                  <a:moveTo>
                    <a:pt x="203" y="203"/>
                  </a:moveTo>
                  <a:lnTo>
                    <a:pt x="0" y="203"/>
                  </a:lnTo>
                  <a:lnTo>
                    <a:pt x="203" y="0"/>
                  </a:lnTo>
                  <a:lnTo>
                    <a:pt x="203" y="203"/>
                  </a:lnTo>
                  <a:close/>
                  <a:moveTo>
                    <a:pt x="12" y="198"/>
                  </a:moveTo>
                  <a:lnTo>
                    <a:pt x="198" y="198"/>
                  </a:lnTo>
                  <a:lnTo>
                    <a:pt x="198" y="11"/>
                  </a:lnTo>
                  <a:lnTo>
                    <a:pt x="12" y="198"/>
                  </a:lnTo>
                  <a:close/>
                </a:path>
              </a:pathLst>
            </a:custGeom>
            <a:solidFill>
              <a:srgbClr val="ED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11" name="Freeform 1343">
              <a:extLst>
                <a:ext uri="{FF2B5EF4-FFF2-40B4-BE49-F238E27FC236}">
                  <a16:creationId xmlns:a16="http://schemas.microsoft.com/office/drawing/2014/main" id="{CD4F176B-5012-A1FC-F74B-AA373C932827}"/>
                </a:ext>
              </a:extLst>
            </p:cNvPr>
            <p:cNvSpPr>
              <a:spLocks noEditPoints="1"/>
            </p:cNvSpPr>
            <p:nvPr/>
          </p:nvSpPr>
          <p:spPr bwMode="auto">
            <a:xfrm>
              <a:off x="4344988" y="4762500"/>
              <a:ext cx="7938" cy="9525"/>
            </a:xfrm>
            <a:custGeom>
              <a:avLst/>
              <a:gdLst>
                <a:gd name="T0" fmla="*/ 5 w 11"/>
                <a:gd name="T1" fmla="*/ 11 h 11"/>
                <a:gd name="T2" fmla="*/ 0 w 11"/>
                <a:gd name="T3" fmla="*/ 6 h 11"/>
                <a:gd name="T4" fmla="*/ 5 w 11"/>
                <a:gd name="T5" fmla="*/ 0 h 11"/>
                <a:gd name="T6" fmla="*/ 11 w 11"/>
                <a:gd name="T7" fmla="*/ 6 h 11"/>
                <a:gd name="T8" fmla="*/ 5 w 11"/>
                <a:gd name="T9" fmla="*/ 11 h 11"/>
                <a:gd name="T10" fmla="*/ 5 w 11"/>
                <a:gd name="T11" fmla="*/ 1 h 11"/>
                <a:gd name="T12" fmla="*/ 1 w 11"/>
                <a:gd name="T13" fmla="*/ 6 h 11"/>
                <a:gd name="T14" fmla="*/ 5 w 11"/>
                <a:gd name="T15" fmla="*/ 10 h 11"/>
                <a:gd name="T16" fmla="*/ 9 w 11"/>
                <a:gd name="T17" fmla="*/ 6 h 11"/>
                <a:gd name="T18" fmla="*/ 5 w 11"/>
                <a:gd name="T19"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11">
                  <a:moveTo>
                    <a:pt x="5" y="11"/>
                  </a:moveTo>
                  <a:cubicBezTo>
                    <a:pt x="2" y="11"/>
                    <a:pt x="0" y="9"/>
                    <a:pt x="0" y="6"/>
                  </a:cubicBezTo>
                  <a:cubicBezTo>
                    <a:pt x="0" y="3"/>
                    <a:pt x="2" y="0"/>
                    <a:pt x="5" y="0"/>
                  </a:cubicBezTo>
                  <a:cubicBezTo>
                    <a:pt x="8" y="0"/>
                    <a:pt x="11" y="3"/>
                    <a:pt x="11" y="6"/>
                  </a:cubicBezTo>
                  <a:cubicBezTo>
                    <a:pt x="11" y="9"/>
                    <a:pt x="8" y="11"/>
                    <a:pt x="5" y="11"/>
                  </a:cubicBezTo>
                  <a:close/>
                  <a:moveTo>
                    <a:pt x="5" y="1"/>
                  </a:moveTo>
                  <a:cubicBezTo>
                    <a:pt x="3" y="1"/>
                    <a:pt x="1" y="3"/>
                    <a:pt x="1" y="6"/>
                  </a:cubicBezTo>
                  <a:cubicBezTo>
                    <a:pt x="1" y="8"/>
                    <a:pt x="3" y="10"/>
                    <a:pt x="5" y="10"/>
                  </a:cubicBezTo>
                  <a:cubicBezTo>
                    <a:pt x="8" y="10"/>
                    <a:pt x="9" y="8"/>
                    <a:pt x="9" y="6"/>
                  </a:cubicBezTo>
                  <a:cubicBezTo>
                    <a:pt x="9" y="3"/>
                    <a:pt x="8" y="1"/>
                    <a:pt x="5" y="1"/>
                  </a:cubicBezTo>
                  <a:close/>
                </a:path>
              </a:pathLst>
            </a:custGeom>
            <a:solidFill>
              <a:srgbClr val="ED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12" name="Freeform 1344">
              <a:extLst>
                <a:ext uri="{FF2B5EF4-FFF2-40B4-BE49-F238E27FC236}">
                  <a16:creationId xmlns:a16="http://schemas.microsoft.com/office/drawing/2014/main" id="{7A835803-7FE9-7C3D-0E5C-8FB42CF84ED3}"/>
                </a:ext>
              </a:extLst>
            </p:cNvPr>
            <p:cNvSpPr>
              <a:spLocks noEditPoints="1"/>
            </p:cNvSpPr>
            <p:nvPr/>
          </p:nvSpPr>
          <p:spPr bwMode="auto">
            <a:xfrm>
              <a:off x="3924300" y="4478338"/>
              <a:ext cx="139700" cy="120650"/>
            </a:xfrm>
            <a:custGeom>
              <a:avLst/>
              <a:gdLst>
                <a:gd name="T0" fmla="*/ 0 w 88"/>
                <a:gd name="T1" fmla="*/ 76 h 76"/>
                <a:gd name="T2" fmla="*/ 44 w 88"/>
                <a:gd name="T3" fmla="*/ 0 h 76"/>
                <a:gd name="T4" fmla="*/ 88 w 88"/>
                <a:gd name="T5" fmla="*/ 76 h 76"/>
                <a:gd name="T6" fmla="*/ 0 w 88"/>
                <a:gd name="T7" fmla="*/ 76 h 76"/>
                <a:gd name="T8" fmla="*/ 44 w 88"/>
                <a:gd name="T9" fmla="*/ 5 h 76"/>
                <a:gd name="T10" fmla="*/ 5 w 88"/>
                <a:gd name="T11" fmla="*/ 74 h 76"/>
                <a:gd name="T12" fmla="*/ 84 w 88"/>
                <a:gd name="T13" fmla="*/ 74 h 76"/>
                <a:gd name="T14" fmla="*/ 44 w 88"/>
                <a:gd name="T15" fmla="*/ 5 h 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76">
                  <a:moveTo>
                    <a:pt x="0" y="76"/>
                  </a:moveTo>
                  <a:lnTo>
                    <a:pt x="44" y="0"/>
                  </a:lnTo>
                  <a:lnTo>
                    <a:pt x="88" y="76"/>
                  </a:lnTo>
                  <a:lnTo>
                    <a:pt x="0" y="76"/>
                  </a:lnTo>
                  <a:close/>
                  <a:moveTo>
                    <a:pt x="44" y="5"/>
                  </a:moveTo>
                  <a:lnTo>
                    <a:pt x="5" y="74"/>
                  </a:lnTo>
                  <a:lnTo>
                    <a:pt x="84" y="74"/>
                  </a:lnTo>
                  <a:lnTo>
                    <a:pt x="44" y="5"/>
                  </a:lnTo>
                  <a:close/>
                </a:path>
              </a:pathLst>
            </a:custGeom>
            <a:solidFill>
              <a:srgbClr val="ED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13" name="Freeform 1345">
              <a:extLst>
                <a:ext uri="{FF2B5EF4-FFF2-40B4-BE49-F238E27FC236}">
                  <a16:creationId xmlns:a16="http://schemas.microsoft.com/office/drawing/2014/main" id="{FA37DA35-FE8C-EB93-8472-DCF18B53F1AD}"/>
                </a:ext>
              </a:extLst>
            </p:cNvPr>
            <p:cNvSpPr>
              <a:spLocks noEditPoints="1"/>
            </p:cNvSpPr>
            <p:nvPr/>
          </p:nvSpPr>
          <p:spPr bwMode="auto">
            <a:xfrm>
              <a:off x="3911600" y="4600575"/>
              <a:ext cx="165100" cy="98425"/>
            </a:xfrm>
            <a:custGeom>
              <a:avLst/>
              <a:gdLst>
                <a:gd name="T0" fmla="*/ 104 w 104"/>
                <a:gd name="T1" fmla="*/ 62 h 62"/>
                <a:gd name="T2" fmla="*/ 0 w 104"/>
                <a:gd name="T3" fmla="*/ 62 h 62"/>
                <a:gd name="T4" fmla="*/ 0 w 104"/>
                <a:gd name="T5" fmla="*/ 0 h 62"/>
                <a:gd name="T6" fmla="*/ 104 w 104"/>
                <a:gd name="T7" fmla="*/ 0 h 62"/>
                <a:gd name="T8" fmla="*/ 104 w 104"/>
                <a:gd name="T9" fmla="*/ 62 h 62"/>
                <a:gd name="T10" fmla="*/ 4 w 104"/>
                <a:gd name="T11" fmla="*/ 57 h 62"/>
                <a:gd name="T12" fmla="*/ 100 w 104"/>
                <a:gd name="T13" fmla="*/ 57 h 62"/>
                <a:gd name="T14" fmla="*/ 100 w 104"/>
                <a:gd name="T15" fmla="*/ 5 h 62"/>
                <a:gd name="T16" fmla="*/ 4 w 104"/>
                <a:gd name="T17" fmla="*/ 5 h 62"/>
                <a:gd name="T18" fmla="*/ 4 w 104"/>
                <a:gd name="T19" fmla="*/ 57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62">
                  <a:moveTo>
                    <a:pt x="104" y="62"/>
                  </a:moveTo>
                  <a:lnTo>
                    <a:pt x="0" y="62"/>
                  </a:lnTo>
                  <a:lnTo>
                    <a:pt x="0" y="0"/>
                  </a:lnTo>
                  <a:lnTo>
                    <a:pt x="104" y="0"/>
                  </a:lnTo>
                  <a:lnTo>
                    <a:pt x="104" y="62"/>
                  </a:lnTo>
                  <a:close/>
                  <a:moveTo>
                    <a:pt x="4" y="57"/>
                  </a:moveTo>
                  <a:lnTo>
                    <a:pt x="100" y="57"/>
                  </a:lnTo>
                  <a:lnTo>
                    <a:pt x="100" y="5"/>
                  </a:lnTo>
                  <a:lnTo>
                    <a:pt x="4" y="5"/>
                  </a:lnTo>
                  <a:lnTo>
                    <a:pt x="4" y="57"/>
                  </a:lnTo>
                  <a:close/>
                </a:path>
              </a:pathLst>
            </a:custGeom>
            <a:solidFill>
              <a:srgbClr val="ED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14" name="Freeform 1346">
              <a:extLst>
                <a:ext uri="{FF2B5EF4-FFF2-40B4-BE49-F238E27FC236}">
                  <a16:creationId xmlns:a16="http://schemas.microsoft.com/office/drawing/2014/main" id="{89353525-7655-22B3-112A-112A0BFAF58F}"/>
                </a:ext>
              </a:extLst>
            </p:cNvPr>
            <p:cNvSpPr>
              <a:spLocks noEditPoints="1"/>
            </p:cNvSpPr>
            <p:nvPr/>
          </p:nvSpPr>
          <p:spPr bwMode="auto">
            <a:xfrm>
              <a:off x="4089400" y="4487863"/>
              <a:ext cx="204788" cy="98425"/>
            </a:xfrm>
            <a:custGeom>
              <a:avLst/>
              <a:gdLst>
                <a:gd name="T0" fmla="*/ 0 w 129"/>
                <a:gd name="T1" fmla="*/ 62 h 62"/>
                <a:gd name="T2" fmla="*/ 17 w 129"/>
                <a:gd name="T3" fmla="*/ 0 h 62"/>
                <a:gd name="T4" fmla="*/ 129 w 129"/>
                <a:gd name="T5" fmla="*/ 0 h 62"/>
                <a:gd name="T6" fmla="*/ 112 w 129"/>
                <a:gd name="T7" fmla="*/ 62 h 62"/>
                <a:gd name="T8" fmla="*/ 0 w 129"/>
                <a:gd name="T9" fmla="*/ 62 h 62"/>
                <a:gd name="T10" fmla="*/ 20 w 129"/>
                <a:gd name="T11" fmla="*/ 3 h 62"/>
                <a:gd name="T12" fmla="*/ 5 w 129"/>
                <a:gd name="T13" fmla="*/ 58 h 62"/>
                <a:gd name="T14" fmla="*/ 109 w 129"/>
                <a:gd name="T15" fmla="*/ 58 h 62"/>
                <a:gd name="T16" fmla="*/ 124 w 129"/>
                <a:gd name="T17" fmla="*/ 3 h 62"/>
                <a:gd name="T18" fmla="*/ 20 w 129"/>
                <a:gd name="T19" fmla="*/ 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9" h="62">
                  <a:moveTo>
                    <a:pt x="0" y="62"/>
                  </a:moveTo>
                  <a:lnTo>
                    <a:pt x="17" y="0"/>
                  </a:lnTo>
                  <a:lnTo>
                    <a:pt x="129" y="0"/>
                  </a:lnTo>
                  <a:lnTo>
                    <a:pt x="112" y="62"/>
                  </a:lnTo>
                  <a:lnTo>
                    <a:pt x="0" y="62"/>
                  </a:lnTo>
                  <a:close/>
                  <a:moveTo>
                    <a:pt x="20" y="3"/>
                  </a:moveTo>
                  <a:lnTo>
                    <a:pt x="5" y="58"/>
                  </a:lnTo>
                  <a:lnTo>
                    <a:pt x="109" y="58"/>
                  </a:lnTo>
                  <a:lnTo>
                    <a:pt x="124" y="3"/>
                  </a:lnTo>
                  <a:lnTo>
                    <a:pt x="20" y="3"/>
                  </a:lnTo>
                  <a:close/>
                </a:path>
              </a:pathLst>
            </a:custGeom>
            <a:solidFill>
              <a:srgbClr val="ED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15" name="Freeform 1347">
              <a:extLst>
                <a:ext uri="{FF2B5EF4-FFF2-40B4-BE49-F238E27FC236}">
                  <a16:creationId xmlns:a16="http://schemas.microsoft.com/office/drawing/2014/main" id="{012233D6-7C95-F28B-CF03-F3AE96FE9C37}"/>
                </a:ext>
              </a:extLst>
            </p:cNvPr>
            <p:cNvSpPr>
              <a:spLocks/>
            </p:cNvSpPr>
            <p:nvPr/>
          </p:nvSpPr>
          <p:spPr bwMode="auto">
            <a:xfrm>
              <a:off x="4014788" y="4903788"/>
              <a:ext cx="234950" cy="303213"/>
            </a:xfrm>
            <a:custGeom>
              <a:avLst/>
              <a:gdLst>
                <a:gd name="T0" fmla="*/ 289 w 289"/>
                <a:gd name="T1" fmla="*/ 374 h 374"/>
                <a:gd name="T2" fmla="*/ 29 w 289"/>
                <a:gd name="T3" fmla="*/ 374 h 374"/>
                <a:gd name="T4" fmla="*/ 0 w 289"/>
                <a:gd name="T5" fmla="*/ 346 h 374"/>
                <a:gd name="T6" fmla="*/ 0 w 289"/>
                <a:gd name="T7" fmla="*/ 32 h 374"/>
                <a:gd name="T8" fmla="*/ 0 w 289"/>
                <a:gd name="T9" fmla="*/ 32 h 374"/>
                <a:gd name="T10" fmla="*/ 0 w 289"/>
                <a:gd name="T11" fmla="*/ 30 h 374"/>
                <a:gd name="T12" fmla="*/ 29 w 289"/>
                <a:gd name="T13" fmla="*/ 0 h 374"/>
                <a:gd name="T14" fmla="*/ 289 w 289"/>
                <a:gd name="T15" fmla="*/ 0 h 374"/>
                <a:gd name="T16" fmla="*/ 289 w 289"/>
                <a:gd name="T17" fmla="*/ 37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 h="374">
                  <a:moveTo>
                    <a:pt x="289" y="374"/>
                  </a:moveTo>
                  <a:cubicBezTo>
                    <a:pt x="29" y="374"/>
                    <a:pt x="29" y="374"/>
                    <a:pt x="29" y="374"/>
                  </a:cubicBezTo>
                  <a:cubicBezTo>
                    <a:pt x="13" y="374"/>
                    <a:pt x="0" y="361"/>
                    <a:pt x="0" y="346"/>
                  </a:cubicBezTo>
                  <a:cubicBezTo>
                    <a:pt x="0" y="32"/>
                    <a:pt x="0" y="32"/>
                    <a:pt x="0" y="32"/>
                  </a:cubicBezTo>
                  <a:cubicBezTo>
                    <a:pt x="0" y="32"/>
                    <a:pt x="0" y="32"/>
                    <a:pt x="0" y="32"/>
                  </a:cubicBezTo>
                  <a:cubicBezTo>
                    <a:pt x="0" y="32"/>
                    <a:pt x="0" y="31"/>
                    <a:pt x="0" y="30"/>
                  </a:cubicBezTo>
                  <a:cubicBezTo>
                    <a:pt x="0" y="14"/>
                    <a:pt x="13" y="0"/>
                    <a:pt x="29" y="0"/>
                  </a:cubicBezTo>
                  <a:cubicBezTo>
                    <a:pt x="289" y="0"/>
                    <a:pt x="289" y="0"/>
                    <a:pt x="289" y="0"/>
                  </a:cubicBezTo>
                  <a:cubicBezTo>
                    <a:pt x="289" y="374"/>
                    <a:pt x="289" y="374"/>
                    <a:pt x="289" y="374"/>
                  </a:cubicBezTo>
                </a:path>
              </a:pathLst>
            </a:custGeom>
            <a:solidFill>
              <a:srgbClr val="0069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16" name="Freeform 1348">
              <a:extLst>
                <a:ext uri="{FF2B5EF4-FFF2-40B4-BE49-F238E27FC236}">
                  <a16:creationId xmlns:a16="http://schemas.microsoft.com/office/drawing/2014/main" id="{D8D4C3B7-13AE-39A4-C873-DF391396383C}"/>
                </a:ext>
              </a:extLst>
            </p:cNvPr>
            <p:cNvSpPr>
              <a:spLocks noEditPoints="1"/>
            </p:cNvSpPr>
            <p:nvPr/>
          </p:nvSpPr>
          <p:spPr bwMode="auto">
            <a:xfrm>
              <a:off x="4014788" y="4921250"/>
              <a:ext cx="1588" cy="266700"/>
            </a:xfrm>
            <a:custGeom>
              <a:avLst/>
              <a:gdLst>
                <a:gd name="T0" fmla="*/ 0 w 1"/>
                <a:gd name="T1" fmla="*/ 329 h 329"/>
                <a:gd name="T2" fmla="*/ 0 w 1"/>
                <a:gd name="T3" fmla="*/ 329 h 329"/>
                <a:gd name="T4" fmla="*/ 0 w 1"/>
                <a:gd name="T5" fmla="*/ 329 h 329"/>
                <a:gd name="T6" fmla="*/ 0 w 1"/>
                <a:gd name="T7" fmla="*/ 328 h 329"/>
                <a:gd name="T8" fmla="*/ 0 w 1"/>
                <a:gd name="T9" fmla="*/ 328 h 329"/>
                <a:gd name="T10" fmla="*/ 0 w 1"/>
                <a:gd name="T11" fmla="*/ 328 h 329"/>
                <a:gd name="T12" fmla="*/ 0 w 1"/>
                <a:gd name="T13" fmla="*/ 328 h 329"/>
                <a:gd name="T14" fmla="*/ 0 w 1"/>
                <a:gd name="T15" fmla="*/ 328 h 329"/>
                <a:gd name="T16" fmla="*/ 0 w 1"/>
                <a:gd name="T17" fmla="*/ 328 h 329"/>
                <a:gd name="T18" fmla="*/ 0 w 1"/>
                <a:gd name="T19" fmla="*/ 327 h 329"/>
                <a:gd name="T20" fmla="*/ 0 w 1"/>
                <a:gd name="T21" fmla="*/ 327 h 329"/>
                <a:gd name="T22" fmla="*/ 0 w 1"/>
                <a:gd name="T23" fmla="*/ 327 h 329"/>
                <a:gd name="T24" fmla="*/ 0 w 1"/>
                <a:gd name="T25" fmla="*/ 327 h 329"/>
                <a:gd name="T26" fmla="*/ 0 w 1"/>
                <a:gd name="T27" fmla="*/ 327 h 329"/>
                <a:gd name="T28" fmla="*/ 0 w 1"/>
                <a:gd name="T29" fmla="*/ 326 h 329"/>
                <a:gd name="T30" fmla="*/ 0 w 1"/>
                <a:gd name="T31" fmla="*/ 326 h 329"/>
                <a:gd name="T32" fmla="*/ 0 w 1"/>
                <a:gd name="T33" fmla="*/ 326 h 329"/>
                <a:gd name="T34" fmla="*/ 0 w 1"/>
                <a:gd name="T35" fmla="*/ 326 h 329"/>
                <a:gd name="T36" fmla="*/ 0 w 1"/>
                <a:gd name="T37" fmla="*/ 326 h 329"/>
                <a:gd name="T38" fmla="*/ 0 w 1"/>
                <a:gd name="T39" fmla="*/ 325 h 329"/>
                <a:gd name="T40" fmla="*/ 0 w 1"/>
                <a:gd name="T41" fmla="*/ 325 h 329"/>
                <a:gd name="T42" fmla="*/ 0 w 1"/>
                <a:gd name="T43" fmla="*/ 325 h 329"/>
                <a:gd name="T44" fmla="*/ 0 w 1"/>
                <a:gd name="T45" fmla="*/ 9 h 329"/>
                <a:gd name="T46" fmla="*/ 0 w 1"/>
                <a:gd name="T47" fmla="*/ 9 h 329"/>
                <a:gd name="T48" fmla="*/ 0 w 1"/>
                <a:gd name="T49" fmla="*/ 9 h 329"/>
                <a:gd name="T50" fmla="*/ 0 w 1"/>
                <a:gd name="T51" fmla="*/ 9 h 329"/>
                <a:gd name="T52" fmla="*/ 0 w 1"/>
                <a:gd name="T53" fmla="*/ 8 h 329"/>
                <a:gd name="T54" fmla="*/ 0 w 1"/>
                <a:gd name="T55" fmla="*/ 8 h 329"/>
                <a:gd name="T56" fmla="*/ 0 w 1"/>
                <a:gd name="T57" fmla="*/ 8 h 329"/>
                <a:gd name="T58" fmla="*/ 0 w 1"/>
                <a:gd name="T59" fmla="*/ 8 h 329"/>
                <a:gd name="T60" fmla="*/ 0 w 1"/>
                <a:gd name="T61" fmla="*/ 8 h 329"/>
                <a:gd name="T62" fmla="*/ 0 w 1"/>
                <a:gd name="T63" fmla="*/ 7 h 329"/>
                <a:gd name="T64" fmla="*/ 0 w 1"/>
                <a:gd name="T65" fmla="*/ 7 h 329"/>
                <a:gd name="T66" fmla="*/ 0 w 1"/>
                <a:gd name="T67" fmla="*/ 7 h 329"/>
                <a:gd name="T68" fmla="*/ 0 w 1"/>
                <a:gd name="T69" fmla="*/ 7 h 329"/>
                <a:gd name="T70" fmla="*/ 0 w 1"/>
                <a:gd name="T71" fmla="*/ 6 h 329"/>
                <a:gd name="T72" fmla="*/ 0 w 1"/>
                <a:gd name="T73" fmla="*/ 6 h 329"/>
                <a:gd name="T74" fmla="*/ 0 w 1"/>
                <a:gd name="T75" fmla="*/ 6 h 329"/>
                <a:gd name="T76" fmla="*/ 0 w 1"/>
                <a:gd name="T77" fmla="*/ 5 h 329"/>
                <a:gd name="T78" fmla="*/ 0 w 1"/>
                <a:gd name="T79" fmla="*/ 5 h 329"/>
                <a:gd name="T80" fmla="*/ 0 w 1"/>
                <a:gd name="T81" fmla="*/ 5 h 329"/>
                <a:gd name="T82" fmla="*/ 0 w 1"/>
                <a:gd name="T83" fmla="*/ 4 h 329"/>
                <a:gd name="T84" fmla="*/ 0 w 1"/>
                <a:gd name="T85" fmla="*/ 4 h 329"/>
                <a:gd name="T86" fmla="*/ 0 w 1"/>
                <a:gd name="T87" fmla="*/ 3 h 329"/>
                <a:gd name="T88" fmla="*/ 0 w 1"/>
                <a:gd name="T89" fmla="*/ 3 h 329"/>
                <a:gd name="T90" fmla="*/ 0 w 1"/>
                <a:gd name="T91" fmla="*/ 2 h 329"/>
                <a:gd name="T92" fmla="*/ 0 w 1"/>
                <a:gd name="T93" fmla="*/ 2 h 329"/>
                <a:gd name="T94" fmla="*/ 0 w 1"/>
                <a:gd name="T95" fmla="*/ 2 h 329"/>
                <a:gd name="T96" fmla="*/ 1 w 1"/>
                <a:gd name="T97" fmla="*/ 1 h 329"/>
                <a:gd name="T98" fmla="*/ 1 w 1"/>
                <a:gd name="T99" fmla="*/ 1 h 329"/>
                <a:gd name="T100" fmla="*/ 1 w 1"/>
                <a:gd name="T101" fmla="*/ 1 h 329"/>
                <a:gd name="T102" fmla="*/ 1 w 1"/>
                <a:gd name="T103" fmla="*/ 1 h 329"/>
                <a:gd name="T104" fmla="*/ 1 w 1"/>
                <a:gd name="T105" fmla="*/ 1 h 329"/>
                <a:gd name="T106" fmla="*/ 1 w 1"/>
                <a:gd name="T107" fmla="*/ 1 h 329"/>
                <a:gd name="T108" fmla="*/ 1 w 1"/>
                <a:gd name="T109" fmla="*/ 0 h 329"/>
                <a:gd name="T110" fmla="*/ 1 w 1"/>
                <a:gd name="T111" fmla="*/ 0 h 329"/>
                <a:gd name="T112" fmla="*/ 1 w 1"/>
                <a:gd name="T113" fmla="*/ 0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 h="329">
                  <a:moveTo>
                    <a:pt x="0" y="329"/>
                  </a:moveTo>
                  <a:cubicBezTo>
                    <a:pt x="0" y="329"/>
                    <a:pt x="0" y="329"/>
                    <a:pt x="0" y="329"/>
                  </a:cubicBezTo>
                  <a:cubicBezTo>
                    <a:pt x="0" y="329"/>
                    <a:pt x="0" y="329"/>
                    <a:pt x="0" y="329"/>
                  </a:cubicBezTo>
                  <a:moveTo>
                    <a:pt x="0" y="329"/>
                  </a:moveTo>
                  <a:cubicBezTo>
                    <a:pt x="0" y="329"/>
                    <a:pt x="0" y="329"/>
                    <a:pt x="0" y="329"/>
                  </a:cubicBezTo>
                  <a:cubicBezTo>
                    <a:pt x="0" y="329"/>
                    <a:pt x="0" y="329"/>
                    <a:pt x="0" y="329"/>
                  </a:cubicBezTo>
                  <a:moveTo>
                    <a:pt x="0" y="329"/>
                  </a:moveTo>
                  <a:cubicBezTo>
                    <a:pt x="0" y="329"/>
                    <a:pt x="0" y="329"/>
                    <a:pt x="0" y="329"/>
                  </a:cubicBezTo>
                  <a:cubicBezTo>
                    <a:pt x="0" y="329"/>
                    <a:pt x="0" y="329"/>
                    <a:pt x="0" y="329"/>
                  </a:cubicBezTo>
                  <a:moveTo>
                    <a:pt x="0" y="328"/>
                  </a:moveTo>
                  <a:cubicBezTo>
                    <a:pt x="0" y="328"/>
                    <a:pt x="0" y="328"/>
                    <a:pt x="0" y="328"/>
                  </a:cubicBezTo>
                  <a:cubicBezTo>
                    <a:pt x="0" y="328"/>
                    <a:pt x="0" y="328"/>
                    <a:pt x="0" y="328"/>
                  </a:cubicBezTo>
                  <a:moveTo>
                    <a:pt x="0" y="328"/>
                  </a:moveTo>
                  <a:cubicBezTo>
                    <a:pt x="0" y="328"/>
                    <a:pt x="0" y="328"/>
                    <a:pt x="0" y="328"/>
                  </a:cubicBezTo>
                  <a:cubicBezTo>
                    <a:pt x="0" y="328"/>
                    <a:pt x="0" y="328"/>
                    <a:pt x="0" y="328"/>
                  </a:cubicBezTo>
                  <a:moveTo>
                    <a:pt x="0" y="328"/>
                  </a:moveTo>
                  <a:cubicBezTo>
                    <a:pt x="0" y="328"/>
                    <a:pt x="0" y="328"/>
                    <a:pt x="0" y="328"/>
                  </a:cubicBezTo>
                  <a:cubicBezTo>
                    <a:pt x="0" y="328"/>
                    <a:pt x="0" y="328"/>
                    <a:pt x="0" y="328"/>
                  </a:cubicBezTo>
                  <a:moveTo>
                    <a:pt x="0" y="328"/>
                  </a:moveTo>
                  <a:cubicBezTo>
                    <a:pt x="0" y="328"/>
                    <a:pt x="0" y="328"/>
                    <a:pt x="0" y="328"/>
                  </a:cubicBezTo>
                  <a:cubicBezTo>
                    <a:pt x="0" y="328"/>
                    <a:pt x="0" y="328"/>
                    <a:pt x="0" y="328"/>
                  </a:cubicBezTo>
                  <a:moveTo>
                    <a:pt x="0" y="328"/>
                  </a:moveTo>
                  <a:cubicBezTo>
                    <a:pt x="0" y="328"/>
                    <a:pt x="0" y="328"/>
                    <a:pt x="0" y="328"/>
                  </a:cubicBezTo>
                  <a:cubicBezTo>
                    <a:pt x="0" y="328"/>
                    <a:pt x="0" y="328"/>
                    <a:pt x="0" y="328"/>
                  </a:cubicBezTo>
                  <a:moveTo>
                    <a:pt x="0" y="328"/>
                  </a:moveTo>
                  <a:cubicBezTo>
                    <a:pt x="0" y="328"/>
                    <a:pt x="0" y="328"/>
                    <a:pt x="0" y="328"/>
                  </a:cubicBezTo>
                  <a:cubicBezTo>
                    <a:pt x="0" y="328"/>
                    <a:pt x="0" y="328"/>
                    <a:pt x="0" y="328"/>
                  </a:cubicBezTo>
                  <a:moveTo>
                    <a:pt x="0" y="327"/>
                  </a:moveTo>
                  <a:cubicBezTo>
                    <a:pt x="0" y="327"/>
                    <a:pt x="0" y="327"/>
                    <a:pt x="0" y="327"/>
                  </a:cubicBezTo>
                  <a:cubicBezTo>
                    <a:pt x="0" y="327"/>
                    <a:pt x="0" y="327"/>
                    <a:pt x="0" y="327"/>
                  </a:cubicBezTo>
                  <a:moveTo>
                    <a:pt x="0" y="327"/>
                  </a:moveTo>
                  <a:cubicBezTo>
                    <a:pt x="0" y="327"/>
                    <a:pt x="0" y="327"/>
                    <a:pt x="0" y="327"/>
                  </a:cubicBezTo>
                  <a:cubicBezTo>
                    <a:pt x="0" y="327"/>
                    <a:pt x="0" y="327"/>
                    <a:pt x="0" y="327"/>
                  </a:cubicBezTo>
                  <a:moveTo>
                    <a:pt x="0" y="327"/>
                  </a:moveTo>
                  <a:cubicBezTo>
                    <a:pt x="0" y="327"/>
                    <a:pt x="0" y="327"/>
                    <a:pt x="0" y="327"/>
                  </a:cubicBezTo>
                  <a:cubicBezTo>
                    <a:pt x="0" y="327"/>
                    <a:pt x="0" y="327"/>
                    <a:pt x="0" y="327"/>
                  </a:cubicBezTo>
                  <a:moveTo>
                    <a:pt x="0" y="327"/>
                  </a:moveTo>
                  <a:cubicBezTo>
                    <a:pt x="0" y="327"/>
                    <a:pt x="0" y="327"/>
                    <a:pt x="0" y="327"/>
                  </a:cubicBezTo>
                  <a:cubicBezTo>
                    <a:pt x="0" y="327"/>
                    <a:pt x="0" y="327"/>
                    <a:pt x="0" y="327"/>
                  </a:cubicBezTo>
                  <a:moveTo>
                    <a:pt x="0" y="327"/>
                  </a:moveTo>
                  <a:cubicBezTo>
                    <a:pt x="0" y="327"/>
                    <a:pt x="0" y="327"/>
                    <a:pt x="0" y="327"/>
                  </a:cubicBezTo>
                  <a:cubicBezTo>
                    <a:pt x="0" y="327"/>
                    <a:pt x="0" y="327"/>
                    <a:pt x="0" y="327"/>
                  </a:cubicBezTo>
                  <a:moveTo>
                    <a:pt x="0" y="326"/>
                  </a:moveTo>
                  <a:cubicBezTo>
                    <a:pt x="0" y="327"/>
                    <a:pt x="0" y="327"/>
                    <a:pt x="0" y="327"/>
                  </a:cubicBezTo>
                  <a:cubicBezTo>
                    <a:pt x="0" y="327"/>
                    <a:pt x="0" y="327"/>
                    <a:pt x="0" y="326"/>
                  </a:cubicBezTo>
                  <a:moveTo>
                    <a:pt x="0" y="326"/>
                  </a:moveTo>
                  <a:cubicBezTo>
                    <a:pt x="0" y="326"/>
                    <a:pt x="0" y="326"/>
                    <a:pt x="0" y="326"/>
                  </a:cubicBezTo>
                  <a:cubicBezTo>
                    <a:pt x="0" y="326"/>
                    <a:pt x="0" y="326"/>
                    <a:pt x="0" y="326"/>
                  </a:cubicBezTo>
                  <a:moveTo>
                    <a:pt x="0" y="326"/>
                  </a:moveTo>
                  <a:cubicBezTo>
                    <a:pt x="0" y="326"/>
                    <a:pt x="0" y="326"/>
                    <a:pt x="0" y="326"/>
                  </a:cubicBezTo>
                  <a:cubicBezTo>
                    <a:pt x="0" y="326"/>
                    <a:pt x="0" y="326"/>
                    <a:pt x="0" y="326"/>
                  </a:cubicBezTo>
                  <a:moveTo>
                    <a:pt x="0" y="326"/>
                  </a:moveTo>
                  <a:cubicBezTo>
                    <a:pt x="0" y="326"/>
                    <a:pt x="0" y="326"/>
                    <a:pt x="0" y="326"/>
                  </a:cubicBezTo>
                  <a:cubicBezTo>
                    <a:pt x="0" y="326"/>
                    <a:pt x="0" y="326"/>
                    <a:pt x="0" y="326"/>
                  </a:cubicBezTo>
                  <a:moveTo>
                    <a:pt x="0" y="326"/>
                  </a:moveTo>
                  <a:cubicBezTo>
                    <a:pt x="0" y="326"/>
                    <a:pt x="0" y="326"/>
                    <a:pt x="0" y="326"/>
                  </a:cubicBezTo>
                  <a:cubicBezTo>
                    <a:pt x="0" y="326"/>
                    <a:pt x="0" y="326"/>
                    <a:pt x="0" y="326"/>
                  </a:cubicBezTo>
                  <a:moveTo>
                    <a:pt x="0" y="325"/>
                  </a:moveTo>
                  <a:cubicBezTo>
                    <a:pt x="0" y="325"/>
                    <a:pt x="0" y="326"/>
                    <a:pt x="0" y="326"/>
                  </a:cubicBezTo>
                  <a:cubicBezTo>
                    <a:pt x="0" y="326"/>
                    <a:pt x="0" y="325"/>
                    <a:pt x="0" y="325"/>
                  </a:cubicBezTo>
                  <a:moveTo>
                    <a:pt x="0" y="325"/>
                  </a:moveTo>
                  <a:cubicBezTo>
                    <a:pt x="0" y="325"/>
                    <a:pt x="0" y="325"/>
                    <a:pt x="0" y="325"/>
                  </a:cubicBezTo>
                  <a:cubicBezTo>
                    <a:pt x="0" y="325"/>
                    <a:pt x="0" y="325"/>
                    <a:pt x="0" y="325"/>
                  </a:cubicBezTo>
                  <a:moveTo>
                    <a:pt x="0" y="325"/>
                  </a:moveTo>
                  <a:cubicBezTo>
                    <a:pt x="0" y="325"/>
                    <a:pt x="0" y="325"/>
                    <a:pt x="0" y="325"/>
                  </a:cubicBezTo>
                  <a:cubicBezTo>
                    <a:pt x="0" y="325"/>
                    <a:pt x="0" y="325"/>
                    <a:pt x="0" y="325"/>
                  </a:cubicBezTo>
                  <a:moveTo>
                    <a:pt x="0" y="9"/>
                  </a:moveTo>
                  <a:cubicBezTo>
                    <a:pt x="0" y="9"/>
                    <a:pt x="0" y="9"/>
                    <a:pt x="0" y="9"/>
                  </a:cubicBezTo>
                  <a:cubicBezTo>
                    <a:pt x="0" y="9"/>
                    <a:pt x="0" y="9"/>
                    <a:pt x="0" y="9"/>
                  </a:cubicBezTo>
                  <a:cubicBezTo>
                    <a:pt x="0" y="9"/>
                    <a:pt x="0" y="9"/>
                    <a:pt x="0" y="9"/>
                  </a:cubicBezTo>
                  <a:moveTo>
                    <a:pt x="0" y="9"/>
                  </a:moveTo>
                  <a:cubicBezTo>
                    <a:pt x="0" y="9"/>
                    <a:pt x="0" y="9"/>
                    <a:pt x="0" y="9"/>
                  </a:cubicBezTo>
                  <a:cubicBezTo>
                    <a:pt x="0" y="9"/>
                    <a:pt x="0" y="9"/>
                    <a:pt x="0" y="9"/>
                  </a:cubicBezTo>
                  <a:moveTo>
                    <a:pt x="0" y="9"/>
                  </a:moveTo>
                  <a:cubicBezTo>
                    <a:pt x="0" y="9"/>
                    <a:pt x="0" y="9"/>
                    <a:pt x="0" y="9"/>
                  </a:cubicBezTo>
                  <a:cubicBezTo>
                    <a:pt x="0" y="9"/>
                    <a:pt x="0" y="9"/>
                    <a:pt x="0" y="9"/>
                  </a:cubicBezTo>
                  <a:moveTo>
                    <a:pt x="0" y="9"/>
                  </a:moveTo>
                  <a:cubicBezTo>
                    <a:pt x="0" y="9"/>
                    <a:pt x="0" y="9"/>
                    <a:pt x="0" y="9"/>
                  </a:cubicBezTo>
                  <a:cubicBezTo>
                    <a:pt x="0" y="9"/>
                    <a:pt x="0" y="9"/>
                    <a:pt x="0" y="9"/>
                  </a:cubicBezTo>
                  <a:moveTo>
                    <a:pt x="0" y="8"/>
                  </a:moveTo>
                  <a:cubicBezTo>
                    <a:pt x="0" y="8"/>
                    <a:pt x="0" y="8"/>
                    <a:pt x="0" y="8"/>
                  </a:cubicBezTo>
                  <a:cubicBezTo>
                    <a:pt x="0" y="8"/>
                    <a:pt x="0" y="8"/>
                    <a:pt x="0" y="8"/>
                  </a:cubicBezTo>
                  <a:moveTo>
                    <a:pt x="0" y="8"/>
                  </a:moveTo>
                  <a:cubicBezTo>
                    <a:pt x="0" y="8"/>
                    <a:pt x="0" y="8"/>
                    <a:pt x="0" y="8"/>
                  </a:cubicBezTo>
                  <a:cubicBezTo>
                    <a:pt x="0" y="8"/>
                    <a:pt x="0" y="8"/>
                    <a:pt x="0" y="8"/>
                  </a:cubicBezTo>
                  <a:moveTo>
                    <a:pt x="0" y="8"/>
                  </a:moveTo>
                  <a:cubicBezTo>
                    <a:pt x="0" y="8"/>
                    <a:pt x="0" y="8"/>
                    <a:pt x="0" y="8"/>
                  </a:cubicBezTo>
                  <a:cubicBezTo>
                    <a:pt x="0" y="8"/>
                    <a:pt x="0" y="8"/>
                    <a:pt x="0" y="8"/>
                  </a:cubicBezTo>
                  <a:moveTo>
                    <a:pt x="0" y="8"/>
                  </a:moveTo>
                  <a:cubicBezTo>
                    <a:pt x="0" y="8"/>
                    <a:pt x="0" y="8"/>
                    <a:pt x="0" y="8"/>
                  </a:cubicBezTo>
                  <a:cubicBezTo>
                    <a:pt x="0" y="8"/>
                    <a:pt x="0" y="8"/>
                    <a:pt x="0" y="8"/>
                  </a:cubicBezTo>
                  <a:moveTo>
                    <a:pt x="0" y="7"/>
                  </a:moveTo>
                  <a:cubicBezTo>
                    <a:pt x="0" y="7"/>
                    <a:pt x="0" y="7"/>
                    <a:pt x="0" y="8"/>
                  </a:cubicBezTo>
                  <a:cubicBezTo>
                    <a:pt x="0" y="7"/>
                    <a:pt x="0" y="7"/>
                    <a:pt x="0" y="7"/>
                  </a:cubicBezTo>
                  <a:moveTo>
                    <a:pt x="0" y="7"/>
                  </a:moveTo>
                  <a:cubicBezTo>
                    <a:pt x="0" y="7"/>
                    <a:pt x="0" y="7"/>
                    <a:pt x="0" y="7"/>
                  </a:cubicBezTo>
                  <a:cubicBezTo>
                    <a:pt x="0" y="7"/>
                    <a:pt x="0" y="7"/>
                    <a:pt x="0" y="7"/>
                  </a:cubicBezTo>
                  <a:moveTo>
                    <a:pt x="0" y="7"/>
                  </a:moveTo>
                  <a:cubicBezTo>
                    <a:pt x="0" y="7"/>
                    <a:pt x="0" y="7"/>
                    <a:pt x="0" y="7"/>
                  </a:cubicBezTo>
                  <a:cubicBezTo>
                    <a:pt x="0" y="7"/>
                    <a:pt x="0" y="7"/>
                    <a:pt x="0" y="7"/>
                  </a:cubicBezTo>
                  <a:moveTo>
                    <a:pt x="0" y="7"/>
                  </a:moveTo>
                  <a:cubicBezTo>
                    <a:pt x="0" y="7"/>
                    <a:pt x="0" y="7"/>
                    <a:pt x="0" y="7"/>
                  </a:cubicBezTo>
                  <a:cubicBezTo>
                    <a:pt x="0" y="7"/>
                    <a:pt x="0" y="7"/>
                    <a:pt x="0" y="7"/>
                  </a:cubicBezTo>
                  <a:moveTo>
                    <a:pt x="0" y="6"/>
                  </a:moveTo>
                  <a:cubicBezTo>
                    <a:pt x="0" y="6"/>
                    <a:pt x="0" y="6"/>
                    <a:pt x="0" y="7"/>
                  </a:cubicBezTo>
                  <a:cubicBezTo>
                    <a:pt x="0" y="6"/>
                    <a:pt x="0" y="6"/>
                    <a:pt x="0" y="6"/>
                  </a:cubicBezTo>
                  <a:moveTo>
                    <a:pt x="0" y="6"/>
                  </a:moveTo>
                  <a:cubicBezTo>
                    <a:pt x="0" y="6"/>
                    <a:pt x="0" y="6"/>
                    <a:pt x="0" y="6"/>
                  </a:cubicBezTo>
                  <a:cubicBezTo>
                    <a:pt x="0" y="6"/>
                    <a:pt x="0" y="6"/>
                    <a:pt x="0" y="6"/>
                  </a:cubicBezTo>
                  <a:moveTo>
                    <a:pt x="0" y="6"/>
                  </a:moveTo>
                  <a:cubicBezTo>
                    <a:pt x="0" y="6"/>
                    <a:pt x="0" y="6"/>
                    <a:pt x="0" y="6"/>
                  </a:cubicBezTo>
                  <a:cubicBezTo>
                    <a:pt x="0" y="6"/>
                    <a:pt x="0" y="6"/>
                    <a:pt x="0" y="6"/>
                  </a:cubicBezTo>
                  <a:moveTo>
                    <a:pt x="0" y="5"/>
                  </a:moveTo>
                  <a:cubicBezTo>
                    <a:pt x="0" y="5"/>
                    <a:pt x="0" y="6"/>
                    <a:pt x="0" y="6"/>
                  </a:cubicBezTo>
                  <a:cubicBezTo>
                    <a:pt x="0" y="6"/>
                    <a:pt x="0" y="5"/>
                    <a:pt x="0" y="5"/>
                  </a:cubicBezTo>
                  <a:moveTo>
                    <a:pt x="0" y="5"/>
                  </a:moveTo>
                  <a:cubicBezTo>
                    <a:pt x="0" y="5"/>
                    <a:pt x="0" y="5"/>
                    <a:pt x="0" y="5"/>
                  </a:cubicBezTo>
                  <a:cubicBezTo>
                    <a:pt x="0" y="5"/>
                    <a:pt x="0" y="5"/>
                    <a:pt x="0" y="5"/>
                  </a:cubicBezTo>
                  <a:moveTo>
                    <a:pt x="0" y="5"/>
                  </a:moveTo>
                  <a:cubicBezTo>
                    <a:pt x="0" y="5"/>
                    <a:pt x="0" y="5"/>
                    <a:pt x="0" y="5"/>
                  </a:cubicBezTo>
                  <a:cubicBezTo>
                    <a:pt x="0" y="5"/>
                    <a:pt x="0" y="5"/>
                    <a:pt x="0" y="5"/>
                  </a:cubicBezTo>
                  <a:moveTo>
                    <a:pt x="0" y="4"/>
                  </a:moveTo>
                  <a:cubicBezTo>
                    <a:pt x="0" y="4"/>
                    <a:pt x="0" y="5"/>
                    <a:pt x="0" y="5"/>
                  </a:cubicBezTo>
                  <a:cubicBezTo>
                    <a:pt x="0" y="5"/>
                    <a:pt x="0" y="4"/>
                    <a:pt x="0" y="4"/>
                  </a:cubicBezTo>
                  <a:moveTo>
                    <a:pt x="0" y="4"/>
                  </a:moveTo>
                  <a:cubicBezTo>
                    <a:pt x="0" y="4"/>
                    <a:pt x="0" y="4"/>
                    <a:pt x="0" y="4"/>
                  </a:cubicBezTo>
                  <a:cubicBezTo>
                    <a:pt x="0" y="4"/>
                    <a:pt x="0" y="4"/>
                    <a:pt x="0" y="4"/>
                  </a:cubicBezTo>
                  <a:moveTo>
                    <a:pt x="0" y="3"/>
                  </a:moveTo>
                  <a:cubicBezTo>
                    <a:pt x="0" y="3"/>
                    <a:pt x="0" y="4"/>
                    <a:pt x="0" y="4"/>
                  </a:cubicBezTo>
                  <a:cubicBezTo>
                    <a:pt x="0" y="4"/>
                    <a:pt x="0" y="3"/>
                    <a:pt x="0" y="3"/>
                  </a:cubicBezTo>
                  <a:moveTo>
                    <a:pt x="0" y="3"/>
                  </a:moveTo>
                  <a:cubicBezTo>
                    <a:pt x="0" y="3"/>
                    <a:pt x="0" y="3"/>
                    <a:pt x="0" y="3"/>
                  </a:cubicBezTo>
                  <a:cubicBezTo>
                    <a:pt x="0" y="3"/>
                    <a:pt x="0" y="3"/>
                    <a:pt x="0" y="3"/>
                  </a:cubicBezTo>
                  <a:moveTo>
                    <a:pt x="0" y="2"/>
                  </a:moveTo>
                  <a:cubicBezTo>
                    <a:pt x="0" y="3"/>
                    <a:pt x="0" y="3"/>
                    <a:pt x="0" y="3"/>
                  </a:cubicBezTo>
                  <a:cubicBezTo>
                    <a:pt x="0" y="3"/>
                    <a:pt x="0" y="3"/>
                    <a:pt x="0" y="2"/>
                  </a:cubicBezTo>
                  <a:moveTo>
                    <a:pt x="0" y="2"/>
                  </a:moveTo>
                  <a:cubicBezTo>
                    <a:pt x="0" y="2"/>
                    <a:pt x="0" y="2"/>
                    <a:pt x="0" y="2"/>
                  </a:cubicBezTo>
                  <a:cubicBezTo>
                    <a:pt x="0" y="2"/>
                    <a:pt x="0" y="2"/>
                    <a:pt x="0" y="2"/>
                  </a:cubicBezTo>
                  <a:moveTo>
                    <a:pt x="0" y="2"/>
                  </a:moveTo>
                  <a:cubicBezTo>
                    <a:pt x="0" y="2"/>
                    <a:pt x="0" y="2"/>
                    <a:pt x="0" y="2"/>
                  </a:cubicBezTo>
                  <a:cubicBezTo>
                    <a:pt x="0" y="2"/>
                    <a:pt x="0" y="2"/>
                    <a:pt x="0" y="2"/>
                  </a:cubicBezTo>
                  <a:moveTo>
                    <a:pt x="1" y="2"/>
                  </a:moveTo>
                  <a:cubicBezTo>
                    <a:pt x="0" y="2"/>
                    <a:pt x="0" y="2"/>
                    <a:pt x="0" y="2"/>
                  </a:cubicBezTo>
                  <a:cubicBezTo>
                    <a:pt x="0" y="2"/>
                    <a:pt x="0" y="2"/>
                    <a:pt x="1" y="2"/>
                  </a:cubicBezTo>
                  <a:moveTo>
                    <a:pt x="1" y="1"/>
                  </a:moveTo>
                  <a:cubicBezTo>
                    <a:pt x="1" y="1"/>
                    <a:pt x="1" y="1"/>
                    <a:pt x="1" y="1"/>
                  </a:cubicBezTo>
                  <a:cubicBezTo>
                    <a:pt x="1" y="1"/>
                    <a:pt x="1" y="1"/>
                    <a:pt x="1" y="1"/>
                  </a:cubicBezTo>
                  <a:moveTo>
                    <a:pt x="1" y="1"/>
                  </a:moveTo>
                  <a:cubicBezTo>
                    <a:pt x="1" y="1"/>
                    <a:pt x="1" y="1"/>
                    <a:pt x="1" y="1"/>
                  </a:cubicBezTo>
                  <a:cubicBezTo>
                    <a:pt x="1" y="1"/>
                    <a:pt x="1" y="1"/>
                    <a:pt x="1" y="1"/>
                  </a:cubicBezTo>
                  <a:moveTo>
                    <a:pt x="1" y="1"/>
                  </a:moveTo>
                  <a:cubicBezTo>
                    <a:pt x="1" y="1"/>
                    <a:pt x="1" y="1"/>
                    <a:pt x="1" y="1"/>
                  </a:cubicBezTo>
                  <a:cubicBezTo>
                    <a:pt x="1" y="1"/>
                    <a:pt x="1" y="1"/>
                    <a:pt x="1" y="1"/>
                  </a:cubicBezTo>
                  <a:moveTo>
                    <a:pt x="1" y="1"/>
                  </a:moveTo>
                  <a:cubicBezTo>
                    <a:pt x="1" y="1"/>
                    <a:pt x="1" y="1"/>
                    <a:pt x="1" y="1"/>
                  </a:cubicBezTo>
                  <a:cubicBezTo>
                    <a:pt x="1" y="1"/>
                    <a:pt x="1" y="1"/>
                    <a:pt x="1" y="1"/>
                  </a:cubicBezTo>
                  <a:moveTo>
                    <a:pt x="1" y="1"/>
                  </a:moveTo>
                  <a:cubicBezTo>
                    <a:pt x="1" y="1"/>
                    <a:pt x="1" y="1"/>
                    <a:pt x="1" y="1"/>
                  </a:cubicBezTo>
                  <a:cubicBezTo>
                    <a:pt x="1" y="1"/>
                    <a:pt x="1" y="1"/>
                    <a:pt x="1" y="1"/>
                  </a:cubicBezTo>
                  <a:moveTo>
                    <a:pt x="1" y="0"/>
                  </a:moveTo>
                  <a:cubicBezTo>
                    <a:pt x="1" y="1"/>
                    <a:pt x="1" y="1"/>
                    <a:pt x="1" y="1"/>
                  </a:cubicBezTo>
                  <a:cubicBezTo>
                    <a:pt x="1" y="1"/>
                    <a:pt x="1" y="1"/>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path>
              </a:pathLst>
            </a:custGeom>
            <a:solidFill>
              <a:srgbClr val="1273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17" name="Freeform 1349">
              <a:extLst>
                <a:ext uri="{FF2B5EF4-FFF2-40B4-BE49-F238E27FC236}">
                  <a16:creationId xmlns:a16="http://schemas.microsoft.com/office/drawing/2014/main" id="{1236FBF0-9CA7-9040-87B0-E166247327B5}"/>
                </a:ext>
              </a:extLst>
            </p:cNvPr>
            <p:cNvSpPr>
              <a:spLocks/>
            </p:cNvSpPr>
            <p:nvPr/>
          </p:nvSpPr>
          <p:spPr bwMode="auto">
            <a:xfrm>
              <a:off x="4014788" y="4905375"/>
              <a:ext cx="17463" cy="301625"/>
            </a:xfrm>
            <a:custGeom>
              <a:avLst/>
              <a:gdLst>
                <a:gd name="T0" fmla="*/ 1 w 21"/>
                <a:gd name="T1" fmla="*/ 20 h 372"/>
                <a:gd name="T2" fmla="*/ 1 w 21"/>
                <a:gd name="T3" fmla="*/ 20 h 372"/>
                <a:gd name="T4" fmla="*/ 1 w 21"/>
                <a:gd name="T5" fmla="*/ 20 h 372"/>
                <a:gd name="T6" fmla="*/ 1 w 21"/>
                <a:gd name="T7" fmla="*/ 20 h 372"/>
                <a:gd name="T8" fmla="*/ 1 w 21"/>
                <a:gd name="T9" fmla="*/ 21 h 372"/>
                <a:gd name="T10" fmla="*/ 1 w 21"/>
                <a:gd name="T11" fmla="*/ 21 h 372"/>
                <a:gd name="T12" fmla="*/ 1 w 21"/>
                <a:gd name="T13" fmla="*/ 21 h 372"/>
                <a:gd name="T14" fmla="*/ 1 w 21"/>
                <a:gd name="T15" fmla="*/ 21 h 372"/>
                <a:gd name="T16" fmla="*/ 1 w 21"/>
                <a:gd name="T17" fmla="*/ 21 h 372"/>
                <a:gd name="T18" fmla="*/ 1 w 21"/>
                <a:gd name="T19" fmla="*/ 22 h 372"/>
                <a:gd name="T20" fmla="*/ 0 w 21"/>
                <a:gd name="T21" fmla="*/ 22 h 372"/>
                <a:gd name="T22" fmla="*/ 0 w 21"/>
                <a:gd name="T23" fmla="*/ 22 h 372"/>
                <a:gd name="T24" fmla="*/ 0 w 21"/>
                <a:gd name="T25" fmla="*/ 22 h 372"/>
                <a:gd name="T26" fmla="*/ 0 w 21"/>
                <a:gd name="T27" fmla="*/ 23 h 372"/>
                <a:gd name="T28" fmla="*/ 0 w 21"/>
                <a:gd name="T29" fmla="*/ 23 h 372"/>
                <a:gd name="T30" fmla="*/ 0 w 21"/>
                <a:gd name="T31" fmla="*/ 24 h 372"/>
                <a:gd name="T32" fmla="*/ 0 w 21"/>
                <a:gd name="T33" fmla="*/ 24 h 372"/>
                <a:gd name="T34" fmla="*/ 0 w 21"/>
                <a:gd name="T35" fmla="*/ 25 h 372"/>
                <a:gd name="T36" fmla="*/ 0 w 21"/>
                <a:gd name="T37" fmla="*/ 25 h 372"/>
                <a:gd name="T38" fmla="*/ 0 w 21"/>
                <a:gd name="T39" fmla="*/ 25 h 372"/>
                <a:gd name="T40" fmla="*/ 0 w 21"/>
                <a:gd name="T41" fmla="*/ 26 h 372"/>
                <a:gd name="T42" fmla="*/ 0 w 21"/>
                <a:gd name="T43" fmla="*/ 26 h 372"/>
                <a:gd name="T44" fmla="*/ 0 w 21"/>
                <a:gd name="T45" fmla="*/ 26 h 372"/>
                <a:gd name="T46" fmla="*/ 0 w 21"/>
                <a:gd name="T47" fmla="*/ 27 h 372"/>
                <a:gd name="T48" fmla="*/ 0 w 21"/>
                <a:gd name="T49" fmla="*/ 27 h 372"/>
                <a:gd name="T50" fmla="*/ 0 w 21"/>
                <a:gd name="T51" fmla="*/ 27 h 372"/>
                <a:gd name="T52" fmla="*/ 0 w 21"/>
                <a:gd name="T53" fmla="*/ 27 h 372"/>
                <a:gd name="T54" fmla="*/ 0 w 21"/>
                <a:gd name="T55" fmla="*/ 28 h 372"/>
                <a:gd name="T56" fmla="*/ 0 w 21"/>
                <a:gd name="T57" fmla="*/ 28 h 372"/>
                <a:gd name="T58" fmla="*/ 0 w 21"/>
                <a:gd name="T59" fmla="*/ 28 h 372"/>
                <a:gd name="T60" fmla="*/ 0 w 21"/>
                <a:gd name="T61" fmla="*/ 28 h 372"/>
                <a:gd name="T62" fmla="*/ 0 w 21"/>
                <a:gd name="T63" fmla="*/ 29 h 372"/>
                <a:gd name="T64" fmla="*/ 0 w 21"/>
                <a:gd name="T65" fmla="*/ 29 h 372"/>
                <a:gd name="T66" fmla="*/ 0 w 21"/>
                <a:gd name="T67" fmla="*/ 29 h 372"/>
                <a:gd name="T68" fmla="*/ 0 w 21"/>
                <a:gd name="T69" fmla="*/ 29 h 372"/>
                <a:gd name="T70" fmla="*/ 0 w 21"/>
                <a:gd name="T71" fmla="*/ 31 h 372"/>
                <a:gd name="T72" fmla="*/ 0 w 21"/>
                <a:gd name="T73" fmla="*/ 31 h 372"/>
                <a:gd name="T74" fmla="*/ 0 w 21"/>
                <a:gd name="T75" fmla="*/ 345 h 372"/>
                <a:gd name="T76" fmla="*/ 0 w 21"/>
                <a:gd name="T77" fmla="*/ 345 h 372"/>
                <a:gd name="T78" fmla="*/ 0 w 21"/>
                <a:gd name="T79" fmla="*/ 345 h 372"/>
                <a:gd name="T80" fmla="*/ 0 w 21"/>
                <a:gd name="T81" fmla="*/ 346 h 372"/>
                <a:gd name="T82" fmla="*/ 0 w 21"/>
                <a:gd name="T83" fmla="*/ 346 h 372"/>
                <a:gd name="T84" fmla="*/ 0 w 21"/>
                <a:gd name="T85" fmla="*/ 346 h 372"/>
                <a:gd name="T86" fmla="*/ 0 w 21"/>
                <a:gd name="T87" fmla="*/ 346 h 372"/>
                <a:gd name="T88" fmla="*/ 0 w 21"/>
                <a:gd name="T89" fmla="*/ 346 h 372"/>
                <a:gd name="T90" fmla="*/ 0 w 21"/>
                <a:gd name="T91" fmla="*/ 347 h 372"/>
                <a:gd name="T92" fmla="*/ 0 w 21"/>
                <a:gd name="T93" fmla="*/ 347 h 372"/>
                <a:gd name="T94" fmla="*/ 0 w 21"/>
                <a:gd name="T95" fmla="*/ 347 h 372"/>
                <a:gd name="T96" fmla="*/ 0 w 21"/>
                <a:gd name="T97" fmla="*/ 347 h 372"/>
                <a:gd name="T98" fmla="*/ 0 w 21"/>
                <a:gd name="T99" fmla="*/ 347 h 372"/>
                <a:gd name="T100" fmla="*/ 0 w 21"/>
                <a:gd name="T101" fmla="*/ 347 h 372"/>
                <a:gd name="T102" fmla="*/ 0 w 21"/>
                <a:gd name="T103" fmla="*/ 348 h 372"/>
                <a:gd name="T104" fmla="*/ 0 w 21"/>
                <a:gd name="T105" fmla="*/ 348 h 372"/>
                <a:gd name="T106" fmla="*/ 0 w 21"/>
                <a:gd name="T107" fmla="*/ 348 h 372"/>
                <a:gd name="T108" fmla="*/ 0 w 21"/>
                <a:gd name="T109" fmla="*/ 348 h 372"/>
                <a:gd name="T110" fmla="*/ 0 w 21"/>
                <a:gd name="T111" fmla="*/ 348 h 372"/>
                <a:gd name="T112" fmla="*/ 0 w 21"/>
                <a:gd name="T113" fmla="*/ 348 h 372"/>
                <a:gd name="T114" fmla="*/ 0 w 21"/>
                <a:gd name="T115" fmla="*/ 349 h 372"/>
                <a:gd name="T116" fmla="*/ 0 w 21"/>
                <a:gd name="T117" fmla="*/ 349 h 372"/>
                <a:gd name="T118" fmla="*/ 0 w 21"/>
                <a:gd name="T119" fmla="*/ 349 h 372"/>
                <a:gd name="T120" fmla="*/ 21 w 21"/>
                <a:gd name="T121" fmla="*/ 366 h 372"/>
                <a:gd name="T122" fmla="*/ 21 w 21"/>
                <a:gd name="T123" fmla="*/ 319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 h="372">
                  <a:moveTo>
                    <a:pt x="21" y="0"/>
                  </a:moveTo>
                  <a:cubicBezTo>
                    <a:pt x="12" y="3"/>
                    <a:pt x="4" y="10"/>
                    <a:pt x="1"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1" y="21"/>
                    <a:pt x="1" y="21"/>
                    <a:pt x="1" y="21"/>
                  </a:cubicBezTo>
                  <a:cubicBezTo>
                    <a:pt x="1" y="21"/>
                    <a:pt x="1" y="21"/>
                    <a:pt x="1" y="21"/>
                  </a:cubicBezTo>
                  <a:cubicBezTo>
                    <a:pt x="1" y="21"/>
                    <a:pt x="1" y="21"/>
                    <a:pt x="1" y="21"/>
                  </a:cubicBezTo>
                  <a:cubicBezTo>
                    <a:pt x="1" y="21"/>
                    <a:pt x="1" y="21"/>
                    <a:pt x="1" y="21"/>
                  </a:cubicBezTo>
                  <a:cubicBezTo>
                    <a:pt x="1" y="21"/>
                    <a:pt x="1" y="21"/>
                    <a:pt x="1" y="21"/>
                  </a:cubicBezTo>
                  <a:cubicBezTo>
                    <a:pt x="1" y="21"/>
                    <a:pt x="1" y="21"/>
                    <a:pt x="1" y="21"/>
                  </a:cubicBezTo>
                  <a:cubicBezTo>
                    <a:pt x="1" y="21"/>
                    <a:pt x="1" y="21"/>
                    <a:pt x="1" y="21"/>
                  </a:cubicBezTo>
                  <a:cubicBezTo>
                    <a:pt x="1" y="21"/>
                    <a:pt x="1" y="21"/>
                    <a:pt x="1" y="21"/>
                  </a:cubicBezTo>
                  <a:cubicBezTo>
                    <a:pt x="1" y="21"/>
                    <a:pt x="1" y="21"/>
                    <a:pt x="1" y="21"/>
                  </a:cubicBezTo>
                  <a:cubicBezTo>
                    <a:pt x="1" y="21"/>
                    <a:pt x="1" y="21"/>
                    <a:pt x="1" y="21"/>
                  </a:cubicBezTo>
                  <a:cubicBezTo>
                    <a:pt x="1" y="21"/>
                    <a:pt x="1" y="21"/>
                    <a:pt x="1" y="21"/>
                  </a:cubicBezTo>
                  <a:cubicBezTo>
                    <a:pt x="1" y="22"/>
                    <a:pt x="1" y="22"/>
                    <a:pt x="1" y="22"/>
                  </a:cubicBezTo>
                  <a:cubicBezTo>
                    <a:pt x="0" y="22"/>
                    <a:pt x="0" y="22"/>
                    <a:pt x="0" y="22"/>
                  </a:cubicBezTo>
                  <a:cubicBezTo>
                    <a:pt x="0" y="22"/>
                    <a:pt x="0" y="22"/>
                    <a:pt x="0" y="22"/>
                  </a:cubicBez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0" y="23"/>
                    <a:pt x="0" y="23"/>
                    <a:pt x="0" y="23"/>
                  </a:cubicBezTo>
                  <a:cubicBezTo>
                    <a:pt x="0" y="23"/>
                    <a:pt x="0" y="23"/>
                    <a:pt x="0" y="23"/>
                  </a:cubicBezTo>
                  <a:cubicBezTo>
                    <a:pt x="0" y="23"/>
                    <a:pt x="0" y="24"/>
                    <a:pt x="0" y="24"/>
                  </a:cubicBezTo>
                  <a:cubicBezTo>
                    <a:pt x="0" y="24"/>
                    <a:pt x="0" y="24"/>
                    <a:pt x="0" y="24"/>
                  </a:cubicBezTo>
                  <a:cubicBezTo>
                    <a:pt x="0" y="24"/>
                    <a:pt x="0" y="24"/>
                    <a:pt x="0" y="24"/>
                  </a:cubicBezTo>
                  <a:cubicBezTo>
                    <a:pt x="0" y="24"/>
                    <a:pt x="0" y="24"/>
                    <a:pt x="0" y="24"/>
                  </a:cubicBezTo>
                  <a:cubicBezTo>
                    <a:pt x="0" y="24"/>
                    <a:pt x="0" y="25"/>
                    <a:pt x="0" y="25"/>
                  </a:cubicBezTo>
                  <a:cubicBezTo>
                    <a:pt x="0" y="25"/>
                    <a:pt x="0" y="25"/>
                    <a:pt x="0" y="25"/>
                  </a:cubicBezTo>
                  <a:cubicBezTo>
                    <a:pt x="0" y="25"/>
                    <a:pt x="0" y="25"/>
                    <a:pt x="0" y="25"/>
                  </a:cubicBezTo>
                  <a:cubicBezTo>
                    <a:pt x="0" y="25"/>
                    <a:pt x="0" y="25"/>
                    <a:pt x="0" y="25"/>
                  </a:cubicBezTo>
                  <a:cubicBezTo>
                    <a:pt x="0" y="25"/>
                    <a:pt x="0" y="25"/>
                    <a:pt x="0" y="25"/>
                  </a:cubicBezTo>
                  <a:cubicBezTo>
                    <a:pt x="0" y="25"/>
                    <a:pt x="0" y="25"/>
                    <a:pt x="0" y="25"/>
                  </a:cubicBezTo>
                  <a:cubicBezTo>
                    <a:pt x="0" y="25"/>
                    <a:pt x="0" y="26"/>
                    <a:pt x="0" y="26"/>
                  </a:cubicBezTo>
                  <a:cubicBezTo>
                    <a:pt x="0" y="26"/>
                    <a:pt x="0" y="26"/>
                    <a:pt x="0" y="26"/>
                  </a:cubicBezTo>
                  <a:cubicBezTo>
                    <a:pt x="0" y="26"/>
                    <a:pt x="0" y="26"/>
                    <a:pt x="0" y="26"/>
                  </a:cubicBezTo>
                  <a:cubicBezTo>
                    <a:pt x="0" y="26"/>
                    <a:pt x="0" y="26"/>
                    <a:pt x="0" y="26"/>
                  </a:cubicBezTo>
                  <a:cubicBezTo>
                    <a:pt x="0" y="26"/>
                    <a:pt x="0" y="26"/>
                    <a:pt x="0" y="26"/>
                  </a:cubicBezTo>
                  <a:cubicBezTo>
                    <a:pt x="0" y="26"/>
                    <a:pt x="0" y="26"/>
                    <a:pt x="0" y="26"/>
                  </a:cubicBezTo>
                  <a:cubicBezTo>
                    <a:pt x="0" y="26"/>
                    <a:pt x="0" y="26"/>
                    <a:pt x="0" y="27"/>
                  </a:cubicBezTo>
                  <a:cubicBezTo>
                    <a:pt x="0" y="27"/>
                    <a:pt x="0" y="27"/>
                    <a:pt x="0" y="27"/>
                  </a:cubicBezTo>
                  <a:cubicBezTo>
                    <a:pt x="0" y="27"/>
                    <a:pt x="0" y="27"/>
                    <a:pt x="0" y="27"/>
                  </a:cubicBezTo>
                  <a:cubicBezTo>
                    <a:pt x="0" y="27"/>
                    <a:pt x="0" y="27"/>
                    <a:pt x="0" y="27"/>
                  </a:cubicBezTo>
                  <a:cubicBezTo>
                    <a:pt x="0" y="27"/>
                    <a:pt x="0" y="27"/>
                    <a:pt x="0" y="27"/>
                  </a:cubicBezTo>
                  <a:cubicBezTo>
                    <a:pt x="0" y="27"/>
                    <a:pt x="0" y="27"/>
                    <a:pt x="0" y="27"/>
                  </a:cubicBezTo>
                  <a:cubicBezTo>
                    <a:pt x="0" y="27"/>
                    <a:pt x="0" y="27"/>
                    <a:pt x="0" y="27"/>
                  </a:cubicBezTo>
                  <a:cubicBezTo>
                    <a:pt x="0" y="27"/>
                    <a:pt x="0" y="27"/>
                    <a:pt x="0" y="27"/>
                  </a:cubicBezTo>
                  <a:cubicBezTo>
                    <a:pt x="0" y="27"/>
                    <a:pt x="0" y="27"/>
                    <a:pt x="0" y="28"/>
                  </a:cubicBezTo>
                  <a:cubicBezTo>
                    <a:pt x="0" y="28"/>
                    <a:pt x="0" y="28"/>
                    <a:pt x="0" y="28"/>
                  </a:cubicBezTo>
                  <a:cubicBezTo>
                    <a:pt x="0" y="28"/>
                    <a:pt x="0" y="28"/>
                    <a:pt x="0" y="28"/>
                  </a:cubicBezTo>
                  <a:cubicBezTo>
                    <a:pt x="0" y="28"/>
                    <a:pt x="0" y="28"/>
                    <a:pt x="0" y="28"/>
                  </a:cubicBezTo>
                  <a:cubicBezTo>
                    <a:pt x="0" y="28"/>
                    <a:pt x="0" y="28"/>
                    <a:pt x="0" y="28"/>
                  </a:cubicBezTo>
                  <a:cubicBezTo>
                    <a:pt x="0" y="28"/>
                    <a:pt x="0" y="28"/>
                    <a:pt x="0" y="28"/>
                  </a:cubicBezTo>
                  <a:cubicBezTo>
                    <a:pt x="0" y="28"/>
                    <a:pt x="0" y="28"/>
                    <a:pt x="0" y="28"/>
                  </a:cubicBezTo>
                  <a:cubicBezTo>
                    <a:pt x="0" y="28"/>
                    <a:pt x="0" y="28"/>
                    <a:pt x="0" y="28"/>
                  </a:cubicBezTo>
                  <a:cubicBezTo>
                    <a:pt x="0" y="28"/>
                    <a:pt x="0" y="28"/>
                    <a:pt x="0" y="28"/>
                  </a:cubicBezTo>
                  <a:cubicBezTo>
                    <a:pt x="0" y="28"/>
                    <a:pt x="0" y="29"/>
                    <a:pt x="0" y="29"/>
                  </a:cubicBezTo>
                  <a:cubicBezTo>
                    <a:pt x="0" y="29"/>
                    <a:pt x="0" y="29"/>
                    <a:pt x="0" y="29"/>
                  </a:cubicBezTo>
                  <a:cubicBezTo>
                    <a:pt x="0" y="29"/>
                    <a:pt x="0" y="29"/>
                    <a:pt x="0" y="29"/>
                  </a:cubicBezTo>
                  <a:cubicBezTo>
                    <a:pt x="0" y="29"/>
                    <a:pt x="0" y="29"/>
                    <a:pt x="0" y="29"/>
                  </a:cubicBezTo>
                  <a:cubicBezTo>
                    <a:pt x="0" y="29"/>
                    <a:pt x="0" y="29"/>
                    <a:pt x="0" y="29"/>
                  </a:cubicBezTo>
                  <a:cubicBezTo>
                    <a:pt x="0" y="29"/>
                    <a:pt x="0" y="29"/>
                    <a:pt x="0" y="29"/>
                  </a:cubicBezTo>
                  <a:cubicBezTo>
                    <a:pt x="0" y="29"/>
                    <a:pt x="0" y="29"/>
                    <a:pt x="0" y="29"/>
                  </a:cubicBezTo>
                  <a:cubicBezTo>
                    <a:pt x="0" y="29"/>
                    <a:pt x="0" y="29"/>
                    <a:pt x="0" y="29"/>
                  </a:cubicBezTo>
                  <a:cubicBezTo>
                    <a:pt x="0" y="30"/>
                    <a:pt x="0" y="31"/>
                    <a:pt x="0" y="31"/>
                  </a:cubicBezTo>
                  <a:cubicBezTo>
                    <a:pt x="0" y="31"/>
                    <a:pt x="0" y="31"/>
                    <a:pt x="0" y="31"/>
                  </a:cubicBezTo>
                  <a:cubicBezTo>
                    <a:pt x="0" y="31"/>
                    <a:pt x="0" y="31"/>
                    <a:pt x="0" y="31"/>
                  </a:cubicBezTo>
                  <a:cubicBezTo>
                    <a:pt x="0" y="31"/>
                    <a:pt x="0" y="31"/>
                    <a:pt x="0" y="31"/>
                  </a:cubicBezTo>
                  <a:cubicBezTo>
                    <a:pt x="0" y="345"/>
                    <a:pt x="0" y="345"/>
                    <a:pt x="0" y="345"/>
                  </a:cubicBezTo>
                  <a:cubicBezTo>
                    <a:pt x="0" y="345"/>
                    <a:pt x="0" y="345"/>
                    <a:pt x="0" y="345"/>
                  </a:cubicBezTo>
                  <a:cubicBezTo>
                    <a:pt x="0" y="345"/>
                    <a:pt x="0" y="345"/>
                    <a:pt x="0" y="345"/>
                  </a:cubicBezTo>
                  <a:cubicBezTo>
                    <a:pt x="0" y="345"/>
                    <a:pt x="0" y="345"/>
                    <a:pt x="0" y="345"/>
                  </a:cubicBezTo>
                  <a:cubicBezTo>
                    <a:pt x="0" y="345"/>
                    <a:pt x="0" y="345"/>
                    <a:pt x="0" y="345"/>
                  </a:cubicBezTo>
                  <a:cubicBezTo>
                    <a:pt x="0" y="345"/>
                    <a:pt x="0" y="345"/>
                    <a:pt x="0" y="345"/>
                  </a:cubicBezTo>
                  <a:cubicBezTo>
                    <a:pt x="0" y="345"/>
                    <a:pt x="0" y="346"/>
                    <a:pt x="0" y="346"/>
                  </a:cubicBezTo>
                  <a:cubicBezTo>
                    <a:pt x="0" y="346"/>
                    <a:pt x="0" y="346"/>
                    <a:pt x="0" y="346"/>
                  </a:cubicBezTo>
                  <a:cubicBezTo>
                    <a:pt x="0" y="346"/>
                    <a:pt x="0" y="346"/>
                    <a:pt x="0" y="346"/>
                  </a:cubicBezTo>
                  <a:cubicBezTo>
                    <a:pt x="0" y="346"/>
                    <a:pt x="0" y="346"/>
                    <a:pt x="0" y="346"/>
                  </a:cubicBezTo>
                  <a:cubicBezTo>
                    <a:pt x="0" y="346"/>
                    <a:pt x="0" y="346"/>
                    <a:pt x="0" y="346"/>
                  </a:cubicBezTo>
                  <a:cubicBezTo>
                    <a:pt x="0" y="346"/>
                    <a:pt x="0" y="346"/>
                    <a:pt x="0" y="346"/>
                  </a:cubicBezTo>
                  <a:cubicBezTo>
                    <a:pt x="0" y="346"/>
                    <a:pt x="0" y="346"/>
                    <a:pt x="0" y="346"/>
                  </a:cubicBezTo>
                  <a:cubicBezTo>
                    <a:pt x="0" y="346"/>
                    <a:pt x="0" y="346"/>
                    <a:pt x="0" y="346"/>
                  </a:cubicBezTo>
                  <a:cubicBezTo>
                    <a:pt x="0" y="346"/>
                    <a:pt x="0" y="346"/>
                    <a:pt x="0" y="346"/>
                  </a:cubicBezTo>
                  <a:cubicBezTo>
                    <a:pt x="0" y="346"/>
                    <a:pt x="0" y="346"/>
                    <a:pt x="0" y="346"/>
                  </a:cubicBezTo>
                  <a:cubicBezTo>
                    <a:pt x="0" y="347"/>
                    <a:pt x="0" y="347"/>
                    <a:pt x="0" y="347"/>
                  </a:cubicBezTo>
                  <a:cubicBezTo>
                    <a:pt x="0" y="347"/>
                    <a:pt x="0" y="347"/>
                    <a:pt x="0" y="347"/>
                  </a:cubicBezTo>
                  <a:cubicBezTo>
                    <a:pt x="0" y="347"/>
                    <a:pt x="0" y="347"/>
                    <a:pt x="0" y="347"/>
                  </a:cubicBezTo>
                  <a:cubicBezTo>
                    <a:pt x="0" y="347"/>
                    <a:pt x="0" y="347"/>
                    <a:pt x="0" y="347"/>
                  </a:cubicBezTo>
                  <a:cubicBezTo>
                    <a:pt x="0" y="347"/>
                    <a:pt x="0" y="347"/>
                    <a:pt x="0" y="347"/>
                  </a:cubicBezTo>
                  <a:cubicBezTo>
                    <a:pt x="0" y="347"/>
                    <a:pt x="0" y="347"/>
                    <a:pt x="0" y="347"/>
                  </a:cubicBezTo>
                  <a:cubicBezTo>
                    <a:pt x="0" y="347"/>
                    <a:pt x="0" y="347"/>
                    <a:pt x="0" y="347"/>
                  </a:cubicBezTo>
                  <a:cubicBezTo>
                    <a:pt x="0" y="347"/>
                    <a:pt x="0" y="347"/>
                    <a:pt x="0" y="347"/>
                  </a:cubicBezTo>
                  <a:cubicBezTo>
                    <a:pt x="0" y="347"/>
                    <a:pt x="0" y="347"/>
                    <a:pt x="0" y="347"/>
                  </a:cubicBezTo>
                  <a:cubicBezTo>
                    <a:pt x="0" y="347"/>
                    <a:pt x="0" y="347"/>
                    <a:pt x="0" y="347"/>
                  </a:cubicBezTo>
                  <a:cubicBezTo>
                    <a:pt x="0" y="347"/>
                    <a:pt x="0" y="347"/>
                    <a:pt x="0" y="347"/>
                  </a:cubicBezTo>
                  <a:cubicBezTo>
                    <a:pt x="0" y="347"/>
                    <a:pt x="0" y="348"/>
                    <a:pt x="0" y="348"/>
                  </a:cubicBezTo>
                  <a:cubicBezTo>
                    <a:pt x="0" y="348"/>
                    <a:pt x="0" y="348"/>
                    <a:pt x="0" y="348"/>
                  </a:cubicBezTo>
                  <a:cubicBezTo>
                    <a:pt x="0" y="348"/>
                    <a:pt x="0" y="348"/>
                    <a:pt x="0" y="348"/>
                  </a:cubicBezTo>
                  <a:cubicBezTo>
                    <a:pt x="0" y="348"/>
                    <a:pt x="0" y="348"/>
                    <a:pt x="0" y="348"/>
                  </a:cubicBezTo>
                  <a:cubicBezTo>
                    <a:pt x="0" y="348"/>
                    <a:pt x="0" y="348"/>
                    <a:pt x="0" y="348"/>
                  </a:cubicBezTo>
                  <a:cubicBezTo>
                    <a:pt x="0" y="348"/>
                    <a:pt x="0" y="348"/>
                    <a:pt x="0" y="348"/>
                  </a:cubicBezTo>
                  <a:cubicBezTo>
                    <a:pt x="0" y="348"/>
                    <a:pt x="0" y="348"/>
                    <a:pt x="0" y="348"/>
                  </a:cubicBezTo>
                  <a:cubicBezTo>
                    <a:pt x="0" y="348"/>
                    <a:pt x="0" y="348"/>
                    <a:pt x="0" y="348"/>
                  </a:cubicBezTo>
                  <a:cubicBezTo>
                    <a:pt x="0" y="348"/>
                    <a:pt x="0" y="348"/>
                    <a:pt x="0" y="348"/>
                  </a:cubicBezTo>
                  <a:cubicBezTo>
                    <a:pt x="0" y="348"/>
                    <a:pt x="0" y="348"/>
                    <a:pt x="0" y="348"/>
                  </a:cubicBezTo>
                  <a:cubicBezTo>
                    <a:pt x="0" y="348"/>
                    <a:pt x="0" y="348"/>
                    <a:pt x="0" y="348"/>
                  </a:cubicBezTo>
                  <a:cubicBezTo>
                    <a:pt x="0" y="348"/>
                    <a:pt x="0" y="348"/>
                    <a:pt x="0" y="348"/>
                  </a:cubicBezTo>
                  <a:cubicBezTo>
                    <a:pt x="0" y="349"/>
                    <a:pt x="0" y="349"/>
                    <a:pt x="0" y="349"/>
                  </a:cubicBezTo>
                  <a:cubicBezTo>
                    <a:pt x="0" y="349"/>
                    <a:pt x="0" y="349"/>
                    <a:pt x="0" y="349"/>
                  </a:cubicBezTo>
                  <a:cubicBezTo>
                    <a:pt x="0" y="349"/>
                    <a:pt x="0" y="349"/>
                    <a:pt x="0" y="349"/>
                  </a:cubicBezTo>
                  <a:cubicBezTo>
                    <a:pt x="0" y="349"/>
                    <a:pt x="0" y="349"/>
                    <a:pt x="0" y="349"/>
                  </a:cubicBezTo>
                  <a:cubicBezTo>
                    <a:pt x="0" y="349"/>
                    <a:pt x="0" y="349"/>
                    <a:pt x="0" y="349"/>
                  </a:cubicBezTo>
                  <a:cubicBezTo>
                    <a:pt x="0" y="349"/>
                    <a:pt x="0" y="349"/>
                    <a:pt x="0" y="349"/>
                  </a:cubicBezTo>
                  <a:cubicBezTo>
                    <a:pt x="2" y="360"/>
                    <a:pt x="10" y="369"/>
                    <a:pt x="21" y="372"/>
                  </a:cubicBezTo>
                  <a:cubicBezTo>
                    <a:pt x="21" y="366"/>
                    <a:pt x="21" y="366"/>
                    <a:pt x="21" y="366"/>
                  </a:cubicBezTo>
                  <a:cubicBezTo>
                    <a:pt x="11" y="362"/>
                    <a:pt x="4" y="353"/>
                    <a:pt x="4" y="343"/>
                  </a:cubicBezTo>
                  <a:cubicBezTo>
                    <a:pt x="4" y="332"/>
                    <a:pt x="11" y="323"/>
                    <a:pt x="21" y="319"/>
                  </a:cubicBezTo>
                  <a:cubicBezTo>
                    <a:pt x="21" y="0"/>
                    <a:pt x="21" y="0"/>
                    <a:pt x="21" y="0"/>
                  </a:cubicBezTo>
                </a:path>
              </a:pathLst>
            </a:custGeom>
            <a:solidFill>
              <a:srgbClr val="005E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18" name="Freeform 1350">
              <a:extLst>
                <a:ext uri="{FF2B5EF4-FFF2-40B4-BE49-F238E27FC236}">
                  <a16:creationId xmlns:a16="http://schemas.microsoft.com/office/drawing/2014/main" id="{7C1C11F4-D3FD-4759-B73E-4564F0C6DDD3}"/>
                </a:ext>
              </a:extLst>
            </p:cNvPr>
            <p:cNvSpPr>
              <a:spLocks/>
            </p:cNvSpPr>
            <p:nvPr/>
          </p:nvSpPr>
          <p:spPr bwMode="auto">
            <a:xfrm>
              <a:off x="4017963" y="5162550"/>
              <a:ext cx="230188" cy="41275"/>
            </a:xfrm>
            <a:custGeom>
              <a:avLst/>
              <a:gdLst>
                <a:gd name="T0" fmla="*/ 283 w 283"/>
                <a:gd name="T1" fmla="*/ 51 h 51"/>
                <a:gd name="T2" fmla="*/ 27 w 283"/>
                <a:gd name="T3" fmla="*/ 51 h 51"/>
                <a:gd name="T4" fmla="*/ 0 w 283"/>
                <a:gd name="T5" fmla="*/ 26 h 51"/>
                <a:gd name="T6" fmla="*/ 27 w 283"/>
                <a:gd name="T7" fmla="*/ 0 h 51"/>
                <a:gd name="T8" fmla="*/ 283 w 283"/>
                <a:gd name="T9" fmla="*/ 0 h 51"/>
                <a:gd name="T10" fmla="*/ 283 w 283"/>
                <a:gd name="T11" fmla="*/ 51 h 51"/>
              </a:gdLst>
              <a:ahLst/>
              <a:cxnLst>
                <a:cxn ang="0">
                  <a:pos x="T0" y="T1"/>
                </a:cxn>
                <a:cxn ang="0">
                  <a:pos x="T2" y="T3"/>
                </a:cxn>
                <a:cxn ang="0">
                  <a:pos x="T4" y="T5"/>
                </a:cxn>
                <a:cxn ang="0">
                  <a:pos x="T6" y="T7"/>
                </a:cxn>
                <a:cxn ang="0">
                  <a:pos x="T8" y="T9"/>
                </a:cxn>
                <a:cxn ang="0">
                  <a:pos x="T10" y="T11"/>
                </a:cxn>
              </a:cxnLst>
              <a:rect l="0" t="0" r="r" b="b"/>
              <a:pathLst>
                <a:path w="283" h="51">
                  <a:moveTo>
                    <a:pt x="283" y="51"/>
                  </a:moveTo>
                  <a:cubicBezTo>
                    <a:pt x="27" y="51"/>
                    <a:pt x="27" y="51"/>
                    <a:pt x="27" y="51"/>
                  </a:cubicBezTo>
                  <a:cubicBezTo>
                    <a:pt x="12" y="51"/>
                    <a:pt x="0" y="40"/>
                    <a:pt x="0" y="26"/>
                  </a:cubicBezTo>
                  <a:cubicBezTo>
                    <a:pt x="0" y="12"/>
                    <a:pt x="12" y="0"/>
                    <a:pt x="27" y="0"/>
                  </a:cubicBezTo>
                  <a:cubicBezTo>
                    <a:pt x="283" y="0"/>
                    <a:pt x="283" y="0"/>
                    <a:pt x="283" y="0"/>
                  </a:cubicBezTo>
                  <a:cubicBezTo>
                    <a:pt x="283" y="51"/>
                    <a:pt x="283" y="51"/>
                    <a:pt x="283" y="51"/>
                  </a:cubicBezTo>
                </a:path>
              </a:pathLst>
            </a:custGeom>
            <a:solidFill>
              <a:srgbClr val="FFFE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19" name="Freeform 1351">
              <a:extLst>
                <a:ext uri="{FF2B5EF4-FFF2-40B4-BE49-F238E27FC236}">
                  <a16:creationId xmlns:a16="http://schemas.microsoft.com/office/drawing/2014/main" id="{C38C2480-ABFC-F42F-1838-5046FF001787}"/>
                </a:ext>
              </a:extLst>
            </p:cNvPr>
            <p:cNvSpPr>
              <a:spLocks/>
            </p:cNvSpPr>
            <p:nvPr/>
          </p:nvSpPr>
          <p:spPr bwMode="auto">
            <a:xfrm>
              <a:off x="4122738" y="4865688"/>
              <a:ext cx="234950" cy="303213"/>
            </a:xfrm>
            <a:custGeom>
              <a:avLst/>
              <a:gdLst>
                <a:gd name="T0" fmla="*/ 290 w 290"/>
                <a:gd name="T1" fmla="*/ 374 h 374"/>
                <a:gd name="T2" fmla="*/ 30 w 290"/>
                <a:gd name="T3" fmla="*/ 374 h 374"/>
                <a:gd name="T4" fmla="*/ 0 w 290"/>
                <a:gd name="T5" fmla="*/ 346 h 374"/>
                <a:gd name="T6" fmla="*/ 0 w 290"/>
                <a:gd name="T7" fmla="*/ 32 h 374"/>
                <a:gd name="T8" fmla="*/ 0 w 290"/>
                <a:gd name="T9" fmla="*/ 32 h 374"/>
                <a:gd name="T10" fmla="*/ 0 w 290"/>
                <a:gd name="T11" fmla="*/ 30 h 374"/>
                <a:gd name="T12" fmla="*/ 30 w 290"/>
                <a:gd name="T13" fmla="*/ 0 h 374"/>
                <a:gd name="T14" fmla="*/ 290 w 290"/>
                <a:gd name="T15" fmla="*/ 0 h 374"/>
                <a:gd name="T16" fmla="*/ 290 w 290"/>
                <a:gd name="T17" fmla="*/ 37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0" h="374">
                  <a:moveTo>
                    <a:pt x="290" y="374"/>
                  </a:moveTo>
                  <a:cubicBezTo>
                    <a:pt x="30" y="374"/>
                    <a:pt x="30" y="374"/>
                    <a:pt x="30" y="374"/>
                  </a:cubicBezTo>
                  <a:cubicBezTo>
                    <a:pt x="14" y="374"/>
                    <a:pt x="0" y="361"/>
                    <a:pt x="0" y="346"/>
                  </a:cubicBezTo>
                  <a:cubicBezTo>
                    <a:pt x="0" y="32"/>
                    <a:pt x="0" y="32"/>
                    <a:pt x="0" y="32"/>
                  </a:cubicBezTo>
                  <a:cubicBezTo>
                    <a:pt x="0" y="32"/>
                    <a:pt x="0" y="32"/>
                    <a:pt x="0" y="32"/>
                  </a:cubicBezTo>
                  <a:cubicBezTo>
                    <a:pt x="0" y="32"/>
                    <a:pt x="0" y="31"/>
                    <a:pt x="0" y="30"/>
                  </a:cubicBezTo>
                  <a:cubicBezTo>
                    <a:pt x="0" y="14"/>
                    <a:pt x="14" y="0"/>
                    <a:pt x="30" y="0"/>
                  </a:cubicBezTo>
                  <a:cubicBezTo>
                    <a:pt x="290" y="0"/>
                    <a:pt x="290" y="0"/>
                    <a:pt x="290" y="0"/>
                  </a:cubicBezTo>
                  <a:cubicBezTo>
                    <a:pt x="290" y="374"/>
                    <a:pt x="290" y="374"/>
                    <a:pt x="290" y="374"/>
                  </a:cubicBezTo>
                </a:path>
              </a:pathLst>
            </a:custGeom>
            <a:solidFill>
              <a:srgbClr val="FF49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20" name="Freeform 1352">
              <a:extLst>
                <a:ext uri="{FF2B5EF4-FFF2-40B4-BE49-F238E27FC236}">
                  <a16:creationId xmlns:a16="http://schemas.microsoft.com/office/drawing/2014/main" id="{EED5A9EB-1199-ACC5-F619-86A2A1C67858}"/>
                </a:ext>
              </a:extLst>
            </p:cNvPr>
            <p:cNvSpPr>
              <a:spLocks noEditPoints="1"/>
            </p:cNvSpPr>
            <p:nvPr/>
          </p:nvSpPr>
          <p:spPr bwMode="auto">
            <a:xfrm>
              <a:off x="4122738" y="4886325"/>
              <a:ext cx="0" cy="3175"/>
            </a:xfrm>
            <a:custGeom>
              <a:avLst/>
              <a:gdLst>
                <a:gd name="T0" fmla="*/ 0 w 1"/>
                <a:gd name="T1" fmla="*/ 3 h 3"/>
                <a:gd name="T2" fmla="*/ 0 w 1"/>
                <a:gd name="T3" fmla="*/ 3 h 3"/>
                <a:gd name="T4" fmla="*/ 0 w 1"/>
                <a:gd name="T5" fmla="*/ 3 h 3"/>
                <a:gd name="T6" fmla="*/ 0 w 1"/>
                <a:gd name="T7" fmla="*/ 3 h 3"/>
                <a:gd name="T8" fmla="*/ 0 w 1"/>
                <a:gd name="T9" fmla="*/ 3 h 3"/>
                <a:gd name="T10" fmla="*/ 0 w 1"/>
                <a:gd name="T11" fmla="*/ 3 h 3"/>
                <a:gd name="T12" fmla="*/ 0 w 1"/>
                <a:gd name="T13" fmla="*/ 3 h 3"/>
                <a:gd name="T14" fmla="*/ 0 w 1"/>
                <a:gd name="T15" fmla="*/ 3 h 3"/>
                <a:gd name="T16" fmla="*/ 0 w 1"/>
                <a:gd name="T17" fmla="*/ 3 h 3"/>
                <a:gd name="T18" fmla="*/ 0 w 1"/>
                <a:gd name="T19" fmla="*/ 3 h 3"/>
                <a:gd name="T20" fmla="*/ 0 w 1"/>
                <a:gd name="T21" fmla="*/ 3 h 3"/>
                <a:gd name="T22" fmla="*/ 0 w 1"/>
                <a:gd name="T23" fmla="*/ 3 h 3"/>
                <a:gd name="T24" fmla="*/ 0 w 1"/>
                <a:gd name="T25" fmla="*/ 3 h 3"/>
                <a:gd name="T26" fmla="*/ 0 w 1"/>
                <a:gd name="T27" fmla="*/ 2 h 3"/>
                <a:gd name="T28" fmla="*/ 0 w 1"/>
                <a:gd name="T29" fmla="*/ 3 h 3"/>
                <a:gd name="T30" fmla="*/ 0 w 1"/>
                <a:gd name="T31" fmla="*/ 2 h 3"/>
                <a:gd name="T32" fmla="*/ 0 w 1"/>
                <a:gd name="T33" fmla="*/ 2 h 3"/>
                <a:gd name="T34" fmla="*/ 0 w 1"/>
                <a:gd name="T35" fmla="*/ 2 h 3"/>
                <a:gd name="T36" fmla="*/ 0 w 1"/>
                <a:gd name="T37" fmla="*/ 2 h 3"/>
                <a:gd name="T38" fmla="*/ 0 w 1"/>
                <a:gd name="T39" fmla="*/ 2 h 3"/>
                <a:gd name="T40" fmla="*/ 0 w 1"/>
                <a:gd name="T41" fmla="*/ 2 h 3"/>
                <a:gd name="T42" fmla="*/ 0 w 1"/>
                <a:gd name="T43" fmla="*/ 2 h 3"/>
                <a:gd name="T44" fmla="*/ 0 w 1"/>
                <a:gd name="T45" fmla="*/ 2 h 3"/>
                <a:gd name="T46" fmla="*/ 0 w 1"/>
                <a:gd name="T47" fmla="*/ 2 h 3"/>
                <a:gd name="T48" fmla="*/ 0 w 1"/>
                <a:gd name="T49" fmla="*/ 2 h 3"/>
                <a:gd name="T50" fmla="*/ 0 w 1"/>
                <a:gd name="T51" fmla="*/ 2 h 3"/>
                <a:gd name="T52" fmla="*/ 0 w 1"/>
                <a:gd name="T53" fmla="*/ 2 h 3"/>
                <a:gd name="T54" fmla="*/ 0 w 1"/>
                <a:gd name="T55" fmla="*/ 2 h 3"/>
                <a:gd name="T56" fmla="*/ 0 w 1"/>
                <a:gd name="T57" fmla="*/ 1 h 3"/>
                <a:gd name="T58" fmla="*/ 0 w 1"/>
                <a:gd name="T59" fmla="*/ 2 h 3"/>
                <a:gd name="T60" fmla="*/ 0 w 1"/>
                <a:gd name="T61" fmla="*/ 1 h 3"/>
                <a:gd name="T62" fmla="*/ 0 w 1"/>
                <a:gd name="T63" fmla="*/ 1 h 3"/>
                <a:gd name="T64" fmla="*/ 0 w 1"/>
                <a:gd name="T65" fmla="*/ 1 h 3"/>
                <a:gd name="T66" fmla="*/ 0 w 1"/>
                <a:gd name="T67" fmla="*/ 1 h 3"/>
                <a:gd name="T68" fmla="*/ 0 w 1"/>
                <a:gd name="T69" fmla="*/ 1 h 3"/>
                <a:gd name="T70" fmla="*/ 0 w 1"/>
                <a:gd name="T71" fmla="*/ 1 h 3"/>
                <a:gd name="T72" fmla="*/ 0 w 1"/>
                <a:gd name="T73" fmla="*/ 1 h 3"/>
                <a:gd name="T74" fmla="*/ 0 w 1"/>
                <a:gd name="T75" fmla="*/ 1 h 3"/>
                <a:gd name="T76" fmla="*/ 0 w 1"/>
                <a:gd name="T77" fmla="*/ 1 h 3"/>
                <a:gd name="T78" fmla="*/ 0 w 1"/>
                <a:gd name="T79" fmla="*/ 1 h 3"/>
                <a:gd name="T80" fmla="*/ 0 w 1"/>
                <a:gd name="T81" fmla="*/ 1 h 3"/>
                <a:gd name="T82" fmla="*/ 0 w 1"/>
                <a:gd name="T83" fmla="*/ 1 h 3"/>
                <a:gd name="T84" fmla="*/ 0 w 1"/>
                <a:gd name="T85" fmla="*/ 1 h 3"/>
                <a:gd name="T86" fmla="*/ 1 w 1"/>
                <a:gd name="T87" fmla="*/ 0 h 3"/>
                <a:gd name="T88" fmla="*/ 1 w 1"/>
                <a:gd name="T89" fmla="*/ 0 h 3"/>
                <a:gd name="T90" fmla="*/ 1 w 1"/>
                <a:gd name="T91" fmla="*/ 0 h 3"/>
                <a:gd name="T92" fmla="*/ 1 w 1"/>
                <a:gd name="T93" fmla="*/ 0 h 3"/>
                <a:gd name="T94" fmla="*/ 1 w 1"/>
                <a:gd name="T95" fmla="*/ 0 h 3"/>
                <a:gd name="T96" fmla="*/ 1 w 1"/>
                <a:gd name="T9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 h="3">
                  <a:moveTo>
                    <a:pt x="0" y="3"/>
                  </a:moveTo>
                  <a:cubicBezTo>
                    <a:pt x="0" y="3"/>
                    <a:pt x="0" y="3"/>
                    <a:pt x="0" y="3"/>
                  </a:cubicBezTo>
                  <a:cubicBezTo>
                    <a:pt x="0" y="3"/>
                    <a:pt x="0" y="3"/>
                    <a:pt x="0" y="3"/>
                  </a:cubicBezTo>
                  <a:cubicBezTo>
                    <a:pt x="0" y="3"/>
                    <a:pt x="0" y="3"/>
                    <a:pt x="0" y="3"/>
                  </a:cubicBezTo>
                  <a:moveTo>
                    <a:pt x="0" y="3"/>
                  </a:moveTo>
                  <a:cubicBezTo>
                    <a:pt x="0" y="3"/>
                    <a:pt x="0" y="3"/>
                    <a:pt x="0" y="3"/>
                  </a:cubicBezTo>
                  <a:cubicBezTo>
                    <a:pt x="0" y="3"/>
                    <a:pt x="0" y="3"/>
                    <a:pt x="0" y="3"/>
                  </a:cubicBezTo>
                  <a:moveTo>
                    <a:pt x="0" y="3"/>
                  </a:moveTo>
                  <a:cubicBezTo>
                    <a:pt x="0" y="3"/>
                    <a:pt x="0" y="3"/>
                    <a:pt x="0" y="3"/>
                  </a:cubicBezTo>
                  <a:cubicBezTo>
                    <a:pt x="0" y="3"/>
                    <a:pt x="0" y="3"/>
                    <a:pt x="0" y="3"/>
                  </a:cubicBezTo>
                  <a:moveTo>
                    <a:pt x="0" y="3"/>
                  </a:moveTo>
                  <a:cubicBezTo>
                    <a:pt x="0" y="3"/>
                    <a:pt x="0" y="3"/>
                    <a:pt x="0" y="3"/>
                  </a:cubicBezTo>
                  <a:cubicBezTo>
                    <a:pt x="0" y="3"/>
                    <a:pt x="0" y="3"/>
                    <a:pt x="0" y="3"/>
                  </a:cubicBezTo>
                  <a:moveTo>
                    <a:pt x="0" y="2"/>
                  </a:moveTo>
                  <a:cubicBezTo>
                    <a:pt x="0" y="2"/>
                    <a:pt x="0" y="2"/>
                    <a:pt x="0" y="3"/>
                  </a:cubicBezTo>
                  <a:cubicBezTo>
                    <a:pt x="0" y="2"/>
                    <a:pt x="0" y="2"/>
                    <a:pt x="0" y="2"/>
                  </a:cubicBezTo>
                  <a:moveTo>
                    <a:pt x="0" y="2"/>
                  </a:moveTo>
                  <a:cubicBezTo>
                    <a:pt x="0" y="2"/>
                    <a:pt x="0" y="2"/>
                    <a:pt x="0" y="2"/>
                  </a:cubicBezTo>
                  <a:cubicBezTo>
                    <a:pt x="0" y="2"/>
                    <a:pt x="0" y="2"/>
                    <a:pt x="0" y="2"/>
                  </a:cubicBezTo>
                  <a:moveTo>
                    <a:pt x="0" y="2"/>
                  </a:moveTo>
                  <a:cubicBezTo>
                    <a:pt x="0" y="2"/>
                    <a:pt x="0" y="2"/>
                    <a:pt x="0" y="2"/>
                  </a:cubicBezTo>
                  <a:cubicBezTo>
                    <a:pt x="0" y="2"/>
                    <a:pt x="0" y="2"/>
                    <a:pt x="0" y="2"/>
                  </a:cubicBezTo>
                  <a:moveTo>
                    <a:pt x="0" y="2"/>
                  </a:moveTo>
                  <a:cubicBezTo>
                    <a:pt x="0" y="2"/>
                    <a:pt x="0" y="2"/>
                    <a:pt x="0" y="2"/>
                  </a:cubicBezTo>
                  <a:cubicBezTo>
                    <a:pt x="0" y="2"/>
                    <a:pt x="0" y="2"/>
                    <a:pt x="0" y="2"/>
                  </a:cubicBezTo>
                  <a:moveTo>
                    <a:pt x="0" y="2"/>
                  </a:moveTo>
                  <a:cubicBezTo>
                    <a:pt x="0" y="2"/>
                    <a:pt x="0" y="2"/>
                    <a:pt x="0" y="2"/>
                  </a:cubicBezTo>
                  <a:cubicBezTo>
                    <a:pt x="0" y="2"/>
                    <a:pt x="0" y="2"/>
                    <a:pt x="0" y="2"/>
                  </a:cubicBezTo>
                  <a:moveTo>
                    <a:pt x="0" y="1"/>
                  </a:moveTo>
                  <a:cubicBezTo>
                    <a:pt x="0" y="2"/>
                    <a:pt x="0" y="2"/>
                    <a:pt x="0" y="2"/>
                  </a:cubicBezTo>
                  <a:cubicBezTo>
                    <a:pt x="0" y="2"/>
                    <a:pt x="0" y="2"/>
                    <a:pt x="0" y="1"/>
                  </a:cubicBezTo>
                  <a:moveTo>
                    <a:pt x="0" y="1"/>
                  </a:moveTo>
                  <a:cubicBezTo>
                    <a:pt x="0" y="1"/>
                    <a:pt x="0" y="1"/>
                    <a:pt x="0" y="1"/>
                  </a:cubicBezTo>
                  <a:cubicBezTo>
                    <a:pt x="0" y="1"/>
                    <a:pt x="0" y="1"/>
                    <a:pt x="0" y="1"/>
                  </a:cubicBezTo>
                  <a:moveTo>
                    <a:pt x="0" y="1"/>
                  </a:moveTo>
                  <a:cubicBezTo>
                    <a:pt x="0" y="1"/>
                    <a:pt x="0" y="1"/>
                    <a:pt x="0" y="1"/>
                  </a:cubicBezTo>
                  <a:cubicBezTo>
                    <a:pt x="0" y="1"/>
                    <a:pt x="0" y="1"/>
                    <a:pt x="0" y="1"/>
                  </a:cubicBezTo>
                  <a:moveTo>
                    <a:pt x="0" y="1"/>
                  </a:moveTo>
                  <a:cubicBezTo>
                    <a:pt x="0" y="1"/>
                    <a:pt x="0" y="1"/>
                    <a:pt x="0" y="1"/>
                  </a:cubicBezTo>
                  <a:cubicBezTo>
                    <a:pt x="0" y="1"/>
                    <a:pt x="0" y="1"/>
                    <a:pt x="0" y="1"/>
                  </a:cubicBezTo>
                  <a:moveTo>
                    <a:pt x="0" y="1"/>
                  </a:moveTo>
                  <a:cubicBezTo>
                    <a:pt x="0" y="1"/>
                    <a:pt x="0" y="1"/>
                    <a:pt x="0" y="1"/>
                  </a:cubicBezTo>
                  <a:cubicBezTo>
                    <a:pt x="0" y="1"/>
                    <a:pt x="0" y="1"/>
                    <a:pt x="0" y="1"/>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path>
              </a:pathLst>
            </a:custGeom>
            <a:solidFill>
              <a:srgbClr val="1273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21" name="Freeform 1353">
              <a:extLst>
                <a:ext uri="{FF2B5EF4-FFF2-40B4-BE49-F238E27FC236}">
                  <a16:creationId xmlns:a16="http://schemas.microsoft.com/office/drawing/2014/main" id="{8B6A4C9C-BD9A-9841-ABC7-5425BC96DD0B}"/>
                </a:ext>
              </a:extLst>
            </p:cNvPr>
            <p:cNvSpPr>
              <a:spLocks noEditPoints="1"/>
            </p:cNvSpPr>
            <p:nvPr/>
          </p:nvSpPr>
          <p:spPr bwMode="auto">
            <a:xfrm>
              <a:off x="4122738" y="5146675"/>
              <a:ext cx="0" cy="4763"/>
            </a:xfrm>
            <a:custGeom>
              <a:avLst/>
              <a:gdLst>
                <a:gd name="T0" fmla="*/ 1 w 1"/>
                <a:gd name="T1" fmla="*/ 7 h 7"/>
                <a:gd name="T2" fmla="*/ 1 w 1"/>
                <a:gd name="T3" fmla="*/ 6 h 7"/>
                <a:gd name="T4" fmla="*/ 1 w 1"/>
                <a:gd name="T5" fmla="*/ 6 h 7"/>
                <a:gd name="T6" fmla="*/ 1 w 1"/>
                <a:gd name="T7" fmla="*/ 6 h 7"/>
                <a:gd name="T8" fmla="*/ 1 w 1"/>
                <a:gd name="T9" fmla="*/ 6 h 7"/>
                <a:gd name="T10" fmla="*/ 1 w 1"/>
                <a:gd name="T11" fmla="*/ 6 h 7"/>
                <a:gd name="T12" fmla="*/ 1 w 1"/>
                <a:gd name="T13" fmla="*/ 6 h 7"/>
                <a:gd name="T14" fmla="*/ 1 w 1"/>
                <a:gd name="T15" fmla="*/ 5 h 7"/>
                <a:gd name="T16" fmla="*/ 1 w 1"/>
                <a:gd name="T17" fmla="*/ 5 h 7"/>
                <a:gd name="T18" fmla="*/ 1 w 1"/>
                <a:gd name="T19" fmla="*/ 5 h 7"/>
                <a:gd name="T20" fmla="*/ 1 w 1"/>
                <a:gd name="T21" fmla="*/ 5 h 7"/>
                <a:gd name="T22" fmla="*/ 1 w 1"/>
                <a:gd name="T23" fmla="*/ 5 h 7"/>
                <a:gd name="T24" fmla="*/ 1 w 1"/>
                <a:gd name="T25" fmla="*/ 5 h 7"/>
                <a:gd name="T26" fmla="*/ 1 w 1"/>
                <a:gd name="T27" fmla="*/ 5 h 7"/>
                <a:gd name="T28" fmla="*/ 1 w 1"/>
                <a:gd name="T29" fmla="*/ 5 h 7"/>
                <a:gd name="T30" fmla="*/ 1 w 1"/>
                <a:gd name="T31" fmla="*/ 4 h 7"/>
                <a:gd name="T32" fmla="*/ 1 w 1"/>
                <a:gd name="T33" fmla="*/ 4 h 7"/>
                <a:gd name="T34" fmla="*/ 1 w 1"/>
                <a:gd name="T35" fmla="*/ 4 h 7"/>
                <a:gd name="T36" fmla="*/ 1 w 1"/>
                <a:gd name="T37" fmla="*/ 4 h 7"/>
                <a:gd name="T38" fmla="*/ 1 w 1"/>
                <a:gd name="T39" fmla="*/ 4 h 7"/>
                <a:gd name="T40" fmla="*/ 1 w 1"/>
                <a:gd name="T41" fmla="*/ 4 h 7"/>
                <a:gd name="T42" fmla="*/ 1 w 1"/>
                <a:gd name="T43" fmla="*/ 4 h 7"/>
                <a:gd name="T44" fmla="*/ 1 w 1"/>
                <a:gd name="T45" fmla="*/ 3 h 7"/>
                <a:gd name="T46" fmla="*/ 1 w 1"/>
                <a:gd name="T47" fmla="*/ 3 h 7"/>
                <a:gd name="T48" fmla="*/ 1 w 1"/>
                <a:gd name="T49" fmla="*/ 3 h 7"/>
                <a:gd name="T50" fmla="*/ 1 w 1"/>
                <a:gd name="T51" fmla="*/ 3 h 7"/>
                <a:gd name="T52" fmla="*/ 1 w 1"/>
                <a:gd name="T53" fmla="*/ 3 h 7"/>
                <a:gd name="T54" fmla="*/ 1 w 1"/>
                <a:gd name="T55" fmla="*/ 3 h 7"/>
                <a:gd name="T56" fmla="*/ 0 w 1"/>
                <a:gd name="T57" fmla="*/ 3 h 7"/>
                <a:gd name="T58" fmla="*/ 0 w 1"/>
                <a:gd name="T59" fmla="*/ 3 h 7"/>
                <a:gd name="T60" fmla="*/ 0 w 1"/>
                <a:gd name="T61" fmla="*/ 3 h 7"/>
                <a:gd name="T62" fmla="*/ 0 w 1"/>
                <a:gd name="T63" fmla="*/ 2 h 7"/>
                <a:gd name="T64" fmla="*/ 0 w 1"/>
                <a:gd name="T65" fmla="*/ 2 h 7"/>
                <a:gd name="T66" fmla="*/ 0 w 1"/>
                <a:gd name="T67" fmla="*/ 2 h 7"/>
                <a:gd name="T68" fmla="*/ 0 w 1"/>
                <a:gd name="T69" fmla="*/ 2 h 7"/>
                <a:gd name="T70" fmla="*/ 0 w 1"/>
                <a:gd name="T71" fmla="*/ 2 h 7"/>
                <a:gd name="T72" fmla="*/ 0 w 1"/>
                <a:gd name="T73" fmla="*/ 2 h 7"/>
                <a:gd name="T74" fmla="*/ 0 w 1"/>
                <a:gd name="T75" fmla="*/ 2 h 7"/>
                <a:gd name="T76" fmla="*/ 0 w 1"/>
                <a:gd name="T77" fmla="*/ 2 h 7"/>
                <a:gd name="T78" fmla="*/ 0 w 1"/>
                <a:gd name="T79" fmla="*/ 2 h 7"/>
                <a:gd name="T80" fmla="*/ 0 w 1"/>
                <a:gd name="T81" fmla="*/ 1 h 7"/>
                <a:gd name="T82" fmla="*/ 0 w 1"/>
                <a:gd name="T83" fmla="*/ 1 h 7"/>
                <a:gd name="T84" fmla="*/ 0 w 1"/>
                <a:gd name="T85" fmla="*/ 1 h 7"/>
                <a:gd name="T86" fmla="*/ 0 w 1"/>
                <a:gd name="T87" fmla="*/ 1 h 7"/>
                <a:gd name="T88" fmla="*/ 0 w 1"/>
                <a:gd name="T89" fmla="*/ 1 h 7"/>
                <a:gd name="T90" fmla="*/ 0 w 1"/>
                <a:gd name="T91" fmla="*/ 1 h 7"/>
                <a:gd name="T92" fmla="*/ 0 w 1"/>
                <a:gd name="T93" fmla="*/ 0 h 7"/>
                <a:gd name="T94" fmla="*/ 0 w 1"/>
                <a:gd name="T95" fmla="*/ 0 h 7"/>
                <a:gd name="T96" fmla="*/ 0 w 1"/>
                <a:gd name="T9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 h="7">
                  <a:moveTo>
                    <a:pt x="1" y="7"/>
                  </a:moveTo>
                  <a:cubicBezTo>
                    <a:pt x="1" y="7"/>
                    <a:pt x="1" y="7"/>
                    <a:pt x="1" y="7"/>
                  </a:cubicBezTo>
                  <a:cubicBezTo>
                    <a:pt x="1" y="7"/>
                    <a:pt x="1" y="7"/>
                    <a:pt x="1" y="7"/>
                  </a:cubicBezTo>
                  <a:moveTo>
                    <a:pt x="1" y="6"/>
                  </a:moveTo>
                  <a:cubicBezTo>
                    <a:pt x="1" y="6"/>
                    <a:pt x="1" y="6"/>
                    <a:pt x="1" y="6"/>
                  </a:cubicBezTo>
                  <a:cubicBezTo>
                    <a:pt x="1" y="6"/>
                    <a:pt x="1" y="6"/>
                    <a:pt x="1" y="6"/>
                  </a:cubicBezTo>
                  <a:moveTo>
                    <a:pt x="1" y="6"/>
                  </a:moveTo>
                  <a:cubicBezTo>
                    <a:pt x="1" y="6"/>
                    <a:pt x="1" y="6"/>
                    <a:pt x="1" y="6"/>
                  </a:cubicBezTo>
                  <a:cubicBezTo>
                    <a:pt x="1" y="6"/>
                    <a:pt x="1" y="6"/>
                    <a:pt x="1" y="6"/>
                  </a:cubicBezTo>
                  <a:moveTo>
                    <a:pt x="1" y="6"/>
                  </a:moveTo>
                  <a:cubicBezTo>
                    <a:pt x="1" y="6"/>
                    <a:pt x="1" y="6"/>
                    <a:pt x="1" y="6"/>
                  </a:cubicBezTo>
                  <a:cubicBezTo>
                    <a:pt x="1" y="6"/>
                    <a:pt x="1" y="6"/>
                    <a:pt x="1" y="6"/>
                  </a:cubicBezTo>
                  <a:moveTo>
                    <a:pt x="1" y="6"/>
                  </a:moveTo>
                  <a:cubicBezTo>
                    <a:pt x="1" y="6"/>
                    <a:pt x="1" y="6"/>
                    <a:pt x="1" y="6"/>
                  </a:cubicBezTo>
                  <a:cubicBezTo>
                    <a:pt x="1" y="6"/>
                    <a:pt x="1" y="6"/>
                    <a:pt x="1" y="6"/>
                  </a:cubicBezTo>
                  <a:moveTo>
                    <a:pt x="1" y="5"/>
                  </a:moveTo>
                  <a:cubicBezTo>
                    <a:pt x="1" y="5"/>
                    <a:pt x="1" y="5"/>
                    <a:pt x="1" y="5"/>
                  </a:cubicBezTo>
                  <a:cubicBezTo>
                    <a:pt x="1" y="5"/>
                    <a:pt x="1" y="5"/>
                    <a:pt x="1" y="5"/>
                  </a:cubicBezTo>
                  <a:moveTo>
                    <a:pt x="1" y="5"/>
                  </a:moveTo>
                  <a:cubicBezTo>
                    <a:pt x="1" y="5"/>
                    <a:pt x="1" y="5"/>
                    <a:pt x="1" y="5"/>
                  </a:cubicBezTo>
                  <a:cubicBezTo>
                    <a:pt x="1" y="5"/>
                    <a:pt x="1" y="5"/>
                    <a:pt x="1" y="5"/>
                  </a:cubicBezTo>
                  <a:moveTo>
                    <a:pt x="1" y="5"/>
                  </a:moveTo>
                  <a:cubicBezTo>
                    <a:pt x="1" y="5"/>
                    <a:pt x="1" y="5"/>
                    <a:pt x="1" y="5"/>
                  </a:cubicBezTo>
                  <a:cubicBezTo>
                    <a:pt x="1" y="5"/>
                    <a:pt x="1" y="5"/>
                    <a:pt x="1" y="5"/>
                  </a:cubicBezTo>
                  <a:moveTo>
                    <a:pt x="1" y="5"/>
                  </a:moveTo>
                  <a:cubicBezTo>
                    <a:pt x="1" y="5"/>
                    <a:pt x="1" y="5"/>
                    <a:pt x="1" y="5"/>
                  </a:cubicBezTo>
                  <a:cubicBezTo>
                    <a:pt x="1" y="5"/>
                    <a:pt x="1" y="5"/>
                    <a:pt x="1" y="5"/>
                  </a:cubicBezTo>
                  <a:moveTo>
                    <a:pt x="1" y="5"/>
                  </a:moveTo>
                  <a:cubicBezTo>
                    <a:pt x="1" y="5"/>
                    <a:pt x="1" y="5"/>
                    <a:pt x="1" y="5"/>
                  </a:cubicBezTo>
                  <a:cubicBezTo>
                    <a:pt x="1" y="5"/>
                    <a:pt x="1" y="5"/>
                    <a:pt x="1" y="5"/>
                  </a:cubicBezTo>
                  <a:moveTo>
                    <a:pt x="1" y="4"/>
                  </a:moveTo>
                  <a:cubicBezTo>
                    <a:pt x="1" y="4"/>
                    <a:pt x="1" y="4"/>
                    <a:pt x="1" y="4"/>
                  </a:cubicBezTo>
                  <a:cubicBezTo>
                    <a:pt x="1" y="4"/>
                    <a:pt x="1" y="4"/>
                    <a:pt x="1" y="4"/>
                  </a:cubicBezTo>
                  <a:moveTo>
                    <a:pt x="1" y="4"/>
                  </a:moveTo>
                  <a:cubicBezTo>
                    <a:pt x="1" y="4"/>
                    <a:pt x="1" y="4"/>
                    <a:pt x="1" y="4"/>
                  </a:cubicBezTo>
                  <a:cubicBezTo>
                    <a:pt x="1" y="4"/>
                    <a:pt x="1" y="4"/>
                    <a:pt x="1" y="4"/>
                  </a:cubicBezTo>
                  <a:moveTo>
                    <a:pt x="1" y="4"/>
                  </a:moveTo>
                  <a:cubicBezTo>
                    <a:pt x="1" y="4"/>
                    <a:pt x="1" y="4"/>
                    <a:pt x="1" y="4"/>
                  </a:cubicBezTo>
                  <a:cubicBezTo>
                    <a:pt x="1" y="4"/>
                    <a:pt x="1" y="4"/>
                    <a:pt x="1" y="4"/>
                  </a:cubicBezTo>
                  <a:moveTo>
                    <a:pt x="1" y="4"/>
                  </a:moveTo>
                  <a:cubicBezTo>
                    <a:pt x="1" y="4"/>
                    <a:pt x="1" y="4"/>
                    <a:pt x="1" y="4"/>
                  </a:cubicBezTo>
                  <a:cubicBezTo>
                    <a:pt x="1" y="4"/>
                    <a:pt x="1" y="4"/>
                    <a:pt x="1" y="4"/>
                  </a:cubicBezTo>
                  <a:moveTo>
                    <a:pt x="1" y="4"/>
                  </a:moveTo>
                  <a:cubicBezTo>
                    <a:pt x="1" y="4"/>
                    <a:pt x="1" y="4"/>
                    <a:pt x="1" y="4"/>
                  </a:cubicBezTo>
                  <a:cubicBezTo>
                    <a:pt x="1" y="4"/>
                    <a:pt x="1" y="4"/>
                    <a:pt x="1" y="4"/>
                  </a:cubicBezTo>
                  <a:moveTo>
                    <a:pt x="1" y="3"/>
                  </a:moveTo>
                  <a:cubicBezTo>
                    <a:pt x="1" y="4"/>
                    <a:pt x="1" y="4"/>
                    <a:pt x="1" y="4"/>
                  </a:cubicBezTo>
                  <a:cubicBezTo>
                    <a:pt x="1" y="4"/>
                    <a:pt x="1" y="4"/>
                    <a:pt x="1" y="3"/>
                  </a:cubicBezTo>
                  <a:moveTo>
                    <a:pt x="1" y="3"/>
                  </a:moveTo>
                  <a:cubicBezTo>
                    <a:pt x="1" y="3"/>
                    <a:pt x="1" y="3"/>
                    <a:pt x="1" y="3"/>
                  </a:cubicBezTo>
                  <a:cubicBezTo>
                    <a:pt x="1" y="3"/>
                    <a:pt x="1" y="3"/>
                    <a:pt x="1" y="3"/>
                  </a:cubicBezTo>
                  <a:moveTo>
                    <a:pt x="1" y="3"/>
                  </a:moveTo>
                  <a:cubicBezTo>
                    <a:pt x="1" y="3"/>
                    <a:pt x="1" y="3"/>
                    <a:pt x="1" y="3"/>
                  </a:cubicBezTo>
                  <a:cubicBezTo>
                    <a:pt x="1" y="3"/>
                    <a:pt x="1" y="3"/>
                    <a:pt x="1" y="3"/>
                  </a:cubicBezTo>
                  <a:moveTo>
                    <a:pt x="1" y="3"/>
                  </a:moveTo>
                  <a:cubicBezTo>
                    <a:pt x="1" y="3"/>
                    <a:pt x="1" y="3"/>
                    <a:pt x="1" y="3"/>
                  </a:cubicBezTo>
                  <a:cubicBezTo>
                    <a:pt x="1" y="3"/>
                    <a:pt x="1" y="3"/>
                    <a:pt x="1" y="3"/>
                  </a:cubicBezTo>
                  <a:moveTo>
                    <a:pt x="0" y="3"/>
                  </a:moveTo>
                  <a:cubicBezTo>
                    <a:pt x="0" y="3"/>
                    <a:pt x="0" y="3"/>
                    <a:pt x="0" y="3"/>
                  </a:cubicBezTo>
                  <a:cubicBezTo>
                    <a:pt x="0" y="3"/>
                    <a:pt x="0" y="3"/>
                    <a:pt x="0" y="3"/>
                  </a:cubicBezTo>
                  <a:moveTo>
                    <a:pt x="0" y="3"/>
                  </a:moveTo>
                  <a:cubicBezTo>
                    <a:pt x="0" y="3"/>
                    <a:pt x="0" y="3"/>
                    <a:pt x="0" y="3"/>
                  </a:cubicBezTo>
                  <a:cubicBezTo>
                    <a:pt x="0" y="3"/>
                    <a:pt x="0" y="3"/>
                    <a:pt x="0" y="3"/>
                  </a:cubicBezTo>
                  <a:moveTo>
                    <a:pt x="0" y="2"/>
                  </a:moveTo>
                  <a:cubicBezTo>
                    <a:pt x="0" y="2"/>
                    <a:pt x="0" y="3"/>
                    <a:pt x="0" y="3"/>
                  </a:cubicBezTo>
                  <a:cubicBezTo>
                    <a:pt x="0" y="3"/>
                    <a:pt x="0" y="2"/>
                    <a:pt x="0" y="2"/>
                  </a:cubicBezTo>
                  <a:moveTo>
                    <a:pt x="0" y="2"/>
                  </a:moveTo>
                  <a:cubicBezTo>
                    <a:pt x="0" y="2"/>
                    <a:pt x="0" y="2"/>
                    <a:pt x="0" y="2"/>
                  </a:cubicBezTo>
                  <a:cubicBezTo>
                    <a:pt x="0" y="2"/>
                    <a:pt x="0" y="2"/>
                    <a:pt x="0" y="2"/>
                  </a:cubicBezTo>
                  <a:moveTo>
                    <a:pt x="0" y="2"/>
                  </a:moveTo>
                  <a:cubicBezTo>
                    <a:pt x="0" y="2"/>
                    <a:pt x="0" y="2"/>
                    <a:pt x="0" y="2"/>
                  </a:cubicBezTo>
                  <a:cubicBezTo>
                    <a:pt x="0" y="2"/>
                    <a:pt x="0" y="2"/>
                    <a:pt x="0" y="2"/>
                  </a:cubicBezTo>
                  <a:moveTo>
                    <a:pt x="0" y="2"/>
                  </a:moveTo>
                  <a:cubicBezTo>
                    <a:pt x="0" y="2"/>
                    <a:pt x="0" y="2"/>
                    <a:pt x="0" y="2"/>
                  </a:cubicBezTo>
                  <a:cubicBezTo>
                    <a:pt x="0" y="2"/>
                    <a:pt x="0" y="2"/>
                    <a:pt x="0" y="2"/>
                  </a:cubicBezTo>
                  <a:moveTo>
                    <a:pt x="0" y="2"/>
                  </a:moveTo>
                  <a:cubicBezTo>
                    <a:pt x="0" y="2"/>
                    <a:pt x="0" y="2"/>
                    <a:pt x="0" y="2"/>
                  </a:cubicBezTo>
                  <a:cubicBezTo>
                    <a:pt x="0" y="2"/>
                    <a:pt x="0" y="2"/>
                    <a:pt x="0" y="2"/>
                  </a:cubicBezTo>
                  <a:moveTo>
                    <a:pt x="0" y="1"/>
                  </a:moveTo>
                  <a:cubicBezTo>
                    <a:pt x="0" y="1"/>
                    <a:pt x="0" y="1"/>
                    <a:pt x="0" y="2"/>
                  </a:cubicBezTo>
                  <a:cubicBezTo>
                    <a:pt x="0" y="1"/>
                    <a:pt x="0" y="1"/>
                    <a:pt x="0" y="1"/>
                  </a:cubicBezTo>
                  <a:moveTo>
                    <a:pt x="0" y="1"/>
                  </a:moveTo>
                  <a:cubicBezTo>
                    <a:pt x="0" y="1"/>
                    <a:pt x="0" y="1"/>
                    <a:pt x="0" y="1"/>
                  </a:cubicBezTo>
                  <a:cubicBezTo>
                    <a:pt x="0" y="1"/>
                    <a:pt x="0" y="1"/>
                    <a:pt x="0" y="1"/>
                  </a:cubicBezTo>
                  <a:moveTo>
                    <a:pt x="0" y="1"/>
                  </a:moveTo>
                  <a:cubicBezTo>
                    <a:pt x="0" y="1"/>
                    <a:pt x="0" y="1"/>
                    <a:pt x="0" y="1"/>
                  </a:cubicBezTo>
                  <a:cubicBezTo>
                    <a:pt x="0" y="1"/>
                    <a:pt x="0" y="1"/>
                    <a:pt x="0" y="1"/>
                  </a:cubicBezTo>
                  <a:moveTo>
                    <a:pt x="0" y="1"/>
                  </a:moveTo>
                  <a:cubicBezTo>
                    <a:pt x="0" y="1"/>
                    <a:pt x="0" y="1"/>
                    <a:pt x="0" y="1"/>
                  </a:cubicBezTo>
                  <a:cubicBezTo>
                    <a:pt x="0" y="1"/>
                    <a:pt x="0" y="1"/>
                    <a:pt x="0" y="1"/>
                  </a:cubicBezTo>
                  <a:moveTo>
                    <a:pt x="0" y="1"/>
                  </a:move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005E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22" name="Freeform 1354">
              <a:extLst>
                <a:ext uri="{FF2B5EF4-FFF2-40B4-BE49-F238E27FC236}">
                  <a16:creationId xmlns:a16="http://schemas.microsoft.com/office/drawing/2014/main" id="{EE67BB3E-D0FF-3746-DB82-0EAAA473BAC9}"/>
                </a:ext>
              </a:extLst>
            </p:cNvPr>
            <p:cNvSpPr>
              <a:spLocks/>
            </p:cNvSpPr>
            <p:nvPr/>
          </p:nvSpPr>
          <p:spPr bwMode="auto">
            <a:xfrm>
              <a:off x="4122738" y="4865688"/>
              <a:ext cx="17463" cy="301625"/>
            </a:xfrm>
            <a:custGeom>
              <a:avLst/>
              <a:gdLst>
                <a:gd name="T0" fmla="*/ 1 w 22"/>
                <a:gd name="T1" fmla="*/ 26 h 372"/>
                <a:gd name="T2" fmla="*/ 1 w 22"/>
                <a:gd name="T3" fmla="*/ 26 h 372"/>
                <a:gd name="T4" fmla="*/ 0 w 22"/>
                <a:gd name="T5" fmla="*/ 27 h 372"/>
                <a:gd name="T6" fmla="*/ 0 w 22"/>
                <a:gd name="T7" fmla="*/ 27 h 372"/>
                <a:gd name="T8" fmla="*/ 0 w 22"/>
                <a:gd name="T9" fmla="*/ 27 h 372"/>
                <a:gd name="T10" fmla="*/ 0 w 22"/>
                <a:gd name="T11" fmla="*/ 27 h 372"/>
                <a:gd name="T12" fmla="*/ 0 w 22"/>
                <a:gd name="T13" fmla="*/ 27 h 372"/>
                <a:gd name="T14" fmla="*/ 0 w 22"/>
                <a:gd name="T15" fmla="*/ 28 h 372"/>
                <a:gd name="T16" fmla="*/ 0 w 22"/>
                <a:gd name="T17" fmla="*/ 28 h 372"/>
                <a:gd name="T18" fmla="*/ 0 w 22"/>
                <a:gd name="T19" fmla="*/ 28 h 372"/>
                <a:gd name="T20" fmla="*/ 0 w 22"/>
                <a:gd name="T21" fmla="*/ 28 h 372"/>
                <a:gd name="T22" fmla="*/ 0 w 22"/>
                <a:gd name="T23" fmla="*/ 28 h 372"/>
                <a:gd name="T24" fmla="*/ 0 w 22"/>
                <a:gd name="T25" fmla="*/ 29 h 372"/>
                <a:gd name="T26" fmla="*/ 0 w 22"/>
                <a:gd name="T27" fmla="*/ 29 h 372"/>
                <a:gd name="T28" fmla="*/ 0 w 22"/>
                <a:gd name="T29" fmla="*/ 29 h 372"/>
                <a:gd name="T30" fmla="*/ 0 w 22"/>
                <a:gd name="T31" fmla="*/ 29 h 372"/>
                <a:gd name="T32" fmla="*/ 0 w 22"/>
                <a:gd name="T33" fmla="*/ 31 h 372"/>
                <a:gd name="T34" fmla="*/ 0 w 22"/>
                <a:gd name="T35" fmla="*/ 31 h 372"/>
                <a:gd name="T36" fmla="*/ 0 w 22"/>
                <a:gd name="T37" fmla="*/ 345 h 372"/>
                <a:gd name="T38" fmla="*/ 0 w 22"/>
                <a:gd name="T39" fmla="*/ 345 h 372"/>
                <a:gd name="T40" fmla="*/ 0 w 22"/>
                <a:gd name="T41" fmla="*/ 345 h 372"/>
                <a:gd name="T42" fmla="*/ 0 w 22"/>
                <a:gd name="T43" fmla="*/ 346 h 372"/>
                <a:gd name="T44" fmla="*/ 0 w 22"/>
                <a:gd name="T45" fmla="*/ 346 h 372"/>
                <a:gd name="T46" fmla="*/ 0 w 22"/>
                <a:gd name="T47" fmla="*/ 346 h 372"/>
                <a:gd name="T48" fmla="*/ 0 w 22"/>
                <a:gd name="T49" fmla="*/ 346 h 372"/>
                <a:gd name="T50" fmla="*/ 0 w 22"/>
                <a:gd name="T51" fmla="*/ 347 h 372"/>
                <a:gd name="T52" fmla="*/ 0 w 22"/>
                <a:gd name="T53" fmla="*/ 347 h 372"/>
                <a:gd name="T54" fmla="*/ 0 w 22"/>
                <a:gd name="T55" fmla="*/ 347 h 372"/>
                <a:gd name="T56" fmla="*/ 0 w 22"/>
                <a:gd name="T57" fmla="*/ 347 h 372"/>
                <a:gd name="T58" fmla="*/ 0 w 22"/>
                <a:gd name="T59" fmla="*/ 347 h 372"/>
                <a:gd name="T60" fmla="*/ 0 w 22"/>
                <a:gd name="T61" fmla="*/ 348 h 372"/>
                <a:gd name="T62" fmla="*/ 0 w 22"/>
                <a:gd name="T63" fmla="*/ 348 h 372"/>
                <a:gd name="T64" fmla="*/ 0 w 22"/>
                <a:gd name="T65" fmla="*/ 348 h 372"/>
                <a:gd name="T66" fmla="*/ 1 w 22"/>
                <a:gd name="T67" fmla="*/ 348 h 372"/>
                <a:gd name="T68" fmla="*/ 1 w 22"/>
                <a:gd name="T69" fmla="*/ 348 h 372"/>
                <a:gd name="T70" fmla="*/ 1 w 22"/>
                <a:gd name="T71" fmla="*/ 348 h 372"/>
                <a:gd name="T72" fmla="*/ 1 w 22"/>
                <a:gd name="T73" fmla="*/ 349 h 372"/>
                <a:gd name="T74" fmla="*/ 1 w 22"/>
                <a:gd name="T75" fmla="*/ 349 h 372"/>
                <a:gd name="T76" fmla="*/ 1 w 22"/>
                <a:gd name="T77" fmla="*/ 349 h 372"/>
                <a:gd name="T78" fmla="*/ 1 w 22"/>
                <a:gd name="T79" fmla="*/ 349 h 372"/>
                <a:gd name="T80" fmla="*/ 1 w 22"/>
                <a:gd name="T81" fmla="*/ 349 h 372"/>
                <a:gd name="T82" fmla="*/ 1 w 22"/>
                <a:gd name="T83" fmla="*/ 349 h 372"/>
                <a:gd name="T84" fmla="*/ 1 w 22"/>
                <a:gd name="T85" fmla="*/ 350 h 372"/>
                <a:gd name="T86" fmla="*/ 1 w 22"/>
                <a:gd name="T87" fmla="*/ 350 h 372"/>
                <a:gd name="T88" fmla="*/ 1 w 22"/>
                <a:gd name="T89" fmla="*/ 350 h 372"/>
                <a:gd name="T90" fmla="*/ 1 w 22"/>
                <a:gd name="T91" fmla="*/ 350 h 372"/>
                <a:gd name="T92" fmla="*/ 1 w 22"/>
                <a:gd name="T93" fmla="*/ 350 h 372"/>
                <a:gd name="T94" fmla="*/ 1 w 22"/>
                <a:gd name="T95" fmla="*/ 351 h 372"/>
                <a:gd name="T96" fmla="*/ 1 w 22"/>
                <a:gd name="T97" fmla="*/ 351 h 372"/>
                <a:gd name="T98" fmla="*/ 1 w 22"/>
                <a:gd name="T99" fmla="*/ 351 h 372"/>
                <a:gd name="T100" fmla="*/ 1 w 22"/>
                <a:gd name="T101" fmla="*/ 351 h 372"/>
                <a:gd name="T102" fmla="*/ 1 w 22"/>
                <a:gd name="T103" fmla="*/ 352 h 372"/>
                <a:gd name="T104" fmla="*/ 22 w 22"/>
                <a:gd name="T105" fmla="*/ 0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2" h="372">
                  <a:moveTo>
                    <a:pt x="22" y="0"/>
                  </a:moveTo>
                  <a:cubicBezTo>
                    <a:pt x="11" y="3"/>
                    <a:pt x="2" y="14"/>
                    <a:pt x="1" y="26"/>
                  </a:cubicBezTo>
                  <a:cubicBezTo>
                    <a:pt x="1" y="26"/>
                    <a:pt x="1" y="26"/>
                    <a:pt x="1" y="26"/>
                  </a:cubicBezTo>
                  <a:cubicBezTo>
                    <a:pt x="1" y="26"/>
                    <a:pt x="1" y="26"/>
                    <a:pt x="1" y="26"/>
                  </a:cubicBezTo>
                  <a:cubicBezTo>
                    <a:pt x="1" y="26"/>
                    <a:pt x="1" y="26"/>
                    <a:pt x="1" y="26"/>
                  </a:cubicBezTo>
                  <a:cubicBezTo>
                    <a:pt x="0" y="26"/>
                    <a:pt x="0" y="27"/>
                    <a:pt x="0" y="27"/>
                  </a:cubicBezTo>
                  <a:cubicBezTo>
                    <a:pt x="0" y="27"/>
                    <a:pt x="0" y="27"/>
                    <a:pt x="0" y="27"/>
                  </a:cubicBezTo>
                  <a:cubicBezTo>
                    <a:pt x="0" y="27"/>
                    <a:pt x="0" y="27"/>
                    <a:pt x="0" y="27"/>
                  </a:cubicBezTo>
                  <a:cubicBezTo>
                    <a:pt x="0" y="27"/>
                    <a:pt x="0" y="27"/>
                    <a:pt x="0" y="27"/>
                  </a:cubicBezTo>
                  <a:cubicBezTo>
                    <a:pt x="0" y="27"/>
                    <a:pt x="0" y="27"/>
                    <a:pt x="0" y="27"/>
                  </a:cubicBezTo>
                  <a:cubicBezTo>
                    <a:pt x="0" y="27"/>
                    <a:pt x="0" y="27"/>
                    <a:pt x="0" y="27"/>
                  </a:cubicBezTo>
                  <a:cubicBezTo>
                    <a:pt x="0" y="27"/>
                    <a:pt x="0" y="27"/>
                    <a:pt x="0" y="27"/>
                  </a:cubicBezTo>
                  <a:cubicBezTo>
                    <a:pt x="0" y="27"/>
                    <a:pt x="0" y="27"/>
                    <a:pt x="0" y="27"/>
                  </a:cubicBezTo>
                  <a:cubicBezTo>
                    <a:pt x="0" y="27"/>
                    <a:pt x="0" y="27"/>
                    <a:pt x="0" y="27"/>
                  </a:cubicBezTo>
                  <a:cubicBezTo>
                    <a:pt x="0" y="28"/>
                    <a:pt x="0" y="28"/>
                    <a:pt x="0" y="28"/>
                  </a:cubicBezTo>
                  <a:cubicBezTo>
                    <a:pt x="0" y="28"/>
                    <a:pt x="0" y="28"/>
                    <a:pt x="0" y="28"/>
                  </a:cubicBezTo>
                  <a:cubicBezTo>
                    <a:pt x="0" y="28"/>
                    <a:pt x="0" y="28"/>
                    <a:pt x="0" y="28"/>
                  </a:cubicBezTo>
                  <a:cubicBezTo>
                    <a:pt x="0" y="28"/>
                    <a:pt x="0" y="28"/>
                    <a:pt x="0" y="28"/>
                  </a:cubicBezTo>
                  <a:cubicBezTo>
                    <a:pt x="0" y="28"/>
                    <a:pt x="0" y="28"/>
                    <a:pt x="0" y="28"/>
                  </a:cubicBezTo>
                  <a:cubicBezTo>
                    <a:pt x="0" y="28"/>
                    <a:pt x="0" y="28"/>
                    <a:pt x="0" y="28"/>
                  </a:cubicBezTo>
                  <a:cubicBezTo>
                    <a:pt x="0" y="28"/>
                    <a:pt x="0" y="28"/>
                    <a:pt x="0" y="28"/>
                  </a:cubicBezTo>
                  <a:cubicBezTo>
                    <a:pt x="0" y="28"/>
                    <a:pt x="0" y="28"/>
                    <a:pt x="0" y="28"/>
                  </a:cubicBezTo>
                  <a:cubicBezTo>
                    <a:pt x="0" y="28"/>
                    <a:pt x="0" y="28"/>
                    <a:pt x="0" y="28"/>
                  </a:cubicBezTo>
                  <a:cubicBezTo>
                    <a:pt x="0" y="28"/>
                    <a:pt x="0" y="28"/>
                    <a:pt x="0" y="28"/>
                  </a:cubicBezTo>
                  <a:cubicBezTo>
                    <a:pt x="0" y="28"/>
                    <a:pt x="0" y="28"/>
                    <a:pt x="0" y="29"/>
                  </a:cubicBezTo>
                  <a:cubicBezTo>
                    <a:pt x="0" y="29"/>
                    <a:pt x="0" y="29"/>
                    <a:pt x="0" y="29"/>
                  </a:cubicBezTo>
                  <a:cubicBezTo>
                    <a:pt x="0" y="29"/>
                    <a:pt x="0" y="29"/>
                    <a:pt x="0" y="29"/>
                  </a:cubicBezTo>
                  <a:cubicBezTo>
                    <a:pt x="0" y="29"/>
                    <a:pt x="0" y="29"/>
                    <a:pt x="0" y="29"/>
                  </a:cubicBezTo>
                  <a:cubicBezTo>
                    <a:pt x="0" y="29"/>
                    <a:pt x="0" y="29"/>
                    <a:pt x="0" y="29"/>
                  </a:cubicBezTo>
                  <a:cubicBezTo>
                    <a:pt x="0" y="29"/>
                    <a:pt x="0" y="29"/>
                    <a:pt x="0" y="29"/>
                  </a:cubicBezTo>
                  <a:cubicBezTo>
                    <a:pt x="0" y="29"/>
                    <a:pt x="0" y="29"/>
                    <a:pt x="0" y="29"/>
                  </a:cubicBezTo>
                  <a:cubicBezTo>
                    <a:pt x="0" y="29"/>
                    <a:pt x="0" y="29"/>
                    <a:pt x="0" y="29"/>
                  </a:cubicBezTo>
                  <a:cubicBezTo>
                    <a:pt x="0" y="29"/>
                    <a:pt x="0" y="29"/>
                    <a:pt x="0" y="29"/>
                  </a:cubicBezTo>
                  <a:cubicBezTo>
                    <a:pt x="0" y="30"/>
                    <a:pt x="0" y="31"/>
                    <a:pt x="0" y="31"/>
                  </a:cubicBezTo>
                  <a:cubicBezTo>
                    <a:pt x="0" y="31"/>
                    <a:pt x="0" y="31"/>
                    <a:pt x="0" y="31"/>
                  </a:cubicBezTo>
                  <a:cubicBezTo>
                    <a:pt x="0" y="31"/>
                    <a:pt x="0" y="31"/>
                    <a:pt x="0" y="31"/>
                  </a:cubicBezTo>
                  <a:cubicBezTo>
                    <a:pt x="0" y="31"/>
                    <a:pt x="0" y="31"/>
                    <a:pt x="0" y="31"/>
                  </a:cubicBezTo>
                  <a:cubicBezTo>
                    <a:pt x="0" y="345"/>
                    <a:pt x="0" y="345"/>
                    <a:pt x="0" y="345"/>
                  </a:cubicBezTo>
                  <a:cubicBezTo>
                    <a:pt x="0" y="345"/>
                    <a:pt x="0" y="345"/>
                    <a:pt x="0" y="345"/>
                  </a:cubicBezTo>
                  <a:cubicBezTo>
                    <a:pt x="0" y="345"/>
                    <a:pt x="0" y="345"/>
                    <a:pt x="0" y="345"/>
                  </a:cubicBezTo>
                  <a:cubicBezTo>
                    <a:pt x="0" y="345"/>
                    <a:pt x="0" y="345"/>
                    <a:pt x="0" y="345"/>
                  </a:cubicBezTo>
                  <a:cubicBezTo>
                    <a:pt x="0" y="345"/>
                    <a:pt x="0" y="345"/>
                    <a:pt x="0" y="345"/>
                  </a:cubicBezTo>
                  <a:cubicBezTo>
                    <a:pt x="0" y="345"/>
                    <a:pt x="0" y="345"/>
                    <a:pt x="0" y="346"/>
                  </a:cubicBezTo>
                  <a:cubicBezTo>
                    <a:pt x="0" y="346"/>
                    <a:pt x="0" y="346"/>
                    <a:pt x="0" y="346"/>
                  </a:cubicBezTo>
                  <a:cubicBezTo>
                    <a:pt x="0" y="346"/>
                    <a:pt x="0" y="346"/>
                    <a:pt x="0" y="346"/>
                  </a:cubicBezTo>
                  <a:cubicBezTo>
                    <a:pt x="0" y="346"/>
                    <a:pt x="0" y="346"/>
                    <a:pt x="0" y="346"/>
                  </a:cubicBezTo>
                  <a:cubicBezTo>
                    <a:pt x="0" y="346"/>
                    <a:pt x="0" y="346"/>
                    <a:pt x="0" y="346"/>
                  </a:cubicBezTo>
                  <a:cubicBezTo>
                    <a:pt x="0" y="346"/>
                    <a:pt x="0" y="346"/>
                    <a:pt x="0" y="346"/>
                  </a:cubicBezTo>
                  <a:cubicBezTo>
                    <a:pt x="0" y="346"/>
                    <a:pt x="0" y="346"/>
                    <a:pt x="0" y="346"/>
                  </a:cubicBezTo>
                  <a:cubicBezTo>
                    <a:pt x="0" y="346"/>
                    <a:pt x="0" y="346"/>
                    <a:pt x="0" y="346"/>
                  </a:cubicBezTo>
                  <a:cubicBezTo>
                    <a:pt x="0" y="346"/>
                    <a:pt x="0" y="346"/>
                    <a:pt x="0" y="346"/>
                  </a:cubicBezTo>
                  <a:cubicBezTo>
                    <a:pt x="0" y="346"/>
                    <a:pt x="0" y="346"/>
                    <a:pt x="0" y="347"/>
                  </a:cubicBezTo>
                  <a:cubicBezTo>
                    <a:pt x="0" y="347"/>
                    <a:pt x="0" y="347"/>
                    <a:pt x="0" y="347"/>
                  </a:cubicBezTo>
                  <a:cubicBezTo>
                    <a:pt x="0" y="347"/>
                    <a:pt x="0" y="347"/>
                    <a:pt x="0" y="347"/>
                  </a:cubicBezTo>
                  <a:cubicBezTo>
                    <a:pt x="0" y="347"/>
                    <a:pt x="0" y="347"/>
                    <a:pt x="0" y="347"/>
                  </a:cubicBezTo>
                  <a:cubicBezTo>
                    <a:pt x="0" y="347"/>
                    <a:pt x="0" y="347"/>
                    <a:pt x="0" y="347"/>
                  </a:cubicBezTo>
                  <a:cubicBezTo>
                    <a:pt x="0" y="347"/>
                    <a:pt x="0" y="347"/>
                    <a:pt x="0" y="347"/>
                  </a:cubicBezTo>
                  <a:cubicBezTo>
                    <a:pt x="0" y="347"/>
                    <a:pt x="0" y="347"/>
                    <a:pt x="0" y="347"/>
                  </a:cubicBezTo>
                  <a:cubicBezTo>
                    <a:pt x="0" y="347"/>
                    <a:pt x="0" y="347"/>
                    <a:pt x="0" y="347"/>
                  </a:cubicBezTo>
                  <a:cubicBezTo>
                    <a:pt x="0" y="347"/>
                    <a:pt x="0" y="347"/>
                    <a:pt x="0" y="347"/>
                  </a:cubicBezTo>
                  <a:cubicBezTo>
                    <a:pt x="0" y="347"/>
                    <a:pt x="0" y="347"/>
                    <a:pt x="0" y="347"/>
                  </a:cubicBezTo>
                  <a:cubicBezTo>
                    <a:pt x="0" y="347"/>
                    <a:pt x="0" y="348"/>
                    <a:pt x="0" y="348"/>
                  </a:cubicBezTo>
                  <a:cubicBezTo>
                    <a:pt x="0" y="348"/>
                    <a:pt x="0" y="348"/>
                    <a:pt x="0" y="348"/>
                  </a:cubicBezTo>
                  <a:cubicBezTo>
                    <a:pt x="0" y="348"/>
                    <a:pt x="0" y="348"/>
                    <a:pt x="0" y="348"/>
                  </a:cubicBezTo>
                  <a:cubicBezTo>
                    <a:pt x="0" y="348"/>
                    <a:pt x="0" y="348"/>
                    <a:pt x="0" y="348"/>
                  </a:cubicBezTo>
                  <a:cubicBezTo>
                    <a:pt x="0" y="348"/>
                    <a:pt x="0" y="348"/>
                    <a:pt x="0" y="348"/>
                  </a:cubicBezTo>
                  <a:cubicBezTo>
                    <a:pt x="0" y="348"/>
                    <a:pt x="0" y="348"/>
                    <a:pt x="1" y="348"/>
                  </a:cubicBezTo>
                  <a:cubicBezTo>
                    <a:pt x="1" y="348"/>
                    <a:pt x="1" y="348"/>
                    <a:pt x="1" y="348"/>
                  </a:cubicBezTo>
                  <a:cubicBezTo>
                    <a:pt x="1" y="348"/>
                    <a:pt x="1" y="348"/>
                    <a:pt x="1" y="348"/>
                  </a:cubicBezTo>
                  <a:cubicBezTo>
                    <a:pt x="1" y="348"/>
                    <a:pt x="1" y="348"/>
                    <a:pt x="1" y="348"/>
                  </a:cubicBezTo>
                  <a:cubicBezTo>
                    <a:pt x="1" y="348"/>
                    <a:pt x="1" y="348"/>
                    <a:pt x="1" y="348"/>
                  </a:cubicBezTo>
                  <a:cubicBezTo>
                    <a:pt x="1" y="348"/>
                    <a:pt x="1" y="348"/>
                    <a:pt x="1" y="348"/>
                  </a:cubicBezTo>
                  <a:cubicBezTo>
                    <a:pt x="1" y="348"/>
                    <a:pt x="1" y="348"/>
                    <a:pt x="1" y="348"/>
                  </a:cubicBezTo>
                  <a:cubicBezTo>
                    <a:pt x="1" y="349"/>
                    <a:pt x="1" y="349"/>
                    <a:pt x="1" y="349"/>
                  </a:cubicBezTo>
                  <a:cubicBezTo>
                    <a:pt x="1" y="349"/>
                    <a:pt x="1" y="349"/>
                    <a:pt x="1" y="349"/>
                  </a:cubicBezTo>
                  <a:cubicBezTo>
                    <a:pt x="1" y="349"/>
                    <a:pt x="1" y="349"/>
                    <a:pt x="1" y="349"/>
                  </a:cubicBezTo>
                  <a:cubicBezTo>
                    <a:pt x="1" y="349"/>
                    <a:pt x="1" y="349"/>
                    <a:pt x="1" y="349"/>
                  </a:cubicBezTo>
                  <a:cubicBezTo>
                    <a:pt x="1" y="349"/>
                    <a:pt x="1" y="349"/>
                    <a:pt x="1" y="349"/>
                  </a:cubicBezTo>
                  <a:cubicBezTo>
                    <a:pt x="1" y="349"/>
                    <a:pt x="1" y="349"/>
                    <a:pt x="1" y="349"/>
                  </a:cubicBezTo>
                  <a:cubicBezTo>
                    <a:pt x="1" y="349"/>
                    <a:pt x="1" y="349"/>
                    <a:pt x="1" y="349"/>
                  </a:cubicBezTo>
                  <a:cubicBezTo>
                    <a:pt x="1" y="349"/>
                    <a:pt x="1" y="349"/>
                    <a:pt x="1" y="349"/>
                  </a:cubicBezTo>
                  <a:cubicBezTo>
                    <a:pt x="1" y="349"/>
                    <a:pt x="1" y="349"/>
                    <a:pt x="1" y="349"/>
                  </a:cubicBezTo>
                  <a:cubicBezTo>
                    <a:pt x="1" y="349"/>
                    <a:pt x="1" y="349"/>
                    <a:pt x="1" y="349"/>
                  </a:cubicBezTo>
                  <a:cubicBezTo>
                    <a:pt x="1" y="349"/>
                    <a:pt x="1" y="349"/>
                    <a:pt x="1" y="349"/>
                  </a:cubicBezTo>
                  <a:cubicBezTo>
                    <a:pt x="1" y="349"/>
                    <a:pt x="1" y="350"/>
                    <a:pt x="1" y="350"/>
                  </a:cubicBezTo>
                  <a:cubicBezTo>
                    <a:pt x="1" y="350"/>
                    <a:pt x="1" y="350"/>
                    <a:pt x="1" y="350"/>
                  </a:cubicBezTo>
                  <a:cubicBezTo>
                    <a:pt x="1" y="350"/>
                    <a:pt x="1" y="350"/>
                    <a:pt x="1" y="350"/>
                  </a:cubicBezTo>
                  <a:cubicBezTo>
                    <a:pt x="1" y="350"/>
                    <a:pt x="1" y="350"/>
                    <a:pt x="1" y="350"/>
                  </a:cubicBezTo>
                  <a:cubicBezTo>
                    <a:pt x="1" y="350"/>
                    <a:pt x="1" y="350"/>
                    <a:pt x="1" y="350"/>
                  </a:cubicBezTo>
                  <a:cubicBezTo>
                    <a:pt x="1" y="350"/>
                    <a:pt x="1" y="350"/>
                    <a:pt x="1" y="350"/>
                  </a:cubicBezTo>
                  <a:cubicBezTo>
                    <a:pt x="1" y="350"/>
                    <a:pt x="1" y="350"/>
                    <a:pt x="1" y="350"/>
                  </a:cubicBezTo>
                  <a:cubicBezTo>
                    <a:pt x="1" y="350"/>
                    <a:pt x="1" y="350"/>
                    <a:pt x="1" y="350"/>
                  </a:cubicBezTo>
                  <a:cubicBezTo>
                    <a:pt x="1" y="350"/>
                    <a:pt x="1" y="350"/>
                    <a:pt x="1" y="350"/>
                  </a:cubicBezTo>
                  <a:cubicBezTo>
                    <a:pt x="1" y="350"/>
                    <a:pt x="1" y="350"/>
                    <a:pt x="1" y="350"/>
                  </a:cubicBezTo>
                  <a:cubicBezTo>
                    <a:pt x="1" y="350"/>
                    <a:pt x="1" y="350"/>
                    <a:pt x="1" y="351"/>
                  </a:cubicBezTo>
                  <a:cubicBezTo>
                    <a:pt x="1" y="351"/>
                    <a:pt x="1" y="351"/>
                    <a:pt x="1" y="351"/>
                  </a:cubicBezTo>
                  <a:cubicBezTo>
                    <a:pt x="1" y="351"/>
                    <a:pt x="1" y="351"/>
                    <a:pt x="1" y="351"/>
                  </a:cubicBezTo>
                  <a:cubicBezTo>
                    <a:pt x="1" y="351"/>
                    <a:pt x="1" y="351"/>
                    <a:pt x="1" y="351"/>
                  </a:cubicBezTo>
                  <a:cubicBezTo>
                    <a:pt x="1" y="351"/>
                    <a:pt x="1" y="351"/>
                    <a:pt x="1" y="351"/>
                  </a:cubicBezTo>
                  <a:cubicBezTo>
                    <a:pt x="1" y="351"/>
                    <a:pt x="1" y="351"/>
                    <a:pt x="1" y="351"/>
                  </a:cubicBezTo>
                  <a:cubicBezTo>
                    <a:pt x="1" y="351"/>
                    <a:pt x="1" y="351"/>
                    <a:pt x="1" y="351"/>
                  </a:cubicBezTo>
                  <a:cubicBezTo>
                    <a:pt x="1" y="351"/>
                    <a:pt x="1" y="351"/>
                    <a:pt x="1" y="351"/>
                  </a:cubicBezTo>
                  <a:cubicBezTo>
                    <a:pt x="1" y="352"/>
                    <a:pt x="1" y="352"/>
                    <a:pt x="1" y="352"/>
                  </a:cubicBezTo>
                  <a:cubicBezTo>
                    <a:pt x="1" y="352"/>
                    <a:pt x="1" y="352"/>
                    <a:pt x="1" y="352"/>
                  </a:cubicBezTo>
                  <a:cubicBezTo>
                    <a:pt x="4" y="361"/>
                    <a:pt x="12" y="369"/>
                    <a:pt x="22" y="372"/>
                  </a:cubicBezTo>
                  <a:cubicBezTo>
                    <a:pt x="22" y="0"/>
                    <a:pt x="22" y="0"/>
                    <a:pt x="22" y="0"/>
                  </a:cubicBezTo>
                </a:path>
              </a:pathLst>
            </a:custGeom>
            <a:solidFill>
              <a:srgbClr val="E54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23" name="Freeform 1355">
              <a:extLst>
                <a:ext uri="{FF2B5EF4-FFF2-40B4-BE49-F238E27FC236}">
                  <a16:creationId xmlns:a16="http://schemas.microsoft.com/office/drawing/2014/main" id="{0DDD6FD5-72F1-E10F-BD1F-CA379B3FD6D9}"/>
                </a:ext>
              </a:extLst>
            </p:cNvPr>
            <p:cNvSpPr>
              <a:spLocks/>
            </p:cNvSpPr>
            <p:nvPr/>
          </p:nvSpPr>
          <p:spPr bwMode="auto">
            <a:xfrm>
              <a:off x="4125913" y="5124450"/>
              <a:ext cx="230188" cy="39688"/>
            </a:xfrm>
            <a:custGeom>
              <a:avLst/>
              <a:gdLst>
                <a:gd name="T0" fmla="*/ 283 w 283"/>
                <a:gd name="T1" fmla="*/ 50 h 50"/>
                <a:gd name="T2" fmla="*/ 27 w 283"/>
                <a:gd name="T3" fmla="*/ 50 h 50"/>
                <a:gd name="T4" fmla="*/ 0 w 283"/>
                <a:gd name="T5" fmla="*/ 25 h 50"/>
                <a:gd name="T6" fmla="*/ 27 w 283"/>
                <a:gd name="T7" fmla="*/ 0 h 50"/>
                <a:gd name="T8" fmla="*/ 283 w 283"/>
                <a:gd name="T9" fmla="*/ 0 h 50"/>
                <a:gd name="T10" fmla="*/ 283 w 283"/>
                <a:gd name="T11" fmla="*/ 50 h 50"/>
              </a:gdLst>
              <a:ahLst/>
              <a:cxnLst>
                <a:cxn ang="0">
                  <a:pos x="T0" y="T1"/>
                </a:cxn>
                <a:cxn ang="0">
                  <a:pos x="T2" y="T3"/>
                </a:cxn>
                <a:cxn ang="0">
                  <a:pos x="T4" y="T5"/>
                </a:cxn>
                <a:cxn ang="0">
                  <a:pos x="T6" y="T7"/>
                </a:cxn>
                <a:cxn ang="0">
                  <a:pos x="T8" y="T9"/>
                </a:cxn>
                <a:cxn ang="0">
                  <a:pos x="T10" y="T11"/>
                </a:cxn>
              </a:cxnLst>
              <a:rect l="0" t="0" r="r" b="b"/>
              <a:pathLst>
                <a:path w="283" h="50">
                  <a:moveTo>
                    <a:pt x="283" y="50"/>
                  </a:moveTo>
                  <a:cubicBezTo>
                    <a:pt x="27" y="50"/>
                    <a:pt x="27" y="50"/>
                    <a:pt x="27" y="50"/>
                  </a:cubicBezTo>
                  <a:cubicBezTo>
                    <a:pt x="12" y="50"/>
                    <a:pt x="0" y="39"/>
                    <a:pt x="0" y="25"/>
                  </a:cubicBezTo>
                  <a:cubicBezTo>
                    <a:pt x="0" y="11"/>
                    <a:pt x="12" y="0"/>
                    <a:pt x="27" y="0"/>
                  </a:cubicBezTo>
                  <a:cubicBezTo>
                    <a:pt x="283" y="0"/>
                    <a:pt x="283" y="0"/>
                    <a:pt x="283" y="0"/>
                  </a:cubicBezTo>
                  <a:lnTo>
                    <a:pt x="283" y="50"/>
                  </a:lnTo>
                  <a:close/>
                </a:path>
              </a:pathLst>
            </a:custGeom>
            <a:solidFill>
              <a:srgbClr val="FFFE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grpSp>
      <p:pic>
        <p:nvPicPr>
          <p:cNvPr id="124" name="صورة 123" descr="صورة تحتوي على لقطة شاشة, الخط, نص, الرسومات&#10;&#10;تم إنشاء الوصف تلقائياً">
            <a:extLst>
              <a:ext uri="{FF2B5EF4-FFF2-40B4-BE49-F238E27FC236}">
                <a16:creationId xmlns:a16="http://schemas.microsoft.com/office/drawing/2014/main" id="{4DE995EC-4422-37CF-4D8F-A944005C4926}"/>
              </a:ext>
            </a:extLst>
          </p:cNvPr>
          <p:cNvPicPr>
            <a:picLocks noChangeAspect="1"/>
          </p:cNvPicPr>
          <p:nvPr/>
        </p:nvPicPr>
        <p:blipFill>
          <a:blip r:embed="rId3"/>
          <a:stretch>
            <a:fillRect/>
          </a:stretch>
        </p:blipFill>
        <p:spPr>
          <a:xfrm>
            <a:off x="59388" y="131758"/>
            <a:ext cx="1713833" cy="917972"/>
          </a:xfrm>
          <a:prstGeom prst="rect">
            <a:avLst/>
          </a:prstGeom>
        </p:spPr>
      </p:pic>
      <p:grpSp>
        <p:nvGrpSpPr>
          <p:cNvPr id="125" name="مجموعة 124">
            <a:extLst>
              <a:ext uri="{FF2B5EF4-FFF2-40B4-BE49-F238E27FC236}">
                <a16:creationId xmlns:a16="http://schemas.microsoft.com/office/drawing/2014/main" id="{CADF3D51-CFA5-7943-1D0D-D98D5BF84CE8}"/>
              </a:ext>
            </a:extLst>
          </p:cNvPr>
          <p:cNvGrpSpPr/>
          <p:nvPr/>
        </p:nvGrpSpPr>
        <p:grpSpPr>
          <a:xfrm>
            <a:off x="110568" y="5942850"/>
            <a:ext cx="12081432" cy="826402"/>
            <a:chOff x="103011" y="5950741"/>
            <a:chExt cx="10852403" cy="826402"/>
          </a:xfrm>
        </p:grpSpPr>
        <p:sp>
          <p:nvSpPr>
            <p:cNvPr id="126" name="مستطيل 125">
              <a:extLst>
                <a:ext uri="{FF2B5EF4-FFF2-40B4-BE49-F238E27FC236}">
                  <a16:creationId xmlns:a16="http://schemas.microsoft.com/office/drawing/2014/main" id="{1D9FE5E6-23A3-C6B3-5661-BF2B9DED4E0B}"/>
                </a:ext>
              </a:extLst>
            </p:cNvPr>
            <p:cNvSpPr/>
            <p:nvPr/>
          </p:nvSpPr>
          <p:spPr>
            <a:xfrm>
              <a:off x="928457" y="6575789"/>
              <a:ext cx="10026957" cy="201354"/>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ar-SA" sz="1800" b="0" i="0" u="none" strike="noStrike" kern="1200" cap="none" spc="0" normalizeH="0" baseline="0" noProof="0" dirty="0">
                <a:ln>
                  <a:noFill/>
                </a:ln>
                <a:solidFill>
                  <a:prstClr val="white"/>
                </a:solidFill>
                <a:effectLst/>
                <a:uLnTx/>
                <a:uFillTx/>
                <a:latin typeface="Century Gothic" panose="020B0502020202020204"/>
                <a:ea typeface="+mn-ea"/>
                <a:cs typeface="Arial" panose="020B0604020202020204" pitchFamily="34" charset="0"/>
              </a:endParaRPr>
            </a:p>
          </p:txBody>
        </p:sp>
        <p:sp>
          <p:nvSpPr>
            <p:cNvPr id="127" name="مثلث قائم الزاوية 126">
              <a:extLst>
                <a:ext uri="{FF2B5EF4-FFF2-40B4-BE49-F238E27FC236}">
                  <a16:creationId xmlns:a16="http://schemas.microsoft.com/office/drawing/2014/main" id="{3B2388F4-81A9-A716-2A59-9535FA691806}"/>
                </a:ext>
              </a:extLst>
            </p:cNvPr>
            <p:cNvSpPr/>
            <p:nvPr/>
          </p:nvSpPr>
          <p:spPr>
            <a:xfrm>
              <a:off x="103011" y="5950741"/>
              <a:ext cx="1141988" cy="826402"/>
            </a:xfrm>
            <a:prstGeom prst="r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ar-SA" sz="1800" b="0" i="0" u="none" strike="noStrike" kern="1200" cap="none" spc="0" normalizeH="0" baseline="0" noProof="0">
                <a:ln>
                  <a:noFill/>
                </a:ln>
                <a:solidFill>
                  <a:prstClr val="white"/>
                </a:solidFill>
                <a:effectLst/>
                <a:uLnTx/>
                <a:uFillTx/>
                <a:latin typeface="Century Gothic" panose="020B0502020202020204"/>
                <a:ea typeface="+mn-ea"/>
                <a:cs typeface="Arial" panose="020B0604020202020204" pitchFamily="34" charset="0"/>
              </a:endParaRPr>
            </a:p>
          </p:txBody>
        </p:sp>
      </p:grpSp>
    </p:spTree>
    <p:extLst>
      <p:ext uri="{BB962C8B-B14F-4D97-AF65-F5344CB8AC3E}">
        <p14:creationId xmlns:p14="http://schemas.microsoft.com/office/powerpoint/2010/main" val="1643361243"/>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صورة 6">
            <a:extLst>
              <a:ext uri="{FF2B5EF4-FFF2-40B4-BE49-F238E27FC236}">
                <a16:creationId xmlns:a16="http://schemas.microsoft.com/office/drawing/2014/main" id="{87650D56-4D3D-C5EB-53C7-06832C6A62D3}"/>
              </a:ext>
            </a:extLst>
          </p:cNvPr>
          <p:cNvPicPr>
            <a:picLocks noChangeAspect="1"/>
          </p:cNvPicPr>
          <p:nvPr/>
        </p:nvPicPr>
        <p:blipFill>
          <a:blip r:embed="rId2"/>
          <a:stretch>
            <a:fillRect/>
          </a:stretch>
        </p:blipFill>
        <p:spPr>
          <a:xfrm>
            <a:off x="823865" y="2253194"/>
            <a:ext cx="10230416" cy="3245511"/>
          </a:xfrm>
          <a:prstGeom prst="rect">
            <a:avLst/>
          </a:prstGeom>
        </p:spPr>
      </p:pic>
      <p:sp>
        <p:nvSpPr>
          <p:cNvPr id="8" name="مستطيل 7">
            <a:extLst>
              <a:ext uri="{FF2B5EF4-FFF2-40B4-BE49-F238E27FC236}">
                <a16:creationId xmlns:a16="http://schemas.microsoft.com/office/drawing/2014/main" id="{CF7F117F-AF94-D329-C74C-8E527F3F67FC}"/>
              </a:ext>
            </a:extLst>
          </p:cNvPr>
          <p:cNvSpPr/>
          <p:nvPr/>
        </p:nvSpPr>
        <p:spPr>
          <a:xfrm>
            <a:off x="5127553" y="1208478"/>
            <a:ext cx="1936894" cy="299125"/>
          </a:xfrm>
          <a:prstGeom prst="rect">
            <a:avLst/>
          </a:prstGeom>
          <a:ln>
            <a:noFill/>
          </a:ln>
        </p:spPr>
        <p:style>
          <a:lnRef idx="2">
            <a:schemeClr val="accent3"/>
          </a:lnRef>
          <a:fillRef idx="1">
            <a:schemeClr val="lt1"/>
          </a:fillRef>
          <a:effectRef idx="0">
            <a:schemeClr val="accent3"/>
          </a:effectRef>
          <a:fontRef idx="minor">
            <a:schemeClr val="dk1"/>
          </a:fontRef>
        </p:style>
        <p:txBody>
          <a:bodyPr rtlCol="1"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ar-SA" sz="3200" b="1" i="0" u="none" strike="noStrike" kern="1200" cap="none" spc="0" normalizeH="0" baseline="0" noProof="0" dirty="0">
                <a:ln>
                  <a:noFill/>
                </a:ln>
                <a:solidFill>
                  <a:prstClr val="black"/>
                </a:solidFill>
                <a:effectLst/>
                <a:uLnTx/>
                <a:uFillTx/>
                <a:latin typeface="Century Gothic" panose="020B0502020202020204"/>
                <a:ea typeface="+mn-ea"/>
                <a:cs typeface="Times New Roman" panose="02020603050405020304" pitchFamily="18" charset="0"/>
              </a:rPr>
              <a:t>العلوم</a:t>
            </a:r>
            <a:r>
              <a:rPr kumimoji="0" lang="ar-SA" sz="3200" b="0" i="0" u="none" strike="noStrike" kern="1200" cap="none" spc="0" normalizeH="0" baseline="0" noProof="0" dirty="0">
                <a:ln>
                  <a:noFill/>
                </a:ln>
                <a:solidFill>
                  <a:prstClr val="black"/>
                </a:solidFill>
                <a:effectLst/>
                <a:uLnTx/>
                <a:uFillTx/>
                <a:latin typeface="Century Gothic" panose="020B0502020202020204"/>
                <a:ea typeface="+mn-ea"/>
                <a:cs typeface="Arial" panose="020B0604020202020204" pitchFamily="34" charset="0"/>
              </a:rPr>
              <a:t> </a:t>
            </a:r>
          </a:p>
        </p:txBody>
      </p:sp>
      <p:grpSp>
        <p:nvGrpSpPr>
          <p:cNvPr id="9" name="Group 1">
            <a:extLst>
              <a:ext uri="{FF2B5EF4-FFF2-40B4-BE49-F238E27FC236}">
                <a16:creationId xmlns:a16="http://schemas.microsoft.com/office/drawing/2014/main" id="{9E5588E6-ED6F-ABD8-9CCD-D73872711471}"/>
              </a:ext>
            </a:extLst>
          </p:cNvPr>
          <p:cNvGrpSpPr/>
          <p:nvPr/>
        </p:nvGrpSpPr>
        <p:grpSpPr>
          <a:xfrm>
            <a:off x="3922986" y="495674"/>
            <a:ext cx="1721673" cy="1762178"/>
            <a:chOff x="6289676" y="4251325"/>
            <a:chExt cx="958850" cy="1085850"/>
          </a:xfrm>
        </p:grpSpPr>
        <p:sp>
          <p:nvSpPr>
            <p:cNvPr id="10" name="Oval 1097">
              <a:extLst>
                <a:ext uri="{FF2B5EF4-FFF2-40B4-BE49-F238E27FC236}">
                  <a16:creationId xmlns:a16="http://schemas.microsoft.com/office/drawing/2014/main" id="{37B529FC-131F-1357-18A1-8403A307493F}"/>
                </a:ext>
              </a:extLst>
            </p:cNvPr>
            <p:cNvSpPr>
              <a:spLocks noChangeArrowheads="1"/>
            </p:cNvSpPr>
            <p:nvPr/>
          </p:nvSpPr>
          <p:spPr bwMode="auto">
            <a:xfrm>
              <a:off x="6289676" y="4378325"/>
              <a:ext cx="958850" cy="958850"/>
            </a:xfrm>
            <a:prstGeom prst="ellipse">
              <a:avLst/>
            </a:prstGeom>
            <a:solidFill>
              <a:srgbClr val="F0F6F6"/>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1" name="Freeform 1098">
              <a:extLst>
                <a:ext uri="{FF2B5EF4-FFF2-40B4-BE49-F238E27FC236}">
                  <a16:creationId xmlns:a16="http://schemas.microsoft.com/office/drawing/2014/main" id="{63ABF2CD-E489-A068-255B-9C57AE7A3F89}"/>
                </a:ext>
              </a:extLst>
            </p:cNvPr>
            <p:cNvSpPr>
              <a:spLocks noEditPoints="1"/>
            </p:cNvSpPr>
            <p:nvPr/>
          </p:nvSpPr>
          <p:spPr bwMode="auto">
            <a:xfrm>
              <a:off x="6861176" y="4521200"/>
              <a:ext cx="60325" cy="282575"/>
            </a:xfrm>
            <a:custGeom>
              <a:avLst/>
              <a:gdLst>
                <a:gd name="T0" fmla="*/ 74 w 74"/>
                <a:gd name="T1" fmla="*/ 58 h 347"/>
                <a:gd name="T2" fmla="*/ 27 w 74"/>
                <a:gd name="T3" fmla="*/ 58 h 347"/>
                <a:gd name="T4" fmla="*/ 41 w 74"/>
                <a:gd name="T5" fmla="*/ 62 h 347"/>
                <a:gd name="T6" fmla="*/ 68 w 74"/>
                <a:gd name="T7" fmla="*/ 62 h 347"/>
                <a:gd name="T8" fmla="*/ 68 w 74"/>
                <a:gd name="T9" fmla="*/ 307 h 347"/>
                <a:gd name="T10" fmla="*/ 37 w 74"/>
                <a:gd name="T11" fmla="*/ 340 h 347"/>
                <a:gd name="T12" fmla="*/ 6 w 74"/>
                <a:gd name="T13" fmla="*/ 307 h 347"/>
                <a:gd name="T14" fmla="*/ 6 w 74"/>
                <a:gd name="T15" fmla="*/ 58 h 347"/>
                <a:gd name="T16" fmla="*/ 0 w 74"/>
                <a:gd name="T17" fmla="*/ 58 h 347"/>
                <a:gd name="T18" fmla="*/ 0 w 74"/>
                <a:gd name="T19" fmla="*/ 310 h 347"/>
                <a:gd name="T20" fmla="*/ 37 w 74"/>
                <a:gd name="T21" fmla="*/ 347 h 347"/>
                <a:gd name="T22" fmla="*/ 74 w 74"/>
                <a:gd name="T23" fmla="*/ 310 h 347"/>
                <a:gd name="T24" fmla="*/ 74 w 74"/>
                <a:gd name="T25" fmla="*/ 58 h 347"/>
                <a:gd name="T26" fmla="*/ 0 w 74"/>
                <a:gd name="T27" fmla="*/ 0 h 347"/>
                <a:gd name="T28" fmla="*/ 0 w 74"/>
                <a:gd name="T29" fmla="*/ 0 h 347"/>
                <a:gd name="T30" fmla="*/ 0 w 74"/>
                <a:gd name="T31" fmla="*/ 38 h 347"/>
                <a:gd name="T32" fmla="*/ 74 w 74"/>
                <a:gd name="T33" fmla="*/ 38 h 347"/>
                <a:gd name="T34" fmla="*/ 74 w 74"/>
                <a:gd name="T35" fmla="*/ 2 h 347"/>
                <a:gd name="T36" fmla="*/ 0 w 74"/>
                <a:gd name="T37" fmla="*/ 2 h 347"/>
                <a:gd name="T38" fmla="*/ 0 w 74"/>
                <a:gd name="T39" fmla="*/ 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4" h="347">
                  <a:moveTo>
                    <a:pt x="74" y="58"/>
                  </a:moveTo>
                  <a:cubicBezTo>
                    <a:pt x="27" y="58"/>
                    <a:pt x="27" y="58"/>
                    <a:pt x="27" y="58"/>
                  </a:cubicBezTo>
                  <a:cubicBezTo>
                    <a:pt x="31" y="60"/>
                    <a:pt x="36" y="62"/>
                    <a:pt x="41" y="62"/>
                  </a:cubicBezTo>
                  <a:cubicBezTo>
                    <a:pt x="49" y="62"/>
                    <a:pt x="59" y="62"/>
                    <a:pt x="68" y="62"/>
                  </a:cubicBezTo>
                  <a:cubicBezTo>
                    <a:pt x="68" y="307"/>
                    <a:pt x="68" y="307"/>
                    <a:pt x="68" y="307"/>
                  </a:cubicBezTo>
                  <a:cubicBezTo>
                    <a:pt x="68" y="325"/>
                    <a:pt x="54" y="340"/>
                    <a:pt x="37" y="340"/>
                  </a:cubicBezTo>
                  <a:cubicBezTo>
                    <a:pt x="20" y="340"/>
                    <a:pt x="6" y="325"/>
                    <a:pt x="6" y="307"/>
                  </a:cubicBezTo>
                  <a:cubicBezTo>
                    <a:pt x="6" y="58"/>
                    <a:pt x="6" y="58"/>
                    <a:pt x="6" y="58"/>
                  </a:cubicBezTo>
                  <a:cubicBezTo>
                    <a:pt x="0" y="58"/>
                    <a:pt x="0" y="58"/>
                    <a:pt x="0" y="58"/>
                  </a:cubicBezTo>
                  <a:cubicBezTo>
                    <a:pt x="0" y="310"/>
                    <a:pt x="0" y="310"/>
                    <a:pt x="0" y="310"/>
                  </a:cubicBezTo>
                  <a:cubicBezTo>
                    <a:pt x="0" y="330"/>
                    <a:pt x="16" y="347"/>
                    <a:pt x="37" y="347"/>
                  </a:cubicBezTo>
                  <a:cubicBezTo>
                    <a:pt x="57" y="347"/>
                    <a:pt x="74" y="330"/>
                    <a:pt x="74" y="310"/>
                  </a:cubicBezTo>
                  <a:cubicBezTo>
                    <a:pt x="74" y="58"/>
                    <a:pt x="74" y="58"/>
                    <a:pt x="74" y="58"/>
                  </a:cubicBezTo>
                  <a:moveTo>
                    <a:pt x="0" y="0"/>
                  </a:moveTo>
                  <a:cubicBezTo>
                    <a:pt x="0" y="0"/>
                    <a:pt x="0" y="0"/>
                    <a:pt x="0" y="0"/>
                  </a:cubicBezTo>
                  <a:cubicBezTo>
                    <a:pt x="0" y="38"/>
                    <a:pt x="0" y="38"/>
                    <a:pt x="0" y="38"/>
                  </a:cubicBezTo>
                  <a:cubicBezTo>
                    <a:pt x="74" y="38"/>
                    <a:pt x="74" y="38"/>
                    <a:pt x="74" y="38"/>
                  </a:cubicBezTo>
                  <a:cubicBezTo>
                    <a:pt x="74" y="2"/>
                    <a:pt x="74" y="2"/>
                    <a:pt x="74" y="2"/>
                  </a:cubicBezTo>
                  <a:cubicBezTo>
                    <a:pt x="0" y="2"/>
                    <a:pt x="0" y="2"/>
                    <a:pt x="0" y="2"/>
                  </a:cubicBezTo>
                  <a:cubicBezTo>
                    <a:pt x="0" y="0"/>
                    <a:pt x="0" y="0"/>
                    <a:pt x="0" y="0"/>
                  </a:cubicBezTo>
                </a:path>
              </a:pathLst>
            </a:custGeom>
            <a:solidFill>
              <a:srgbClr val="92DE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2" name="Rectangle 1099">
              <a:extLst>
                <a:ext uri="{FF2B5EF4-FFF2-40B4-BE49-F238E27FC236}">
                  <a16:creationId xmlns:a16="http://schemas.microsoft.com/office/drawing/2014/main" id="{A3A084F2-9D53-D08D-F009-3112435FD632}"/>
                </a:ext>
              </a:extLst>
            </p:cNvPr>
            <p:cNvSpPr>
              <a:spLocks noChangeArrowheads="1"/>
            </p:cNvSpPr>
            <p:nvPr/>
          </p:nvSpPr>
          <p:spPr bwMode="auto">
            <a:xfrm>
              <a:off x="6861176" y="4521200"/>
              <a:ext cx="60325" cy="1588"/>
            </a:xfrm>
            <a:prstGeom prst="rect">
              <a:avLst/>
            </a:prstGeom>
            <a:solidFill>
              <a:srgbClr val="87CB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3" name="Rectangle 1100">
              <a:extLst>
                <a:ext uri="{FF2B5EF4-FFF2-40B4-BE49-F238E27FC236}">
                  <a16:creationId xmlns:a16="http://schemas.microsoft.com/office/drawing/2014/main" id="{60FB61AE-1381-8BF6-B648-51E413BC96B9}"/>
                </a:ext>
              </a:extLst>
            </p:cNvPr>
            <p:cNvSpPr>
              <a:spLocks noChangeArrowheads="1"/>
            </p:cNvSpPr>
            <p:nvPr/>
          </p:nvSpPr>
          <p:spPr bwMode="auto">
            <a:xfrm>
              <a:off x="6861176" y="4521200"/>
              <a:ext cx="60325"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4" name="Freeform 1101">
              <a:extLst>
                <a:ext uri="{FF2B5EF4-FFF2-40B4-BE49-F238E27FC236}">
                  <a16:creationId xmlns:a16="http://schemas.microsoft.com/office/drawing/2014/main" id="{874472E2-9D7E-A9CF-76A7-336CCBBC478F}"/>
                </a:ext>
              </a:extLst>
            </p:cNvPr>
            <p:cNvSpPr>
              <a:spLocks/>
            </p:cNvSpPr>
            <p:nvPr/>
          </p:nvSpPr>
          <p:spPr bwMode="auto">
            <a:xfrm>
              <a:off x="6853238" y="4510088"/>
              <a:ext cx="76200" cy="11113"/>
            </a:xfrm>
            <a:custGeom>
              <a:avLst/>
              <a:gdLst>
                <a:gd name="T0" fmla="*/ 86 w 94"/>
                <a:gd name="T1" fmla="*/ 0 h 15"/>
                <a:gd name="T2" fmla="*/ 7 w 94"/>
                <a:gd name="T3" fmla="*/ 0 h 15"/>
                <a:gd name="T4" fmla="*/ 0 w 94"/>
                <a:gd name="T5" fmla="*/ 7 h 15"/>
                <a:gd name="T6" fmla="*/ 7 w 94"/>
                <a:gd name="T7" fmla="*/ 15 h 15"/>
                <a:gd name="T8" fmla="*/ 86 w 94"/>
                <a:gd name="T9" fmla="*/ 15 h 15"/>
                <a:gd name="T10" fmla="*/ 94 w 94"/>
                <a:gd name="T11" fmla="*/ 7 h 15"/>
                <a:gd name="T12" fmla="*/ 86 w 94"/>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94" h="15">
                  <a:moveTo>
                    <a:pt x="86" y="0"/>
                  </a:moveTo>
                  <a:cubicBezTo>
                    <a:pt x="7" y="0"/>
                    <a:pt x="7" y="0"/>
                    <a:pt x="7" y="0"/>
                  </a:cubicBezTo>
                  <a:cubicBezTo>
                    <a:pt x="3" y="0"/>
                    <a:pt x="0" y="3"/>
                    <a:pt x="0" y="7"/>
                  </a:cubicBezTo>
                  <a:cubicBezTo>
                    <a:pt x="0" y="12"/>
                    <a:pt x="3" y="15"/>
                    <a:pt x="7" y="15"/>
                  </a:cubicBezTo>
                  <a:cubicBezTo>
                    <a:pt x="86" y="15"/>
                    <a:pt x="86" y="15"/>
                    <a:pt x="86" y="15"/>
                  </a:cubicBezTo>
                  <a:cubicBezTo>
                    <a:pt x="90" y="15"/>
                    <a:pt x="94" y="12"/>
                    <a:pt x="94" y="7"/>
                  </a:cubicBezTo>
                  <a:cubicBezTo>
                    <a:pt x="94" y="3"/>
                    <a:pt x="90" y="0"/>
                    <a:pt x="86" y="0"/>
                  </a:cubicBezTo>
                </a:path>
              </a:pathLst>
            </a:custGeom>
            <a:solidFill>
              <a:srgbClr val="92DE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5" name="Freeform 1102">
              <a:extLst>
                <a:ext uri="{FF2B5EF4-FFF2-40B4-BE49-F238E27FC236}">
                  <a16:creationId xmlns:a16="http://schemas.microsoft.com/office/drawing/2014/main" id="{EF8774A0-68D9-08D3-95EB-569737DFE2DE}"/>
                </a:ext>
              </a:extLst>
            </p:cNvPr>
            <p:cNvSpPr>
              <a:spLocks/>
            </p:cNvSpPr>
            <p:nvPr/>
          </p:nvSpPr>
          <p:spPr bwMode="auto">
            <a:xfrm>
              <a:off x="6865938" y="4554538"/>
              <a:ext cx="50800" cy="242888"/>
            </a:xfrm>
            <a:custGeom>
              <a:avLst/>
              <a:gdLst>
                <a:gd name="T0" fmla="*/ 35 w 62"/>
                <a:gd name="T1" fmla="*/ 21 h 299"/>
                <a:gd name="T2" fmla="*/ 0 w 62"/>
                <a:gd name="T3" fmla="*/ 0 h 299"/>
                <a:gd name="T4" fmla="*/ 0 w 62"/>
                <a:gd name="T5" fmla="*/ 266 h 299"/>
                <a:gd name="T6" fmla="*/ 31 w 62"/>
                <a:gd name="T7" fmla="*/ 299 h 299"/>
                <a:gd name="T8" fmla="*/ 62 w 62"/>
                <a:gd name="T9" fmla="*/ 266 h 299"/>
                <a:gd name="T10" fmla="*/ 62 w 62"/>
                <a:gd name="T11" fmla="*/ 21 h 299"/>
                <a:gd name="T12" fmla="*/ 35 w 62"/>
                <a:gd name="T13" fmla="*/ 21 h 299"/>
              </a:gdLst>
              <a:ahLst/>
              <a:cxnLst>
                <a:cxn ang="0">
                  <a:pos x="T0" y="T1"/>
                </a:cxn>
                <a:cxn ang="0">
                  <a:pos x="T2" y="T3"/>
                </a:cxn>
                <a:cxn ang="0">
                  <a:pos x="T4" y="T5"/>
                </a:cxn>
                <a:cxn ang="0">
                  <a:pos x="T6" y="T7"/>
                </a:cxn>
                <a:cxn ang="0">
                  <a:pos x="T8" y="T9"/>
                </a:cxn>
                <a:cxn ang="0">
                  <a:pos x="T10" y="T11"/>
                </a:cxn>
                <a:cxn ang="0">
                  <a:pos x="T12" y="T13"/>
                </a:cxn>
              </a:cxnLst>
              <a:rect l="0" t="0" r="r" b="b"/>
              <a:pathLst>
                <a:path w="62" h="299">
                  <a:moveTo>
                    <a:pt x="35" y="21"/>
                  </a:moveTo>
                  <a:cubicBezTo>
                    <a:pt x="21" y="21"/>
                    <a:pt x="8" y="9"/>
                    <a:pt x="0" y="0"/>
                  </a:cubicBezTo>
                  <a:cubicBezTo>
                    <a:pt x="0" y="266"/>
                    <a:pt x="0" y="266"/>
                    <a:pt x="0" y="266"/>
                  </a:cubicBezTo>
                  <a:cubicBezTo>
                    <a:pt x="0" y="284"/>
                    <a:pt x="14" y="299"/>
                    <a:pt x="31" y="299"/>
                  </a:cubicBezTo>
                  <a:cubicBezTo>
                    <a:pt x="48" y="299"/>
                    <a:pt x="62" y="284"/>
                    <a:pt x="62" y="266"/>
                  </a:cubicBezTo>
                  <a:cubicBezTo>
                    <a:pt x="62" y="21"/>
                    <a:pt x="62" y="21"/>
                    <a:pt x="62" y="21"/>
                  </a:cubicBezTo>
                  <a:cubicBezTo>
                    <a:pt x="53" y="21"/>
                    <a:pt x="43" y="21"/>
                    <a:pt x="35" y="21"/>
                  </a:cubicBezTo>
                </a:path>
              </a:pathLst>
            </a:custGeom>
            <a:solidFill>
              <a:srgbClr val="FFC9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6" name="Freeform 1103">
              <a:extLst>
                <a:ext uri="{FF2B5EF4-FFF2-40B4-BE49-F238E27FC236}">
                  <a16:creationId xmlns:a16="http://schemas.microsoft.com/office/drawing/2014/main" id="{E4F1C235-41DA-170E-F36F-488206793CD5}"/>
                </a:ext>
              </a:extLst>
            </p:cNvPr>
            <p:cNvSpPr>
              <a:spLocks noEditPoints="1"/>
            </p:cNvSpPr>
            <p:nvPr/>
          </p:nvSpPr>
          <p:spPr bwMode="auto">
            <a:xfrm>
              <a:off x="6967538" y="4521200"/>
              <a:ext cx="60325" cy="282575"/>
            </a:xfrm>
            <a:custGeom>
              <a:avLst/>
              <a:gdLst>
                <a:gd name="T0" fmla="*/ 75 w 75"/>
                <a:gd name="T1" fmla="*/ 58 h 347"/>
                <a:gd name="T2" fmla="*/ 27 w 75"/>
                <a:gd name="T3" fmla="*/ 58 h 347"/>
                <a:gd name="T4" fmla="*/ 41 w 75"/>
                <a:gd name="T5" fmla="*/ 62 h 347"/>
                <a:gd name="T6" fmla="*/ 68 w 75"/>
                <a:gd name="T7" fmla="*/ 62 h 347"/>
                <a:gd name="T8" fmla="*/ 68 w 75"/>
                <a:gd name="T9" fmla="*/ 307 h 347"/>
                <a:gd name="T10" fmla="*/ 37 w 75"/>
                <a:gd name="T11" fmla="*/ 340 h 347"/>
                <a:gd name="T12" fmla="*/ 6 w 75"/>
                <a:gd name="T13" fmla="*/ 307 h 347"/>
                <a:gd name="T14" fmla="*/ 6 w 75"/>
                <a:gd name="T15" fmla="*/ 58 h 347"/>
                <a:gd name="T16" fmla="*/ 0 w 75"/>
                <a:gd name="T17" fmla="*/ 58 h 347"/>
                <a:gd name="T18" fmla="*/ 0 w 75"/>
                <a:gd name="T19" fmla="*/ 310 h 347"/>
                <a:gd name="T20" fmla="*/ 37 w 75"/>
                <a:gd name="T21" fmla="*/ 347 h 347"/>
                <a:gd name="T22" fmla="*/ 75 w 75"/>
                <a:gd name="T23" fmla="*/ 310 h 347"/>
                <a:gd name="T24" fmla="*/ 75 w 75"/>
                <a:gd name="T25" fmla="*/ 58 h 347"/>
                <a:gd name="T26" fmla="*/ 0 w 75"/>
                <a:gd name="T27" fmla="*/ 0 h 347"/>
                <a:gd name="T28" fmla="*/ 0 w 75"/>
                <a:gd name="T29" fmla="*/ 0 h 347"/>
                <a:gd name="T30" fmla="*/ 0 w 75"/>
                <a:gd name="T31" fmla="*/ 38 h 347"/>
                <a:gd name="T32" fmla="*/ 75 w 75"/>
                <a:gd name="T33" fmla="*/ 38 h 347"/>
                <a:gd name="T34" fmla="*/ 75 w 75"/>
                <a:gd name="T35" fmla="*/ 2 h 347"/>
                <a:gd name="T36" fmla="*/ 0 w 75"/>
                <a:gd name="T37" fmla="*/ 2 h 347"/>
                <a:gd name="T38" fmla="*/ 0 w 75"/>
                <a:gd name="T39" fmla="*/ 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5" h="347">
                  <a:moveTo>
                    <a:pt x="75" y="58"/>
                  </a:moveTo>
                  <a:cubicBezTo>
                    <a:pt x="27" y="58"/>
                    <a:pt x="27" y="58"/>
                    <a:pt x="27" y="58"/>
                  </a:cubicBezTo>
                  <a:cubicBezTo>
                    <a:pt x="32" y="60"/>
                    <a:pt x="37" y="62"/>
                    <a:pt x="41" y="62"/>
                  </a:cubicBezTo>
                  <a:cubicBezTo>
                    <a:pt x="49" y="62"/>
                    <a:pt x="59" y="62"/>
                    <a:pt x="68" y="62"/>
                  </a:cubicBezTo>
                  <a:cubicBezTo>
                    <a:pt x="68" y="307"/>
                    <a:pt x="68" y="307"/>
                    <a:pt x="68" y="307"/>
                  </a:cubicBezTo>
                  <a:cubicBezTo>
                    <a:pt x="68" y="325"/>
                    <a:pt x="55" y="340"/>
                    <a:pt x="37" y="340"/>
                  </a:cubicBezTo>
                  <a:cubicBezTo>
                    <a:pt x="20" y="340"/>
                    <a:pt x="6" y="325"/>
                    <a:pt x="6" y="307"/>
                  </a:cubicBezTo>
                  <a:cubicBezTo>
                    <a:pt x="6" y="58"/>
                    <a:pt x="6" y="58"/>
                    <a:pt x="6" y="58"/>
                  </a:cubicBezTo>
                  <a:cubicBezTo>
                    <a:pt x="0" y="58"/>
                    <a:pt x="0" y="58"/>
                    <a:pt x="0" y="58"/>
                  </a:cubicBezTo>
                  <a:cubicBezTo>
                    <a:pt x="0" y="310"/>
                    <a:pt x="0" y="310"/>
                    <a:pt x="0" y="310"/>
                  </a:cubicBezTo>
                  <a:cubicBezTo>
                    <a:pt x="0" y="330"/>
                    <a:pt x="17" y="347"/>
                    <a:pt x="37" y="347"/>
                  </a:cubicBezTo>
                  <a:cubicBezTo>
                    <a:pt x="58" y="347"/>
                    <a:pt x="75" y="330"/>
                    <a:pt x="75" y="310"/>
                  </a:cubicBezTo>
                  <a:cubicBezTo>
                    <a:pt x="75" y="58"/>
                    <a:pt x="75" y="58"/>
                    <a:pt x="75" y="58"/>
                  </a:cubicBezTo>
                  <a:moveTo>
                    <a:pt x="0" y="0"/>
                  </a:moveTo>
                  <a:cubicBezTo>
                    <a:pt x="0" y="0"/>
                    <a:pt x="0" y="0"/>
                    <a:pt x="0" y="0"/>
                  </a:cubicBezTo>
                  <a:cubicBezTo>
                    <a:pt x="0" y="38"/>
                    <a:pt x="0" y="38"/>
                    <a:pt x="0" y="38"/>
                  </a:cubicBezTo>
                  <a:cubicBezTo>
                    <a:pt x="75" y="38"/>
                    <a:pt x="75" y="38"/>
                    <a:pt x="75" y="38"/>
                  </a:cubicBezTo>
                  <a:cubicBezTo>
                    <a:pt x="75" y="2"/>
                    <a:pt x="75" y="2"/>
                    <a:pt x="75" y="2"/>
                  </a:cubicBezTo>
                  <a:cubicBezTo>
                    <a:pt x="0" y="2"/>
                    <a:pt x="0" y="2"/>
                    <a:pt x="0" y="2"/>
                  </a:cubicBezTo>
                  <a:cubicBezTo>
                    <a:pt x="0" y="0"/>
                    <a:pt x="0" y="0"/>
                    <a:pt x="0" y="0"/>
                  </a:cubicBezTo>
                </a:path>
              </a:pathLst>
            </a:custGeom>
            <a:solidFill>
              <a:srgbClr val="92DE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7" name="Rectangle 1104">
              <a:extLst>
                <a:ext uri="{FF2B5EF4-FFF2-40B4-BE49-F238E27FC236}">
                  <a16:creationId xmlns:a16="http://schemas.microsoft.com/office/drawing/2014/main" id="{AF02DE81-AD87-0FC9-081E-F6A58755488B}"/>
                </a:ext>
              </a:extLst>
            </p:cNvPr>
            <p:cNvSpPr>
              <a:spLocks noChangeArrowheads="1"/>
            </p:cNvSpPr>
            <p:nvPr/>
          </p:nvSpPr>
          <p:spPr bwMode="auto">
            <a:xfrm>
              <a:off x="6967538" y="4521200"/>
              <a:ext cx="60325" cy="1588"/>
            </a:xfrm>
            <a:prstGeom prst="rect">
              <a:avLst/>
            </a:prstGeom>
            <a:solidFill>
              <a:srgbClr val="87CB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8" name="Rectangle 1105">
              <a:extLst>
                <a:ext uri="{FF2B5EF4-FFF2-40B4-BE49-F238E27FC236}">
                  <a16:creationId xmlns:a16="http://schemas.microsoft.com/office/drawing/2014/main" id="{1D1931AA-2C9B-0F57-2584-168B48C33F96}"/>
                </a:ext>
              </a:extLst>
            </p:cNvPr>
            <p:cNvSpPr>
              <a:spLocks noChangeArrowheads="1"/>
            </p:cNvSpPr>
            <p:nvPr/>
          </p:nvSpPr>
          <p:spPr bwMode="auto">
            <a:xfrm>
              <a:off x="6967538" y="4521200"/>
              <a:ext cx="60325"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9" name="Freeform 1106">
              <a:extLst>
                <a:ext uri="{FF2B5EF4-FFF2-40B4-BE49-F238E27FC236}">
                  <a16:creationId xmlns:a16="http://schemas.microsoft.com/office/drawing/2014/main" id="{979CA55B-F675-3912-E60A-111A7F25C6FD}"/>
                </a:ext>
              </a:extLst>
            </p:cNvPr>
            <p:cNvSpPr>
              <a:spLocks/>
            </p:cNvSpPr>
            <p:nvPr/>
          </p:nvSpPr>
          <p:spPr bwMode="auto">
            <a:xfrm>
              <a:off x="6959601" y="4510088"/>
              <a:ext cx="76200" cy="11113"/>
            </a:xfrm>
            <a:custGeom>
              <a:avLst/>
              <a:gdLst>
                <a:gd name="T0" fmla="*/ 87 w 95"/>
                <a:gd name="T1" fmla="*/ 0 h 15"/>
                <a:gd name="T2" fmla="*/ 8 w 95"/>
                <a:gd name="T3" fmla="*/ 0 h 15"/>
                <a:gd name="T4" fmla="*/ 0 w 95"/>
                <a:gd name="T5" fmla="*/ 7 h 15"/>
                <a:gd name="T6" fmla="*/ 8 w 95"/>
                <a:gd name="T7" fmla="*/ 15 h 15"/>
                <a:gd name="T8" fmla="*/ 87 w 95"/>
                <a:gd name="T9" fmla="*/ 15 h 15"/>
                <a:gd name="T10" fmla="*/ 95 w 95"/>
                <a:gd name="T11" fmla="*/ 7 h 15"/>
                <a:gd name="T12" fmla="*/ 87 w 95"/>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95" h="15">
                  <a:moveTo>
                    <a:pt x="87" y="0"/>
                  </a:moveTo>
                  <a:cubicBezTo>
                    <a:pt x="8" y="0"/>
                    <a:pt x="8" y="0"/>
                    <a:pt x="8" y="0"/>
                  </a:cubicBezTo>
                  <a:cubicBezTo>
                    <a:pt x="4" y="0"/>
                    <a:pt x="0" y="3"/>
                    <a:pt x="0" y="7"/>
                  </a:cubicBezTo>
                  <a:cubicBezTo>
                    <a:pt x="0" y="12"/>
                    <a:pt x="4" y="15"/>
                    <a:pt x="8" y="15"/>
                  </a:cubicBezTo>
                  <a:cubicBezTo>
                    <a:pt x="87" y="15"/>
                    <a:pt x="87" y="15"/>
                    <a:pt x="87" y="15"/>
                  </a:cubicBezTo>
                  <a:cubicBezTo>
                    <a:pt x="91" y="15"/>
                    <a:pt x="95" y="12"/>
                    <a:pt x="95" y="7"/>
                  </a:cubicBezTo>
                  <a:cubicBezTo>
                    <a:pt x="95" y="3"/>
                    <a:pt x="91" y="0"/>
                    <a:pt x="87" y="0"/>
                  </a:cubicBezTo>
                </a:path>
              </a:pathLst>
            </a:custGeom>
            <a:solidFill>
              <a:srgbClr val="92DE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0" name="Freeform 1107">
              <a:extLst>
                <a:ext uri="{FF2B5EF4-FFF2-40B4-BE49-F238E27FC236}">
                  <a16:creationId xmlns:a16="http://schemas.microsoft.com/office/drawing/2014/main" id="{D8CEB351-1C3A-AF9B-E423-65231AED86ED}"/>
                </a:ext>
              </a:extLst>
            </p:cNvPr>
            <p:cNvSpPr>
              <a:spLocks/>
            </p:cNvSpPr>
            <p:nvPr/>
          </p:nvSpPr>
          <p:spPr bwMode="auto">
            <a:xfrm>
              <a:off x="6972301" y="4554538"/>
              <a:ext cx="49213" cy="242888"/>
            </a:xfrm>
            <a:custGeom>
              <a:avLst/>
              <a:gdLst>
                <a:gd name="T0" fmla="*/ 35 w 62"/>
                <a:gd name="T1" fmla="*/ 21 h 299"/>
                <a:gd name="T2" fmla="*/ 0 w 62"/>
                <a:gd name="T3" fmla="*/ 0 h 299"/>
                <a:gd name="T4" fmla="*/ 0 w 62"/>
                <a:gd name="T5" fmla="*/ 266 h 299"/>
                <a:gd name="T6" fmla="*/ 31 w 62"/>
                <a:gd name="T7" fmla="*/ 299 h 299"/>
                <a:gd name="T8" fmla="*/ 62 w 62"/>
                <a:gd name="T9" fmla="*/ 266 h 299"/>
                <a:gd name="T10" fmla="*/ 62 w 62"/>
                <a:gd name="T11" fmla="*/ 21 h 299"/>
                <a:gd name="T12" fmla="*/ 35 w 62"/>
                <a:gd name="T13" fmla="*/ 21 h 299"/>
              </a:gdLst>
              <a:ahLst/>
              <a:cxnLst>
                <a:cxn ang="0">
                  <a:pos x="T0" y="T1"/>
                </a:cxn>
                <a:cxn ang="0">
                  <a:pos x="T2" y="T3"/>
                </a:cxn>
                <a:cxn ang="0">
                  <a:pos x="T4" y="T5"/>
                </a:cxn>
                <a:cxn ang="0">
                  <a:pos x="T6" y="T7"/>
                </a:cxn>
                <a:cxn ang="0">
                  <a:pos x="T8" y="T9"/>
                </a:cxn>
                <a:cxn ang="0">
                  <a:pos x="T10" y="T11"/>
                </a:cxn>
                <a:cxn ang="0">
                  <a:pos x="T12" y="T13"/>
                </a:cxn>
              </a:cxnLst>
              <a:rect l="0" t="0" r="r" b="b"/>
              <a:pathLst>
                <a:path w="62" h="299">
                  <a:moveTo>
                    <a:pt x="35" y="21"/>
                  </a:moveTo>
                  <a:cubicBezTo>
                    <a:pt x="22" y="21"/>
                    <a:pt x="9" y="9"/>
                    <a:pt x="0" y="0"/>
                  </a:cubicBezTo>
                  <a:cubicBezTo>
                    <a:pt x="0" y="266"/>
                    <a:pt x="0" y="266"/>
                    <a:pt x="0" y="266"/>
                  </a:cubicBezTo>
                  <a:cubicBezTo>
                    <a:pt x="0" y="284"/>
                    <a:pt x="14" y="299"/>
                    <a:pt x="31" y="299"/>
                  </a:cubicBezTo>
                  <a:cubicBezTo>
                    <a:pt x="49" y="299"/>
                    <a:pt x="62" y="284"/>
                    <a:pt x="62" y="266"/>
                  </a:cubicBezTo>
                  <a:cubicBezTo>
                    <a:pt x="62" y="21"/>
                    <a:pt x="62" y="21"/>
                    <a:pt x="62" y="21"/>
                  </a:cubicBezTo>
                  <a:cubicBezTo>
                    <a:pt x="53" y="21"/>
                    <a:pt x="43" y="21"/>
                    <a:pt x="35" y="21"/>
                  </a:cubicBezTo>
                </a:path>
              </a:pathLst>
            </a:custGeom>
            <a:solidFill>
              <a:srgbClr val="CD4B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1" name="Freeform 1108">
              <a:extLst>
                <a:ext uri="{FF2B5EF4-FFF2-40B4-BE49-F238E27FC236}">
                  <a16:creationId xmlns:a16="http://schemas.microsoft.com/office/drawing/2014/main" id="{93F4241B-A899-E8C4-AD1B-F4C62227D3E9}"/>
                </a:ext>
              </a:extLst>
            </p:cNvPr>
            <p:cNvSpPr>
              <a:spLocks/>
            </p:cNvSpPr>
            <p:nvPr/>
          </p:nvSpPr>
          <p:spPr bwMode="auto">
            <a:xfrm>
              <a:off x="7113588" y="4522788"/>
              <a:ext cx="15875" cy="19050"/>
            </a:xfrm>
            <a:custGeom>
              <a:avLst/>
              <a:gdLst>
                <a:gd name="T0" fmla="*/ 21 w 21"/>
                <a:gd name="T1" fmla="*/ 0 h 22"/>
                <a:gd name="T2" fmla="*/ 0 w 21"/>
                <a:gd name="T3" fmla="*/ 0 h 22"/>
                <a:gd name="T4" fmla="*/ 21 w 21"/>
                <a:gd name="T5" fmla="*/ 22 h 22"/>
                <a:gd name="T6" fmla="*/ 21 w 21"/>
                <a:gd name="T7" fmla="*/ 0 h 22"/>
              </a:gdLst>
              <a:ahLst/>
              <a:cxnLst>
                <a:cxn ang="0">
                  <a:pos x="T0" y="T1"/>
                </a:cxn>
                <a:cxn ang="0">
                  <a:pos x="T2" y="T3"/>
                </a:cxn>
                <a:cxn ang="0">
                  <a:pos x="T4" y="T5"/>
                </a:cxn>
                <a:cxn ang="0">
                  <a:pos x="T6" y="T7"/>
                </a:cxn>
              </a:cxnLst>
              <a:rect l="0" t="0" r="r" b="b"/>
              <a:pathLst>
                <a:path w="21" h="22">
                  <a:moveTo>
                    <a:pt x="21" y="0"/>
                  </a:moveTo>
                  <a:cubicBezTo>
                    <a:pt x="0" y="0"/>
                    <a:pt x="0" y="0"/>
                    <a:pt x="0" y="0"/>
                  </a:cubicBezTo>
                  <a:cubicBezTo>
                    <a:pt x="7" y="8"/>
                    <a:pt x="14" y="15"/>
                    <a:pt x="21" y="22"/>
                  </a:cubicBezTo>
                  <a:cubicBezTo>
                    <a:pt x="21" y="0"/>
                    <a:pt x="21" y="0"/>
                    <a:pt x="21"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2" name="Freeform 1109">
              <a:extLst>
                <a:ext uri="{FF2B5EF4-FFF2-40B4-BE49-F238E27FC236}">
                  <a16:creationId xmlns:a16="http://schemas.microsoft.com/office/drawing/2014/main" id="{9B1ADBA3-C96B-E75C-4083-380AA8309EB4}"/>
                </a:ext>
              </a:extLst>
            </p:cNvPr>
            <p:cNvSpPr>
              <a:spLocks noEditPoints="1"/>
            </p:cNvSpPr>
            <p:nvPr/>
          </p:nvSpPr>
          <p:spPr bwMode="auto">
            <a:xfrm>
              <a:off x="7069138" y="4521200"/>
              <a:ext cx="60325" cy="282575"/>
            </a:xfrm>
            <a:custGeom>
              <a:avLst/>
              <a:gdLst>
                <a:gd name="T0" fmla="*/ 75 w 75"/>
                <a:gd name="T1" fmla="*/ 58 h 347"/>
                <a:gd name="T2" fmla="*/ 27 w 75"/>
                <a:gd name="T3" fmla="*/ 58 h 347"/>
                <a:gd name="T4" fmla="*/ 41 w 75"/>
                <a:gd name="T5" fmla="*/ 62 h 347"/>
                <a:gd name="T6" fmla="*/ 69 w 75"/>
                <a:gd name="T7" fmla="*/ 62 h 347"/>
                <a:gd name="T8" fmla="*/ 69 w 75"/>
                <a:gd name="T9" fmla="*/ 307 h 347"/>
                <a:gd name="T10" fmla="*/ 38 w 75"/>
                <a:gd name="T11" fmla="*/ 340 h 347"/>
                <a:gd name="T12" fmla="*/ 7 w 75"/>
                <a:gd name="T13" fmla="*/ 307 h 347"/>
                <a:gd name="T14" fmla="*/ 7 w 75"/>
                <a:gd name="T15" fmla="*/ 58 h 347"/>
                <a:gd name="T16" fmla="*/ 0 w 75"/>
                <a:gd name="T17" fmla="*/ 58 h 347"/>
                <a:gd name="T18" fmla="*/ 0 w 75"/>
                <a:gd name="T19" fmla="*/ 310 h 347"/>
                <a:gd name="T20" fmla="*/ 38 w 75"/>
                <a:gd name="T21" fmla="*/ 347 h 347"/>
                <a:gd name="T22" fmla="*/ 75 w 75"/>
                <a:gd name="T23" fmla="*/ 310 h 347"/>
                <a:gd name="T24" fmla="*/ 75 w 75"/>
                <a:gd name="T25" fmla="*/ 58 h 347"/>
                <a:gd name="T26" fmla="*/ 0 w 75"/>
                <a:gd name="T27" fmla="*/ 0 h 347"/>
                <a:gd name="T28" fmla="*/ 0 w 75"/>
                <a:gd name="T29" fmla="*/ 0 h 347"/>
                <a:gd name="T30" fmla="*/ 0 w 75"/>
                <a:gd name="T31" fmla="*/ 38 h 347"/>
                <a:gd name="T32" fmla="*/ 75 w 75"/>
                <a:gd name="T33" fmla="*/ 38 h 347"/>
                <a:gd name="T34" fmla="*/ 75 w 75"/>
                <a:gd name="T35" fmla="*/ 24 h 347"/>
                <a:gd name="T36" fmla="*/ 54 w 75"/>
                <a:gd name="T37" fmla="*/ 2 h 347"/>
                <a:gd name="T38" fmla="*/ 0 w 75"/>
                <a:gd name="T39" fmla="*/ 2 h 347"/>
                <a:gd name="T40" fmla="*/ 0 w 75"/>
                <a:gd name="T41" fmla="*/ 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5" h="347">
                  <a:moveTo>
                    <a:pt x="75" y="58"/>
                  </a:moveTo>
                  <a:cubicBezTo>
                    <a:pt x="27" y="58"/>
                    <a:pt x="27" y="58"/>
                    <a:pt x="27" y="58"/>
                  </a:cubicBezTo>
                  <a:cubicBezTo>
                    <a:pt x="32" y="60"/>
                    <a:pt x="37" y="62"/>
                    <a:pt x="41" y="62"/>
                  </a:cubicBezTo>
                  <a:cubicBezTo>
                    <a:pt x="49" y="62"/>
                    <a:pt x="59" y="62"/>
                    <a:pt x="69" y="62"/>
                  </a:cubicBezTo>
                  <a:cubicBezTo>
                    <a:pt x="69" y="307"/>
                    <a:pt x="69" y="307"/>
                    <a:pt x="69" y="307"/>
                  </a:cubicBezTo>
                  <a:cubicBezTo>
                    <a:pt x="69" y="325"/>
                    <a:pt x="55" y="340"/>
                    <a:pt x="38" y="340"/>
                  </a:cubicBezTo>
                  <a:cubicBezTo>
                    <a:pt x="20" y="340"/>
                    <a:pt x="7" y="325"/>
                    <a:pt x="7" y="307"/>
                  </a:cubicBezTo>
                  <a:cubicBezTo>
                    <a:pt x="7" y="58"/>
                    <a:pt x="7" y="58"/>
                    <a:pt x="7" y="58"/>
                  </a:cubicBezTo>
                  <a:cubicBezTo>
                    <a:pt x="0" y="58"/>
                    <a:pt x="0" y="58"/>
                    <a:pt x="0" y="58"/>
                  </a:cubicBezTo>
                  <a:cubicBezTo>
                    <a:pt x="0" y="310"/>
                    <a:pt x="0" y="310"/>
                    <a:pt x="0" y="310"/>
                  </a:cubicBezTo>
                  <a:cubicBezTo>
                    <a:pt x="0" y="330"/>
                    <a:pt x="17" y="347"/>
                    <a:pt x="38" y="347"/>
                  </a:cubicBezTo>
                  <a:cubicBezTo>
                    <a:pt x="58" y="347"/>
                    <a:pt x="75" y="330"/>
                    <a:pt x="75" y="310"/>
                  </a:cubicBezTo>
                  <a:cubicBezTo>
                    <a:pt x="75" y="58"/>
                    <a:pt x="75" y="58"/>
                    <a:pt x="75" y="58"/>
                  </a:cubicBezTo>
                  <a:moveTo>
                    <a:pt x="0" y="0"/>
                  </a:moveTo>
                  <a:cubicBezTo>
                    <a:pt x="0" y="0"/>
                    <a:pt x="0" y="0"/>
                    <a:pt x="0" y="0"/>
                  </a:cubicBezTo>
                  <a:cubicBezTo>
                    <a:pt x="0" y="38"/>
                    <a:pt x="0" y="38"/>
                    <a:pt x="0" y="38"/>
                  </a:cubicBezTo>
                  <a:cubicBezTo>
                    <a:pt x="75" y="38"/>
                    <a:pt x="75" y="38"/>
                    <a:pt x="75" y="38"/>
                  </a:cubicBezTo>
                  <a:cubicBezTo>
                    <a:pt x="75" y="24"/>
                    <a:pt x="75" y="24"/>
                    <a:pt x="75" y="24"/>
                  </a:cubicBezTo>
                  <a:cubicBezTo>
                    <a:pt x="68" y="17"/>
                    <a:pt x="61" y="10"/>
                    <a:pt x="54" y="2"/>
                  </a:cubicBezTo>
                  <a:cubicBezTo>
                    <a:pt x="0" y="2"/>
                    <a:pt x="0" y="2"/>
                    <a:pt x="0" y="2"/>
                  </a:cubicBezTo>
                  <a:cubicBezTo>
                    <a:pt x="0" y="0"/>
                    <a:pt x="0" y="0"/>
                    <a:pt x="0" y="0"/>
                  </a:cubicBezTo>
                </a:path>
              </a:pathLst>
            </a:custGeom>
            <a:solidFill>
              <a:srgbClr val="92DE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3" name="Freeform 1110">
              <a:extLst>
                <a:ext uri="{FF2B5EF4-FFF2-40B4-BE49-F238E27FC236}">
                  <a16:creationId xmlns:a16="http://schemas.microsoft.com/office/drawing/2014/main" id="{755A4845-96DA-383D-7404-E92F60440F3D}"/>
                </a:ext>
              </a:extLst>
            </p:cNvPr>
            <p:cNvSpPr>
              <a:spLocks/>
            </p:cNvSpPr>
            <p:nvPr/>
          </p:nvSpPr>
          <p:spPr bwMode="auto">
            <a:xfrm>
              <a:off x="7112001" y="4521200"/>
              <a:ext cx="17463" cy="1588"/>
            </a:xfrm>
            <a:custGeom>
              <a:avLst/>
              <a:gdLst>
                <a:gd name="T0" fmla="*/ 23 w 23"/>
                <a:gd name="T1" fmla="*/ 0 h 2"/>
                <a:gd name="T2" fmla="*/ 0 w 23"/>
                <a:gd name="T3" fmla="*/ 0 h 2"/>
                <a:gd name="T4" fmla="*/ 2 w 23"/>
                <a:gd name="T5" fmla="*/ 2 h 2"/>
                <a:gd name="T6" fmla="*/ 23 w 23"/>
                <a:gd name="T7" fmla="*/ 2 h 2"/>
                <a:gd name="T8" fmla="*/ 23 w 23"/>
                <a:gd name="T9" fmla="*/ 0 h 2"/>
              </a:gdLst>
              <a:ahLst/>
              <a:cxnLst>
                <a:cxn ang="0">
                  <a:pos x="T0" y="T1"/>
                </a:cxn>
                <a:cxn ang="0">
                  <a:pos x="T2" y="T3"/>
                </a:cxn>
                <a:cxn ang="0">
                  <a:pos x="T4" y="T5"/>
                </a:cxn>
                <a:cxn ang="0">
                  <a:pos x="T6" y="T7"/>
                </a:cxn>
                <a:cxn ang="0">
                  <a:pos x="T8" y="T9"/>
                </a:cxn>
              </a:cxnLst>
              <a:rect l="0" t="0" r="r" b="b"/>
              <a:pathLst>
                <a:path w="23" h="2">
                  <a:moveTo>
                    <a:pt x="23" y="0"/>
                  </a:moveTo>
                  <a:cubicBezTo>
                    <a:pt x="0" y="0"/>
                    <a:pt x="0" y="0"/>
                    <a:pt x="0" y="0"/>
                  </a:cubicBezTo>
                  <a:cubicBezTo>
                    <a:pt x="1" y="1"/>
                    <a:pt x="2" y="2"/>
                    <a:pt x="2" y="2"/>
                  </a:cubicBezTo>
                  <a:cubicBezTo>
                    <a:pt x="23" y="2"/>
                    <a:pt x="23" y="2"/>
                    <a:pt x="23" y="2"/>
                  </a:cubicBezTo>
                  <a:cubicBezTo>
                    <a:pt x="23" y="0"/>
                    <a:pt x="23" y="0"/>
                    <a:pt x="23" y="0"/>
                  </a:cubicBezTo>
                </a:path>
              </a:pathLst>
            </a:custGeom>
            <a:solidFill>
              <a:srgbClr val="DDDC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4" name="Freeform 1111">
              <a:extLst>
                <a:ext uri="{FF2B5EF4-FFF2-40B4-BE49-F238E27FC236}">
                  <a16:creationId xmlns:a16="http://schemas.microsoft.com/office/drawing/2014/main" id="{2B773C6B-E177-CF70-2C38-16779B39394F}"/>
                </a:ext>
              </a:extLst>
            </p:cNvPr>
            <p:cNvSpPr>
              <a:spLocks/>
            </p:cNvSpPr>
            <p:nvPr/>
          </p:nvSpPr>
          <p:spPr bwMode="auto">
            <a:xfrm>
              <a:off x="7069138" y="4521200"/>
              <a:ext cx="44450" cy="1588"/>
            </a:xfrm>
            <a:custGeom>
              <a:avLst/>
              <a:gdLst>
                <a:gd name="T0" fmla="*/ 52 w 54"/>
                <a:gd name="T1" fmla="*/ 0 h 2"/>
                <a:gd name="T2" fmla="*/ 0 w 54"/>
                <a:gd name="T3" fmla="*/ 0 h 2"/>
                <a:gd name="T4" fmla="*/ 0 w 54"/>
                <a:gd name="T5" fmla="*/ 2 h 2"/>
                <a:gd name="T6" fmla="*/ 54 w 54"/>
                <a:gd name="T7" fmla="*/ 2 h 2"/>
                <a:gd name="T8" fmla="*/ 52 w 54"/>
                <a:gd name="T9" fmla="*/ 0 h 2"/>
              </a:gdLst>
              <a:ahLst/>
              <a:cxnLst>
                <a:cxn ang="0">
                  <a:pos x="T0" y="T1"/>
                </a:cxn>
                <a:cxn ang="0">
                  <a:pos x="T2" y="T3"/>
                </a:cxn>
                <a:cxn ang="0">
                  <a:pos x="T4" y="T5"/>
                </a:cxn>
                <a:cxn ang="0">
                  <a:pos x="T6" y="T7"/>
                </a:cxn>
                <a:cxn ang="0">
                  <a:pos x="T8" y="T9"/>
                </a:cxn>
              </a:cxnLst>
              <a:rect l="0" t="0" r="r" b="b"/>
              <a:pathLst>
                <a:path w="54" h="2">
                  <a:moveTo>
                    <a:pt x="52" y="0"/>
                  </a:moveTo>
                  <a:cubicBezTo>
                    <a:pt x="0" y="0"/>
                    <a:pt x="0" y="0"/>
                    <a:pt x="0" y="0"/>
                  </a:cubicBezTo>
                  <a:cubicBezTo>
                    <a:pt x="0" y="2"/>
                    <a:pt x="0" y="2"/>
                    <a:pt x="0" y="2"/>
                  </a:cubicBezTo>
                  <a:cubicBezTo>
                    <a:pt x="54" y="2"/>
                    <a:pt x="54" y="2"/>
                    <a:pt x="54" y="2"/>
                  </a:cubicBezTo>
                  <a:cubicBezTo>
                    <a:pt x="54" y="2"/>
                    <a:pt x="53" y="1"/>
                    <a:pt x="52" y="0"/>
                  </a:cubicBezTo>
                </a:path>
              </a:pathLst>
            </a:custGeom>
            <a:solidFill>
              <a:srgbClr val="87CB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5" name="Freeform 1112">
              <a:extLst>
                <a:ext uri="{FF2B5EF4-FFF2-40B4-BE49-F238E27FC236}">
                  <a16:creationId xmlns:a16="http://schemas.microsoft.com/office/drawing/2014/main" id="{E7A0CBF8-BE5C-725C-2B60-D29369856987}"/>
                </a:ext>
              </a:extLst>
            </p:cNvPr>
            <p:cNvSpPr>
              <a:spLocks/>
            </p:cNvSpPr>
            <p:nvPr/>
          </p:nvSpPr>
          <p:spPr bwMode="auto">
            <a:xfrm>
              <a:off x="7099301" y="4510088"/>
              <a:ext cx="39688" cy="11113"/>
            </a:xfrm>
            <a:custGeom>
              <a:avLst/>
              <a:gdLst>
                <a:gd name="T0" fmla="*/ 41 w 49"/>
                <a:gd name="T1" fmla="*/ 0 h 15"/>
                <a:gd name="T2" fmla="*/ 0 w 49"/>
                <a:gd name="T3" fmla="*/ 0 h 15"/>
                <a:gd name="T4" fmla="*/ 16 w 49"/>
                <a:gd name="T5" fmla="*/ 15 h 15"/>
                <a:gd name="T6" fmla="*/ 41 w 49"/>
                <a:gd name="T7" fmla="*/ 15 h 15"/>
                <a:gd name="T8" fmla="*/ 49 w 49"/>
                <a:gd name="T9" fmla="*/ 7 h 15"/>
                <a:gd name="T10" fmla="*/ 41 w 49"/>
                <a:gd name="T11" fmla="*/ 0 h 15"/>
              </a:gdLst>
              <a:ahLst/>
              <a:cxnLst>
                <a:cxn ang="0">
                  <a:pos x="T0" y="T1"/>
                </a:cxn>
                <a:cxn ang="0">
                  <a:pos x="T2" y="T3"/>
                </a:cxn>
                <a:cxn ang="0">
                  <a:pos x="T4" y="T5"/>
                </a:cxn>
                <a:cxn ang="0">
                  <a:pos x="T6" y="T7"/>
                </a:cxn>
                <a:cxn ang="0">
                  <a:pos x="T8" y="T9"/>
                </a:cxn>
                <a:cxn ang="0">
                  <a:pos x="T10" y="T11"/>
                </a:cxn>
              </a:cxnLst>
              <a:rect l="0" t="0" r="r" b="b"/>
              <a:pathLst>
                <a:path w="49" h="15">
                  <a:moveTo>
                    <a:pt x="41" y="0"/>
                  </a:moveTo>
                  <a:cubicBezTo>
                    <a:pt x="0" y="0"/>
                    <a:pt x="0" y="0"/>
                    <a:pt x="0" y="0"/>
                  </a:cubicBezTo>
                  <a:cubicBezTo>
                    <a:pt x="6" y="5"/>
                    <a:pt x="11" y="10"/>
                    <a:pt x="16" y="15"/>
                  </a:cubicBezTo>
                  <a:cubicBezTo>
                    <a:pt x="41" y="15"/>
                    <a:pt x="41" y="15"/>
                    <a:pt x="41" y="15"/>
                  </a:cubicBezTo>
                  <a:cubicBezTo>
                    <a:pt x="45" y="15"/>
                    <a:pt x="49" y="12"/>
                    <a:pt x="49" y="7"/>
                  </a:cubicBezTo>
                  <a:cubicBezTo>
                    <a:pt x="49" y="3"/>
                    <a:pt x="45" y="0"/>
                    <a:pt x="41"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6" name="Freeform 1113">
              <a:extLst>
                <a:ext uri="{FF2B5EF4-FFF2-40B4-BE49-F238E27FC236}">
                  <a16:creationId xmlns:a16="http://schemas.microsoft.com/office/drawing/2014/main" id="{DE2CEFCF-1B09-232E-2036-9A69C7FB3987}"/>
                </a:ext>
              </a:extLst>
            </p:cNvPr>
            <p:cNvSpPr>
              <a:spLocks/>
            </p:cNvSpPr>
            <p:nvPr/>
          </p:nvSpPr>
          <p:spPr bwMode="auto">
            <a:xfrm>
              <a:off x="7061201" y="4510088"/>
              <a:ext cx="50800" cy="11113"/>
            </a:xfrm>
            <a:custGeom>
              <a:avLst/>
              <a:gdLst>
                <a:gd name="T0" fmla="*/ 46 w 62"/>
                <a:gd name="T1" fmla="*/ 0 h 15"/>
                <a:gd name="T2" fmla="*/ 8 w 62"/>
                <a:gd name="T3" fmla="*/ 0 h 15"/>
                <a:gd name="T4" fmla="*/ 0 w 62"/>
                <a:gd name="T5" fmla="*/ 7 h 15"/>
                <a:gd name="T6" fmla="*/ 8 w 62"/>
                <a:gd name="T7" fmla="*/ 15 h 15"/>
                <a:gd name="T8" fmla="*/ 62 w 62"/>
                <a:gd name="T9" fmla="*/ 15 h 15"/>
                <a:gd name="T10" fmla="*/ 46 w 62"/>
                <a:gd name="T11" fmla="*/ 0 h 15"/>
              </a:gdLst>
              <a:ahLst/>
              <a:cxnLst>
                <a:cxn ang="0">
                  <a:pos x="T0" y="T1"/>
                </a:cxn>
                <a:cxn ang="0">
                  <a:pos x="T2" y="T3"/>
                </a:cxn>
                <a:cxn ang="0">
                  <a:pos x="T4" y="T5"/>
                </a:cxn>
                <a:cxn ang="0">
                  <a:pos x="T6" y="T7"/>
                </a:cxn>
                <a:cxn ang="0">
                  <a:pos x="T8" y="T9"/>
                </a:cxn>
                <a:cxn ang="0">
                  <a:pos x="T10" y="T11"/>
                </a:cxn>
              </a:cxnLst>
              <a:rect l="0" t="0" r="r" b="b"/>
              <a:pathLst>
                <a:path w="62" h="15">
                  <a:moveTo>
                    <a:pt x="46" y="0"/>
                  </a:moveTo>
                  <a:cubicBezTo>
                    <a:pt x="8" y="0"/>
                    <a:pt x="8" y="0"/>
                    <a:pt x="8" y="0"/>
                  </a:cubicBezTo>
                  <a:cubicBezTo>
                    <a:pt x="4" y="0"/>
                    <a:pt x="0" y="3"/>
                    <a:pt x="0" y="7"/>
                  </a:cubicBezTo>
                  <a:cubicBezTo>
                    <a:pt x="0" y="12"/>
                    <a:pt x="4" y="15"/>
                    <a:pt x="8" y="15"/>
                  </a:cubicBezTo>
                  <a:cubicBezTo>
                    <a:pt x="62" y="15"/>
                    <a:pt x="62" y="15"/>
                    <a:pt x="62" y="15"/>
                  </a:cubicBezTo>
                  <a:cubicBezTo>
                    <a:pt x="57" y="10"/>
                    <a:pt x="52" y="5"/>
                    <a:pt x="46" y="0"/>
                  </a:cubicBezTo>
                </a:path>
              </a:pathLst>
            </a:custGeom>
            <a:solidFill>
              <a:srgbClr val="92DE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7" name="Freeform 1114">
              <a:extLst>
                <a:ext uri="{FF2B5EF4-FFF2-40B4-BE49-F238E27FC236}">
                  <a16:creationId xmlns:a16="http://schemas.microsoft.com/office/drawing/2014/main" id="{7A8787FB-E5DA-E3E8-C6D9-9AC8041BD35B}"/>
                </a:ext>
              </a:extLst>
            </p:cNvPr>
            <p:cNvSpPr>
              <a:spLocks/>
            </p:cNvSpPr>
            <p:nvPr/>
          </p:nvSpPr>
          <p:spPr bwMode="auto">
            <a:xfrm>
              <a:off x="7075488" y="4554538"/>
              <a:ext cx="49213" cy="242888"/>
            </a:xfrm>
            <a:custGeom>
              <a:avLst/>
              <a:gdLst>
                <a:gd name="T0" fmla="*/ 34 w 62"/>
                <a:gd name="T1" fmla="*/ 21 h 299"/>
                <a:gd name="T2" fmla="*/ 0 w 62"/>
                <a:gd name="T3" fmla="*/ 0 h 299"/>
                <a:gd name="T4" fmla="*/ 0 w 62"/>
                <a:gd name="T5" fmla="*/ 266 h 299"/>
                <a:gd name="T6" fmla="*/ 31 w 62"/>
                <a:gd name="T7" fmla="*/ 299 h 299"/>
                <a:gd name="T8" fmla="*/ 62 w 62"/>
                <a:gd name="T9" fmla="*/ 266 h 299"/>
                <a:gd name="T10" fmla="*/ 62 w 62"/>
                <a:gd name="T11" fmla="*/ 21 h 299"/>
                <a:gd name="T12" fmla="*/ 34 w 62"/>
                <a:gd name="T13" fmla="*/ 21 h 299"/>
              </a:gdLst>
              <a:ahLst/>
              <a:cxnLst>
                <a:cxn ang="0">
                  <a:pos x="T0" y="T1"/>
                </a:cxn>
                <a:cxn ang="0">
                  <a:pos x="T2" y="T3"/>
                </a:cxn>
                <a:cxn ang="0">
                  <a:pos x="T4" y="T5"/>
                </a:cxn>
                <a:cxn ang="0">
                  <a:pos x="T6" y="T7"/>
                </a:cxn>
                <a:cxn ang="0">
                  <a:pos x="T8" y="T9"/>
                </a:cxn>
                <a:cxn ang="0">
                  <a:pos x="T10" y="T11"/>
                </a:cxn>
                <a:cxn ang="0">
                  <a:pos x="T12" y="T13"/>
                </a:cxn>
              </a:cxnLst>
              <a:rect l="0" t="0" r="r" b="b"/>
              <a:pathLst>
                <a:path w="62" h="299">
                  <a:moveTo>
                    <a:pt x="34" y="21"/>
                  </a:moveTo>
                  <a:cubicBezTo>
                    <a:pt x="21" y="21"/>
                    <a:pt x="8" y="9"/>
                    <a:pt x="0" y="0"/>
                  </a:cubicBezTo>
                  <a:cubicBezTo>
                    <a:pt x="0" y="266"/>
                    <a:pt x="0" y="266"/>
                    <a:pt x="0" y="266"/>
                  </a:cubicBezTo>
                  <a:cubicBezTo>
                    <a:pt x="0" y="284"/>
                    <a:pt x="13" y="299"/>
                    <a:pt x="31" y="299"/>
                  </a:cubicBezTo>
                  <a:cubicBezTo>
                    <a:pt x="48" y="299"/>
                    <a:pt x="62" y="284"/>
                    <a:pt x="62" y="266"/>
                  </a:cubicBezTo>
                  <a:cubicBezTo>
                    <a:pt x="62" y="21"/>
                    <a:pt x="62" y="21"/>
                    <a:pt x="62" y="21"/>
                  </a:cubicBezTo>
                  <a:cubicBezTo>
                    <a:pt x="52" y="21"/>
                    <a:pt x="42" y="21"/>
                    <a:pt x="34" y="21"/>
                  </a:cubicBezTo>
                </a:path>
              </a:pathLst>
            </a:custGeom>
            <a:solidFill>
              <a:srgbClr val="3EC3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8" name="Rectangle 1115">
              <a:extLst>
                <a:ext uri="{FF2B5EF4-FFF2-40B4-BE49-F238E27FC236}">
                  <a16:creationId xmlns:a16="http://schemas.microsoft.com/office/drawing/2014/main" id="{E02ABFC4-6E23-8F54-8135-1EEB95906D42}"/>
                </a:ext>
              </a:extLst>
            </p:cNvPr>
            <p:cNvSpPr>
              <a:spLocks noChangeArrowheads="1"/>
            </p:cNvSpPr>
            <p:nvPr/>
          </p:nvSpPr>
          <p:spPr bwMode="auto">
            <a:xfrm>
              <a:off x="6791326" y="4552950"/>
              <a:ext cx="401638" cy="15875"/>
            </a:xfrm>
            <a:prstGeom prst="rect">
              <a:avLst/>
            </a:prstGeom>
            <a:solidFill>
              <a:srgbClr val="D3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9" name="Rectangle 1116">
              <a:extLst>
                <a:ext uri="{FF2B5EF4-FFF2-40B4-BE49-F238E27FC236}">
                  <a16:creationId xmlns:a16="http://schemas.microsoft.com/office/drawing/2014/main" id="{A8EAD7B7-6FFD-084C-535F-3BBB23F63B67}"/>
                </a:ext>
              </a:extLst>
            </p:cNvPr>
            <p:cNvSpPr>
              <a:spLocks noChangeArrowheads="1"/>
            </p:cNvSpPr>
            <p:nvPr/>
          </p:nvSpPr>
          <p:spPr bwMode="auto">
            <a:xfrm>
              <a:off x="6791326" y="4552950"/>
              <a:ext cx="401638" cy="15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30" name="Freeform 1117">
              <a:extLst>
                <a:ext uri="{FF2B5EF4-FFF2-40B4-BE49-F238E27FC236}">
                  <a16:creationId xmlns:a16="http://schemas.microsoft.com/office/drawing/2014/main" id="{ACEF6416-BF69-6634-A2D0-CFE9D2360514}"/>
                </a:ext>
              </a:extLst>
            </p:cNvPr>
            <p:cNvSpPr>
              <a:spLocks/>
            </p:cNvSpPr>
            <p:nvPr/>
          </p:nvSpPr>
          <p:spPr bwMode="auto">
            <a:xfrm>
              <a:off x="6757988" y="4868863"/>
              <a:ext cx="468313" cy="50800"/>
            </a:xfrm>
            <a:custGeom>
              <a:avLst/>
              <a:gdLst>
                <a:gd name="T0" fmla="*/ 289 w 295"/>
                <a:gd name="T1" fmla="*/ 32 h 32"/>
                <a:gd name="T2" fmla="*/ 0 w 295"/>
                <a:gd name="T3" fmla="*/ 32 h 32"/>
                <a:gd name="T4" fmla="*/ 12 w 295"/>
                <a:gd name="T5" fmla="*/ 0 h 32"/>
                <a:gd name="T6" fmla="*/ 295 w 295"/>
                <a:gd name="T7" fmla="*/ 0 h 32"/>
                <a:gd name="T8" fmla="*/ 289 w 295"/>
                <a:gd name="T9" fmla="*/ 32 h 32"/>
              </a:gdLst>
              <a:ahLst/>
              <a:cxnLst>
                <a:cxn ang="0">
                  <a:pos x="T0" y="T1"/>
                </a:cxn>
                <a:cxn ang="0">
                  <a:pos x="T2" y="T3"/>
                </a:cxn>
                <a:cxn ang="0">
                  <a:pos x="T4" y="T5"/>
                </a:cxn>
                <a:cxn ang="0">
                  <a:pos x="T6" y="T7"/>
                </a:cxn>
                <a:cxn ang="0">
                  <a:pos x="T8" y="T9"/>
                </a:cxn>
              </a:cxnLst>
              <a:rect l="0" t="0" r="r" b="b"/>
              <a:pathLst>
                <a:path w="295" h="32">
                  <a:moveTo>
                    <a:pt x="289" y="32"/>
                  </a:moveTo>
                  <a:lnTo>
                    <a:pt x="0" y="32"/>
                  </a:lnTo>
                  <a:lnTo>
                    <a:pt x="12" y="0"/>
                  </a:lnTo>
                  <a:lnTo>
                    <a:pt x="295" y="0"/>
                  </a:lnTo>
                  <a:lnTo>
                    <a:pt x="289" y="32"/>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31" name="Freeform 1118">
              <a:extLst>
                <a:ext uri="{FF2B5EF4-FFF2-40B4-BE49-F238E27FC236}">
                  <a16:creationId xmlns:a16="http://schemas.microsoft.com/office/drawing/2014/main" id="{301C4BCC-EC94-1752-5CB2-715D3086CD53}"/>
                </a:ext>
              </a:extLst>
            </p:cNvPr>
            <p:cNvSpPr>
              <a:spLocks/>
            </p:cNvSpPr>
            <p:nvPr/>
          </p:nvSpPr>
          <p:spPr bwMode="auto">
            <a:xfrm>
              <a:off x="6757988" y="4868863"/>
              <a:ext cx="468313" cy="50800"/>
            </a:xfrm>
            <a:custGeom>
              <a:avLst/>
              <a:gdLst>
                <a:gd name="T0" fmla="*/ 289 w 295"/>
                <a:gd name="T1" fmla="*/ 32 h 32"/>
                <a:gd name="T2" fmla="*/ 0 w 295"/>
                <a:gd name="T3" fmla="*/ 32 h 32"/>
                <a:gd name="T4" fmla="*/ 12 w 295"/>
                <a:gd name="T5" fmla="*/ 0 h 32"/>
                <a:gd name="T6" fmla="*/ 295 w 295"/>
                <a:gd name="T7" fmla="*/ 0 h 32"/>
                <a:gd name="T8" fmla="*/ 289 w 295"/>
                <a:gd name="T9" fmla="*/ 32 h 32"/>
              </a:gdLst>
              <a:ahLst/>
              <a:cxnLst>
                <a:cxn ang="0">
                  <a:pos x="T0" y="T1"/>
                </a:cxn>
                <a:cxn ang="0">
                  <a:pos x="T2" y="T3"/>
                </a:cxn>
                <a:cxn ang="0">
                  <a:pos x="T4" y="T5"/>
                </a:cxn>
                <a:cxn ang="0">
                  <a:pos x="T6" y="T7"/>
                </a:cxn>
                <a:cxn ang="0">
                  <a:pos x="T8" y="T9"/>
                </a:cxn>
              </a:cxnLst>
              <a:rect l="0" t="0" r="r" b="b"/>
              <a:pathLst>
                <a:path w="295" h="32">
                  <a:moveTo>
                    <a:pt x="289" y="32"/>
                  </a:moveTo>
                  <a:lnTo>
                    <a:pt x="0" y="32"/>
                  </a:lnTo>
                  <a:lnTo>
                    <a:pt x="12" y="0"/>
                  </a:lnTo>
                  <a:lnTo>
                    <a:pt x="295" y="0"/>
                  </a:lnTo>
                  <a:lnTo>
                    <a:pt x="289" y="3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32" name="Rectangle 1119">
              <a:extLst>
                <a:ext uri="{FF2B5EF4-FFF2-40B4-BE49-F238E27FC236}">
                  <a16:creationId xmlns:a16="http://schemas.microsoft.com/office/drawing/2014/main" id="{007AEAE2-B8A1-DF02-98E0-203DF8CCB120}"/>
                </a:ext>
              </a:extLst>
            </p:cNvPr>
            <p:cNvSpPr>
              <a:spLocks noChangeArrowheads="1"/>
            </p:cNvSpPr>
            <p:nvPr/>
          </p:nvSpPr>
          <p:spPr bwMode="auto">
            <a:xfrm>
              <a:off x="6807201" y="4568825"/>
              <a:ext cx="26988" cy="325438"/>
            </a:xfrm>
            <a:prstGeom prst="rect">
              <a:avLst/>
            </a:prstGeom>
            <a:solidFill>
              <a:srgbClr val="D3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33" name="Rectangle 1120">
              <a:extLst>
                <a:ext uri="{FF2B5EF4-FFF2-40B4-BE49-F238E27FC236}">
                  <a16:creationId xmlns:a16="http://schemas.microsoft.com/office/drawing/2014/main" id="{DF701344-4A8D-D6B6-A147-DCB07FCA21AF}"/>
                </a:ext>
              </a:extLst>
            </p:cNvPr>
            <p:cNvSpPr>
              <a:spLocks noChangeArrowheads="1"/>
            </p:cNvSpPr>
            <p:nvPr/>
          </p:nvSpPr>
          <p:spPr bwMode="auto">
            <a:xfrm>
              <a:off x="6807201" y="4568825"/>
              <a:ext cx="26988"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34" name="Rectangle 1121">
              <a:extLst>
                <a:ext uri="{FF2B5EF4-FFF2-40B4-BE49-F238E27FC236}">
                  <a16:creationId xmlns:a16="http://schemas.microsoft.com/office/drawing/2014/main" id="{F31A6BE6-6FB1-20FD-9225-DD398F92C08B}"/>
                </a:ext>
              </a:extLst>
            </p:cNvPr>
            <p:cNvSpPr>
              <a:spLocks noChangeArrowheads="1"/>
            </p:cNvSpPr>
            <p:nvPr/>
          </p:nvSpPr>
          <p:spPr bwMode="auto">
            <a:xfrm>
              <a:off x="7145338" y="4568825"/>
              <a:ext cx="28575" cy="325438"/>
            </a:xfrm>
            <a:prstGeom prst="rect">
              <a:avLst/>
            </a:prstGeom>
            <a:solidFill>
              <a:srgbClr val="D3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35" name="Rectangle 1122">
              <a:extLst>
                <a:ext uri="{FF2B5EF4-FFF2-40B4-BE49-F238E27FC236}">
                  <a16:creationId xmlns:a16="http://schemas.microsoft.com/office/drawing/2014/main" id="{82271384-3AE2-CC8A-6FB9-1E1335B27277}"/>
                </a:ext>
              </a:extLst>
            </p:cNvPr>
            <p:cNvSpPr>
              <a:spLocks noChangeArrowheads="1"/>
            </p:cNvSpPr>
            <p:nvPr/>
          </p:nvSpPr>
          <p:spPr bwMode="auto">
            <a:xfrm>
              <a:off x="7145338" y="4568825"/>
              <a:ext cx="28575"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36" name="Rectangle 1123">
              <a:extLst>
                <a:ext uri="{FF2B5EF4-FFF2-40B4-BE49-F238E27FC236}">
                  <a16:creationId xmlns:a16="http://schemas.microsoft.com/office/drawing/2014/main" id="{897301F8-C36C-4698-74A6-CEA591F0C704}"/>
                </a:ext>
              </a:extLst>
            </p:cNvPr>
            <p:cNvSpPr>
              <a:spLocks noChangeArrowheads="1"/>
            </p:cNvSpPr>
            <p:nvPr/>
          </p:nvSpPr>
          <p:spPr bwMode="auto">
            <a:xfrm>
              <a:off x="6757988" y="4919663"/>
              <a:ext cx="458788" cy="12700"/>
            </a:xfrm>
            <a:prstGeom prst="rect">
              <a:avLst/>
            </a:prstGeom>
            <a:solidFill>
              <a:srgbClr val="4849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37" name="Freeform 1124">
              <a:extLst>
                <a:ext uri="{FF2B5EF4-FFF2-40B4-BE49-F238E27FC236}">
                  <a16:creationId xmlns:a16="http://schemas.microsoft.com/office/drawing/2014/main" id="{2D84925C-7D5B-A4F5-B5D2-6E12AFD0BACE}"/>
                </a:ext>
              </a:extLst>
            </p:cNvPr>
            <p:cNvSpPr>
              <a:spLocks/>
            </p:cNvSpPr>
            <p:nvPr/>
          </p:nvSpPr>
          <p:spPr bwMode="auto">
            <a:xfrm>
              <a:off x="7216776" y="4868863"/>
              <a:ext cx="9525" cy="63500"/>
            </a:xfrm>
            <a:custGeom>
              <a:avLst/>
              <a:gdLst>
                <a:gd name="T0" fmla="*/ 6 w 6"/>
                <a:gd name="T1" fmla="*/ 0 h 40"/>
                <a:gd name="T2" fmla="*/ 6 w 6"/>
                <a:gd name="T3" fmla="*/ 5 h 40"/>
                <a:gd name="T4" fmla="*/ 0 w 6"/>
                <a:gd name="T5" fmla="*/ 40 h 40"/>
                <a:gd name="T6" fmla="*/ 0 w 6"/>
                <a:gd name="T7" fmla="*/ 32 h 40"/>
                <a:gd name="T8" fmla="*/ 6 w 6"/>
                <a:gd name="T9" fmla="*/ 0 h 40"/>
              </a:gdLst>
              <a:ahLst/>
              <a:cxnLst>
                <a:cxn ang="0">
                  <a:pos x="T0" y="T1"/>
                </a:cxn>
                <a:cxn ang="0">
                  <a:pos x="T2" y="T3"/>
                </a:cxn>
                <a:cxn ang="0">
                  <a:pos x="T4" y="T5"/>
                </a:cxn>
                <a:cxn ang="0">
                  <a:pos x="T6" y="T7"/>
                </a:cxn>
                <a:cxn ang="0">
                  <a:pos x="T8" y="T9"/>
                </a:cxn>
              </a:cxnLst>
              <a:rect l="0" t="0" r="r" b="b"/>
              <a:pathLst>
                <a:path w="6" h="40">
                  <a:moveTo>
                    <a:pt x="6" y="0"/>
                  </a:moveTo>
                  <a:lnTo>
                    <a:pt x="6" y="5"/>
                  </a:lnTo>
                  <a:lnTo>
                    <a:pt x="0" y="40"/>
                  </a:lnTo>
                  <a:lnTo>
                    <a:pt x="0" y="32"/>
                  </a:lnTo>
                  <a:lnTo>
                    <a:pt x="6" y="0"/>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38" name="Freeform 1125">
              <a:extLst>
                <a:ext uri="{FF2B5EF4-FFF2-40B4-BE49-F238E27FC236}">
                  <a16:creationId xmlns:a16="http://schemas.microsoft.com/office/drawing/2014/main" id="{8A94E561-6504-69C0-8D87-93C29EC7A4F0}"/>
                </a:ext>
              </a:extLst>
            </p:cNvPr>
            <p:cNvSpPr>
              <a:spLocks/>
            </p:cNvSpPr>
            <p:nvPr/>
          </p:nvSpPr>
          <p:spPr bwMode="auto">
            <a:xfrm>
              <a:off x="6821488" y="4568825"/>
              <a:ext cx="12700" cy="325438"/>
            </a:xfrm>
            <a:custGeom>
              <a:avLst/>
              <a:gdLst>
                <a:gd name="T0" fmla="*/ 8 w 8"/>
                <a:gd name="T1" fmla="*/ 0 h 205"/>
                <a:gd name="T2" fmla="*/ 0 w 8"/>
                <a:gd name="T3" fmla="*/ 0 h 205"/>
                <a:gd name="T4" fmla="*/ 0 w 8"/>
                <a:gd name="T5" fmla="*/ 205 h 205"/>
                <a:gd name="T6" fmla="*/ 8 w 8"/>
                <a:gd name="T7" fmla="*/ 205 h 205"/>
                <a:gd name="T8" fmla="*/ 8 w 8"/>
                <a:gd name="T9" fmla="*/ 189 h 205"/>
                <a:gd name="T10" fmla="*/ 8 w 8"/>
                <a:gd name="T11" fmla="*/ 0 h 205"/>
              </a:gdLst>
              <a:ahLst/>
              <a:cxnLst>
                <a:cxn ang="0">
                  <a:pos x="T0" y="T1"/>
                </a:cxn>
                <a:cxn ang="0">
                  <a:pos x="T2" y="T3"/>
                </a:cxn>
                <a:cxn ang="0">
                  <a:pos x="T4" y="T5"/>
                </a:cxn>
                <a:cxn ang="0">
                  <a:pos x="T6" y="T7"/>
                </a:cxn>
                <a:cxn ang="0">
                  <a:pos x="T8" y="T9"/>
                </a:cxn>
                <a:cxn ang="0">
                  <a:pos x="T10" y="T11"/>
                </a:cxn>
              </a:cxnLst>
              <a:rect l="0" t="0" r="r" b="b"/>
              <a:pathLst>
                <a:path w="8" h="205">
                  <a:moveTo>
                    <a:pt x="8" y="0"/>
                  </a:moveTo>
                  <a:lnTo>
                    <a:pt x="0" y="0"/>
                  </a:lnTo>
                  <a:lnTo>
                    <a:pt x="0" y="205"/>
                  </a:lnTo>
                  <a:lnTo>
                    <a:pt x="8" y="205"/>
                  </a:lnTo>
                  <a:lnTo>
                    <a:pt x="8" y="189"/>
                  </a:lnTo>
                  <a:lnTo>
                    <a:pt x="8" y="0"/>
                  </a:lnTo>
                  <a:close/>
                </a:path>
              </a:pathLst>
            </a:custGeom>
            <a:solidFill>
              <a:srgbClr val="BCBC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39" name="Freeform 1126">
              <a:extLst>
                <a:ext uri="{FF2B5EF4-FFF2-40B4-BE49-F238E27FC236}">
                  <a16:creationId xmlns:a16="http://schemas.microsoft.com/office/drawing/2014/main" id="{CC51CD25-06B9-0544-4B76-0F9BC7DEDDA8}"/>
                </a:ext>
              </a:extLst>
            </p:cNvPr>
            <p:cNvSpPr>
              <a:spLocks/>
            </p:cNvSpPr>
            <p:nvPr/>
          </p:nvSpPr>
          <p:spPr bwMode="auto">
            <a:xfrm>
              <a:off x="6821488" y="4568825"/>
              <a:ext cx="12700" cy="325438"/>
            </a:xfrm>
            <a:custGeom>
              <a:avLst/>
              <a:gdLst>
                <a:gd name="T0" fmla="*/ 8 w 8"/>
                <a:gd name="T1" fmla="*/ 0 h 205"/>
                <a:gd name="T2" fmla="*/ 0 w 8"/>
                <a:gd name="T3" fmla="*/ 0 h 205"/>
                <a:gd name="T4" fmla="*/ 0 w 8"/>
                <a:gd name="T5" fmla="*/ 205 h 205"/>
                <a:gd name="T6" fmla="*/ 8 w 8"/>
                <a:gd name="T7" fmla="*/ 205 h 205"/>
                <a:gd name="T8" fmla="*/ 8 w 8"/>
                <a:gd name="T9" fmla="*/ 189 h 205"/>
                <a:gd name="T10" fmla="*/ 8 w 8"/>
                <a:gd name="T11" fmla="*/ 0 h 205"/>
              </a:gdLst>
              <a:ahLst/>
              <a:cxnLst>
                <a:cxn ang="0">
                  <a:pos x="T0" y="T1"/>
                </a:cxn>
                <a:cxn ang="0">
                  <a:pos x="T2" y="T3"/>
                </a:cxn>
                <a:cxn ang="0">
                  <a:pos x="T4" y="T5"/>
                </a:cxn>
                <a:cxn ang="0">
                  <a:pos x="T6" y="T7"/>
                </a:cxn>
                <a:cxn ang="0">
                  <a:pos x="T8" y="T9"/>
                </a:cxn>
                <a:cxn ang="0">
                  <a:pos x="T10" y="T11"/>
                </a:cxn>
              </a:cxnLst>
              <a:rect l="0" t="0" r="r" b="b"/>
              <a:pathLst>
                <a:path w="8" h="205">
                  <a:moveTo>
                    <a:pt x="8" y="0"/>
                  </a:moveTo>
                  <a:lnTo>
                    <a:pt x="0" y="0"/>
                  </a:lnTo>
                  <a:lnTo>
                    <a:pt x="0" y="205"/>
                  </a:lnTo>
                  <a:lnTo>
                    <a:pt x="8" y="205"/>
                  </a:lnTo>
                  <a:lnTo>
                    <a:pt x="8" y="189"/>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40" name="Freeform 1127">
              <a:extLst>
                <a:ext uri="{FF2B5EF4-FFF2-40B4-BE49-F238E27FC236}">
                  <a16:creationId xmlns:a16="http://schemas.microsoft.com/office/drawing/2014/main" id="{BECD6FDE-D348-E1DC-545F-523E81E88D9A}"/>
                </a:ext>
              </a:extLst>
            </p:cNvPr>
            <p:cNvSpPr>
              <a:spLocks/>
            </p:cNvSpPr>
            <p:nvPr/>
          </p:nvSpPr>
          <p:spPr bwMode="auto">
            <a:xfrm>
              <a:off x="7159626" y="4568825"/>
              <a:ext cx="14288" cy="325438"/>
            </a:xfrm>
            <a:custGeom>
              <a:avLst/>
              <a:gdLst>
                <a:gd name="T0" fmla="*/ 9 w 9"/>
                <a:gd name="T1" fmla="*/ 0 h 205"/>
                <a:gd name="T2" fmla="*/ 0 w 9"/>
                <a:gd name="T3" fmla="*/ 0 h 205"/>
                <a:gd name="T4" fmla="*/ 0 w 9"/>
                <a:gd name="T5" fmla="*/ 205 h 205"/>
                <a:gd name="T6" fmla="*/ 9 w 9"/>
                <a:gd name="T7" fmla="*/ 205 h 205"/>
                <a:gd name="T8" fmla="*/ 9 w 9"/>
                <a:gd name="T9" fmla="*/ 189 h 205"/>
                <a:gd name="T10" fmla="*/ 9 w 9"/>
                <a:gd name="T11" fmla="*/ 0 h 205"/>
              </a:gdLst>
              <a:ahLst/>
              <a:cxnLst>
                <a:cxn ang="0">
                  <a:pos x="T0" y="T1"/>
                </a:cxn>
                <a:cxn ang="0">
                  <a:pos x="T2" y="T3"/>
                </a:cxn>
                <a:cxn ang="0">
                  <a:pos x="T4" y="T5"/>
                </a:cxn>
                <a:cxn ang="0">
                  <a:pos x="T6" y="T7"/>
                </a:cxn>
                <a:cxn ang="0">
                  <a:pos x="T8" y="T9"/>
                </a:cxn>
                <a:cxn ang="0">
                  <a:pos x="T10" y="T11"/>
                </a:cxn>
              </a:cxnLst>
              <a:rect l="0" t="0" r="r" b="b"/>
              <a:pathLst>
                <a:path w="9" h="205">
                  <a:moveTo>
                    <a:pt x="9" y="0"/>
                  </a:moveTo>
                  <a:lnTo>
                    <a:pt x="0" y="0"/>
                  </a:lnTo>
                  <a:lnTo>
                    <a:pt x="0" y="205"/>
                  </a:lnTo>
                  <a:lnTo>
                    <a:pt x="9" y="205"/>
                  </a:lnTo>
                  <a:lnTo>
                    <a:pt x="9" y="189"/>
                  </a:lnTo>
                  <a:lnTo>
                    <a:pt x="9" y="0"/>
                  </a:lnTo>
                  <a:close/>
                </a:path>
              </a:pathLst>
            </a:custGeom>
            <a:solidFill>
              <a:srgbClr val="BCBC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41" name="Freeform 1128">
              <a:extLst>
                <a:ext uri="{FF2B5EF4-FFF2-40B4-BE49-F238E27FC236}">
                  <a16:creationId xmlns:a16="http://schemas.microsoft.com/office/drawing/2014/main" id="{F72A92A8-8492-B1EB-BB89-50DC3FE8AF7E}"/>
                </a:ext>
              </a:extLst>
            </p:cNvPr>
            <p:cNvSpPr>
              <a:spLocks/>
            </p:cNvSpPr>
            <p:nvPr/>
          </p:nvSpPr>
          <p:spPr bwMode="auto">
            <a:xfrm>
              <a:off x="7159626" y="4568825"/>
              <a:ext cx="14288" cy="325438"/>
            </a:xfrm>
            <a:custGeom>
              <a:avLst/>
              <a:gdLst>
                <a:gd name="T0" fmla="*/ 9 w 9"/>
                <a:gd name="T1" fmla="*/ 0 h 205"/>
                <a:gd name="T2" fmla="*/ 0 w 9"/>
                <a:gd name="T3" fmla="*/ 0 h 205"/>
                <a:gd name="T4" fmla="*/ 0 w 9"/>
                <a:gd name="T5" fmla="*/ 205 h 205"/>
                <a:gd name="T6" fmla="*/ 9 w 9"/>
                <a:gd name="T7" fmla="*/ 205 h 205"/>
                <a:gd name="T8" fmla="*/ 9 w 9"/>
                <a:gd name="T9" fmla="*/ 189 h 205"/>
                <a:gd name="T10" fmla="*/ 9 w 9"/>
                <a:gd name="T11" fmla="*/ 0 h 205"/>
              </a:gdLst>
              <a:ahLst/>
              <a:cxnLst>
                <a:cxn ang="0">
                  <a:pos x="T0" y="T1"/>
                </a:cxn>
                <a:cxn ang="0">
                  <a:pos x="T2" y="T3"/>
                </a:cxn>
                <a:cxn ang="0">
                  <a:pos x="T4" y="T5"/>
                </a:cxn>
                <a:cxn ang="0">
                  <a:pos x="T6" y="T7"/>
                </a:cxn>
                <a:cxn ang="0">
                  <a:pos x="T8" y="T9"/>
                </a:cxn>
                <a:cxn ang="0">
                  <a:pos x="T10" y="T11"/>
                </a:cxn>
              </a:cxnLst>
              <a:rect l="0" t="0" r="r" b="b"/>
              <a:pathLst>
                <a:path w="9" h="205">
                  <a:moveTo>
                    <a:pt x="9" y="0"/>
                  </a:moveTo>
                  <a:lnTo>
                    <a:pt x="0" y="0"/>
                  </a:lnTo>
                  <a:lnTo>
                    <a:pt x="0" y="205"/>
                  </a:lnTo>
                  <a:lnTo>
                    <a:pt x="9" y="205"/>
                  </a:lnTo>
                  <a:lnTo>
                    <a:pt x="9" y="189"/>
                  </a:lnTo>
                  <a:lnTo>
                    <a:pt x="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42" name="Freeform 1129">
              <a:extLst>
                <a:ext uri="{FF2B5EF4-FFF2-40B4-BE49-F238E27FC236}">
                  <a16:creationId xmlns:a16="http://schemas.microsoft.com/office/drawing/2014/main" id="{831F9A88-EF74-F856-7EBA-137425A10C58}"/>
                </a:ext>
              </a:extLst>
            </p:cNvPr>
            <p:cNvSpPr>
              <a:spLocks/>
            </p:cNvSpPr>
            <p:nvPr/>
          </p:nvSpPr>
          <p:spPr bwMode="auto">
            <a:xfrm>
              <a:off x="6791326" y="4552950"/>
              <a:ext cx="401638" cy="7938"/>
            </a:xfrm>
            <a:custGeom>
              <a:avLst/>
              <a:gdLst>
                <a:gd name="T0" fmla="*/ 253 w 253"/>
                <a:gd name="T1" fmla="*/ 0 h 5"/>
                <a:gd name="T2" fmla="*/ 213 w 253"/>
                <a:gd name="T3" fmla="*/ 0 h 5"/>
                <a:gd name="T4" fmla="*/ 175 w 253"/>
                <a:gd name="T5" fmla="*/ 0 h 5"/>
                <a:gd name="T6" fmla="*/ 149 w 253"/>
                <a:gd name="T7" fmla="*/ 0 h 5"/>
                <a:gd name="T8" fmla="*/ 111 w 253"/>
                <a:gd name="T9" fmla="*/ 0 h 5"/>
                <a:gd name="T10" fmla="*/ 82 w 253"/>
                <a:gd name="T11" fmla="*/ 0 h 5"/>
                <a:gd name="T12" fmla="*/ 44 w 253"/>
                <a:gd name="T13" fmla="*/ 0 h 5"/>
                <a:gd name="T14" fmla="*/ 0 w 253"/>
                <a:gd name="T15" fmla="*/ 0 h 5"/>
                <a:gd name="T16" fmla="*/ 0 w 253"/>
                <a:gd name="T17" fmla="*/ 5 h 5"/>
                <a:gd name="T18" fmla="*/ 253 w 253"/>
                <a:gd name="T19" fmla="*/ 5 h 5"/>
                <a:gd name="T20" fmla="*/ 253 w 253"/>
                <a:gd name="T21"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3" h="5">
                  <a:moveTo>
                    <a:pt x="253" y="0"/>
                  </a:moveTo>
                  <a:lnTo>
                    <a:pt x="213" y="0"/>
                  </a:lnTo>
                  <a:lnTo>
                    <a:pt x="175" y="0"/>
                  </a:lnTo>
                  <a:lnTo>
                    <a:pt x="149" y="0"/>
                  </a:lnTo>
                  <a:lnTo>
                    <a:pt x="111" y="0"/>
                  </a:lnTo>
                  <a:lnTo>
                    <a:pt x="82" y="0"/>
                  </a:lnTo>
                  <a:lnTo>
                    <a:pt x="44" y="0"/>
                  </a:lnTo>
                  <a:lnTo>
                    <a:pt x="0" y="0"/>
                  </a:lnTo>
                  <a:lnTo>
                    <a:pt x="0" y="5"/>
                  </a:lnTo>
                  <a:lnTo>
                    <a:pt x="253" y="5"/>
                  </a:lnTo>
                  <a:lnTo>
                    <a:pt x="253" y="0"/>
                  </a:lnTo>
                  <a:close/>
                </a:path>
              </a:pathLst>
            </a:custGeom>
            <a:solidFill>
              <a:srgbClr val="BCBC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43" name="Freeform 1130">
              <a:extLst>
                <a:ext uri="{FF2B5EF4-FFF2-40B4-BE49-F238E27FC236}">
                  <a16:creationId xmlns:a16="http://schemas.microsoft.com/office/drawing/2014/main" id="{747ACFAF-5DCF-5A0A-DEB2-820ABFD47413}"/>
                </a:ext>
              </a:extLst>
            </p:cNvPr>
            <p:cNvSpPr>
              <a:spLocks/>
            </p:cNvSpPr>
            <p:nvPr/>
          </p:nvSpPr>
          <p:spPr bwMode="auto">
            <a:xfrm>
              <a:off x="6791326" y="4552950"/>
              <a:ext cx="401638" cy="7938"/>
            </a:xfrm>
            <a:custGeom>
              <a:avLst/>
              <a:gdLst>
                <a:gd name="T0" fmla="*/ 253 w 253"/>
                <a:gd name="T1" fmla="*/ 0 h 5"/>
                <a:gd name="T2" fmla="*/ 213 w 253"/>
                <a:gd name="T3" fmla="*/ 0 h 5"/>
                <a:gd name="T4" fmla="*/ 175 w 253"/>
                <a:gd name="T5" fmla="*/ 0 h 5"/>
                <a:gd name="T6" fmla="*/ 149 w 253"/>
                <a:gd name="T7" fmla="*/ 0 h 5"/>
                <a:gd name="T8" fmla="*/ 111 w 253"/>
                <a:gd name="T9" fmla="*/ 0 h 5"/>
                <a:gd name="T10" fmla="*/ 82 w 253"/>
                <a:gd name="T11" fmla="*/ 0 h 5"/>
                <a:gd name="T12" fmla="*/ 44 w 253"/>
                <a:gd name="T13" fmla="*/ 0 h 5"/>
                <a:gd name="T14" fmla="*/ 0 w 253"/>
                <a:gd name="T15" fmla="*/ 0 h 5"/>
                <a:gd name="T16" fmla="*/ 0 w 253"/>
                <a:gd name="T17" fmla="*/ 5 h 5"/>
                <a:gd name="T18" fmla="*/ 253 w 253"/>
                <a:gd name="T19" fmla="*/ 5 h 5"/>
                <a:gd name="T20" fmla="*/ 253 w 253"/>
                <a:gd name="T21"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3" h="5">
                  <a:moveTo>
                    <a:pt x="253" y="0"/>
                  </a:moveTo>
                  <a:lnTo>
                    <a:pt x="213" y="0"/>
                  </a:lnTo>
                  <a:lnTo>
                    <a:pt x="175" y="0"/>
                  </a:lnTo>
                  <a:lnTo>
                    <a:pt x="149" y="0"/>
                  </a:lnTo>
                  <a:lnTo>
                    <a:pt x="111" y="0"/>
                  </a:lnTo>
                  <a:lnTo>
                    <a:pt x="82" y="0"/>
                  </a:lnTo>
                  <a:lnTo>
                    <a:pt x="44" y="0"/>
                  </a:lnTo>
                  <a:lnTo>
                    <a:pt x="0" y="0"/>
                  </a:lnTo>
                  <a:lnTo>
                    <a:pt x="0" y="5"/>
                  </a:lnTo>
                  <a:lnTo>
                    <a:pt x="253" y="5"/>
                  </a:lnTo>
                  <a:lnTo>
                    <a:pt x="2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44" name="Freeform 1131">
              <a:extLst>
                <a:ext uri="{FF2B5EF4-FFF2-40B4-BE49-F238E27FC236}">
                  <a16:creationId xmlns:a16="http://schemas.microsoft.com/office/drawing/2014/main" id="{447FA3F5-1F32-3869-F09F-CE63501FF7C5}"/>
                </a:ext>
              </a:extLst>
            </p:cNvPr>
            <p:cNvSpPr>
              <a:spLocks/>
            </p:cNvSpPr>
            <p:nvPr/>
          </p:nvSpPr>
          <p:spPr bwMode="auto">
            <a:xfrm>
              <a:off x="6569076" y="4406900"/>
              <a:ext cx="36513" cy="14288"/>
            </a:xfrm>
            <a:custGeom>
              <a:avLst/>
              <a:gdLst>
                <a:gd name="T0" fmla="*/ 44 w 44"/>
                <a:gd name="T1" fmla="*/ 0 h 18"/>
                <a:gd name="T2" fmla="*/ 25 w 44"/>
                <a:gd name="T3" fmla="*/ 0 h 18"/>
                <a:gd name="T4" fmla="*/ 0 w 44"/>
                <a:gd name="T5" fmla="*/ 18 h 18"/>
                <a:gd name="T6" fmla="*/ 44 w 44"/>
                <a:gd name="T7" fmla="*/ 0 h 18"/>
              </a:gdLst>
              <a:ahLst/>
              <a:cxnLst>
                <a:cxn ang="0">
                  <a:pos x="T0" y="T1"/>
                </a:cxn>
                <a:cxn ang="0">
                  <a:pos x="T2" y="T3"/>
                </a:cxn>
                <a:cxn ang="0">
                  <a:pos x="T4" y="T5"/>
                </a:cxn>
                <a:cxn ang="0">
                  <a:pos x="T6" y="T7"/>
                </a:cxn>
              </a:cxnLst>
              <a:rect l="0" t="0" r="r" b="b"/>
              <a:pathLst>
                <a:path w="44" h="18">
                  <a:moveTo>
                    <a:pt x="44" y="0"/>
                  </a:moveTo>
                  <a:cubicBezTo>
                    <a:pt x="25" y="0"/>
                    <a:pt x="25" y="0"/>
                    <a:pt x="25" y="0"/>
                  </a:cubicBezTo>
                  <a:cubicBezTo>
                    <a:pt x="13" y="0"/>
                    <a:pt x="3" y="8"/>
                    <a:pt x="0" y="18"/>
                  </a:cubicBezTo>
                  <a:cubicBezTo>
                    <a:pt x="15" y="11"/>
                    <a:pt x="29" y="5"/>
                    <a:pt x="44" y="0"/>
                  </a:cubicBezTo>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45" name="Freeform 1132">
              <a:extLst>
                <a:ext uri="{FF2B5EF4-FFF2-40B4-BE49-F238E27FC236}">
                  <a16:creationId xmlns:a16="http://schemas.microsoft.com/office/drawing/2014/main" id="{862423D3-2318-0914-01D1-FC4F4FB44FCF}"/>
                </a:ext>
              </a:extLst>
            </p:cNvPr>
            <p:cNvSpPr>
              <a:spLocks/>
            </p:cNvSpPr>
            <p:nvPr/>
          </p:nvSpPr>
          <p:spPr bwMode="auto">
            <a:xfrm>
              <a:off x="6478588" y="4406900"/>
              <a:ext cx="280988" cy="528638"/>
            </a:xfrm>
            <a:custGeom>
              <a:avLst/>
              <a:gdLst>
                <a:gd name="T0" fmla="*/ 210 w 346"/>
                <a:gd name="T1" fmla="*/ 0 h 652"/>
                <a:gd name="T2" fmla="*/ 156 w 346"/>
                <a:gd name="T3" fmla="*/ 0 h 652"/>
                <a:gd name="T4" fmla="*/ 112 w 346"/>
                <a:gd name="T5" fmla="*/ 18 h 652"/>
                <a:gd name="T6" fmla="*/ 111 w 346"/>
                <a:gd name="T7" fmla="*/ 26 h 652"/>
                <a:gd name="T8" fmla="*/ 137 w 346"/>
                <a:gd name="T9" fmla="*/ 51 h 652"/>
                <a:gd name="T10" fmla="*/ 143 w 346"/>
                <a:gd name="T11" fmla="*/ 51 h 652"/>
                <a:gd name="T12" fmla="*/ 143 w 346"/>
                <a:gd name="T13" fmla="*/ 308 h 652"/>
                <a:gd name="T14" fmla="*/ 0 w 346"/>
                <a:gd name="T15" fmla="*/ 478 h 652"/>
                <a:gd name="T16" fmla="*/ 173 w 346"/>
                <a:gd name="T17" fmla="*/ 652 h 652"/>
                <a:gd name="T18" fmla="*/ 346 w 346"/>
                <a:gd name="T19" fmla="*/ 478 h 652"/>
                <a:gd name="T20" fmla="*/ 204 w 346"/>
                <a:gd name="T21" fmla="*/ 308 h 652"/>
                <a:gd name="T22" fmla="*/ 204 w 346"/>
                <a:gd name="T23" fmla="*/ 51 h 652"/>
                <a:gd name="T24" fmla="*/ 210 w 346"/>
                <a:gd name="T25" fmla="*/ 51 h 652"/>
                <a:gd name="T26" fmla="*/ 235 w 346"/>
                <a:gd name="T27" fmla="*/ 26 h 652"/>
                <a:gd name="T28" fmla="*/ 210 w 346"/>
                <a:gd name="T29" fmla="*/ 0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6" h="652">
                  <a:moveTo>
                    <a:pt x="210" y="0"/>
                  </a:moveTo>
                  <a:cubicBezTo>
                    <a:pt x="156" y="0"/>
                    <a:pt x="156" y="0"/>
                    <a:pt x="156" y="0"/>
                  </a:cubicBezTo>
                  <a:cubicBezTo>
                    <a:pt x="141" y="5"/>
                    <a:pt x="127" y="11"/>
                    <a:pt x="112" y="18"/>
                  </a:cubicBezTo>
                  <a:cubicBezTo>
                    <a:pt x="111" y="20"/>
                    <a:pt x="111" y="23"/>
                    <a:pt x="111" y="26"/>
                  </a:cubicBezTo>
                  <a:cubicBezTo>
                    <a:pt x="111" y="40"/>
                    <a:pt x="122" y="51"/>
                    <a:pt x="137" y="51"/>
                  </a:cubicBezTo>
                  <a:cubicBezTo>
                    <a:pt x="143" y="51"/>
                    <a:pt x="143" y="51"/>
                    <a:pt x="143" y="51"/>
                  </a:cubicBezTo>
                  <a:cubicBezTo>
                    <a:pt x="143" y="308"/>
                    <a:pt x="143" y="308"/>
                    <a:pt x="143" y="308"/>
                  </a:cubicBezTo>
                  <a:cubicBezTo>
                    <a:pt x="61" y="322"/>
                    <a:pt x="0" y="393"/>
                    <a:pt x="0" y="478"/>
                  </a:cubicBezTo>
                  <a:cubicBezTo>
                    <a:pt x="0" y="574"/>
                    <a:pt x="77" y="652"/>
                    <a:pt x="173" y="652"/>
                  </a:cubicBezTo>
                  <a:cubicBezTo>
                    <a:pt x="269" y="652"/>
                    <a:pt x="346" y="574"/>
                    <a:pt x="346" y="478"/>
                  </a:cubicBezTo>
                  <a:cubicBezTo>
                    <a:pt x="346" y="393"/>
                    <a:pt x="285" y="322"/>
                    <a:pt x="204" y="308"/>
                  </a:cubicBezTo>
                  <a:cubicBezTo>
                    <a:pt x="204" y="51"/>
                    <a:pt x="204" y="51"/>
                    <a:pt x="204" y="51"/>
                  </a:cubicBezTo>
                  <a:cubicBezTo>
                    <a:pt x="210" y="51"/>
                    <a:pt x="210" y="51"/>
                    <a:pt x="210" y="51"/>
                  </a:cubicBezTo>
                  <a:cubicBezTo>
                    <a:pt x="224" y="51"/>
                    <a:pt x="235" y="40"/>
                    <a:pt x="235" y="26"/>
                  </a:cubicBezTo>
                  <a:cubicBezTo>
                    <a:pt x="235" y="11"/>
                    <a:pt x="224" y="0"/>
                    <a:pt x="210" y="0"/>
                  </a:cubicBezTo>
                </a:path>
              </a:pathLst>
            </a:custGeom>
            <a:solidFill>
              <a:srgbClr val="B6DC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46" name="Oval 1133">
              <a:extLst>
                <a:ext uri="{FF2B5EF4-FFF2-40B4-BE49-F238E27FC236}">
                  <a16:creationId xmlns:a16="http://schemas.microsoft.com/office/drawing/2014/main" id="{5715ED85-4901-0C4C-E908-A6548C0DD25F}"/>
                </a:ext>
              </a:extLst>
            </p:cNvPr>
            <p:cNvSpPr>
              <a:spLocks noChangeArrowheads="1"/>
            </p:cNvSpPr>
            <p:nvPr/>
          </p:nvSpPr>
          <p:spPr bwMode="auto">
            <a:xfrm>
              <a:off x="6567488" y="4692650"/>
              <a:ext cx="17463" cy="17463"/>
            </a:xfrm>
            <a:prstGeom prst="ellipse">
              <a:avLst/>
            </a:prstGeom>
            <a:solidFill>
              <a:srgbClr val="2BC5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47" name="Oval 1134">
              <a:extLst>
                <a:ext uri="{FF2B5EF4-FFF2-40B4-BE49-F238E27FC236}">
                  <a16:creationId xmlns:a16="http://schemas.microsoft.com/office/drawing/2014/main" id="{EFBBBE73-2DA1-DBA6-072E-8864EF411DCE}"/>
                </a:ext>
              </a:extLst>
            </p:cNvPr>
            <p:cNvSpPr>
              <a:spLocks noChangeArrowheads="1"/>
            </p:cNvSpPr>
            <p:nvPr/>
          </p:nvSpPr>
          <p:spPr bwMode="auto">
            <a:xfrm>
              <a:off x="6508751" y="4732338"/>
              <a:ext cx="31750" cy="33338"/>
            </a:xfrm>
            <a:prstGeom prst="ellipse">
              <a:avLst/>
            </a:prstGeom>
            <a:solidFill>
              <a:srgbClr val="2BC5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48" name="Oval 1135">
              <a:extLst>
                <a:ext uri="{FF2B5EF4-FFF2-40B4-BE49-F238E27FC236}">
                  <a16:creationId xmlns:a16="http://schemas.microsoft.com/office/drawing/2014/main" id="{A20FD4ED-C203-808C-5B0A-2DD1ADB728CB}"/>
                </a:ext>
              </a:extLst>
            </p:cNvPr>
            <p:cNvSpPr>
              <a:spLocks noChangeArrowheads="1"/>
            </p:cNvSpPr>
            <p:nvPr/>
          </p:nvSpPr>
          <p:spPr bwMode="auto">
            <a:xfrm>
              <a:off x="6618288" y="4721225"/>
              <a:ext cx="25400" cy="23813"/>
            </a:xfrm>
            <a:prstGeom prst="ellipse">
              <a:avLst/>
            </a:prstGeom>
            <a:solidFill>
              <a:srgbClr val="2BC5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49" name="Oval 1136">
              <a:extLst>
                <a:ext uri="{FF2B5EF4-FFF2-40B4-BE49-F238E27FC236}">
                  <a16:creationId xmlns:a16="http://schemas.microsoft.com/office/drawing/2014/main" id="{BD857579-DFF9-077F-29F5-3E97DF762751}"/>
                </a:ext>
              </a:extLst>
            </p:cNvPr>
            <p:cNvSpPr>
              <a:spLocks noChangeArrowheads="1"/>
            </p:cNvSpPr>
            <p:nvPr/>
          </p:nvSpPr>
          <p:spPr bwMode="auto">
            <a:xfrm>
              <a:off x="6699251" y="4718050"/>
              <a:ext cx="25400" cy="23813"/>
            </a:xfrm>
            <a:prstGeom prst="ellipse">
              <a:avLst/>
            </a:prstGeom>
            <a:solidFill>
              <a:srgbClr val="2BC5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50" name="Oval 1137">
              <a:extLst>
                <a:ext uri="{FF2B5EF4-FFF2-40B4-BE49-F238E27FC236}">
                  <a16:creationId xmlns:a16="http://schemas.microsoft.com/office/drawing/2014/main" id="{63D3D4D1-410F-1FD6-9E9B-F04403E9D98E}"/>
                </a:ext>
              </a:extLst>
            </p:cNvPr>
            <p:cNvSpPr>
              <a:spLocks noChangeArrowheads="1"/>
            </p:cNvSpPr>
            <p:nvPr/>
          </p:nvSpPr>
          <p:spPr bwMode="auto">
            <a:xfrm>
              <a:off x="6661151" y="4686300"/>
              <a:ext cx="15875" cy="14288"/>
            </a:xfrm>
            <a:prstGeom prst="ellipse">
              <a:avLst/>
            </a:prstGeom>
            <a:solidFill>
              <a:srgbClr val="2BC5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51" name="Oval 1138">
              <a:extLst>
                <a:ext uri="{FF2B5EF4-FFF2-40B4-BE49-F238E27FC236}">
                  <a16:creationId xmlns:a16="http://schemas.microsoft.com/office/drawing/2014/main" id="{E64A6AF4-4AAC-0D75-F324-B14CF74995F0}"/>
                </a:ext>
              </a:extLst>
            </p:cNvPr>
            <p:cNvSpPr>
              <a:spLocks noChangeArrowheads="1"/>
            </p:cNvSpPr>
            <p:nvPr/>
          </p:nvSpPr>
          <p:spPr bwMode="auto">
            <a:xfrm>
              <a:off x="6611938" y="4618038"/>
              <a:ext cx="25400" cy="25400"/>
            </a:xfrm>
            <a:prstGeom prst="ellipse">
              <a:avLst/>
            </a:prstGeom>
            <a:solidFill>
              <a:srgbClr val="2BC5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52" name="Oval 1139">
              <a:extLst>
                <a:ext uri="{FF2B5EF4-FFF2-40B4-BE49-F238E27FC236}">
                  <a16:creationId xmlns:a16="http://schemas.microsoft.com/office/drawing/2014/main" id="{EE005264-0B8D-82E6-562F-FE99C2AECA8C}"/>
                </a:ext>
              </a:extLst>
            </p:cNvPr>
            <p:cNvSpPr>
              <a:spLocks noChangeArrowheads="1"/>
            </p:cNvSpPr>
            <p:nvPr/>
          </p:nvSpPr>
          <p:spPr bwMode="auto">
            <a:xfrm>
              <a:off x="6597651" y="4554538"/>
              <a:ext cx="42863" cy="44450"/>
            </a:xfrm>
            <a:prstGeom prst="ellipse">
              <a:avLst/>
            </a:prstGeom>
            <a:solidFill>
              <a:srgbClr val="2BC5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53" name="Oval 1140">
              <a:extLst>
                <a:ext uri="{FF2B5EF4-FFF2-40B4-BE49-F238E27FC236}">
                  <a16:creationId xmlns:a16="http://schemas.microsoft.com/office/drawing/2014/main" id="{B37D9B3C-490A-4F68-EB24-0D68EBC4A8F5}"/>
                </a:ext>
              </a:extLst>
            </p:cNvPr>
            <p:cNvSpPr>
              <a:spLocks noChangeArrowheads="1"/>
            </p:cNvSpPr>
            <p:nvPr/>
          </p:nvSpPr>
          <p:spPr bwMode="auto">
            <a:xfrm>
              <a:off x="6623051" y="4486275"/>
              <a:ext cx="17463" cy="17463"/>
            </a:xfrm>
            <a:prstGeom prst="ellipse">
              <a:avLst/>
            </a:prstGeom>
            <a:solidFill>
              <a:srgbClr val="2BC5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54" name="Oval 1141">
              <a:extLst>
                <a:ext uri="{FF2B5EF4-FFF2-40B4-BE49-F238E27FC236}">
                  <a16:creationId xmlns:a16="http://schemas.microsoft.com/office/drawing/2014/main" id="{70FEFDAB-5EF9-320C-8C15-8A9455EDA88F}"/>
                </a:ext>
              </a:extLst>
            </p:cNvPr>
            <p:cNvSpPr>
              <a:spLocks noChangeArrowheads="1"/>
            </p:cNvSpPr>
            <p:nvPr/>
          </p:nvSpPr>
          <p:spPr bwMode="auto">
            <a:xfrm>
              <a:off x="6599238" y="4448175"/>
              <a:ext cx="23813" cy="25400"/>
            </a:xfrm>
            <a:prstGeom prst="ellipse">
              <a:avLst/>
            </a:prstGeom>
            <a:solidFill>
              <a:srgbClr val="2BC5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55" name="Freeform 1142">
              <a:extLst>
                <a:ext uri="{FF2B5EF4-FFF2-40B4-BE49-F238E27FC236}">
                  <a16:creationId xmlns:a16="http://schemas.microsoft.com/office/drawing/2014/main" id="{4702FA09-3446-7EA0-CDA2-379AD8F72787}"/>
                </a:ext>
              </a:extLst>
            </p:cNvPr>
            <p:cNvSpPr>
              <a:spLocks/>
            </p:cNvSpPr>
            <p:nvPr/>
          </p:nvSpPr>
          <p:spPr bwMode="auto">
            <a:xfrm>
              <a:off x="6478588" y="4730750"/>
              <a:ext cx="280988" cy="204788"/>
            </a:xfrm>
            <a:custGeom>
              <a:avLst/>
              <a:gdLst>
                <a:gd name="T0" fmla="*/ 129 w 346"/>
                <a:gd name="T1" fmla="*/ 61 h 253"/>
                <a:gd name="T2" fmla="*/ 0 w 346"/>
                <a:gd name="T3" fmla="*/ 67 h 253"/>
                <a:gd name="T4" fmla="*/ 0 w 346"/>
                <a:gd name="T5" fmla="*/ 79 h 253"/>
                <a:gd name="T6" fmla="*/ 173 w 346"/>
                <a:gd name="T7" fmla="*/ 253 h 253"/>
                <a:gd name="T8" fmla="*/ 346 w 346"/>
                <a:gd name="T9" fmla="*/ 79 h 253"/>
                <a:gd name="T10" fmla="*/ 340 w 346"/>
                <a:gd name="T11" fmla="*/ 32 h 253"/>
                <a:gd name="T12" fmla="*/ 129 w 346"/>
                <a:gd name="T13" fmla="*/ 61 h 253"/>
              </a:gdLst>
              <a:ahLst/>
              <a:cxnLst>
                <a:cxn ang="0">
                  <a:pos x="T0" y="T1"/>
                </a:cxn>
                <a:cxn ang="0">
                  <a:pos x="T2" y="T3"/>
                </a:cxn>
                <a:cxn ang="0">
                  <a:pos x="T4" y="T5"/>
                </a:cxn>
                <a:cxn ang="0">
                  <a:pos x="T6" y="T7"/>
                </a:cxn>
                <a:cxn ang="0">
                  <a:pos x="T8" y="T9"/>
                </a:cxn>
                <a:cxn ang="0">
                  <a:pos x="T10" y="T11"/>
                </a:cxn>
                <a:cxn ang="0">
                  <a:pos x="T12" y="T13"/>
                </a:cxn>
              </a:cxnLst>
              <a:rect l="0" t="0" r="r" b="b"/>
              <a:pathLst>
                <a:path w="346" h="253">
                  <a:moveTo>
                    <a:pt x="129" y="61"/>
                  </a:moveTo>
                  <a:cubicBezTo>
                    <a:pt x="87" y="83"/>
                    <a:pt x="34" y="76"/>
                    <a:pt x="0" y="67"/>
                  </a:cubicBezTo>
                  <a:cubicBezTo>
                    <a:pt x="0" y="71"/>
                    <a:pt x="0" y="75"/>
                    <a:pt x="0" y="79"/>
                  </a:cubicBezTo>
                  <a:cubicBezTo>
                    <a:pt x="0" y="175"/>
                    <a:pt x="77" y="253"/>
                    <a:pt x="173" y="253"/>
                  </a:cubicBezTo>
                  <a:cubicBezTo>
                    <a:pt x="269" y="253"/>
                    <a:pt x="346" y="175"/>
                    <a:pt x="346" y="79"/>
                  </a:cubicBezTo>
                  <a:cubicBezTo>
                    <a:pt x="346" y="63"/>
                    <a:pt x="344" y="47"/>
                    <a:pt x="340" y="32"/>
                  </a:cubicBezTo>
                  <a:cubicBezTo>
                    <a:pt x="253" y="0"/>
                    <a:pt x="184" y="32"/>
                    <a:pt x="129" y="61"/>
                  </a:cubicBezTo>
                  <a:close/>
                </a:path>
              </a:pathLst>
            </a:custGeom>
            <a:solidFill>
              <a:srgbClr val="FF21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56" name="Freeform 1143">
              <a:extLst>
                <a:ext uri="{FF2B5EF4-FFF2-40B4-BE49-F238E27FC236}">
                  <a16:creationId xmlns:a16="http://schemas.microsoft.com/office/drawing/2014/main" id="{19F72557-6BD8-4833-9A7D-30F9A96A2E8E}"/>
                </a:ext>
              </a:extLst>
            </p:cNvPr>
            <p:cNvSpPr>
              <a:spLocks/>
            </p:cNvSpPr>
            <p:nvPr/>
          </p:nvSpPr>
          <p:spPr bwMode="auto">
            <a:xfrm>
              <a:off x="6478588" y="4770438"/>
              <a:ext cx="280988" cy="165100"/>
            </a:xfrm>
            <a:custGeom>
              <a:avLst/>
              <a:gdLst>
                <a:gd name="T0" fmla="*/ 143 w 346"/>
                <a:gd name="T1" fmla="*/ 31 h 203"/>
                <a:gd name="T2" fmla="*/ 0 w 346"/>
                <a:gd name="T3" fmla="*/ 35 h 203"/>
                <a:gd name="T4" fmla="*/ 173 w 346"/>
                <a:gd name="T5" fmla="*/ 203 h 203"/>
                <a:gd name="T6" fmla="*/ 346 w 346"/>
                <a:gd name="T7" fmla="*/ 29 h 203"/>
                <a:gd name="T8" fmla="*/ 346 w 346"/>
                <a:gd name="T9" fmla="*/ 16 h 203"/>
                <a:gd name="T10" fmla="*/ 143 w 346"/>
                <a:gd name="T11" fmla="*/ 31 h 203"/>
              </a:gdLst>
              <a:ahLst/>
              <a:cxnLst>
                <a:cxn ang="0">
                  <a:pos x="T0" y="T1"/>
                </a:cxn>
                <a:cxn ang="0">
                  <a:pos x="T2" y="T3"/>
                </a:cxn>
                <a:cxn ang="0">
                  <a:pos x="T4" y="T5"/>
                </a:cxn>
                <a:cxn ang="0">
                  <a:pos x="T6" y="T7"/>
                </a:cxn>
                <a:cxn ang="0">
                  <a:pos x="T8" y="T9"/>
                </a:cxn>
                <a:cxn ang="0">
                  <a:pos x="T10" y="T11"/>
                </a:cxn>
              </a:cxnLst>
              <a:rect l="0" t="0" r="r" b="b"/>
              <a:pathLst>
                <a:path w="346" h="203">
                  <a:moveTo>
                    <a:pt x="143" y="31"/>
                  </a:moveTo>
                  <a:cubicBezTo>
                    <a:pt x="79" y="53"/>
                    <a:pt x="29" y="44"/>
                    <a:pt x="0" y="35"/>
                  </a:cubicBezTo>
                  <a:cubicBezTo>
                    <a:pt x="3" y="128"/>
                    <a:pt x="79" y="203"/>
                    <a:pt x="173" y="203"/>
                  </a:cubicBezTo>
                  <a:cubicBezTo>
                    <a:pt x="269" y="203"/>
                    <a:pt x="346" y="125"/>
                    <a:pt x="346" y="29"/>
                  </a:cubicBezTo>
                  <a:cubicBezTo>
                    <a:pt x="346" y="25"/>
                    <a:pt x="346" y="20"/>
                    <a:pt x="346" y="16"/>
                  </a:cubicBezTo>
                  <a:cubicBezTo>
                    <a:pt x="290" y="0"/>
                    <a:pt x="220" y="5"/>
                    <a:pt x="143" y="31"/>
                  </a:cubicBezTo>
                  <a:close/>
                </a:path>
              </a:pathLst>
            </a:custGeom>
            <a:solidFill>
              <a:srgbClr val="EA1B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57" name="Freeform 1144">
              <a:extLst>
                <a:ext uri="{FF2B5EF4-FFF2-40B4-BE49-F238E27FC236}">
                  <a16:creationId xmlns:a16="http://schemas.microsoft.com/office/drawing/2014/main" id="{7C49D8AB-1DB4-D902-305A-2B057DD95608}"/>
                </a:ext>
              </a:extLst>
            </p:cNvPr>
            <p:cNvSpPr>
              <a:spLocks/>
            </p:cNvSpPr>
            <p:nvPr/>
          </p:nvSpPr>
          <p:spPr bwMode="auto">
            <a:xfrm>
              <a:off x="6481763" y="4795838"/>
              <a:ext cx="277813" cy="139700"/>
            </a:xfrm>
            <a:custGeom>
              <a:avLst/>
              <a:gdLst>
                <a:gd name="T0" fmla="*/ 139 w 342"/>
                <a:gd name="T1" fmla="*/ 30 h 173"/>
                <a:gd name="T2" fmla="*/ 0 w 342"/>
                <a:gd name="T3" fmla="*/ 35 h 173"/>
                <a:gd name="T4" fmla="*/ 169 w 342"/>
                <a:gd name="T5" fmla="*/ 173 h 173"/>
                <a:gd name="T6" fmla="*/ 342 w 342"/>
                <a:gd name="T7" fmla="*/ 15 h 173"/>
                <a:gd name="T8" fmla="*/ 139 w 342"/>
                <a:gd name="T9" fmla="*/ 30 h 173"/>
              </a:gdLst>
              <a:ahLst/>
              <a:cxnLst>
                <a:cxn ang="0">
                  <a:pos x="T0" y="T1"/>
                </a:cxn>
                <a:cxn ang="0">
                  <a:pos x="T2" y="T3"/>
                </a:cxn>
                <a:cxn ang="0">
                  <a:pos x="T4" y="T5"/>
                </a:cxn>
                <a:cxn ang="0">
                  <a:pos x="T6" y="T7"/>
                </a:cxn>
                <a:cxn ang="0">
                  <a:pos x="T8" y="T9"/>
                </a:cxn>
              </a:cxnLst>
              <a:rect l="0" t="0" r="r" b="b"/>
              <a:pathLst>
                <a:path w="342" h="173">
                  <a:moveTo>
                    <a:pt x="139" y="30"/>
                  </a:moveTo>
                  <a:cubicBezTo>
                    <a:pt x="78" y="51"/>
                    <a:pt x="29" y="44"/>
                    <a:pt x="0" y="35"/>
                  </a:cubicBezTo>
                  <a:cubicBezTo>
                    <a:pt x="16" y="114"/>
                    <a:pt x="86" y="173"/>
                    <a:pt x="169" y="173"/>
                  </a:cubicBezTo>
                  <a:cubicBezTo>
                    <a:pt x="259" y="173"/>
                    <a:pt x="334" y="104"/>
                    <a:pt x="342" y="15"/>
                  </a:cubicBezTo>
                  <a:cubicBezTo>
                    <a:pt x="286" y="0"/>
                    <a:pt x="216" y="4"/>
                    <a:pt x="139" y="30"/>
                  </a:cubicBezTo>
                  <a:close/>
                </a:path>
              </a:pathLst>
            </a:custGeom>
            <a:solidFill>
              <a:srgbClr val="CE17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58" name="Freeform 1145">
              <a:extLst>
                <a:ext uri="{FF2B5EF4-FFF2-40B4-BE49-F238E27FC236}">
                  <a16:creationId xmlns:a16="http://schemas.microsoft.com/office/drawing/2014/main" id="{15B001DA-89A9-3DF8-C7E2-F7119DA96D5C}"/>
                </a:ext>
              </a:extLst>
            </p:cNvPr>
            <p:cNvSpPr>
              <a:spLocks/>
            </p:cNvSpPr>
            <p:nvPr/>
          </p:nvSpPr>
          <p:spPr bwMode="auto">
            <a:xfrm>
              <a:off x="6584951" y="4251325"/>
              <a:ext cx="379413" cy="288925"/>
            </a:xfrm>
            <a:custGeom>
              <a:avLst/>
              <a:gdLst>
                <a:gd name="T0" fmla="*/ 406 w 467"/>
                <a:gd name="T1" fmla="*/ 228 h 356"/>
                <a:gd name="T2" fmla="*/ 405 w 467"/>
                <a:gd name="T3" fmla="*/ 228 h 356"/>
                <a:gd name="T4" fmla="*/ 406 w 467"/>
                <a:gd name="T5" fmla="*/ 217 h 356"/>
                <a:gd name="T6" fmla="*/ 313 w 467"/>
                <a:gd name="T7" fmla="*/ 124 h 356"/>
                <a:gd name="T8" fmla="*/ 249 w 467"/>
                <a:gd name="T9" fmla="*/ 150 h 356"/>
                <a:gd name="T10" fmla="*/ 250 w 467"/>
                <a:gd name="T11" fmla="*/ 142 h 356"/>
                <a:gd name="T12" fmla="*/ 240 w 467"/>
                <a:gd name="T13" fmla="*/ 114 h 356"/>
                <a:gd name="T14" fmla="*/ 243 w 467"/>
                <a:gd name="T15" fmla="*/ 93 h 356"/>
                <a:gd name="T16" fmla="*/ 150 w 467"/>
                <a:gd name="T17" fmla="*/ 0 h 356"/>
                <a:gd name="T18" fmla="*/ 63 w 467"/>
                <a:gd name="T19" fmla="*/ 62 h 356"/>
                <a:gd name="T20" fmla="*/ 0 w 467"/>
                <a:gd name="T21" fmla="*/ 150 h 356"/>
                <a:gd name="T22" fmla="*/ 93 w 467"/>
                <a:gd name="T23" fmla="*/ 242 h 356"/>
                <a:gd name="T24" fmla="*/ 111 w 467"/>
                <a:gd name="T25" fmla="*/ 241 h 356"/>
                <a:gd name="T26" fmla="*/ 108 w 467"/>
                <a:gd name="T27" fmla="*/ 264 h 356"/>
                <a:gd name="T28" fmla="*/ 201 w 467"/>
                <a:gd name="T29" fmla="*/ 356 h 356"/>
                <a:gd name="T30" fmla="*/ 284 w 467"/>
                <a:gd name="T31" fmla="*/ 305 h 356"/>
                <a:gd name="T32" fmla="*/ 313 w 467"/>
                <a:gd name="T33" fmla="*/ 309 h 356"/>
                <a:gd name="T34" fmla="*/ 346 w 467"/>
                <a:gd name="T35" fmla="*/ 303 h 356"/>
                <a:gd name="T36" fmla="*/ 406 w 467"/>
                <a:gd name="T37" fmla="*/ 351 h 356"/>
                <a:gd name="T38" fmla="*/ 467 w 467"/>
                <a:gd name="T39" fmla="*/ 290 h 356"/>
                <a:gd name="T40" fmla="*/ 406 w 467"/>
                <a:gd name="T41" fmla="*/ 228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67" h="356">
                  <a:moveTo>
                    <a:pt x="406" y="228"/>
                  </a:moveTo>
                  <a:cubicBezTo>
                    <a:pt x="406" y="228"/>
                    <a:pt x="405" y="228"/>
                    <a:pt x="405" y="228"/>
                  </a:cubicBezTo>
                  <a:cubicBezTo>
                    <a:pt x="406" y="225"/>
                    <a:pt x="406" y="221"/>
                    <a:pt x="406" y="217"/>
                  </a:cubicBezTo>
                  <a:cubicBezTo>
                    <a:pt x="406" y="165"/>
                    <a:pt x="364" y="124"/>
                    <a:pt x="313" y="124"/>
                  </a:cubicBezTo>
                  <a:cubicBezTo>
                    <a:pt x="288" y="124"/>
                    <a:pt x="266" y="134"/>
                    <a:pt x="249" y="150"/>
                  </a:cubicBezTo>
                  <a:cubicBezTo>
                    <a:pt x="249" y="147"/>
                    <a:pt x="250" y="145"/>
                    <a:pt x="250" y="142"/>
                  </a:cubicBezTo>
                  <a:cubicBezTo>
                    <a:pt x="250" y="131"/>
                    <a:pt x="246" y="122"/>
                    <a:pt x="240" y="114"/>
                  </a:cubicBezTo>
                  <a:cubicBezTo>
                    <a:pt x="242" y="107"/>
                    <a:pt x="243" y="100"/>
                    <a:pt x="243" y="93"/>
                  </a:cubicBezTo>
                  <a:cubicBezTo>
                    <a:pt x="243" y="42"/>
                    <a:pt x="201" y="0"/>
                    <a:pt x="150" y="0"/>
                  </a:cubicBezTo>
                  <a:cubicBezTo>
                    <a:pt x="110" y="0"/>
                    <a:pt x="75" y="26"/>
                    <a:pt x="63" y="62"/>
                  </a:cubicBezTo>
                  <a:cubicBezTo>
                    <a:pt x="26" y="75"/>
                    <a:pt x="0" y="109"/>
                    <a:pt x="0" y="150"/>
                  </a:cubicBezTo>
                  <a:cubicBezTo>
                    <a:pt x="0" y="201"/>
                    <a:pt x="42" y="242"/>
                    <a:pt x="93" y="242"/>
                  </a:cubicBezTo>
                  <a:cubicBezTo>
                    <a:pt x="99" y="242"/>
                    <a:pt x="105" y="242"/>
                    <a:pt x="111" y="241"/>
                  </a:cubicBezTo>
                  <a:cubicBezTo>
                    <a:pt x="109" y="248"/>
                    <a:pt x="108" y="256"/>
                    <a:pt x="108" y="264"/>
                  </a:cubicBezTo>
                  <a:cubicBezTo>
                    <a:pt x="108" y="315"/>
                    <a:pt x="149" y="356"/>
                    <a:pt x="201" y="356"/>
                  </a:cubicBezTo>
                  <a:cubicBezTo>
                    <a:pt x="237" y="356"/>
                    <a:pt x="269" y="335"/>
                    <a:pt x="284" y="305"/>
                  </a:cubicBezTo>
                  <a:cubicBezTo>
                    <a:pt x="293" y="308"/>
                    <a:pt x="303" y="309"/>
                    <a:pt x="313" y="309"/>
                  </a:cubicBezTo>
                  <a:cubicBezTo>
                    <a:pt x="325" y="309"/>
                    <a:pt x="336" y="307"/>
                    <a:pt x="346" y="303"/>
                  </a:cubicBezTo>
                  <a:cubicBezTo>
                    <a:pt x="353" y="330"/>
                    <a:pt x="377" y="351"/>
                    <a:pt x="406" y="351"/>
                  </a:cubicBezTo>
                  <a:cubicBezTo>
                    <a:pt x="440" y="351"/>
                    <a:pt x="467" y="323"/>
                    <a:pt x="467" y="290"/>
                  </a:cubicBezTo>
                  <a:cubicBezTo>
                    <a:pt x="467" y="256"/>
                    <a:pt x="440" y="228"/>
                    <a:pt x="406" y="228"/>
                  </a:cubicBezTo>
                  <a:close/>
                </a:path>
              </a:pathLst>
            </a:custGeom>
            <a:solidFill>
              <a:schemeClr val="tx2">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59" name="Freeform 1146">
              <a:extLst>
                <a:ext uri="{FF2B5EF4-FFF2-40B4-BE49-F238E27FC236}">
                  <a16:creationId xmlns:a16="http://schemas.microsoft.com/office/drawing/2014/main" id="{CECD6A1E-54DD-FD09-D80F-1275DA1711A6}"/>
                </a:ext>
              </a:extLst>
            </p:cNvPr>
            <p:cNvSpPr>
              <a:spLocks/>
            </p:cNvSpPr>
            <p:nvPr/>
          </p:nvSpPr>
          <p:spPr bwMode="auto">
            <a:xfrm>
              <a:off x="6378576" y="4918075"/>
              <a:ext cx="450850" cy="325438"/>
            </a:xfrm>
            <a:custGeom>
              <a:avLst/>
              <a:gdLst>
                <a:gd name="T0" fmla="*/ 421 w 554"/>
                <a:gd name="T1" fmla="*/ 362 h 400"/>
                <a:gd name="T2" fmla="*/ 277 w 554"/>
                <a:gd name="T3" fmla="*/ 369 h 400"/>
                <a:gd name="T4" fmla="*/ 133 w 554"/>
                <a:gd name="T5" fmla="*/ 362 h 400"/>
                <a:gd name="T6" fmla="*/ 0 w 554"/>
                <a:gd name="T7" fmla="*/ 347 h 400"/>
                <a:gd name="T8" fmla="*/ 0 w 554"/>
                <a:gd name="T9" fmla="*/ 33 h 400"/>
                <a:gd name="T10" fmla="*/ 15 w 554"/>
                <a:gd name="T11" fmla="*/ 24 h 400"/>
                <a:gd name="T12" fmla="*/ 135 w 554"/>
                <a:gd name="T13" fmla="*/ 43 h 400"/>
                <a:gd name="T14" fmla="*/ 277 w 554"/>
                <a:gd name="T15" fmla="*/ 66 h 400"/>
                <a:gd name="T16" fmla="*/ 419 w 554"/>
                <a:gd name="T17" fmla="*/ 43 h 400"/>
                <a:gd name="T18" fmla="*/ 540 w 554"/>
                <a:gd name="T19" fmla="*/ 24 h 400"/>
                <a:gd name="T20" fmla="*/ 554 w 554"/>
                <a:gd name="T21" fmla="*/ 33 h 400"/>
                <a:gd name="T22" fmla="*/ 554 w 554"/>
                <a:gd name="T23" fmla="*/ 347 h 400"/>
                <a:gd name="T24" fmla="*/ 421 w 554"/>
                <a:gd name="T25" fmla="*/ 362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4" h="400">
                  <a:moveTo>
                    <a:pt x="421" y="362"/>
                  </a:moveTo>
                  <a:cubicBezTo>
                    <a:pt x="356" y="325"/>
                    <a:pt x="277" y="369"/>
                    <a:pt x="277" y="369"/>
                  </a:cubicBezTo>
                  <a:cubicBezTo>
                    <a:pt x="277" y="369"/>
                    <a:pt x="198" y="325"/>
                    <a:pt x="133" y="362"/>
                  </a:cubicBezTo>
                  <a:cubicBezTo>
                    <a:pt x="68" y="400"/>
                    <a:pt x="5" y="354"/>
                    <a:pt x="0" y="347"/>
                  </a:cubicBezTo>
                  <a:cubicBezTo>
                    <a:pt x="0" y="33"/>
                    <a:pt x="0" y="33"/>
                    <a:pt x="0" y="33"/>
                  </a:cubicBezTo>
                  <a:cubicBezTo>
                    <a:pt x="0" y="33"/>
                    <a:pt x="7" y="20"/>
                    <a:pt x="15" y="24"/>
                  </a:cubicBezTo>
                  <a:cubicBezTo>
                    <a:pt x="39" y="35"/>
                    <a:pt x="92" y="70"/>
                    <a:pt x="135" y="43"/>
                  </a:cubicBezTo>
                  <a:cubicBezTo>
                    <a:pt x="203" y="0"/>
                    <a:pt x="277" y="66"/>
                    <a:pt x="277" y="66"/>
                  </a:cubicBezTo>
                  <a:cubicBezTo>
                    <a:pt x="277" y="66"/>
                    <a:pt x="351" y="0"/>
                    <a:pt x="419" y="43"/>
                  </a:cubicBezTo>
                  <a:cubicBezTo>
                    <a:pt x="462" y="70"/>
                    <a:pt x="515" y="35"/>
                    <a:pt x="540" y="24"/>
                  </a:cubicBezTo>
                  <a:cubicBezTo>
                    <a:pt x="548" y="20"/>
                    <a:pt x="554" y="33"/>
                    <a:pt x="554" y="33"/>
                  </a:cubicBezTo>
                  <a:cubicBezTo>
                    <a:pt x="554" y="347"/>
                    <a:pt x="554" y="347"/>
                    <a:pt x="554" y="347"/>
                  </a:cubicBezTo>
                  <a:cubicBezTo>
                    <a:pt x="549" y="354"/>
                    <a:pt x="486" y="400"/>
                    <a:pt x="421" y="362"/>
                  </a:cubicBezTo>
                </a:path>
              </a:pathLst>
            </a:custGeom>
            <a:solidFill>
              <a:srgbClr val="002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60" name="Freeform 1147">
              <a:extLst>
                <a:ext uri="{FF2B5EF4-FFF2-40B4-BE49-F238E27FC236}">
                  <a16:creationId xmlns:a16="http://schemas.microsoft.com/office/drawing/2014/main" id="{9A9EFD84-0567-28C7-F1DC-E1ED1B811ACE}"/>
                </a:ext>
              </a:extLst>
            </p:cNvPr>
            <p:cNvSpPr>
              <a:spLocks/>
            </p:cNvSpPr>
            <p:nvPr/>
          </p:nvSpPr>
          <p:spPr bwMode="auto">
            <a:xfrm>
              <a:off x="6391276" y="4918075"/>
              <a:ext cx="427038" cy="315913"/>
            </a:xfrm>
            <a:custGeom>
              <a:avLst/>
              <a:gdLst>
                <a:gd name="T0" fmla="*/ 398 w 525"/>
                <a:gd name="T1" fmla="*/ 352 h 389"/>
                <a:gd name="T2" fmla="*/ 262 w 525"/>
                <a:gd name="T3" fmla="*/ 359 h 389"/>
                <a:gd name="T4" fmla="*/ 126 w 525"/>
                <a:gd name="T5" fmla="*/ 352 h 389"/>
                <a:gd name="T6" fmla="*/ 0 w 525"/>
                <a:gd name="T7" fmla="*/ 338 h 389"/>
                <a:gd name="T8" fmla="*/ 0 w 525"/>
                <a:gd name="T9" fmla="*/ 32 h 389"/>
                <a:gd name="T10" fmla="*/ 128 w 525"/>
                <a:gd name="T11" fmla="*/ 41 h 389"/>
                <a:gd name="T12" fmla="*/ 262 w 525"/>
                <a:gd name="T13" fmla="*/ 64 h 389"/>
                <a:gd name="T14" fmla="*/ 396 w 525"/>
                <a:gd name="T15" fmla="*/ 41 h 389"/>
                <a:gd name="T16" fmla="*/ 525 w 525"/>
                <a:gd name="T17" fmla="*/ 32 h 389"/>
                <a:gd name="T18" fmla="*/ 525 w 525"/>
                <a:gd name="T19" fmla="*/ 338 h 389"/>
                <a:gd name="T20" fmla="*/ 398 w 525"/>
                <a:gd name="T21" fmla="*/ 352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5" h="389">
                  <a:moveTo>
                    <a:pt x="398" y="352"/>
                  </a:moveTo>
                  <a:cubicBezTo>
                    <a:pt x="337" y="316"/>
                    <a:pt x="262" y="359"/>
                    <a:pt x="262" y="359"/>
                  </a:cubicBezTo>
                  <a:cubicBezTo>
                    <a:pt x="262" y="359"/>
                    <a:pt x="187" y="316"/>
                    <a:pt x="126" y="352"/>
                  </a:cubicBezTo>
                  <a:cubicBezTo>
                    <a:pt x="64" y="389"/>
                    <a:pt x="4" y="344"/>
                    <a:pt x="0" y="338"/>
                  </a:cubicBezTo>
                  <a:cubicBezTo>
                    <a:pt x="0" y="32"/>
                    <a:pt x="0" y="32"/>
                    <a:pt x="0" y="32"/>
                  </a:cubicBezTo>
                  <a:cubicBezTo>
                    <a:pt x="0" y="32"/>
                    <a:pt x="73" y="76"/>
                    <a:pt x="128" y="41"/>
                  </a:cubicBezTo>
                  <a:cubicBezTo>
                    <a:pt x="192" y="0"/>
                    <a:pt x="262" y="64"/>
                    <a:pt x="262" y="64"/>
                  </a:cubicBezTo>
                  <a:cubicBezTo>
                    <a:pt x="262" y="64"/>
                    <a:pt x="332" y="0"/>
                    <a:pt x="396" y="41"/>
                  </a:cubicBezTo>
                  <a:cubicBezTo>
                    <a:pt x="451" y="76"/>
                    <a:pt x="525" y="32"/>
                    <a:pt x="525" y="32"/>
                  </a:cubicBezTo>
                  <a:cubicBezTo>
                    <a:pt x="525" y="338"/>
                    <a:pt x="525" y="338"/>
                    <a:pt x="525" y="338"/>
                  </a:cubicBezTo>
                  <a:cubicBezTo>
                    <a:pt x="520" y="344"/>
                    <a:pt x="460" y="389"/>
                    <a:pt x="398" y="352"/>
                  </a:cubicBezTo>
                </a:path>
              </a:pathLst>
            </a:custGeom>
            <a:solidFill>
              <a:schemeClr val="tx2">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61" name="Freeform 1148">
              <a:extLst>
                <a:ext uri="{FF2B5EF4-FFF2-40B4-BE49-F238E27FC236}">
                  <a16:creationId xmlns:a16="http://schemas.microsoft.com/office/drawing/2014/main" id="{80B4A519-2DB3-A3A7-4726-54245A808671}"/>
                </a:ext>
              </a:extLst>
            </p:cNvPr>
            <p:cNvSpPr>
              <a:spLocks/>
            </p:cNvSpPr>
            <p:nvPr/>
          </p:nvSpPr>
          <p:spPr bwMode="auto">
            <a:xfrm>
              <a:off x="6518276" y="4929188"/>
              <a:ext cx="31750" cy="7938"/>
            </a:xfrm>
            <a:custGeom>
              <a:avLst/>
              <a:gdLst>
                <a:gd name="T0" fmla="*/ 14 w 20"/>
                <a:gd name="T1" fmla="*/ 0 h 5"/>
                <a:gd name="T2" fmla="*/ 20 w 20"/>
                <a:gd name="T3" fmla="*/ 5 h 5"/>
                <a:gd name="T4" fmla="*/ 12 w 20"/>
                <a:gd name="T5" fmla="*/ 5 h 5"/>
                <a:gd name="T6" fmla="*/ 0 w 20"/>
                <a:gd name="T7" fmla="*/ 0 h 5"/>
                <a:gd name="T8" fmla="*/ 14 w 20"/>
                <a:gd name="T9" fmla="*/ 0 h 5"/>
              </a:gdLst>
              <a:ahLst/>
              <a:cxnLst>
                <a:cxn ang="0">
                  <a:pos x="T0" y="T1"/>
                </a:cxn>
                <a:cxn ang="0">
                  <a:pos x="T2" y="T3"/>
                </a:cxn>
                <a:cxn ang="0">
                  <a:pos x="T4" y="T5"/>
                </a:cxn>
                <a:cxn ang="0">
                  <a:pos x="T6" y="T7"/>
                </a:cxn>
                <a:cxn ang="0">
                  <a:pos x="T8" y="T9"/>
                </a:cxn>
              </a:cxnLst>
              <a:rect l="0" t="0" r="r" b="b"/>
              <a:pathLst>
                <a:path w="20" h="5">
                  <a:moveTo>
                    <a:pt x="14" y="0"/>
                  </a:moveTo>
                  <a:lnTo>
                    <a:pt x="20" y="5"/>
                  </a:lnTo>
                  <a:lnTo>
                    <a:pt x="12" y="5"/>
                  </a:lnTo>
                  <a:lnTo>
                    <a:pt x="0" y="0"/>
                  </a:lnTo>
                  <a:lnTo>
                    <a:pt x="14" y="0"/>
                  </a:lnTo>
                  <a:close/>
                </a:path>
              </a:pathLst>
            </a:custGeom>
            <a:solidFill>
              <a:srgbClr val="E8B8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62" name="Freeform 1149">
              <a:extLst>
                <a:ext uri="{FF2B5EF4-FFF2-40B4-BE49-F238E27FC236}">
                  <a16:creationId xmlns:a16="http://schemas.microsoft.com/office/drawing/2014/main" id="{7CFD257C-25AA-C1FB-C0A9-C8F2BD1CCBF2}"/>
                </a:ext>
              </a:extLst>
            </p:cNvPr>
            <p:cNvSpPr>
              <a:spLocks/>
            </p:cNvSpPr>
            <p:nvPr/>
          </p:nvSpPr>
          <p:spPr bwMode="auto">
            <a:xfrm>
              <a:off x="6518276" y="4929188"/>
              <a:ext cx="31750" cy="7938"/>
            </a:xfrm>
            <a:custGeom>
              <a:avLst/>
              <a:gdLst>
                <a:gd name="T0" fmla="*/ 14 w 20"/>
                <a:gd name="T1" fmla="*/ 0 h 5"/>
                <a:gd name="T2" fmla="*/ 20 w 20"/>
                <a:gd name="T3" fmla="*/ 5 h 5"/>
                <a:gd name="T4" fmla="*/ 12 w 20"/>
                <a:gd name="T5" fmla="*/ 5 h 5"/>
                <a:gd name="T6" fmla="*/ 0 w 20"/>
                <a:gd name="T7" fmla="*/ 0 h 5"/>
                <a:gd name="T8" fmla="*/ 14 w 20"/>
                <a:gd name="T9" fmla="*/ 0 h 5"/>
              </a:gdLst>
              <a:ahLst/>
              <a:cxnLst>
                <a:cxn ang="0">
                  <a:pos x="T0" y="T1"/>
                </a:cxn>
                <a:cxn ang="0">
                  <a:pos x="T2" y="T3"/>
                </a:cxn>
                <a:cxn ang="0">
                  <a:pos x="T4" y="T5"/>
                </a:cxn>
                <a:cxn ang="0">
                  <a:pos x="T6" y="T7"/>
                </a:cxn>
                <a:cxn ang="0">
                  <a:pos x="T8" y="T9"/>
                </a:cxn>
              </a:cxnLst>
              <a:rect l="0" t="0" r="r" b="b"/>
              <a:pathLst>
                <a:path w="20" h="5">
                  <a:moveTo>
                    <a:pt x="14" y="0"/>
                  </a:moveTo>
                  <a:lnTo>
                    <a:pt x="20" y="5"/>
                  </a:lnTo>
                  <a:lnTo>
                    <a:pt x="12" y="5"/>
                  </a:lnTo>
                  <a:lnTo>
                    <a:pt x="0"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63" name="Freeform 1150">
              <a:extLst>
                <a:ext uri="{FF2B5EF4-FFF2-40B4-BE49-F238E27FC236}">
                  <a16:creationId xmlns:a16="http://schemas.microsoft.com/office/drawing/2014/main" id="{4C43D861-7AE6-81D0-CC1B-3FA2124FF79E}"/>
                </a:ext>
              </a:extLst>
            </p:cNvPr>
            <p:cNvSpPr>
              <a:spLocks/>
            </p:cNvSpPr>
            <p:nvPr/>
          </p:nvSpPr>
          <p:spPr bwMode="auto">
            <a:xfrm>
              <a:off x="6391276" y="4914900"/>
              <a:ext cx="427038" cy="274638"/>
            </a:xfrm>
            <a:custGeom>
              <a:avLst/>
              <a:gdLst>
                <a:gd name="T0" fmla="*/ 398 w 525"/>
                <a:gd name="T1" fmla="*/ 306 h 337"/>
                <a:gd name="T2" fmla="*/ 262 w 525"/>
                <a:gd name="T3" fmla="*/ 311 h 337"/>
                <a:gd name="T4" fmla="*/ 126 w 525"/>
                <a:gd name="T5" fmla="*/ 306 h 337"/>
                <a:gd name="T6" fmla="*/ 0 w 525"/>
                <a:gd name="T7" fmla="*/ 293 h 337"/>
                <a:gd name="T8" fmla="*/ 0 w 525"/>
                <a:gd name="T9" fmla="*/ 28 h 337"/>
                <a:gd name="T10" fmla="*/ 128 w 525"/>
                <a:gd name="T11" fmla="*/ 36 h 337"/>
                <a:gd name="T12" fmla="*/ 262 w 525"/>
                <a:gd name="T13" fmla="*/ 56 h 337"/>
                <a:gd name="T14" fmla="*/ 396 w 525"/>
                <a:gd name="T15" fmla="*/ 36 h 337"/>
                <a:gd name="T16" fmla="*/ 525 w 525"/>
                <a:gd name="T17" fmla="*/ 28 h 337"/>
                <a:gd name="T18" fmla="*/ 525 w 525"/>
                <a:gd name="T19" fmla="*/ 293 h 337"/>
                <a:gd name="T20" fmla="*/ 398 w 525"/>
                <a:gd name="T21" fmla="*/ 306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5" h="337">
                  <a:moveTo>
                    <a:pt x="398" y="306"/>
                  </a:moveTo>
                  <a:cubicBezTo>
                    <a:pt x="337" y="274"/>
                    <a:pt x="262" y="311"/>
                    <a:pt x="262" y="311"/>
                  </a:cubicBezTo>
                  <a:cubicBezTo>
                    <a:pt x="262" y="311"/>
                    <a:pt x="187" y="274"/>
                    <a:pt x="126" y="306"/>
                  </a:cubicBezTo>
                  <a:cubicBezTo>
                    <a:pt x="64" y="337"/>
                    <a:pt x="4" y="298"/>
                    <a:pt x="0" y="293"/>
                  </a:cubicBezTo>
                  <a:cubicBezTo>
                    <a:pt x="0" y="28"/>
                    <a:pt x="0" y="28"/>
                    <a:pt x="0" y="28"/>
                  </a:cubicBezTo>
                  <a:cubicBezTo>
                    <a:pt x="0" y="28"/>
                    <a:pt x="73" y="66"/>
                    <a:pt x="128" y="36"/>
                  </a:cubicBezTo>
                  <a:cubicBezTo>
                    <a:pt x="192" y="0"/>
                    <a:pt x="262" y="56"/>
                    <a:pt x="262" y="56"/>
                  </a:cubicBezTo>
                  <a:cubicBezTo>
                    <a:pt x="262" y="56"/>
                    <a:pt x="332" y="0"/>
                    <a:pt x="396" y="36"/>
                  </a:cubicBezTo>
                  <a:cubicBezTo>
                    <a:pt x="451" y="66"/>
                    <a:pt x="525" y="28"/>
                    <a:pt x="525" y="28"/>
                  </a:cubicBezTo>
                  <a:cubicBezTo>
                    <a:pt x="525" y="293"/>
                    <a:pt x="525" y="293"/>
                    <a:pt x="525" y="293"/>
                  </a:cubicBezTo>
                  <a:cubicBezTo>
                    <a:pt x="520" y="298"/>
                    <a:pt x="460" y="337"/>
                    <a:pt x="398" y="306"/>
                  </a:cubicBezTo>
                </a:path>
              </a:pathLst>
            </a:custGeom>
            <a:solidFill>
              <a:schemeClr val="tx2">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64" name="Freeform 1151">
              <a:extLst>
                <a:ext uri="{FF2B5EF4-FFF2-40B4-BE49-F238E27FC236}">
                  <a16:creationId xmlns:a16="http://schemas.microsoft.com/office/drawing/2014/main" id="{80566910-AFE6-F164-7EEE-95FCEE87723E}"/>
                </a:ext>
              </a:extLst>
            </p:cNvPr>
            <p:cNvSpPr>
              <a:spLocks/>
            </p:cNvSpPr>
            <p:nvPr/>
          </p:nvSpPr>
          <p:spPr bwMode="auto">
            <a:xfrm>
              <a:off x="6521451" y="4935538"/>
              <a:ext cx="22225" cy="85725"/>
            </a:xfrm>
            <a:custGeom>
              <a:avLst/>
              <a:gdLst>
                <a:gd name="T0" fmla="*/ 14 w 14"/>
                <a:gd name="T1" fmla="*/ 0 h 54"/>
                <a:gd name="T2" fmla="*/ 0 w 14"/>
                <a:gd name="T3" fmla="*/ 0 h 54"/>
                <a:gd name="T4" fmla="*/ 0 w 14"/>
                <a:gd name="T5" fmla="*/ 54 h 54"/>
                <a:gd name="T6" fmla="*/ 7 w 14"/>
                <a:gd name="T7" fmla="*/ 48 h 54"/>
                <a:gd name="T8" fmla="*/ 14 w 14"/>
                <a:gd name="T9" fmla="*/ 54 h 54"/>
                <a:gd name="T10" fmla="*/ 14 w 14"/>
                <a:gd name="T11" fmla="*/ 0 h 54"/>
              </a:gdLst>
              <a:ahLst/>
              <a:cxnLst>
                <a:cxn ang="0">
                  <a:pos x="T0" y="T1"/>
                </a:cxn>
                <a:cxn ang="0">
                  <a:pos x="T2" y="T3"/>
                </a:cxn>
                <a:cxn ang="0">
                  <a:pos x="T4" y="T5"/>
                </a:cxn>
                <a:cxn ang="0">
                  <a:pos x="T6" y="T7"/>
                </a:cxn>
                <a:cxn ang="0">
                  <a:pos x="T8" y="T9"/>
                </a:cxn>
                <a:cxn ang="0">
                  <a:pos x="T10" y="T11"/>
                </a:cxn>
              </a:cxnLst>
              <a:rect l="0" t="0" r="r" b="b"/>
              <a:pathLst>
                <a:path w="14" h="54">
                  <a:moveTo>
                    <a:pt x="14" y="0"/>
                  </a:moveTo>
                  <a:lnTo>
                    <a:pt x="0" y="0"/>
                  </a:lnTo>
                  <a:lnTo>
                    <a:pt x="0" y="54"/>
                  </a:lnTo>
                  <a:lnTo>
                    <a:pt x="7" y="48"/>
                  </a:lnTo>
                  <a:lnTo>
                    <a:pt x="14" y="54"/>
                  </a:lnTo>
                  <a:lnTo>
                    <a:pt x="14"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65" name="Freeform 1152">
              <a:extLst>
                <a:ext uri="{FF2B5EF4-FFF2-40B4-BE49-F238E27FC236}">
                  <a16:creationId xmlns:a16="http://schemas.microsoft.com/office/drawing/2014/main" id="{45CABC08-36A4-A600-A0BD-EEC11041E1C4}"/>
                </a:ext>
              </a:extLst>
            </p:cNvPr>
            <p:cNvSpPr>
              <a:spLocks/>
            </p:cNvSpPr>
            <p:nvPr/>
          </p:nvSpPr>
          <p:spPr bwMode="auto">
            <a:xfrm>
              <a:off x="6521451" y="4935538"/>
              <a:ext cx="22225" cy="85725"/>
            </a:xfrm>
            <a:custGeom>
              <a:avLst/>
              <a:gdLst>
                <a:gd name="T0" fmla="*/ 14 w 14"/>
                <a:gd name="T1" fmla="*/ 0 h 54"/>
                <a:gd name="T2" fmla="*/ 0 w 14"/>
                <a:gd name="T3" fmla="*/ 0 h 54"/>
                <a:gd name="T4" fmla="*/ 0 w 14"/>
                <a:gd name="T5" fmla="*/ 54 h 54"/>
                <a:gd name="T6" fmla="*/ 7 w 14"/>
                <a:gd name="T7" fmla="*/ 48 h 54"/>
                <a:gd name="T8" fmla="*/ 14 w 14"/>
                <a:gd name="T9" fmla="*/ 54 h 54"/>
                <a:gd name="T10" fmla="*/ 14 w 14"/>
                <a:gd name="T11" fmla="*/ 0 h 54"/>
              </a:gdLst>
              <a:ahLst/>
              <a:cxnLst>
                <a:cxn ang="0">
                  <a:pos x="T0" y="T1"/>
                </a:cxn>
                <a:cxn ang="0">
                  <a:pos x="T2" y="T3"/>
                </a:cxn>
                <a:cxn ang="0">
                  <a:pos x="T4" y="T5"/>
                </a:cxn>
                <a:cxn ang="0">
                  <a:pos x="T6" y="T7"/>
                </a:cxn>
                <a:cxn ang="0">
                  <a:pos x="T8" y="T9"/>
                </a:cxn>
                <a:cxn ang="0">
                  <a:pos x="T10" y="T11"/>
                </a:cxn>
              </a:cxnLst>
              <a:rect l="0" t="0" r="r" b="b"/>
              <a:pathLst>
                <a:path w="14" h="54">
                  <a:moveTo>
                    <a:pt x="14" y="0"/>
                  </a:moveTo>
                  <a:lnTo>
                    <a:pt x="0" y="0"/>
                  </a:lnTo>
                  <a:lnTo>
                    <a:pt x="0" y="54"/>
                  </a:lnTo>
                  <a:lnTo>
                    <a:pt x="7" y="48"/>
                  </a:lnTo>
                  <a:lnTo>
                    <a:pt x="14" y="54"/>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66" name="Freeform 1153">
              <a:extLst>
                <a:ext uri="{FF2B5EF4-FFF2-40B4-BE49-F238E27FC236}">
                  <a16:creationId xmlns:a16="http://schemas.microsoft.com/office/drawing/2014/main" id="{A9156BAC-F0A2-1F18-18FA-E7B3F931BCE2}"/>
                </a:ext>
              </a:extLst>
            </p:cNvPr>
            <p:cNvSpPr>
              <a:spLocks/>
            </p:cNvSpPr>
            <p:nvPr/>
          </p:nvSpPr>
          <p:spPr bwMode="auto">
            <a:xfrm>
              <a:off x="6518276" y="4929188"/>
              <a:ext cx="22225" cy="92075"/>
            </a:xfrm>
            <a:custGeom>
              <a:avLst/>
              <a:gdLst>
                <a:gd name="T0" fmla="*/ 14 w 14"/>
                <a:gd name="T1" fmla="*/ 58 h 58"/>
                <a:gd name="T2" fmla="*/ 7 w 14"/>
                <a:gd name="T3" fmla="*/ 51 h 58"/>
                <a:gd name="T4" fmla="*/ 0 w 14"/>
                <a:gd name="T5" fmla="*/ 58 h 58"/>
                <a:gd name="T6" fmla="*/ 0 w 14"/>
                <a:gd name="T7" fmla="*/ 0 h 58"/>
                <a:gd name="T8" fmla="*/ 14 w 14"/>
                <a:gd name="T9" fmla="*/ 0 h 58"/>
                <a:gd name="T10" fmla="*/ 14 w 14"/>
                <a:gd name="T11" fmla="*/ 58 h 58"/>
              </a:gdLst>
              <a:ahLst/>
              <a:cxnLst>
                <a:cxn ang="0">
                  <a:pos x="T0" y="T1"/>
                </a:cxn>
                <a:cxn ang="0">
                  <a:pos x="T2" y="T3"/>
                </a:cxn>
                <a:cxn ang="0">
                  <a:pos x="T4" y="T5"/>
                </a:cxn>
                <a:cxn ang="0">
                  <a:pos x="T6" y="T7"/>
                </a:cxn>
                <a:cxn ang="0">
                  <a:pos x="T8" y="T9"/>
                </a:cxn>
                <a:cxn ang="0">
                  <a:pos x="T10" y="T11"/>
                </a:cxn>
              </a:cxnLst>
              <a:rect l="0" t="0" r="r" b="b"/>
              <a:pathLst>
                <a:path w="14" h="58">
                  <a:moveTo>
                    <a:pt x="14" y="58"/>
                  </a:moveTo>
                  <a:lnTo>
                    <a:pt x="7" y="51"/>
                  </a:lnTo>
                  <a:lnTo>
                    <a:pt x="0" y="58"/>
                  </a:lnTo>
                  <a:lnTo>
                    <a:pt x="0" y="0"/>
                  </a:lnTo>
                  <a:lnTo>
                    <a:pt x="14" y="0"/>
                  </a:lnTo>
                  <a:lnTo>
                    <a:pt x="14" y="58"/>
                  </a:lnTo>
                  <a:close/>
                </a:path>
              </a:pathLst>
            </a:custGeom>
            <a:solidFill>
              <a:srgbClr val="FFD3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67" name="Oval 1154">
              <a:extLst>
                <a:ext uri="{FF2B5EF4-FFF2-40B4-BE49-F238E27FC236}">
                  <a16:creationId xmlns:a16="http://schemas.microsoft.com/office/drawing/2014/main" id="{5D619A81-4370-3998-60AF-0811170B543E}"/>
                </a:ext>
              </a:extLst>
            </p:cNvPr>
            <p:cNvSpPr>
              <a:spLocks noChangeArrowheads="1"/>
            </p:cNvSpPr>
            <p:nvPr/>
          </p:nvSpPr>
          <p:spPr bwMode="auto">
            <a:xfrm>
              <a:off x="6596063" y="5205413"/>
              <a:ext cx="15875" cy="15875"/>
            </a:xfrm>
            <a:prstGeom prst="ellipse">
              <a:avLst/>
            </a:prstGeom>
            <a:solidFill>
              <a:srgbClr val="F440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68" name="Oval 1155">
              <a:extLst>
                <a:ext uri="{FF2B5EF4-FFF2-40B4-BE49-F238E27FC236}">
                  <a16:creationId xmlns:a16="http://schemas.microsoft.com/office/drawing/2014/main" id="{023C4A43-7953-3A8D-1EB3-447CEE484E0A}"/>
                </a:ext>
              </a:extLst>
            </p:cNvPr>
            <p:cNvSpPr>
              <a:spLocks noChangeArrowheads="1"/>
            </p:cNvSpPr>
            <p:nvPr/>
          </p:nvSpPr>
          <p:spPr bwMode="auto">
            <a:xfrm>
              <a:off x="6916738" y="4965700"/>
              <a:ext cx="44450" cy="42863"/>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69" name="Oval 1156">
              <a:extLst>
                <a:ext uri="{FF2B5EF4-FFF2-40B4-BE49-F238E27FC236}">
                  <a16:creationId xmlns:a16="http://schemas.microsoft.com/office/drawing/2014/main" id="{6796385F-FA05-D4B8-8289-4FD0E8EB78A6}"/>
                </a:ext>
              </a:extLst>
            </p:cNvPr>
            <p:cNvSpPr>
              <a:spLocks noChangeArrowheads="1"/>
            </p:cNvSpPr>
            <p:nvPr/>
          </p:nvSpPr>
          <p:spPr bwMode="auto">
            <a:xfrm>
              <a:off x="7031038" y="4938713"/>
              <a:ext cx="49213" cy="49213"/>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70" name="Oval 1157">
              <a:extLst>
                <a:ext uri="{FF2B5EF4-FFF2-40B4-BE49-F238E27FC236}">
                  <a16:creationId xmlns:a16="http://schemas.microsoft.com/office/drawing/2014/main" id="{C29BA83F-06A6-ECD7-2A08-C2C5B3505F27}"/>
                </a:ext>
              </a:extLst>
            </p:cNvPr>
            <p:cNvSpPr>
              <a:spLocks noChangeArrowheads="1"/>
            </p:cNvSpPr>
            <p:nvPr/>
          </p:nvSpPr>
          <p:spPr bwMode="auto">
            <a:xfrm>
              <a:off x="6967538" y="5005388"/>
              <a:ext cx="49213" cy="49213"/>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71" name="Oval 1158">
              <a:extLst>
                <a:ext uri="{FF2B5EF4-FFF2-40B4-BE49-F238E27FC236}">
                  <a16:creationId xmlns:a16="http://schemas.microsoft.com/office/drawing/2014/main" id="{A68D6F0E-FB4E-9BA7-AE56-D02EB1F0F3C9}"/>
                </a:ext>
              </a:extLst>
            </p:cNvPr>
            <p:cNvSpPr>
              <a:spLocks noChangeArrowheads="1"/>
            </p:cNvSpPr>
            <p:nvPr/>
          </p:nvSpPr>
          <p:spPr bwMode="auto">
            <a:xfrm>
              <a:off x="7080251" y="5013325"/>
              <a:ext cx="47625" cy="49213"/>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72" name="Oval 1159">
              <a:extLst>
                <a:ext uri="{FF2B5EF4-FFF2-40B4-BE49-F238E27FC236}">
                  <a16:creationId xmlns:a16="http://schemas.microsoft.com/office/drawing/2014/main" id="{DAA9656E-71D2-EB5D-B4BA-5A25C039D1F0}"/>
                </a:ext>
              </a:extLst>
            </p:cNvPr>
            <p:cNvSpPr>
              <a:spLocks noChangeArrowheads="1"/>
            </p:cNvSpPr>
            <p:nvPr/>
          </p:nvSpPr>
          <p:spPr bwMode="auto">
            <a:xfrm>
              <a:off x="6967538" y="4914900"/>
              <a:ext cx="34925" cy="36513"/>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73" name="Oval 1160">
              <a:extLst>
                <a:ext uri="{FF2B5EF4-FFF2-40B4-BE49-F238E27FC236}">
                  <a16:creationId xmlns:a16="http://schemas.microsoft.com/office/drawing/2014/main" id="{724B64CA-D61A-828B-4662-D3BD17D3DEC7}"/>
                </a:ext>
              </a:extLst>
            </p:cNvPr>
            <p:cNvSpPr>
              <a:spLocks noChangeArrowheads="1"/>
            </p:cNvSpPr>
            <p:nvPr/>
          </p:nvSpPr>
          <p:spPr bwMode="auto">
            <a:xfrm>
              <a:off x="7000876" y="4868863"/>
              <a:ext cx="17463" cy="17463"/>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74" name="Freeform 1161">
              <a:extLst>
                <a:ext uri="{FF2B5EF4-FFF2-40B4-BE49-F238E27FC236}">
                  <a16:creationId xmlns:a16="http://schemas.microsoft.com/office/drawing/2014/main" id="{DD53374E-2E56-E4C8-2275-13F40BFF085D}"/>
                </a:ext>
              </a:extLst>
            </p:cNvPr>
            <p:cNvSpPr>
              <a:spLocks/>
            </p:cNvSpPr>
            <p:nvPr/>
          </p:nvSpPr>
          <p:spPr bwMode="auto">
            <a:xfrm>
              <a:off x="6985001" y="4941888"/>
              <a:ext cx="198438" cy="147638"/>
            </a:xfrm>
            <a:custGeom>
              <a:avLst/>
              <a:gdLst>
                <a:gd name="T0" fmla="*/ 223 w 245"/>
                <a:gd name="T1" fmla="*/ 74 h 181"/>
                <a:gd name="T2" fmla="*/ 234 w 245"/>
                <a:gd name="T3" fmla="*/ 23 h 181"/>
                <a:gd name="T4" fmla="*/ 183 w 245"/>
                <a:gd name="T5" fmla="*/ 11 h 181"/>
                <a:gd name="T6" fmla="*/ 166 w 245"/>
                <a:gd name="T7" fmla="*/ 46 h 181"/>
                <a:gd name="T8" fmla="*/ 0 w 245"/>
                <a:gd name="T9" fmla="*/ 152 h 181"/>
                <a:gd name="T10" fmla="*/ 18 w 245"/>
                <a:gd name="T11" fmla="*/ 181 h 181"/>
                <a:gd name="T12" fmla="*/ 183 w 245"/>
                <a:gd name="T13" fmla="*/ 75 h 181"/>
                <a:gd name="T14" fmla="*/ 223 w 245"/>
                <a:gd name="T15" fmla="*/ 74 h 1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5" h="181">
                  <a:moveTo>
                    <a:pt x="223" y="74"/>
                  </a:moveTo>
                  <a:cubicBezTo>
                    <a:pt x="240" y="63"/>
                    <a:pt x="245" y="40"/>
                    <a:pt x="234" y="23"/>
                  </a:cubicBezTo>
                  <a:cubicBezTo>
                    <a:pt x="223" y="5"/>
                    <a:pt x="200" y="0"/>
                    <a:pt x="183" y="11"/>
                  </a:cubicBezTo>
                  <a:cubicBezTo>
                    <a:pt x="170" y="19"/>
                    <a:pt x="164" y="33"/>
                    <a:pt x="166" y="46"/>
                  </a:cubicBezTo>
                  <a:cubicBezTo>
                    <a:pt x="0" y="152"/>
                    <a:pt x="0" y="152"/>
                    <a:pt x="0" y="152"/>
                  </a:cubicBezTo>
                  <a:cubicBezTo>
                    <a:pt x="18" y="181"/>
                    <a:pt x="18" y="181"/>
                    <a:pt x="18" y="181"/>
                  </a:cubicBezTo>
                  <a:cubicBezTo>
                    <a:pt x="183" y="75"/>
                    <a:pt x="183" y="75"/>
                    <a:pt x="183" y="75"/>
                  </a:cubicBezTo>
                  <a:cubicBezTo>
                    <a:pt x="195" y="82"/>
                    <a:pt x="210" y="82"/>
                    <a:pt x="223" y="74"/>
                  </a:cubicBezTo>
                </a:path>
              </a:pathLst>
            </a:custGeom>
            <a:solidFill>
              <a:srgbClr val="B6B7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75" name="Freeform 1162">
              <a:extLst>
                <a:ext uri="{FF2B5EF4-FFF2-40B4-BE49-F238E27FC236}">
                  <a16:creationId xmlns:a16="http://schemas.microsoft.com/office/drawing/2014/main" id="{02F78A7D-7BAC-4F2D-927D-F1EA5D21EA14}"/>
                </a:ext>
              </a:extLst>
            </p:cNvPr>
            <p:cNvSpPr>
              <a:spLocks/>
            </p:cNvSpPr>
            <p:nvPr/>
          </p:nvSpPr>
          <p:spPr bwMode="auto">
            <a:xfrm>
              <a:off x="7113588" y="5003800"/>
              <a:ext cx="19050" cy="11113"/>
            </a:xfrm>
            <a:custGeom>
              <a:avLst/>
              <a:gdLst>
                <a:gd name="T0" fmla="*/ 12 w 12"/>
                <a:gd name="T1" fmla="*/ 0 h 7"/>
                <a:gd name="T2" fmla="*/ 0 w 12"/>
                <a:gd name="T3" fmla="*/ 7 h 7"/>
                <a:gd name="T4" fmla="*/ 0 w 12"/>
                <a:gd name="T5" fmla="*/ 7 h 7"/>
                <a:gd name="T6" fmla="*/ 12 w 12"/>
                <a:gd name="T7" fmla="*/ 0 h 7"/>
              </a:gdLst>
              <a:ahLst/>
              <a:cxnLst>
                <a:cxn ang="0">
                  <a:pos x="T0" y="T1"/>
                </a:cxn>
                <a:cxn ang="0">
                  <a:pos x="T2" y="T3"/>
                </a:cxn>
                <a:cxn ang="0">
                  <a:pos x="T4" y="T5"/>
                </a:cxn>
                <a:cxn ang="0">
                  <a:pos x="T6" y="T7"/>
                </a:cxn>
              </a:cxnLst>
              <a:rect l="0" t="0" r="r" b="b"/>
              <a:pathLst>
                <a:path w="12" h="7">
                  <a:moveTo>
                    <a:pt x="12" y="0"/>
                  </a:moveTo>
                  <a:lnTo>
                    <a:pt x="0" y="7"/>
                  </a:lnTo>
                  <a:lnTo>
                    <a:pt x="0" y="7"/>
                  </a:lnTo>
                  <a:lnTo>
                    <a:pt x="12" y="0"/>
                  </a:lnTo>
                  <a:close/>
                </a:path>
              </a:pathLst>
            </a:custGeom>
            <a:solidFill>
              <a:srgbClr val="0AA3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76" name="Freeform 1163">
              <a:extLst>
                <a:ext uri="{FF2B5EF4-FFF2-40B4-BE49-F238E27FC236}">
                  <a16:creationId xmlns:a16="http://schemas.microsoft.com/office/drawing/2014/main" id="{77018A6D-2FE4-6C36-7172-DAC01858E4FA}"/>
                </a:ext>
              </a:extLst>
            </p:cNvPr>
            <p:cNvSpPr>
              <a:spLocks/>
            </p:cNvSpPr>
            <p:nvPr/>
          </p:nvSpPr>
          <p:spPr bwMode="auto">
            <a:xfrm>
              <a:off x="7113588" y="5003800"/>
              <a:ext cx="19050" cy="11113"/>
            </a:xfrm>
            <a:custGeom>
              <a:avLst/>
              <a:gdLst>
                <a:gd name="T0" fmla="*/ 12 w 12"/>
                <a:gd name="T1" fmla="*/ 0 h 7"/>
                <a:gd name="T2" fmla="*/ 0 w 12"/>
                <a:gd name="T3" fmla="*/ 7 h 7"/>
                <a:gd name="T4" fmla="*/ 0 w 12"/>
                <a:gd name="T5" fmla="*/ 7 h 7"/>
                <a:gd name="T6" fmla="*/ 12 w 12"/>
                <a:gd name="T7" fmla="*/ 0 h 7"/>
              </a:gdLst>
              <a:ahLst/>
              <a:cxnLst>
                <a:cxn ang="0">
                  <a:pos x="T0" y="T1"/>
                </a:cxn>
                <a:cxn ang="0">
                  <a:pos x="T2" y="T3"/>
                </a:cxn>
                <a:cxn ang="0">
                  <a:pos x="T4" y="T5"/>
                </a:cxn>
                <a:cxn ang="0">
                  <a:pos x="T6" y="T7"/>
                </a:cxn>
              </a:cxnLst>
              <a:rect l="0" t="0" r="r" b="b"/>
              <a:pathLst>
                <a:path w="12" h="7">
                  <a:moveTo>
                    <a:pt x="12" y="0"/>
                  </a:moveTo>
                  <a:lnTo>
                    <a:pt x="0" y="7"/>
                  </a:lnTo>
                  <a:lnTo>
                    <a:pt x="0" y="7"/>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77" name="Freeform 1164">
              <a:extLst>
                <a:ext uri="{FF2B5EF4-FFF2-40B4-BE49-F238E27FC236}">
                  <a16:creationId xmlns:a16="http://schemas.microsoft.com/office/drawing/2014/main" id="{63B57AF0-D891-2073-8661-0B8A0D9B51B2}"/>
                </a:ext>
              </a:extLst>
            </p:cNvPr>
            <p:cNvSpPr>
              <a:spLocks/>
            </p:cNvSpPr>
            <p:nvPr/>
          </p:nvSpPr>
          <p:spPr bwMode="auto">
            <a:xfrm>
              <a:off x="7091363" y="5014913"/>
              <a:ext cx="22225" cy="14288"/>
            </a:xfrm>
            <a:custGeom>
              <a:avLst/>
              <a:gdLst>
                <a:gd name="T0" fmla="*/ 14 w 14"/>
                <a:gd name="T1" fmla="*/ 0 h 9"/>
                <a:gd name="T2" fmla="*/ 0 w 14"/>
                <a:gd name="T3" fmla="*/ 9 h 9"/>
                <a:gd name="T4" fmla="*/ 0 w 14"/>
                <a:gd name="T5" fmla="*/ 9 h 9"/>
                <a:gd name="T6" fmla="*/ 14 w 14"/>
                <a:gd name="T7" fmla="*/ 0 h 9"/>
                <a:gd name="T8" fmla="*/ 14 w 14"/>
                <a:gd name="T9" fmla="*/ 0 h 9"/>
              </a:gdLst>
              <a:ahLst/>
              <a:cxnLst>
                <a:cxn ang="0">
                  <a:pos x="T0" y="T1"/>
                </a:cxn>
                <a:cxn ang="0">
                  <a:pos x="T2" y="T3"/>
                </a:cxn>
                <a:cxn ang="0">
                  <a:pos x="T4" y="T5"/>
                </a:cxn>
                <a:cxn ang="0">
                  <a:pos x="T6" y="T7"/>
                </a:cxn>
                <a:cxn ang="0">
                  <a:pos x="T8" y="T9"/>
                </a:cxn>
              </a:cxnLst>
              <a:rect l="0" t="0" r="r" b="b"/>
              <a:pathLst>
                <a:path w="14" h="9">
                  <a:moveTo>
                    <a:pt x="14" y="0"/>
                  </a:moveTo>
                  <a:lnTo>
                    <a:pt x="0" y="9"/>
                  </a:lnTo>
                  <a:lnTo>
                    <a:pt x="0" y="9"/>
                  </a:lnTo>
                  <a:lnTo>
                    <a:pt x="14" y="0"/>
                  </a:lnTo>
                  <a:lnTo>
                    <a:pt x="14" y="0"/>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78" name="Freeform 1165">
              <a:extLst>
                <a:ext uri="{FF2B5EF4-FFF2-40B4-BE49-F238E27FC236}">
                  <a16:creationId xmlns:a16="http://schemas.microsoft.com/office/drawing/2014/main" id="{D5BB52E1-20D1-F37F-D48D-92C5661C5630}"/>
                </a:ext>
              </a:extLst>
            </p:cNvPr>
            <p:cNvSpPr>
              <a:spLocks/>
            </p:cNvSpPr>
            <p:nvPr/>
          </p:nvSpPr>
          <p:spPr bwMode="auto">
            <a:xfrm>
              <a:off x="7091363" y="5014913"/>
              <a:ext cx="22225" cy="14288"/>
            </a:xfrm>
            <a:custGeom>
              <a:avLst/>
              <a:gdLst>
                <a:gd name="T0" fmla="*/ 14 w 14"/>
                <a:gd name="T1" fmla="*/ 0 h 9"/>
                <a:gd name="T2" fmla="*/ 0 w 14"/>
                <a:gd name="T3" fmla="*/ 9 h 9"/>
                <a:gd name="T4" fmla="*/ 0 w 14"/>
                <a:gd name="T5" fmla="*/ 9 h 9"/>
                <a:gd name="T6" fmla="*/ 14 w 14"/>
                <a:gd name="T7" fmla="*/ 0 h 9"/>
                <a:gd name="T8" fmla="*/ 14 w 14"/>
                <a:gd name="T9" fmla="*/ 0 h 9"/>
              </a:gdLst>
              <a:ahLst/>
              <a:cxnLst>
                <a:cxn ang="0">
                  <a:pos x="T0" y="T1"/>
                </a:cxn>
                <a:cxn ang="0">
                  <a:pos x="T2" y="T3"/>
                </a:cxn>
                <a:cxn ang="0">
                  <a:pos x="T4" y="T5"/>
                </a:cxn>
                <a:cxn ang="0">
                  <a:pos x="T6" y="T7"/>
                </a:cxn>
                <a:cxn ang="0">
                  <a:pos x="T8" y="T9"/>
                </a:cxn>
              </a:cxnLst>
              <a:rect l="0" t="0" r="r" b="b"/>
              <a:pathLst>
                <a:path w="14" h="9">
                  <a:moveTo>
                    <a:pt x="14" y="0"/>
                  </a:moveTo>
                  <a:lnTo>
                    <a:pt x="0" y="9"/>
                  </a:lnTo>
                  <a:lnTo>
                    <a:pt x="0" y="9"/>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79" name="Freeform 1166">
              <a:extLst>
                <a:ext uri="{FF2B5EF4-FFF2-40B4-BE49-F238E27FC236}">
                  <a16:creationId xmlns:a16="http://schemas.microsoft.com/office/drawing/2014/main" id="{F6C8D87B-3020-4BB2-1BA3-B19A56344925}"/>
                </a:ext>
              </a:extLst>
            </p:cNvPr>
            <p:cNvSpPr>
              <a:spLocks/>
            </p:cNvSpPr>
            <p:nvPr/>
          </p:nvSpPr>
          <p:spPr bwMode="auto">
            <a:xfrm>
              <a:off x="7083426" y="4953000"/>
              <a:ext cx="96838" cy="76200"/>
            </a:xfrm>
            <a:custGeom>
              <a:avLst/>
              <a:gdLst>
                <a:gd name="T0" fmla="*/ 105 w 118"/>
                <a:gd name="T1" fmla="*/ 0 h 94"/>
                <a:gd name="T2" fmla="*/ 55 w 118"/>
                <a:gd name="T3" fmla="*/ 58 h 94"/>
                <a:gd name="T4" fmla="*/ 0 w 118"/>
                <a:gd name="T5" fmla="*/ 94 h 94"/>
                <a:gd name="T6" fmla="*/ 9 w 118"/>
                <a:gd name="T7" fmla="*/ 94 h 94"/>
                <a:gd name="T8" fmla="*/ 37 w 118"/>
                <a:gd name="T9" fmla="*/ 76 h 94"/>
                <a:gd name="T10" fmla="*/ 61 w 118"/>
                <a:gd name="T11" fmla="*/ 61 h 94"/>
                <a:gd name="T12" fmla="*/ 81 w 118"/>
                <a:gd name="T13" fmla="*/ 66 h 94"/>
                <a:gd name="T14" fmla="*/ 101 w 118"/>
                <a:gd name="T15" fmla="*/ 60 h 94"/>
                <a:gd name="T16" fmla="*/ 118 w 118"/>
                <a:gd name="T17" fmla="*/ 29 h 94"/>
                <a:gd name="T18" fmla="*/ 112 w 118"/>
                <a:gd name="T19" fmla="*/ 9 h 94"/>
                <a:gd name="T20" fmla="*/ 112 w 118"/>
                <a:gd name="T21" fmla="*/ 9 h 94"/>
                <a:gd name="T22" fmla="*/ 105 w 118"/>
                <a:gd name="T23"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8" h="94">
                  <a:moveTo>
                    <a:pt x="105" y="0"/>
                  </a:moveTo>
                  <a:cubicBezTo>
                    <a:pt x="107" y="16"/>
                    <a:pt x="104" y="47"/>
                    <a:pt x="55" y="58"/>
                  </a:cubicBezTo>
                  <a:cubicBezTo>
                    <a:pt x="0" y="94"/>
                    <a:pt x="0" y="94"/>
                    <a:pt x="0" y="94"/>
                  </a:cubicBezTo>
                  <a:cubicBezTo>
                    <a:pt x="9" y="94"/>
                    <a:pt x="9" y="94"/>
                    <a:pt x="9" y="94"/>
                  </a:cubicBezTo>
                  <a:cubicBezTo>
                    <a:pt x="37" y="76"/>
                    <a:pt x="37" y="76"/>
                    <a:pt x="37" y="76"/>
                  </a:cubicBezTo>
                  <a:cubicBezTo>
                    <a:pt x="61" y="61"/>
                    <a:pt x="61" y="61"/>
                    <a:pt x="61" y="61"/>
                  </a:cubicBezTo>
                  <a:cubicBezTo>
                    <a:pt x="67" y="64"/>
                    <a:pt x="74" y="66"/>
                    <a:pt x="81" y="66"/>
                  </a:cubicBezTo>
                  <a:cubicBezTo>
                    <a:pt x="88" y="66"/>
                    <a:pt x="95" y="64"/>
                    <a:pt x="101" y="60"/>
                  </a:cubicBezTo>
                  <a:cubicBezTo>
                    <a:pt x="112" y="53"/>
                    <a:pt x="118" y="41"/>
                    <a:pt x="118" y="29"/>
                  </a:cubicBezTo>
                  <a:cubicBezTo>
                    <a:pt x="118" y="22"/>
                    <a:pt x="116" y="15"/>
                    <a:pt x="112" y="9"/>
                  </a:cubicBezTo>
                  <a:cubicBezTo>
                    <a:pt x="112" y="9"/>
                    <a:pt x="112" y="9"/>
                    <a:pt x="112" y="9"/>
                  </a:cubicBezTo>
                  <a:cubicBezTo>
                    <a:pt x="110" y="6"/>
                    <a:pt x="108" y="3"/>
                    <a:pt x="105" y="0"/>
                  </a:cubicBezTo>
                </a:path>
              </a:pathLst>
            </a:custGeom>
            <a:solidFill>
              <a:srgbClr val="9292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80" name="Freeform 1167">
              <a:extLst>
                <a:ext uri="{FF2B5EF4-FFF2-40B4-BE49-F238E27FC236}">
                  <a16:creationId xmlns:a16="http://schemas.microsoft.com/office/drawing/2014/main" id="{A99946F2-1C11-D04B-5951-C79E0C851CE7}"/>
                </a:ext>
              </a:extLst>
            </p:cNvPr>
            <p:cNvSpPr>
              <a:spLocks/>
            </p:cNvSpPr>
            <p:nvPr/>
          </p:nvSpPr>
          <p:spPr bwMode="auto">
            <a:xfrm>
              <a:off x="6853238" y="5070475"/>
              <a:ext cx="303213" cy="152400"/>
            </a:xfrm>
            <a:custGeom>
              <a:avLst/>
              <a:gdLst>
                <a:gd name="T0" fmla="*/ 187 w 374"/>
                <a:gd name="T1" fmla="*/ 187 h 187"/>
                <a:gd name="T2" fmla="*/ 374 w 374"/>
                <a:gd name="T3" fmla="*/ 0 h 187"/>
                <a:gd name="T4" fmla="*/ 0 w 374"/>
                <a:gd name="T5" fmla="*/ 0 h 187"/>
                <a:gd name="T6" fmla="*/ 187 w 374"/>
                <a:gd name="T7" fmla="*/ 187 h 187"/>
              </a:gdLst>
              <a:ahLst/>
              <a:cxnLst>
                <a:cxn ang="0">
                  <a:pos x="T0" y="T1"/>
                </a:cxn>
                <a:cxn ang="0">
                  <a:pos x="T2" y="T3"/>
                </a:cxn>
                <a:cxn ang="0">
                  <a:pos x="T4" y="T5"/>
                </a:cxn>
                <a:cxn ang="0">
                  <a:pos x="T6" y="T7"/>
                </a:cxn>
              </a:cxnLst>
              <a:rect l="0" t="0" r="r" b="b"/>
              <a:pathLst>
                <a:path w="374" h="187">
                  <a:moveTo>
                    <a:pt x="187" y="187"/>
                  </a:moveTo>
                  <a:cubicBezTo>
                    <a:pt x="290" y="187"/>
                    <a:pt x="374" y="103"/>
                    <a:pt x="374" y="0"/>
                  </a:cubicBezTo>
                  <a:cubicBezTo>
                    <a:pt x="0" y="0"/>
                    <a:pt x="0" y="0"/>
                    <a:pt x="0" y="0"/>
                  </a:cubicBezTo>
                  <a:cubicBezTo>
                    <a:pt x="0" y="103"/>
                    <a:pt x="84" y="187"/>
                    <a:pt x="187" y="187"/>
                  </a:cubicBezTo>
                </a:path>
              </a:pathLst>
            </a:custGeom>
            <a:solidFill>
              <a:srgbClr val="FF73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81" name="Freeform 1168">
              <a:extLst>
                <a:ext uri="{FF2B5EF4-FFF2-40B4-BE49-F238E27FC236}">
                  <a16:creationId xmlns:a16="http://schemas.microsoft.com/office/drawing/2014/main" id="{0B427C30-A49F-AED9-A186-0B91CBF3427F}"/>
                </a:ext>
              </a:extLst>
            </p:cNvPr>
            <p:cNvSpPr>
              <a:spLocks/>
            </p:cNvSpPr>
            <p:nvPr/>
          </p:nvSpPr>
          <p:spPr bwMode="auto">
            <a:xfrm>
              <a:off x="6837363" y="5029200"/>
              <a:ext cx="336550" cy="42863"/>
            </a:xfrm>
            <a:custGeom>
              <a:avLst/>
              <a:gdLst>
                <a:gd name="T0" fmla="*/ 414 w 414"/>
                <a:gd name="T1" fmla="*/ 26 h 51"/>
                <a:gd name="T2" fmla="*/ 388 w 414"/>
                <a:gd name="T3" fmla="*/ 51 h 51"/>
                <a:gd name="T4" fmla="*/ 26 w 414"/>
                <a:gd name="T5" fmla="*/ 51 h 51"/>
                <a:gd name="T6" fmla="*/ 0 w 414"/>
                <a:gd name="T7" fmla="*/ 26 h 51"/>
                <a:gd name="T8" fmla="*/ 26 w 414"/>
                <a:gd name="T9" fmla="*/ 0 h 51"/>
                <a:gd name="T10" fmla="*/ 388 w 414"/>
                <a:gd name="T11" fmla="*/ 0 h 51"/>
                <a:gd name="T12" fmla="*/ 414 w 414"/>
                <a:gd name="T13" fmla="*/ 26 h 51"/>
              </a:gdLst>
              <a:ahLst/>
              <a:cxnLst>
                <a:cxn ang="0">
                  <a:pos x="T0" y="T1"/>
                </a:cxn>
                <a:cxn ang="0">
                  <a:pos x="T2" y="T3"/>
                </a:cxn>
                <a:cxn ang="0">
                  <a:pos x="T4" y="T5"/>
                </a:cxn>
                <a:cxn ang="0">
                  <a:pos x="T6" y="T7"/>
                </a:cxn>
                <a:cxn ang="0">
                  <a:pos x="T8" y="T9"/>
                </a:cxn>
                <a:cxn ang="0">
                  <a:pos x="T10" y="T11"/>
                </a:cxn>
                <a:cxn ang="0">
                  <a:pos x="T12" y="T13"/>
                </a:cxn>
              </a:cxnLst>
              <a:rect l="0" t="0" r="r" b="b"/>
              <a:pathLst>
                <a:path w="414" h="51">
                  <a:moveTo>
                    <a:pt x="414" y="26"/>
                  </a:moveTo>
                  <a:cubicBezTo>
                    <a:pt x="414" y="40"/>
                    <a:pt x="403" y="51"/>
                    <a:pt x="388" y="51"/>
                  </a:cubicBezTo>
                  <a:cubicBezTo>
                    <a:pt x="26" y="51"/>
                    <a:pt x="26" y="51"/>
                    <a:pt x="26" y="51"/>
                  </a:cubicBezTo>
                  <a:cubicBezTo>
                    <a:pt x="11" y="51"/>
                    <a:pt x="0" y="40"/>
                    <a:pt x="0" y="26"/>
                  </a:cubicBezTo>
                  <a:cubicBezTo>
                    <a:pt x="0" y="12"/>
                    <a:pt x="11" y="0"/>
                    <a:pt x="26" y="0"/>
                  </a:cubicBezTo>
                  <a:cubicBezTo>
                    <a:pt x="388" y="0"/>
                    <a:pt x="388" y="0"/>
                    <a:pt x="388" y="0"/>
                  </a:cubicBezTo>
                  <a:cubicBezTo>
                    <a:pt x="403" y="0"/>
                    <a:pt x="414" y="12"/>
                    <a:pt x="414" y="26"/>
                  </a:cubicBezTo>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82" name="Freeform 1169">
              <a:extLst>
                <a:ext uri="{FF2B5EF4-FFF2-40B4-BE49-F238E27FC236}">
                  <a16:creationId xmlns:a16="http://schemas.microsoft.com/office/drawing/2014/main" id="{5B692330-A774-84F3-FB6F-7B6AA8B84D16}"/>
                </a:ext>
              </a:extLst>
            </p:cNvPr>
            <p:cNvSpPr>
              <a:spLocks/>
            </p:cNvSpPr>
            <p:nvPr/>
          </p:nvSpPr>
          <p:spPr bwMode="auto">
            <a:xfrm>
              <a:off x="7113588" y="5029200"/>
              <a:ext cx="60325" cy="42863"/>
            </a:xfrm>
            <a:custGeom>
              <a:avLst/>
              <a:gdLst>
                <a:gd name="T0" fmla="*/ 48 w 74"/>
                <a:gd name="T1" fmla="*/ 0 h 51"/>
                <a:gd name="T2" fmla="*/ 19 w 74"/>
                <a:gd name="T3" fmla="*/ 0 h 51"/>
                <a:gd name="T4" fmla="*/ 5 w 74"/>
                <a:gd name="T5" fmla="*/ 45 h 51"/>
                <a:gd name="T6" fmla="*/ 0 w 74"/>
                <a:gd name="T7" fmla="*/ 51 h 51"/>
                <a:gd name="T8" fmla="*/ 16 w 74"/>
                <a:gd name="T9" fmla="*/ 51 h 51"/>
                <a:gd name="T10" fmla="*/ 16 w 74"/>
                <a:gd name="T11" fmla="*/ 51 h 51"/>
                <a:gd name="T12" fmla="*/ 16 w 74"/>
                <a:gd name="T13" fmla="*/ 50 h 51"/>
                <a:gd name="T14" fmla="*/ 54 w 74"/>
                <a:gd name="T15" fmla="*/ 50 h 51"/>
                <a:gd name="T16" fmla="*/ 54 w 74"/>
                <a:gd name="T17" fmla="*/ 50 h 51"/>
                <a:gd name="T18" fmla="*/ 54 w 74"/>
                <a:gd name="T19" fmla="*/ 51 h 51"/>
                <a:gd name="T20" fmla="*/ 74 w 74"/>
                <a:gd name="T21" fmla="*/ 26 h 51"/>
                <a:gd name="T22" fmla="*/ 48 w 74"/>
                <a:gd name="T23"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51">
                  <a:moveTo>
                    <a:pt x="48" y="0"/>
                  </a:moveTo>
                  <a:cubicBezTo>
                    <a:pt x="19" y="0"/>
                    <a:pt x="19" y="0"/>
                    <a:pt x="19" y="0"/>
                  </a:cubicBezTo>
                  <a:cubicBezTo>
                    <a:pt x="23" y="10"/>
                    <a:pt x="24" y="28"/>
                    <a:pt x="5" y="45"/>
                  </a:cubicBezTo>
                  <a:cubicBezTo>
                    <a:pt x="2" y="47"/>
                    <a:pt x="0" y="50"/>
                    <a:pt x="0" y="51"/>
                  </a:cubicBezTo>
                  <a:cubicBezTo>
                    <a:pt x="16" y="51"/>
                    <a:pt x="16" y="51"/>
                    <a:pt x="16" y="51"/>
                  </a:cubicBezTo>
                  <a:cubicBezTo>
                    <a:pt x="16" y="51"/>
                    <a:pt x="16" y="51"/>
                    <a:pt x="16" y="51"/>
                  </a:cubicBezTo>
                  <a:cubicBezTo>
                    <a:pt x="16" y="50"/>
                    <a:pt x="16" y="50"/>
                    <a:pt x="16" y="50"/>
                  </a:cubicBezTo>
                  <a:cubicBezTo>
                    <a:pt x="54" y="50"/>
                    <a:pt x="54" y="50"/>
                    <a:pt x="54" y="50"/>
                  </a:cubicBezTo>
                  <a:cubicBezTo>
                    <a:pt x="54" y="50"/>
                    <a:pt x="54" y="50"/>
                    <a:pt x="54" y="50"/>
                  </a:cubicBezTo>
                  <a:cubicBezTo>
                    <a:pt x="54" y="51"/>
                    <a:pt x="54" y="51"/>
                    <a:pt x="54" y="51"/>
                  </a:cubicBezTo>
                  <a:cubicBezTo>
                    <a:pt x="65" y="49"/>
                    <a:pt x="74" y="38"/>
                    <a:pt x="74" y="26"/>
                  </a:cubicBezTo>
                  <a:cubicBezTo>
                    <a:pt x="74" y="12"/>
                    <a:pt x="63" y="0"/>
                    <a:pt x="48" y="0"/>
                  </a:cubicBezTo>
                </a:path>
              </a:pathLst>
            </a:custGeom>
            <a:solidFill>
              <a:srgbClr val="3D3D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83" name="Freeform 1170">
              <a:extLst>
                <a:ext uri="{FF2B5EF4-FFF2-40B4-BE49-F238E27FC236}">
                  <a16:creationId xmlns:a16="http://schemas.microsoft.com/office/drawing/2014/main" id="{AFC4008A-174F-C76D-CFED-8CEA0D4C6403}"/>
                </a:ext>
              </a:extLst>
            </p:cNvPr>
            <p:cNvSpPr>
              <a:spLocks noEditPoints="1"/>
            </p:cNvSpPr>
            <p:nvPr/>
          </p:nvSpPr>
          <p:spPr bwMode="auto">
            <a:xfrm>
              <a:off x="7013576" y="5072063"/>
              <a:ext cx="142875" cy="150813"/>
            </a:xfrm>
            <a:custGeom>
              <a:avLst/>
              <a:gdLst>
                <a:gd name="T0" fmla="*/ 0 w 177"/>
                <a:gd name="T1" fmla="*/ 186 h 186"/>
                <a:gd name="T2" fmla="*/ 6 w 177"/>
                <a:gd name="T3" fmla="*/ 185 h 186"/>
                <a:gd name="T4" fmla="*/ 6 w 177"/>
                <a:gd name="T5" fmla="*/ 185 h 186"/>
                <a:gd name="T6" fmla="*/ 7 w 177"/>
                <a:gd name="T7" fmla="*/ 185 h 186"/>
                <a:gd name="T8" fmla="*/ 7 w 177"/>
                <a:gd name="T9" fmla="*/ 185 h 186"/>
                <a:gd name="T10" fmla="*/ 7 w 177"/>
                <a:gd name="T11" fmla="*/ 185 h 186"/>
                <a:gd name="T12" fmla="*/ 7 w 177"/>
                <a:gd name="T13" fmla="*/ 185 h 186"/>
                <a:gd name="T14" fmla="*/ 7 w 177"/>
                <a:gd name="T15" fmla="*/ 185 h 186"/>
                <a:gd name="T16" fmla="*/ 7 w 177"/>
                <a:gd name="T17" fmla="*/ 185 h 186"/>
                <a:gd name="T18" fmla="*/ 177 w 177"/>
                <a:gd name="T19" fmla="*/ 6 h 186"/>
                <a:gd name="T20" fmla="*/ 177 w 177"/>
                <a:gd name="T21" fmla="*/ 6 h 186"/>
                <a:gd name="T22" fmla="*/ 177 w 177"/>
                <a:gd name="T23" fmla="*/ 6 h 186"/>
                <a:gd name="T24" fmla="*/ 177 w 177"/>
                <a:gd name="T25" fmla="*/ 6 h 186"/>
                <a:gd name="T26" fmla="*/ 177 w 177"/>
                <a:gd name="T27" fmla="*/ 6 h 186"/>
                <a:gd name="T28" fmla="*/ 177 w 177"/>
                <a:gd name="T29" fmla="*/ 5 h 186"/>
                <a:gd name="T30" fmla="*/ 177 w 177"/>
                <a:gd name="T31" fmla="*/ 5 h 186"/>
                <a:gd name="T32" fmla="*/ 177 w 177"/>
                <a:gd name="T33" fmla="*/ 5 h 186"/>
                <a:gd name="T34" fmla="*/ 177 w 177"/>
                <a:gd name="T35" fmla="*/ 5 h 186"/>
                <a:gd name="T36" fmla="*/ 177 w 177"/>
                <a:gd name="T37" fmla="*/ 4 h 186"/>
                <a:gd name="T38" fmla="*/ 177 w 177"/>
                <a:gd name="T39" fmla="*/ 4 h 186"/>
                <a:gd name="T40" fmla="*/ 177 w 177"/>
                <a:gd name="T41" fmla="*/ 4 h 186"/>
                <a:gd name="T42" fmla="*/ 177 w 177"/>
                <a:gd name="T43" fmla="*/ 4 h 186"/>
                <a:gd name="T44" fmla="*/ 177 w 177"/>
                <a:gd name="T45" fmla="*/ 4 h 186"/>
                <a:gd name="T46" fmla="*/ 177 w 177"/>
                <a:gd name="T47" fmla="*/ 4 h 186"/>
                <a:gd name="T48" fmla="*/ 177 w 177"/>
                <a:gd name="T49" fmla="*/ 3 h 186"/>
                <a:gd name="T50" fmla="*/ 177 w 177"/>
                <a:gd name="T51" fmla="*/ 3 h 186"/>
                <a:gd name="T52" fmla="*/ 177 w 177"/>
                <a:gd name="T53" fmla="*/ 3 h 186"/>
                <a:gd name="T54" fmla="*/ 177 w 177"/>
                <a:gd name="T55" fmla="*/ 3 h 186"/>
                <a:gd name="T56" fmla="*/ 177 w 177"/>
                <a:gd name="T57" fmla="*/ 3 h 186"/>
                <a:gd name="T58" fmla="*/ 177 w 177"/>
                <a:gd name="T59" fmla="*/ 3 h 186"/>
                <a:gd name="T60" fmla="*/ 177 w 177"/>
                <a:gd name="T61" fmla="*/ 2 h 186"/>
                <a:gd name="T62" fmla="*/ 177 w 177"/>
                <a:gd name="T63" fmla="*/ 2 h 186"/>
                <a:gd name="T64" fmla="*/ 177 w 177"/>
                <a:gd name="T65" fmla="*/ 2 h 186"/>
                <a:gd name="T66" fmla="*/ 177 w 177"/>
                <a:gd name="T67" fmla="*/ 1 h 186"/>
                <a:gd name="T68" fmla="*/ 177 w 177"/>
                <a:gd name="T69" fmla="*/ 1 h 186"/>
                <a:gd name="T70" fmla="*/ 177 w 177"/>
                <a:gd name="T71" fmla="*/ 1 h 186"/>
                <a:gd name="T72" fmla="*/ 177 w 177"/>
                <a:gd name="T73" fmla="*/ 1 h 186"/>
                <a:gd name="T74" fmla="*/ 177 w 177"/>
                <a:gd name="T75" fmla="*/ 1 h 186"/>
                <a:gd name="T76" fmla="*/ 177 w 177"/>
                <a:gd name="T77" fmla="*/ 1 h 186"/>
                <a:gd name="T78" fmla="*/ 177 w 177"/>
                <a:gd name="T79" fmla="*/ 0 h 186"/>
                <a:gd name="T80" fmla="*/ 177 w 177"/>
                <a:gd name="T81" fmla="*/ 0 h 186"/>
                <a:gd name="T82" fmla="*/ 177 w 177"/>
                <a:gd name="T83" fmla="*/ 0 h 186"/>
                <a:gd name="T84" fmla="*/ 177 w 177"/>
                <a:gd name="T85"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7" h="186">
                  <a:moveTo>
                    <a:pt x="6" y="185"/>
                  </a:moveTo>
                  <a:cubicBezTo>
                    <a:pt x="4" y="185"/>
                    <a:pt x="2" y="186"/>
                    <a:pt x="0" y="186"/>
                  </a:cubicBezTo>
                  <a:cubicBezTo>
                    <a:pt x="0" y="186"/>
                    <a:pt x="0" y="186"/>
                    <a:pt x="0" y="186"/>
                  </a:cubicBezTo>
                  <a:cubicBezTo>
                    <a:pt x="2" y="186"/>
                    <a:pt x="4" y="185"/>
                    <a:pt x="6" y="185"/>
                  </a:cubicBezTo>
                  <a:moveTo>
                    <a:pt x="6" y="185"/>
                  </a:moveTo>
                  <a:cubicBezTo>
                    <a:pt x="6" y="185"/>
                    <a:pt x="6" y="185"/>
                    <a:pt x="6" y="185"/>
                  </a:cubicBezTo>
                  <a:cubicBezTo>
                    <a:pt x="6" y="185"/>
                    <a:pt x="6" y="185"/>
                    <a:pt x="6" y="185"/>
                  </a:cubicBezTo>
                  <a:moveTo>
                    <a:pt x="7" y="185"/>
                  </a:moveTo>
                  <a:cubicBezTo>
                    <a:pt x="7" y="185"/>
                    <a:pt x="7" y="185"/>
                    <a:pt x="6" y="185"/>
                  </a:cubicBezTo>
                  <a:cubicBezTo>
                    <a:pt x="7" y="185"/>
                    <a:pt x="7" y="185"/>
                    <a:pt x="7" y="185"/>
                  </a:cubicBezTo>
                  <a:moveTo>
                    <a:pt x="7" y="185"/>
                  </a:moveTo>
                  <a:cubicBezTo>
                    <a:pt x="7" y="185"/>
                    <a:pt x="7" y="185"/>
                    <a:pt x="7" y="185"/>
                  </a:cubicBezTo>
                  <a:cubicBezTo>
                    <a:pt x="7" y="185"/>
                    <a:pt x="7" y="185"/>
                    <a:pt x="7" y="185"/>
                  </a:cubicBezTo>
                  <a:moveTo>
                    <a:pt x="7" y="185"/>
                  </a:moveTo>
                  <a:cubicBezTo>
                    <a:pt x="7" y="185"/>
                    <a:pt x="7" y="185"/>
                    <a:pt x="7" y="185"/>
                  </a:cubicBezTo>
                  <a:cubicBezTo>
                    <a:pt x="7" y="185"/>
                    <a:pt x="7" y="185"/>
                    <a:pt x="7" y="185"/>
                  </a:cubicBezTo>
                  <a:moveTo>
                    <a:pt x="7" y="185"/>
                  </a:moveTo>
                  <a:cubicBezTo>
                    <a:pt x="7" y="185"/>
                    <a:pt x="7" y="185"/>
                    <a:pt x="7" y="185"/>
                  </a:cubicBezTo>
                  <a:cubicBezTo>
                    <a:pt x="7" y="185"/>
                    <a:pt x="7" y="185"/>
                    <a:pt x="7" y="185"/>
                  </a:cubicBezTo>
                  <a:moveTo>
                    <a:pt x="177" y="6"/>
                  </a:moveTo>
                  <a:cubicBezTo>
                    <a:pt x="177" y="6"/>
                    <a:pt x="177" y="6"/>
                    <a:pt x="177" y="6"/>
                  </a:cubicBezTo>
                  <a:cubicBezTo>
                    <a:pt x="177" y="6"/>
                    <a:pt x="177" y="6"/>
                    <a:pt x="177" y="6"/>
                  </a:cubicBezTo>
                  <a:moveTo>
                    <a:pt x="177" y="6"/>
                  </a:moveTo>
                  <a:cubicBezTo>
                    <a:pt x="177" y="6"/>
                    <a:pt x="177" y="6"/>
                    <a:pt x="177" y="6"/>
                  </a:cubicBezTo>
                  <a:cubicBezTo>
                    <a:pt x="177" y="6"/>
                    <a:pt x="177" y="6"/>
                    <a:pt x="177" y="6"/>
                  </a:cubicBezTo>
                  <a:moveTo>
                    <a:pt x="177" y="6"/>
                  </a:moveTo>
                  <a:cubicBezTo>
                    <a:pt x="177" y="6"/>
                    <a:pt x="177" y="6"/>
                    <a:pt x="177" y="6"/>
                  </a:cubicBezTo>
                  <a:cubicBezTo>
                    <a:pt x="177" y="6"/>
                    <a:pt x="177" y="6"/>
                    <a:pt x="177" y="6"/>
                  </a:cubicBezTo>
                  <a:moveTo>
                    <a:pt x="177" y="5"/>
                  </a:moveTo>
                  <a:cubicBezTo>
                    <a:pt x="177" y="5"/>
                    <a:pt x="177" y="5"/>
                    <a:pt x="177" y="5"/>
                  </a:cubicBezTo>
                  <a:cubicBezTo>
                    <a:pt x="177" y="5"/>
                    <a:pt x="177" y="5"/>
                    <a:pt x="177" y="5"/>
                  </a:cubicBezTo>
                  <a:moveTo>
                    <a:pt x="177" y="5"/>
                  </a:moveTo>
                  <a:cubicBezTo>
                    <a:pt x="177" y="5"/>
                    <a:pt x="177" y="5"/>
                    <a:pt x="177" y="5"/>
                  </a:cubicBezTo>
                  <a:cubicBezTo>
                    <a:pt x="177" y="5"/>
                    <a:pt x="177" y="5"/>
                    <a:pt x="177" y="5"/>
                  </a:cubicBezTo>
                  <a:moveTo>
                    <a:pt x="177" y="5"/>
                  </a:moveTo>
                  <a:cubicBezTo>
                    <a:pt x="177" y="5"/>
                    <a:pt x="177" y="5"/>
                    <a:pt x="177" y="5"/>
                  </a:cubicBezTo>
                  <a:cubicBezTo>
                    <a:pt x="177" y="5"/>
                    <a:pt x="177" y="5"/>
                    <a:pt x="177" y="5"/>
                  </a:cubicBezTo>
                  <a:moveTo>
                    <a:pt x="177" y="4"/>
                  </a:moveTo>
                  <a:cubicBezTo>
                    <a:pt x="177" y="5"/>
                    <a:pt x="177" y="5"/>
                    <a:pt x="177" y="5"/>
                  </a:cubicBezTo>
                  <a:cubicBezTo>
                    <a:pt x="177" y="5"/>
                    <a:pt x="177" y="5"/>
                    <a:pt x="177" y="4"/>
                  </a:cubicBezTo>
                  <a:moveTo>
                    <a:pt x="177" y="4"/>
                  </a:moveTo>
                  <a:cubicBezTo>
                    <a:pt x="177" y="4"/>
                    <a:pt x="177" y="4"/>
                    <a:pt x="177" y="4"/>
                  </a:cubicBezTo>
                  <a:cubicBezTo>
                    <a:pt x="177" y="4"/>
                    <a:pt x="177" y="4"/>
                    <a:pt x="177" y="4"/>
                  </a:cubicBezTo>
                  <a:moveTo>
                    <a:pt x="177" y="4"/>
                  </a:moveTo>
                  <a:cubicBezTo>
                    <a:pt x="177" y="4"/>
                    <a:pt x="177" y="4"/>
                    <a:pt x="177" y="4"/>
                  </a:cubicBezTo>
                  <a:cubicBezTo>
                    <a:pt x="177" y="4"/>
                    <a:pt x="177" y="4"/>
                    <a:pt x="177" y="4"/>
                  </a:cubicBezTo>
                  <a:moveTo>
                    <a:pt x="177" y="4"/>
                  </a:moveTo>
                  <a:cubicBezTo>
                    <a:pt x="177" y="4"/>
                    <a:pt x="177" y="4"/>
                    <a:pt x="177" y="4"/>
                  </a:cubicBezTo>
                  <a:cubicBezTo>
                    <a:pt x="177" y="4"/>
                    <a:pt x="177" y="4"/>
                    <a:pt x="177" y="4"/>
                  </a:cubicBezTo>
                  <a:moveTo>
                    <a:pt x="177" y="3"/>
                  </a:moveTo>
                  <a:cubicBezTo>
                    <a:pt x="177" y="3"/>
                    <a:pt x="177" y="3"/>
                    <a:pt x="177" y="3"/>
                  </a:cubicBezTo>
                  <a:cubicBezTo>
                    <a:pt x="177" y="3"/>
                    <a:pt x="177" y="3"/>
                    <a:pt x="177" y="3"/>
                  </a:cubicBezTo>
                  <a:moveTo>
                    <a:pt x="177" y="3"/>
                  </a:moveTo>
                  <a:cubicBezTo>
                    <a:pt x="177" y="3"/>
                    <a:pt x="177" y="3"/>
                    <a:pt x="177" y="3"/>
                  </a:cubicBezTo>
                  <a:cubicBezTo>
                    <a:pt x="177" y="3"/>
                    <a:pt x="177" y="3"/>
                    <a:pt x="177" y="3"/>
                  </a:cubicBezTo>
                  <a:moveTo>
                    <a:pt x="177" y="3"/>
                  </a:moveTo>
                  <a:cubicBezTo>
                    <a:pt x="177" y="3"/>
                    <a:pt x="177" y="3"/>
                    <a:pt x="177" y="3"/>
                  </a:cubicBezTo>
                  <a:cubicBezTo>
                    <a:pt x="177" y="3"/>
                    <a:pt x="177" y="3"/>
                    <a:pt x="177" y="3"/>
                  </a:cubicBezTo>
                  <a:moveTo>
                    <a:pt x="177" y="2"/>
                  </a:moveTo>
                  <a:cubicBezTo>
                    <a:pt x="177" y="2"/>
                    <a:pt x="177" y="2"/>
                    <a:pt x="177" y="3"/>
                  </a:cubicBezTo>
                  <a:cubicBezTo>
                    <a:pt x="177" y="2"/>
                    <a:pt x="177" y="2"/>
                    <a:pt x="177" y="2"/>
                  </a:cubicBezTo>
                  <a:moveTo>
                    <a:pt x="177" y="2"/>
                  </a:moveTo>
                  <a:cubicBezTo>
                    <a:pt x="177" y="2"/>
                    <a:pt x="177" y="2"/>
                    <a:pt x="177" y="2"/>
                  </a:cubicBezTo>
                  <a:cubicBezTo>
                    <a:pt x="177" y="2"/>
                    <a:pt x="177" y="2"/>
                    <a:pt x="177" y="2"/>
                  </a:cubicBezTo>
                  <a:moveTo>
                    <a:pt x="177" y="2"/>
                  </a:moveTo>
                  <a:cubicBezTo>
                    <a:pt x="177" y="2"/>
                    <a:pt x="177" y="2"/>
                    <a:pt x="177" y="2"/>
                  </a:cubicBezTo>
                  <a:cubicBezTo>
                    <a:pt x="177" y="2"/>
                    <a:pt x="177" y="2"/>
                    <a:pt x="177" y="2"/>
                  </a:cubicBezTo>
                  <a:moveTo>
                    <a:pt x="177" y="1"/>
                  </a:moveTo>
                  <a:cubicBezTo>
                    <a:pt x="177" y="2"/>
                    <a:pt x="177" y="2"/>
                    <a:pt x="177" y="2"/>
                  </a:cubicBezTo>
                  <a:cubicBezTo>
                    <a:pt x="177" y="2"/>
                    <a:pt x="177" y="2"/>
                    <a:pt x="177" y="1"/>
                  </a:cubicBezTo>
                  <a:moveTo>
                    <a:pt x="177" y="1"/>
                  </a:moveTo>
                  <a:cubicBezTo>
                    <a:pt x="177" y="1"/>
                    <a:pt x="177" y="1"/>
                    <a:pt x="177" y="1"/>
                  </a:cubicBezTo>
                  <a:cubicBezTo>
                    <a:pt x="177" y="1"/>
                    <a:pt x="177" y="1"/>
                    <a:pt x="177" y="1"/>
                  </a:cubicBezTo>
                  <a:moveTo>
                    <a:pt x="177" y="1"/>
                  </a:moveTo>
                  <a:cubicBezTo>
                    <a:pt x="177" y="1"/>
                    <a:pt x="177" y="1"/>
                    <a:pt x="177" y="1"/>
                  </a:cubicBezTo>
                  <a:cubicBezTo>
                    <a:pt x="177" y="1"/>
                    <a:pt x="177" y="1"/>
                    <a:pt x="177" y="1"/>
                  </a:cubicBezTo>
                  <a:moveTo>
                    <a:pt x="177" y="1"/>
                  </a:moveTo>
                  <a:cubicBezTo>
                    <a:pt x="177" y="1"/>
                    <a:pt x="177" y="1"/>
                    <a:pt x="177" y="1"/>
                  </a:cubicBezTo>
                  <a:cubicBezTo>
                    <a:pt x="177" y="1"/>
                    <a:pt x="177" y="1"/>
                    <a:pt x="177" y="1"/>
                  </a:cubicBezTo>
                  <a:moveTo>
                    <a:pt x="177" y="0"/>
                  </a:moveTo>
                  <a:cubicBezTo>
                    <a:pt x="177" y="0"/>
                    <a:pt x="177" y="0"/>
                    <a:pt x="177" y="0"/>
                  </a:cubicBezTo>
                  <a:cubicBezTo>
                    <a:pt x="177" y="0"/>
                    <a:pt x="177" y="0"/>
                    <a:pt x="177" y="0"/>
                  </a:cubicBezTo>
                  <a:moveTo>
                    <a:pt x="177" y="0"/>
                  </a:moveTo>
                  <a:cubicBezTo>
                    <a:pt x="177" y="0"/>
                    <a:pt x="177" y="0"/>
                    <a:pt x="177" y="0"/>
                  </a:cubicBezTo>
                  <a:cubicBezTo>
                    <a:pt x="177" y="0"/>
                    <a:pt x="177" y="0"/>
                    <a:pt x="177" y="0"/>
                  </a:cubicBezTo>
                  <a:cubicBezTo>
                    <a:pt x="177" y="0"/>
                    <a:pt x="177" y="0"/>
                    <a:pt x="177" y="0"/>
                  </a:cubicBezTo>
                </a:path>
              </a:pathLst>
            </a:custGeom>
            <a:solidFill>
              <a:srgbClr val="0AA3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84" name="Freeform 1171">
              <a:extLst>
                <a:ext uri="{FF2B5EF4-FFF2-40B4-BE49-F238E27FC236}">
                  <a16:creationId xmlns:a16="http://schemas.microsoft.com/office/drawing/2014/main" id="{9C3CBCDE-A1B1-622F-FA04-350E017BC461}"/>
                </a:ext>
              </a:extLst>
            </p:cNvPr>
            <p:cNvSpPr>
              <a:spLocks/>
            </p:cNvSpPr>
            <p:nvPr/>
          </p:nvSpPr>
          <p:spPr bwMode="auto">
            <a:xfrm>
              <a:off x="7013576" y="5072063"/>
              <a:ext cx="142875" cy="150813"/>
            </a:xfrm>
            <a:custGeom>
              <a:avLst/>
              <a:gdLst>
                <a:gd name="T0" fmla="*/ 177 w 177"/>
                <a:gd name="T1" fmla="*/ 0 h 186"/>
                <a:gd name="T2" fmla="*/ 171 w 177"/>
                <a:gd name="T3" fmla="*/ 0 h 186"/>
                <a:gd name="T4" fmla="*/ 139 w 177"/>
                <a:gd name="T5" fmla="*/ 0 h 186"/>
                <a:gd name="T6" fmla="*/ 0 w 177"/>
                <a:gd name="T7" fmla="*/ 186 h 186"/>
                <a:gd name="T8" fmla="*/ 6 w 177"/>
                <a:gd name="T9" fmla="*/ 185 h 186"/>
                <a:gd name="T10" fmla="*/ 6 w 177"/>
                <a:gd name="T11" fmla="*/ 185 h 186"/>
                <a:gd name="T12" fmla="*/ 6 w 177"/>
                <a:gd name="T13" fmla="*/ 185 h 186"/>
                <a:gd name="T14" fmla="*/ 6 w 177"/>
                <a:gd name="T15" fmla="*/ 185 h 186"/>
                <a:gd name="T16" fmla="*/ 7 w 177"/>
                <a:gd name="T17" fmla="*/ 185 h 186"/>
                <a:gd name="T18" fmla="*/ 7 w 177"/>
                <a:gd name="T19" fmla="*/ 185 h 186"/>
                <a:gd name="T20" fmla="*/ 7 w 177"/>
                <a:gd name="T21" fmla="*/ 185 h 186"/>
                <a:gd name="T22" fmla="*/ 7 w 177"/>
                <a:gd name="T23" fmla="*/ 185 h 186"/>
                <a:gd name="T24" fmla="*/ 7 w 177"/>
                <a:gd name="T25" fmla="*/ 185 h 186"/>
                <a:gd name="T26" fmla="*/ 7 w 177"/>
                <a:gd name="T27" fmla="*/ 185 h 186"/>
                <a:gd name="T28" fmla="*/ 7 w 177"/>
                <a:gd name="T29" fmla="*/ 185 h 186"/>
                <a:gd name="T30" fmla="*/ 177 w 177"/>
                <a:gd name="T31" fmla="*/ 6 h 186"/>
                <a:gd name="T32" fmla="*/ 177 w 177"/>
                <a:gd name="T33" fmla="*/ 6 h 186"/>
                <a:gd name="T34" fmla="*/ 177 w 177"/>
                <a:gd name="T35" fmla="*/ 6 h 186"/>
                <a:gd name="T36" fmla="*/ 177 w 177"/>
                <a:gd name="T37" fmla="*/ 6 h 186"/>
                <a:gd name="T38" fmla="*/ 177 w 177"/>
                <a:gd name="T39" fmla="*/ 6 h 186"/>
                <a:gd name="T40" fmla="*/ 177 w 177"/>
                <a:gd name="T41" fmla="*/ 6 h 186"/>
                <a:gd name="T42" fmla="*/ 177 w 177"/>
                <a:gd name="T43" fmla="*/ 5 h 186"/>
                <a:gd name="T44" fmla="*/ 177 w 177"/>
                <a:gd name="T45" fmla="*/ 5 h 186"/>
                <a:gd name="T46" fmla="*/ 177 w 177"/>
                <a:gd name="T47" fmla="*/ 5 h 186"/>
                <a:gd name="T48" fmla="*/ 177 w 177"/>
                <a:gd name="T49" fmla="*/ 5 h 186"/>
                <a:gd name="T50" fmla="*/ 177 w 177"/>
                <a:gd name="T51" fmla="*/ 5 h 186"/>
                <a:gd name="T52" fmla="*/ 177 w 177"/>
                <a:gd name="T53" fmla="*/ 5 h 186"/>
                <a:gd name="T54" fmla="*/ 177 w 177"/>
                <a:gd name="T55" fmla="*/ 5 h 186"/>
                <a:gd name="T56" fmla="*/ 177 w 177"/>
                <a:gd name="T57" fmla="*/ 4 h 186"/>
                <a:gd name="T58" fmla="*/ 177 w 177"/>
                <a:gd name="T59" fmla="*/ 4 h 186"/>
                <a:gd name="T60" fmla="*/ 177 w 177"/>
                <a:gd name="T61" fmla="*/ 4 h 186"/>
                <a:gd name="T62" fmla="*/ 177 w 177"/>
                <a:gd name="T63" fmla="*/ 4 h 186"/>
                <a:gd name="T64" fmla="*/ 177 w 177"/>
                <a:gd name="T65" fmla="*/ 4 h 186"/>
                <a:gd name="T66" fmla="*/ 177 w 177"/>
                <a:gd name="T67" fmla="*/ 4 h 186"/>
                <a:gd name="T68" fmla="*/ 177 w 177"/>
                <a:gd name="T69" fmla="*/ 4 h 186"/>
                <a:gd name="T70" fmla="*/ 177 w 177"/>
                <a:gd name="T71" fmla="*/ 3 h 186"/>
                <a:gd name="T72" fmla="*/ 177 w 177"/>
                <a:gd name="T73" fmla="*/ 3 h 186"/>
                <a:gd name="T74" fmla="*/ 177 w 177"/>
                <a:gd name="T75" fmla="*/ 3 h 186"/>
                <a:gd name="T76" fmla="*/ 177 w 177"/>
                <a:gd name="T77" fmla="*/ 3 h 186"/>
                <a:gd name="T78" fmla="*/ 177 w 177"/>
                <a:gd name="T79" fmla="*/ 3 h 186"/>
                <a:gd name="T80" fmla="*/ 177 w 177"/>
                <a:gd name="T81" fmla="*/ 3 h 186"/>
                <a:gd name="T82" fmla="*/ 177 w 177"/>
                <a:gd name="T83" fmla="*/ 3 h 186"/>
                <a:gd name="T84" fmla="*/ 177 w 177"/>
                <a:gd name="T85" fmla="*/ 2 h 186"/>
                <a:gd name="T86" fmla="*/ 177 w 177"/>
                <a:gd name="T87" fmla="*/ 2 h 186"/>
                <a:gd name="T88" fmla="*/ 177 w 177"/>
                <a:gd name="T89" fmla="*/ 2 h 186"/>
                <a:gd name="T90" fmla="*/ 177 w 177"/>
                <a:gd name="T91" fmla="*/ 2 h 186"/>
                <a:gd name="T92" fmla="*/ 177 w 177"/>
                <a:gd name="T93" fmla="*/ 2 h 186"/>
                <a:gd name="T94" fmla="*/ 177 w 177"/>
                <a:gd name="T95" fmla="*/ 2 h 186"/>
                <a:gd name="T96" fmla="*/ 177 w 177"/>
                <a:gd name="T97" fmla="*/ 1 h 186"/>
                <a:gd name="T98" fmla="*/ 177 w 177"/>
                <a:gd name="T99" fmla="*/ 1 h 186"/>
                <a:gd name="T100" fmla="*/ 177 w 177"/>
                <a:gd name="T101" fmla="*/ 1 h 186"/>
                <a:gd name="T102" fmla="*/ 177 w 177"/>
                <a:gd name="T103" fmla="*/ 1 h 186"/>
                <a:gd name="T104" fmla="*/ 177 w 177"/>
                <a:gd name="T105" fmla="*/ 1 h 186"/>
                <a:gd name="T106" fmla="*/ 177 w 177"/>
                <a:gd name="T107" fmla="*/ 1 h 186"/>
                <a:gd name="T108" fmla="*/ 177 w 177"/>
                <a:gd name="T109" fmla="*/ 1 h 186"/>
                <a:gd name="T110" fmla="*/ 177 w 177"/>
                <a:gd name="T111" fmla="*/ 0 h 186"/>
                <a:gd name="T112" fmla="*/ 177 w 177"/>
                <a:gd name="T113" fmla="*/ 0 h 186"/>
                <a:gd name="T114" fmla="*/ 177 w 177"/>
                <a:gd name="T115" fmla="*/ 0 h 186"/>
                <a:gd name="T116" fmla="*/ 177 w 177"/>
                <a:gd name="T117"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7" h="186">
                  <a:moveTo>
                    <a:pt x="177" y="0"/>
                  </a:moveTo>
                  <a:cubicBezTo>
                    <a:pt x="175" y="0"/>
                    <a:pt x="173" y="0"/>
                    <a:pt x="171" y="0"/>
                  </a:cubicBezTo>
                  <a:cubicBezTo>
                    <a:pt x="139" y="0"/>
                    <a:pt x="139" y="0"/>
                    <a:pt x="139" y="0"/>
                  </a:cubicBezTo>
                  <a:cubicBezTo>
                    <a:pt x="139" y="0"/>
                    <a:pt x="137" y="143"/>
                    <a:pt x="0" y="186"/>
                  </a:cubicBezTo>
                  <a:cubicBezTo>
                    <a:pt x="2" y="186"/>
                    <a:pt x="4" y="185"/>
                    <a:pt x="6" y="185"/>
                  </a:cubicBezTo>
                  <a:cubicBezTo>
                    <a:pt x="6" y="185"/>
                    <a:pt x="6" y="185"/>
                    <a:pt x="6" y="185"/>
                  </a:cubicBezTo>
                  <a:cubicBezTo>
                    <a:pt x="6" y="185"/>
                    <a:pt x="6" y="185"/>
                    <a:pt x="6" y="185"/>
                  </a:cubicBezTo>
                  <a:cubicBezTo>
                    <a:pt x="6" y="185"/>
                    <a:pt x="6" y="185"/>
                    <a:pt x="6" y="185"/>
                  </a:cubicBezTo>
                  <a:cubicBezTo>
                    <a:pt x="7" y="185"/>
                    <a:pt x="7" y="185"/>
                    <a:pt x="7" y="185"/>
                  </a:cubicBezTo>
                  <a:cubicBezTo>
                    <a:pt x="7" y="185"/>
                    <a:pt x="7" y="185"/>
                    <a:pt x="7" y="185"/>
                  </a:cubicBezTo>
                  <a:cubicBezTo>
                    <a:pt x="7" y="185"/>
                    <a:pt x="7" y="185"/>
                    <a:pt x="7" y="185"/>
                  </a:cubicBezTo>
                  <a:cubicBezTo>
                    <a:pt x="7" y="185"/>
                    <a:pt x="7" y="185"/>
                    <a:pt x="7" y="185"/>
                  </a:cubicBezTo>
                  <a:cubicBezTo>
                    <a:pt x="7" y="185"/>
                    <a:pt x="7" y="185"/>
                    <a:pt x="7" y="185"/>
                  </a:cubicBezTo>
                  <a:cubicBezTo>
                    <a:pt x="7" y="185"/>
                    <a:pt x="7" y="185"/>
                    <a:pt x="7" y="185"/>
                  </a:cubicBezTo>
                  <a:cubicBezTo>
                    <a:pt x="7" y="185"/>
                    <a:pt x="7" y="185"/>
                    <a:pt x="7" y="185"/>
                  </a:cubicBezTo>
                  <a:cubicBezTo>
                    <a:pt x="100" y="177"/>
                    <a:pt x="173" y="100"/>
                    <a:pt x="177" y="6"/>
                  </a:cubicBezTo>
                  <a:cubicBezTo>
                    <a:pt x="177" y="6"/>
                    <a:pt x="177" y="6"/>
                    <a:pt x="177" y="6"/>
                  </a:cubicBezTo>
                  <a:cubicBezTo>
                    <a:pt x="177" y="6"/>
                    <a:pt x="177" y="6"/>
                    <a:pt x="177" y="6"/>
                  </a:cubicBezTo>
                  <a:cubicBezTo>
                    <a:pt x="177" y="6"/>
                    <a:pt x="177" y="6"/>
                    <a:pt x="177" y="6"/>
                  </a:cubicBezTo>
                  <a:cubicBezTo>
                    <a:pt x="177" y="6"/>
                    <a:pt x="177" y="6"/>
                    <a:pt x="177" y="6"/>
                  </a:cubicBezTo>
                  <a:cubicBezTo>
                    <a:pt x="177" y="6"/>
                    <a:pt x="177" y="6"/>
                    <a:pt x="177" y="6"/>
                  </a:cubicBezTo>
                  <a:cubicBezTo>
                    <a:pt x="177" y="6"/>
                    <a:pt x="177" y="6"/>
                    <a:pt x="177" y="5"/>
                  </a:cubicBezTo>
                  <a:cubicBezTo>
                    <a:pt x="177" y="5"/>
                    <a:pt x="177" y="5"/>
                    <a:pt x="177" y="5"/>
                  </a:cubicBezTo>
                  <a:cubicBezTo>
                    <a:pt x="177" y="5"/>
                    <a:pt x="177" y="5"/>
                    <a:pt x="177" y="5"/>
                  </a:cubicBezTo>
                  <a:cubicBezTo>
                    <a:pt x="177" y="5"/>
                    <a:pt x="177" y="5"/>
                    <a:pt x="177" y="5"/>
                  </a:cubicBezTo>
                  <a:cubicBezTo>
                    <a:pt x="177" y="5"/>
                    <a:pt x="177" y="5"/>
                    <a:pt x="177" y="5"/>
                  </a:cubicBezTo>
                  <a:cubicBezTo>
                    <a:pt x="177" y="5"/>
                    <a:pt x="177" y="5"/>
                    <a:pt x="177" y="5"/>
                  </a:cubicBezTo>
                  <a:cubicBezTo>
                    <a:pt x="177" y="5"/>
                    <a:pt x="177" y="5"/>
                    <a:pt x="177" y="5"/>
                  </a:cubicBezTo>
                  <a:cubicBezTo>
                    <a:pt x="177" y="5"/>
                    <a:pt x="177" y="5"/>
                    <a:pt x="177" y="4"/>
                  </a:cubicBezTo>
                  <a:cubicBezTo>
                    <a:pt x="177" y="4"/>
                    <a:pt x="177" y="4"/>
                    <a:pt x="177" y="4"/>
                  </a:cubicBezTo>
                  <a:cubicBezTo>
                    <a:pt x="177" y="4"/>
                    <a:pt x="177" y="4"/>
                    <a:pt x="177" y="4"/>
                  </a:cubicBezTo>
                  <a:cubicBezTo>
                    <a:pt x="177" y="4"/>
                    <a:pt x="177" y="4"/>
                    <a:pt x="177" y="4"/>
                  </a:cubicBezTo>
                  <a:cubicBezTo>
                    <a:pt x="177" y="4"/>
                    <a:pt x="177" y="4"/>
                    <a:pt x="177" y="4"/>
                  </a:cubicBezTo>
                  <a:cubicBezTo>
                    <a:pt x="177" y="4"/>
                    <a:pt x="177" y="4"/>
                    <a:pt x="177" y="4"/>
                  </a:cubicBezTo>
                  <a:cubicBezTo>
                    <a:pt x="177" y="4"/>
                    <a:pt x="177" y="4"/>
                    <a:pt x="177" y="4"/>
                  </a:cubicBezTo>
                  <a:cubicBezTo>
                    <a:pt x="177" y="4"/>
                    <a:pt x="177" y="3"/>
                    <a:pt x="177" y="3"/>
                  </a:cubicBezTo>
                  <a:cubicBezTo>
                    <a:pt x="177" y="3"/>
                    <a:pt x="177" y="3"/>
                    <a:pt x="177" y="3"/>
                  </a:cubicBezTo>
                  <a:cubicBezTo>
                    <a:pt x="177" y="3"/>
                    <a:pt x="177" y="3"/>
                    <a:pt x="177" y="3"/>
                  </a:cubicBezTo>
                  <a:cubicBezTo>
                    <a:pt x="177" y="3"/>
                    <a:pt x="177" y="3"/>
                    <a:pt x="177" y="3"/>
                  </a:cubicBezTo>
                  <a:cubicBezTo>
                    <a:pt x="177" y="3"/>
                    <a:pt x="177" y="3"/>
                    <a:pt x="177" y="3"/>
                  </a:cubicBezTo>
                  <a:cubicBezTo>
                    <a:pt x="177" y="3"/>
                    <a:pt x="177" y="3"/>
                    <a:pt x="177" y="3"/>
                  </a:cubicBezTo>
                  <a:cubicBezTo>
                    <a:pt x="177" y="3"/>
                    <a:pt x="177" y="3"/>
                    <a:pt x="177" y="3"/>
                  </a:cubicBezTo>
                  <a:cubicBezTo>
                    <a:pt x="177" y="2"/>
                    <a:pt x="177" y="2"/>
                    <a:pt x="177" y="2"/>
                  </a:cubicBezTo>
                  <a:cubicBezTo>
                    <a:pt x="177" y="2"/>
                    <a:pt x="177" y="2"/>
                    <a:pt x="177" y="2"/>
                  </a:cubicBezTo>
                  <a:cubicBezTo>
                    <a:pt x="177" y="2"/>
                    <a:pt x="177" y="2"/>
                    <a:pt x="177" y="2"/>
                  </a:cubicBezTo>
                  <a:cubicBezTo>
                    <a:pt x="177" y="2"/>
                    <a:pt x="177" y="2"/>
                    <a:pt x="177" y="2"/>
                  </a:cubicBezTo>
                  <a:cubicBezTo>
                    <a:pt x="177" y="2"/>
                    <a:pt x="177" y="2"/>
                    <a:pt x="177" y="2"/>
                  </a:cubicBezTo>
                  <a:cubicBezTo>
                    <a:pt x="177" y="2"/>
                    <a:pt x="177" y="2"/>
                    <a:pt x="177" y="2"/>
                  </a:cubicBezTo>
                  <a:cubicBezTo>
                    <a:pt x="177" y="2"/>
                    <a:pt x="177" y="2"/>
                    <a:pt x="177" y="1"/>
                  </a:cubicBezTo>
                  <a:cubicBezTo>
                    <a:pt x="177" y="1"/>
                    <a:pt x="177" y="1"/>
                    <a:pt x="177" y="1"/>
                  </a:cubicBezTo>
                  <a:cubicBezTo>
                    <a:pt x="177" y="1"/>
                    <a:pt x="177" y="1"/>
                    <a:pt x="177" y="1"/>
                  </a:cubicBezTo>
                  <a:cubicBezTo>
                    <a:pt x="177" y="1"/>
                    <a:pt x="177" y="1"/>
                    <a:pt x="177" y="1"/>
                  </a:cubicBezTo>
                  <a:cubicBezTo>
                    <a:pt x="177" y="1"/>
                    <a:pt x="177" y="1"/>
                    <a:pt x="177" y="1"/>
                  </a:cubicBezTo>
                  <a:cubicBezTo>
                    <a:pt x="177" y="1"/>
                    <a:pt x="177" y="1"/>
                    <a:pt x="177" y="1"/>
                  </a:cubicBezTo>
                  <a:cubicBezTo>
                    <a:pt x="177" y="1"/>
                    <a:pt x="177" y="1"/>
                    <a:pt x="177" y="1"/>
                  </a:cubicBezTo>
                  <a:cubicBezTo>
                    <a:pt x="177" y="1"/>
                    <a:pt x="177" y="1"/>
                    <a:pt x="177" y="0"/>
                  </a:cubicBezTo>
                  <a:cubicBezTo>
                    <a:pt x="177" y="0"/>
                    <a:pt x="177" y="0"/>
                    <a:pt x="177" y="0"/>
                  </a:cubicBezTo>
                  <a:cubicBezTo>
                    <a:pt x="177" y="0"/>
                    <a:pt x="177" y="0"/>
                    <a:pt x="177" y="0"/>
                  </a:cubicBezTo>
                  <a:cubicBezTo>
                    <a:pt x="177" y="0"/>
                    <a:pt x="177" y="0"/>
                    <a:pt x="177" y="0"/>
                  </a:cubicBezTo>
                </a:path>
              </a:pathLst>
            </a:custGeom>
            <a:solidFill>
              <a:srgbClr val="CC5C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85" name="Freeform 1172">
              <a:extLst>
                <a:ext uri="{FF2B5EF4-FFF2-40B4-BE49-F238E27FC236}">
                  <a16:creationId xmlns:a16="http://schemas.microsoft.com/office/drawing/2014/main" id="{0490017D-7B4E-F67C-C43D-BEEC47F34CE2}"/>
                </a:ext>
              </a:extLst>
            </p:cNvPr>
            <p:cNvSpPr>
              <a:spLocks/>
            </p:cNvSpPr>
            <p:nvPr/>
          </p:nvSpPr>
          <p:spPr bwMode="auto">
            <a:xfrm>
              <a:off x="7126288" y="5070475"/>
              <a:ext cx="30163" cy="1588"/>
            </a:xfrm>
            <a:custGeom>
              <a:avLst/>
              <a:gdLst>
                <a:gd name="T0" fmla="*/ 38 w 38"/>
                <a:gd name="T1" fmla="*/ 0 h 1"/>
                <a:gd name="T2" fmla="*/ 0 w 38"/>
                <a:gd name="T3" fmla="*/ 0 h 1"/>
                <a:gd name="T4" fmla="*/ 0 w 38"/>
                <a:gd name="T5" fmla="*/ 1 h 1"/>
                <a:gd name="T6" fmla="*/ 0 w 38"/>
                <a:gd name="T7" fmla="*/ 1 h 1"/>
                <a:gd name="T8" fmla="*/ 32 w 38"/>
                <a:gd name="T9" fmla="*/ 1 h 1"/>
                <a:gd name="T10" fmla="*/ 38 w 38"/>
                <a:gd name="T11" fmla="*/ 1 h 1"/>
                <a:gd name="T12" fmla="*/ 38 w 38"/>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38" h="1">
                  <a:moveTo>
                    <a:pt x="38" y="0"/>
                  </a:moveTo>
                  <a:cubicBezTo>
                    <a:pt x="0" y="0"/>
                    <a:pt x="0" y="0"/>
                    <a:pt x="0" y="0"/>
                  </a:cubicBezTo>
                  <a:cubicBezTo>
                    <a:pt x="0" y="1"/>
                    <a:pt x="0" y="1"/>
                    <a:pt x="0" y="1"/>
                  </a:cubicBezTo>
                  <a:cubicBezTo>
                    <a:pt x="0" y="1"/>
                    <a:pt x="0" y="1"/>
                    <a:pt x="0" y="1"/>
                  </a:cubicBezTo>
                  <a:cubicBezTo>
                    <a:pt x="32" y="1"/>
                    <a:pt x="32" y="1"/>
                    <a:pt x="32" y="1"/>
                  </a:cubicBezTo>
                  <a:cubicBezTo>
                    <a:pt x="34" y="1"/>
                    <a:pt x="36" y="1"/>
                    <a:pt x="38" y="1"/>
                  </a:cubicBezTo>
                  <a:cubicBezTo>
                    <a:pt x="38" y="1"/>
                    <a:pt x="38" y="1"/>
                    <a:pt x="38" y="0"/>
                  </a:cubicBezTo>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grpSp>
      <p:pic>
        <p:nvPicPr>
          <p:cNvPr id="86" name="صورة 85" descr="صورة تحتوي على لقطة شاشة, الخط, نص, الرسومات&#10;&#10;تم إنشاء الوصف تلقائياً">
            <a:extLst>
              <a:ext uri="{FF2B5EF4-FFF2-40B4-BE49-F238E27FC236}">
                <a16:creationId xmlns:a16="http://schemas.microsoft.com/office/drawing/2014/main" id="{7275B7D1-E7A7-3E10-078B-FFBAE7CE719F}"/>
              </a:ext>
            </a:extLst>
          </p:cNvPr>
          <p:cNvPicPr>
            <a:picLocks noChangeAspect="1"/>
          </p:cNvPicPr>
          <p:nvPr/>
        </p:nvPicPr>
        <p:blipFill>
          <a:blip r:embed="rId3"/>
          <a:stretch>
            <a:fillRect/>
          </a:stretch>
        </p:blipFill>
        <p:spPr>
          <a:xfrm>
            <a:off x="59388" y="131758"/>
            <a:ext cx="1713833" cy="917972"/>
          </a:xfrm>
          <a:prstGeom prst="rect">
            <a:avLst/>
          </a:prstGeom>
        </p:spPr>
      </p:pic>
      <p:grpSp>
        <p:nvGrpSpPr>
          <p:cNvPr id="87" name="مجموعة 86">
            <a:extLst>
              <a:ext uri="{FF2B5EF4-FFF2-40B4-BE49-F238E27FC236}">
                <a16:creationId xmlns:a16="http://schemas.microsoft.com/office/drawing/2014/main" id="{B4F8EA30-7EE5-AB94-1251-DB55D0DBC584}"/>
              </a:ext>
            </a:extLst>
          </p:cNvPr>
          <p:cNvGrpSpPr/>
          <p:nvPr/>
        </p:nvGrpSpPr>
        <p:grpSpPr>
          <a:xfrm>
            <a:off x="110568" y="5942850"/>
            <a:ext cx="12081432" cy="826402"/>
            <a:chOff x="103011" y="5950741"/>
            <a:chExt cx="10852403" cy="826402"/>
          </a:xfrm>
        </p:grpSpPr>
        <p:sp>
          <p:nvSpPr>
            <p:cNvPr id="88" name="مستطيل 87">
              <a:extLst>
                <a:ext uri="{FF2B5EF4-FFF2-40B4-BE49-F238E27FC236}">
                  <a16:creationId xmlns:a16="http://schemas.microsoft.com/office/drawing/2014/main" id="{10910FC5-7743-781E-07D7-0834C4D152F3}"/>
                </a:ext>
              </a:extLst>
            </p:cNvPr>
            <p:cNvSpPr/>
            <p:nvPr/>
          </p:nvSpPr>
          <p:spPr>
            <a:xfrm>
              <a:off x="928457" y="6575789"/>
              <a:ext cx="10026957" cy="201354"/>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ar-SA" sz="1800" b="0" i="0" u="none" strike="noStrike" kern="1200" cap="none" spc="0" normalizeH="0" baseline="0" noProof="0" dirty="0">
                <a:ln>
                  <a:noFill/>
                </a:ln>
                <a:solidFill>
                  <a:prstClr val="white"/>
                </a:solidFill>
                <a:effectLst/>
                <a:uLnTx/>
                <a:uFillTx/>
                <a:latin typeface="Century Gothic" panose="020B0502020202020204"/>
                <a:ea typeface="+mn-ea"/>
                <a:cs typeface="Arial" panose="020B0604020202020204" pitchFamily="34" charset="0"/>
              </a:endParaRPr>
            </a:p>
          </p:txBody>
        </p:sp>
        <p:sp>
          <p:nvSpPr>
            <p:cNvPr id="89" name="مثلث قائم الزاوية 88">
              <a:extLst>
                <a:ext uri="{FF2B5EF4-FFF2-40B4-BE49-F238E27FC236}">
                  <a16:creationId xmlns:a16="http://schemas.microsoft.com/office/drawing/2014/main" id="{C1D8EA5B-1324-4294-4AED-1D7407A2257E}"/>
                </a:ext>
              </a:extLst>
            </p:cNvPr>
            <p:cNvSpPr/>
            <p:nvPr/>
          </p:nvSpPr>
          <p:spPr>
            <a:xfrm>
              <a:off x="103011" y="5950741"/>
              <a:ext cx="1141988" cy="826402"/>
            </a:xfrm>
            <a:prstGeom prst="r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ar-SA" sz="1800" b="0" i="0" u="none" strike="noStrike" kern="1200" cap="none" spc="0" normalizeH="0" baseline="0" noProof="0">
                <a:ln>
                  <a:noFill/>
                </a:ln>
                <a:solidFill>
                  <a:prstClr val="white"/>
                </a:solidFill>
                <a:effectLst/>
                <a:uLnTx/>
                <a:uFillTx/>
                <a:latin typeface="Century Gothic" panose="020B0502020202020204"/>
                <a:ea typeface="+mn-ea"/>
                <a:cs typeface="Arial" panose="020B0604020202020204" pitchFamily="34" charset="0"/>
              </a:endParaRPr>
            </a:p>
          </p:txBody>
        </p:sp>
      </p:grpSp>
    </p:spTree>
    <p:extLst>
      <p:ext uri="{BB962C8B-B14F-4D97-AF65-F5344CB8AC3E}">
        <p14:creationId xmlns:p14="http://schemas.microsoft.com/office/powerpoint/2010/main" val="2896254034"/>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صورة 4">
            <a:extLst>
              <a:ext uri="{FF2B5EF4-FFF2-40B4-BE49-F238E27FC236}">
                <a16:creationId xmlns:a16="http://schemas.microsoft.com/office/drawing/2014/main" id="{0B11DFEF-4C34-9D96-AF0A-564BAA7915BB}"/>
              </a:ext>
            </a:extLst>
          </p:cNvPr>
          <p:cNvPicPr>
            <a:picLocks noChangeAspect="1"/>
          </p:cNvPicPr>
          <p:nvPr/>
        </p:nvPicPr>
        <p:blipFill>
          <a:blip r:embed="rId2"/>
          <a:stretch>
            <a:fillRect/>
          </a:stretch>
        </p:blipFill>
        <p:spPr>
          <a:xfrm>
            <a:off x="869133" y="2038798"/>
            <a:ext cx="10148935" cy="3508902"/>
          </a:xfrm>
          <a:prstGeom prst="rect">
            <a:avLst/>
          </a:prstGeom>
        </p:spPr>
      </p:pic>
      <p:sp>
        <p:nvSpPr>
          <p:cNvPr id="6" name="مستطيل 5">
            <a:extLst>
              <a:ext uri="{FF2B5EF4-FFF2-40B4-BE49-F238E27FC236}">
                <a16:creationId xmlns:a16="http://schemas.microsoft.com/office/drawing/2014/main" id="{62F67D2B-AF47-455E-F9D2-75606EF17448}"/>
              </a:ext>
            </a:extLst>
          </p:cNvPr>
          <p:cNvSpPr/>
          <p:nvPr/>
        </p:nvSpPr>
        <p:spPr>
          <a:xfrm>
            <a:off x="5127553" y="1280781"/>
            <a:ext cx="1936894" cy="299125"/>
          </a:xfrm>
          <a:prstGeom prst="rect">
            <a:avLst/>
          </a:prstGeom>
          <a:ln>
            <a:noFill/>
          </a:ln>
        </p:spPr>
        <p:style>
          <a:lnRef idx="2">
            <a:schemeClr val="accent3"/>
          </a:lnRef>
          <a:fillRef idx="1">
            <a:schemeClr val="lt1"/>
          </a:fillRef>
          <a:effectRef idx="0">
            <a:schemeClr val="accent3"/>
          </a:effectRef>
          <a:fontRef idx="minor">
            <a:schemeClr val="dk1"/>
          </a:fontRef>
        </p:style>
        <p:txBody>
          <a:bodyPr rtlCol="1"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ar-SA" sz="3200" b="1" i="0" u="none" strike="noStrike" kern="1200" cap="none" spc="0" normalizeH="0" baseline="0" noProof="0" dirty="0">
                <a:ln>
                  <a:noFill/>
                </a:ln>
                <a:solidFill>
                  <a:prstClr val="black"/>
                </a:solidFill>
                <a:effectLst/>
                <a:uLnTx/>
                <a:uFillTx/>
                <a:latin typeface="Century Gothic" panose="020B0502020202020204"/>
                <a:ea typeface="+mn-ea"/>
                <a:cs typeface="Times New Roman" panose="02020603050405020304" pitchFamily="18" charset="0"/>
              </a:rPr>
              <a:t>القراءة</a:t>
            </a:r>
            <a:endParaRPr kumimoji="0" lang="ar-SA" sz="3200" b="0" i="0" u="none" strike="noStrike" kern="1200" cap="none" spc="0" normalizeH="0" baseline="0" noProof="0" dirty="0">
              <a:ln>
                <a:noFill/>
              </a:ln>
              <a:solidFill>
                <a:prstClr val="black"/>
              </a:solidFill>
              <a:effectLst/>
              <a:uLnTx/>
              <a:uFillTx/>
              <a:latin typeface="Century Gothic" panose="020B0502020202020204"/>
              <a:ea typeface="+mn-ea"/>
              <a:cs typeface="Arial" panose="020B0604020202020204" pitchFamily="34" charset="0"/>
            </a:endParaRPr>
          </a:p>
        </p:txBody>
      </p:sp>
      <p:grpSp>
        <p:nvGrpSpPr>
          <p:cNvPr id="7" name="Group 3">
            <a:extLst>
              <a:ext uri="{FF2B5EF4-FFF2-40B4-BE49-F238E27FC236}">
                <a16:creationId xmlns:a16="http://schemas.microsoft.com/office/drawing/2014/main" id="{79D41B48-8936-3D6A-7F74-EE615C58BDAC}"/>
              </a:ext>
            </a:extLst>
          </p:cNvPr>
          <p:cNvGrpSpPr/>
          <p:nvPr/>
        </p:nvGrpSpPr>
        <p:grpSpPr>
          <a:xfrm>
            <a:off x="3728651" y="340349"/>
            <a:ext cx="1742750" cy="1842367"/>
            <a:chOff x="4846638" y="2833688"/>
            <a:chExt cx="958850" cy="1063625"/>
          </a:xfrm>
        </p:grpSpPr>
        <p:sp>
          <p:nvSpPr>
            <p:cNvPr id="8" name="Oval 3008">
              <a:extLst>
                <a:ext uri="{FF2B5EF4-FFF2-40B4-BE49-F238E27FC236}">
                  <a16:creationId xmlns:a16="http://schemas.microsoft.com/office/drawing/2014/main" id="{FBAB3F2A-262F-3C91-8B71-BB031AFD9702}"/>
                </a:ext>
              </a:extLst>
            </p:cNvPr>
            <p:cNvSpPr>
              <a:spLocks noChangeArrowheads="1"/>
            </p:cNvSpPr>
            <p:nvPr/>
          </p:nvSpPr>
          <p:spPr bwMode="auto">
            <a:xfrm>
              <a:off x="4846638" y="2938463"/>
              <a:ext cx="958850" cy="958850"/>
            </a:xfrm>
            <a:prstGeom prst="ellipse">
              <a:avLst/>
            </a:prstGeom>
            <a:solidFill>
              <a:srgbClr val="F0F6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9" name="Rectangle 3009">
              <a:extLst>
                <a:ext uri="{FF2B5EF4-FFF2-40B4-BE49-F238E27FC236}">
                  <a16:creationId xmlns:a16="http://schemas.microsoft.com/office/drawing/2014/main" id="{C8429B4C-D4B6-66FE-CDAD-3829CC08BE3E}"/>
                </a:ext>
              </a:extLst>
            </p:cNvPr>
            <p:cNvSpPr>
              <a:spLocks noChangeArrowheads="1"/>
            </p:cNvSpPr>
            <p:nvPr/>
          </p:nvSpPr>
          <p:spPr bwMode="auto">
            <a:xfrm>
              <a:off x="5018088" y="3319463"/>
              <a:ext cx="277813" cy="85725"/>
            </a:xfrm>
            <a:prstGeom prst="rect">
              <a:avLst/>
            </a:prstGeom>
            <a:solidFill>
              <a:srgbClr val="F4B14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0" name="Rectangle 3010">
              <a:extLst>
                <a:ext uri="{FF2B5EF4-FFF2-40B4-BE49-F238E27FC236}">
                  <a16:creationId xmlns:a16="http://schemas.microsoft.com/office/drawing/2014/main" id="{54C0E90C-16AA-FA6F-3E0D-3078EC83590F}"/>
                </a:ext>
              </a:extLst>
            </p:cNvPr>
            <p:cNvSpPr>
              <a:spLocks noChangeArrowheads="1"/>
            </p:cNvSpPr>
            <p:nvPr/>
          </p:nvSpPr>
          <p:spPr bwMode="auto">
            <a:xfrm>
              <a:off x="5018088" y="3319463"/>
              <a:ext cx="277813" cy="85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1" name="Rectangle 3011">
              <a:extLst>
                <a:ext uri="{FF2B5EF4-FFF2-40B4-BE49-F238E27FC236}">
                  <a16:creationId xmlns:a16="http://schemas.microsoft.com/office/drawing/2014/main" id="{594B32B5-7F5B-75C8-E1B1-397427715E37}"/>
                </a:ext>
              </a:extLst>
            </p:cNvPr>
            <p:cNvSpPr>
              <a:spLocks noChangeArrowheads="1"/>
            </p:cNvSpPr>
            <p:nvPr/>
          </p:nvSpPr>
          <p:spPr bwMode="auto">
            <a:xfrm>
              <a:off x="5045076" y="3252788"/>
              <a:ext cx="222250" cy="65088"/>
            </a:xfrm>
            <a:prstGeom prst="rect">
              <a:avLst/>
            </a:prstGeom>
            <a:solidFill>
              <a:srgbClr val="F4585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2" name="Rectangle 3012">
              <a:extLst>
                <a:ext uri="{FF2B5EF4-FFF2-40B4-BE49-F238E27FC236}">
                  <a16:creationId xmlns:a16="http://schemas.microsoft.com/office/drawing/2014/main" id="{6F67FDA9-6888-0A11-7121-D09A3C1F3E56}"/>
                </a:ext>
              </a:extLst>
            </p:cNvPr>
            <p:cNvSpPr>
              <a:spLocks noChangeArrowheads="1"/>
            </p:cNvSpPr>
            <p:nvPr/>
          </p:nvSpPr>
          <p:spPr bwMode="auto">
            <a:xfrm>
              <a:off x="5045076" y="3252788"/>
              <a:ext cx="222250" cy="65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3" name="Freeform 3013">
              <a:extLst>
                <a:ext uri="{FF2B5EF4-FFF2-40B4-BE49-F238E27FC236}">
                  <a16:creationId xmlns:a16="http://schemas.microsoft.com/office/drawing/2014/main" id="{F39063C6-F053-FC86-F54A-54A5885476F4}"/>
                </a:ext>
              </a:extLst>
            </p:cNvPr>
            <p:cNvSpPr>
              <a:spLocks/>
            </p:cNvSpPr>
            <p:nvPr/>
          </p:nvSpPr>
          <p:spPr bwMode="auto">
            <a:xfrm>
              <a:off x="5065713" y="3181351"/>
              <a:ext cx="169863" cy="66675"/>
            </a:xfrm>
            <a:custGeom>
              <a:avLst/>
              <a:gdLst>
                <a:gd name="T0" fmla="*/ 33 w 208"/>
                <a:gd name="T1" fmla="*/ 0 h 82"/>
                <a:gd name="T2" fmla="*/ 208 w 208"/>
                <a:gd name="T3" fmla="*/ 0 h 82"/>
                <a:gd name="T4" fmla="*/ 178 w 208"/>
                <a:gd name="T5" fmla="*/ 39 h 82"/>
                <a:gd name="T6" fmla="*/ 208 w 208"/>
                <a:gd name="T7" fmla="*/ 82 h 82"/>
                <a:gd name="T8" fmla="*/ 33 w 208"/>
                <a:gd name="T9" fmla="*/ 82 h 82"/>
                <a:gd name="T10" fmla="*/ 0 w 208"/>
                <a:gd name="T11" fmla="*/ 41 h 82"/>
                <a:gd name="T12" fmla="*/ 33 w 208"/>
                <a:gd name="T13" fmla="*/ 0 h 82"/>
              </a:gdLst>
              <a:ahLst/>
              <a:cxnLst>
                <a:cxn ang="0">
                  <a:pos x="T0" y="T1"/>
                </a:cxn>
                <a:cxn ang="0">
                  <a:pos x="T2" y="T3"/>
                </a:cxn>
                <a:cxn ang="0">
                  <a:pos x="T4" y="T5"/>
                </a:cxn>
                <a:cxn ang="0">
                  <a:pos x="T6" y="T7"/>
                </a:cxn>
                <a:cxn ang="0">
                  <a:pos x="T8" y="T9"/>
                </a:cxn>
                <a:cxn ang="0">
                  <a:pos x="T10" y="T11"/>
                </a:cxn>
                <a:cxn ang="0">
                  <a:pos x="T12" y="T13"/>
                </a:cxn>
              </a:cxnLst>
              <a:rect l="0" t="0" r="r" b="b"/>
              <a:pathLst>
                <a:path w="208" h="82">
                  <a:moveTo>
                    <a:pt x="33" y="0"/>
                  </a:moveTo>
                  <a:cubicBezTo>
                    <a:pt x="208" y="0"/>
                    <a:pt x="208" y="0"/>
                    <a:pt x="208" y="0"/>
                  </a:cubicBezTo>
                  <a:cubicBezTo>
                    <a:pt x="208" y="0"/>
                    <a:pt x="177" y="14"/>
                    <a:pt x="178" y="39"/>
                  </a:cubicBezTo>
                  <a:cubicBezTo>
                    <a:pt x="179" y="65"/>
                    <a:pt x="208" y="82"/>
                    <a:pt x="208" y="82"/>
                  </a:cubicBezTo>
                  <a:cubicBezTo>
                    <a:pt x="33" y="82"/>
                    <a:pt x="33" y="82"/>
                    <a:pt x="33" y="82"/>
                  </a:cubicBezTo>
                  <a:cubicBezTo>
                    <a:pt x="15" y="82"/>
                    <a:pt x="0" y="63"/>
                    <a:pt x="0" y="41"/>
                  </a:cubicBezTo>
                  <a:cubicBezTo>
                    <a:pt x="0" y="19"/>
                    <a:pt x="15" y="0"/>
                    <a:pt x="33" y="0"/>
                  </a:cubicBezTo>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4" name="Freeform 3014">
              <a:extLst>
                <a:ext uri="{FF2B5EF4-FFF2-40B4-BE49-F238E27FC236}">
                  <a16:creationId xmlns:a16="http://schemas.microsoft.com/office/drawing/2014/main" id="{04717963-FAFD-63AE-09A2-D6EEDCAE9FE2}"/>
                </a:ext>
              </a:extLst>
            </p:cNvPr>
            <p:cNvSpPr>
              <a:spLocks/>
            </p:cNvSpPr>
            <p:nvPr/>
          </p:nvSpPr>
          <p:spPr bwMode="auto">
            <a:xfrm>
              <a:off x="5062538" y="3178176"/>
              <a:ext cx="173038" cy="74613"/>
            </a:xfrm>
            <a:custGeom>
              <a:avLst/>
              <a:gdLst>
                <a:gd name="T0" fmla="*/ 37 w 213"/>
                <a:gd name="T1" fmla="*/ 0 h 92"/>
                <a:gd name="T2" fmla="*/ 212 w 213"/>
                <a:gd name="T3" fmla="*/ 0 h 92"/>
                <a:gd name="T4" fmla="*/ 213 w 213"/>
                <a:gd name="T5" fmla="*/ 0 h 92"/>
                <a:gd name="T6" fmla="*/ 213 w 213"/>
                <a:gd name="T7" fmla="*/ 11 h 92"/>
                <a:gd name="T8" fmla="*/ 212 w 213"/>
                <a:gd name="T9" fmla="*/ 11 h 92"/>
                <a:gd name="T10" fmla="*/ 37 w 213"/>
                <a:gd name="T11" fmla="*/ 11 h 92"/>
                <a:gd name="T12" fmla="*/ 17 w 213"/>
                <a:gd name="T13" fmla="*/ 21 h 92"/>
                <a:gd name="T14" fmla="*/ 8 w 213"/>
                <a:gd name="T15" fmla="*/ 46 h 92"/>
                <a:gd name="T16" fmla="*/ 17 w 213"/>
                <a:gd name="T17" fmla="*/ 71 h 92"/>
                <a:gd name="T18" fmla="*/ 37 w 213"/>
                <a:gd name="T19" fmla="*/ 81 h 92"/>
                <a:gd name="T20" fmla="*/ 212 w 213"/>
                <a:gd name="T21" fmla="*/ 81 h 92"/>
                <a:gd name="T22" fmla="*/ 213 w 213"/>
                <a:gd name="T23" fmla="*/ 81 h 92"/>
                <a:gd name="T24" fmla="*/ 213 w 213"/>
                <a:gd name="T25" fmla="*/ 92 h 92"/>
                <a:gd name="T26" fmla="*/ 212 w 213"/>
                <a:gd name="T27" fmla="*/ 92 h 92"/>
                <a:gd name="T28" fmla="*/ 37 w 213"/>
                <a:gd name="T29" fmla="*/ 92 h 92"/>
                <a:gd name="T30" fmla="*/ 11 w 213"/>
                <a:gd name="T31" fmla="*/ 78 h 92"/>
                <a:gd name="T32" fmla="*/ 0 w 213"/>
                <a:gd name="T33" fmla="*/ 46 h 92"/>
                <a:gd name="T34" fmla="*/ 11 w 213"/>
                <a:gd name="T35" fmla="*/ 14 h 92"/>
                <a:gd name="T36" fmla="*/ 37 w 213"/>
                <a:gd name="T37"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3" h="92">
                  <a:moveTo>
                    <a:pt x="37" y="0"/>
                  </a:moveTo>
                  <a:cubicBezTo>
                    <a:pt x="212" y="0"/>
                    <a:pt x="212" y="0"/>
                    <a:pt x="212" y="0"/>
                  </a:cubicBezTo>
                  <a:cubicBezTo>
                    <a:pt x="212" y="0"/>
                    <a:pt x="213" y="0"/>
                    <a:pt x="213" y="0"/>
                  </a:cubicBezTo>
                  <a:cubicBezTo>
                    <a:pt x="213" y="11"/>
                    <a:pt x="213" y="11"/>
                    <a:pt x="213" y="11"/>
                  </a:cubicBezTo>
                  <a:cubicBezTo>
                    <a:pt x="213" y="11"/>
                    <a:pt x="212" y="11"/>
                    <a:pt x="212" y="11"/>
                  </a:cubicBezTo>
                  <a:cubicBezTo>
                    <a:pt x="37" y="11"/>
                    <a:pt x="37" y="11"/>
                    <a:pt x="37" y="11"/>
                  </a:cubicBezTo>
                  <a:cubicBezTo>
                    <a:pt x="29" y="11"/>
                    <a:pt x="22" y="15"/>
                    <a:pt x="17" y="21"/>
                  </a:cubicBezTo>
                  <a:cubicBezTo>
                    <a:pt x="11" y="27"/>
                    <a:pt x="8" y="36"/>
                    <a:pt x="8" y="46"/>
                  </a:cubicBezTo>
                  <a:cubicBezTo>
                    <a:pt x="8" y="56"/>
                    <a:pt x="11" y="65"/>
                    <a:pt x="17" y="71"/>
                  </a:cubicBezTo>
                  <a:cubicBezTo>
                    <a:pt x="22" y="77"/>
                    <a:pt x="29" y="81"/>
                    <a:pt x="37" y="81"/>
                  </a:cubicBezTo>
                  <a:cubicBezTo>
                    <a:pt x="212" y="81"/>
                    <a:pt x="212" y="81"/>
                    <a:pt x="212" y="81"/>
                  </a:cubicBezTo>
                  <a:cubicBezTo>
                    <a:pt x="212" y="81"/>
                    <a:pt x="213" y="81"/>
                    <a:pt x="213" y="81"/>
                  </a:cubicBezTo>
                  <a:cubicBezTo>
                    <a:pt x="213" y="92"/>
                    <a:pt x="213" y="92"/>
                    <a:pt x="213" y="92"/>
                  </a:cubicBezTo>
                  <a:cubicBezTo>
                    <a:pt x="213" y="92"/>
                    <a:pt x="212" y="92"/>
                    <a:pt x="212" y="92"/>
                  </a:cubicBezTo>
                  <a:cubicBezTo>
                    <a:pt x="37" y="92"/>
                    <a:pt x="37" y="92"/>
                    <a:pt x="37" y="92"/>
                  </a:cubicBezTo>
                  <a:cubicBezTo>
                    <a:pt x="27" y="92"/>
                    <a:pt x="17" y="87"/>
                    <a:pt x="11" y="78"/>
                  </a:cubicBezTo>
                  <a:cubicBezTo>
                    <a:pt x="4" y="70"/>
                    <a:pt x="0" y="59"/>
                    <a:pt x="0" y="46"/>
                  </a:cubicBezTo>
                  <a:cubicBezTo>
                    <a:pt x="0" y="33"/>
                    <a:pt x="4" y="22"/>
                    <a:pt x="11" y="14"/>
                  </a:cubicBezTo>
                  <a:cubicBezTo>
                    <a:pt x="17" y="5"/>
                    <a:pt x="27" y="0"/>
                    <a:pt x="37" y="0"/>
                  </a:cubicBezTo>
                </a:path>
              </a:pathLst>
            </a:custGeom>
            <a:solidFill>
              <a:srgbClr val="1E2F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5" name="Rectangle 3015">
              <a:extLst>
                <a:ext uri="{FF2B5EF4-FFF2-40B4-BE49-F238E27FC236}">
                  <a16:creationId xmlns:a16="http://schemas.microsoft.com/office/drawing/2014/main" id="{CDE7D913-C20F-666A-8753-3F78D3D9B86E}"/>
                </a:ext>
              </a:extLst>
            </p:cNvPr>
            <p:cNvSpPr>
              <a:spLocks noChangeArrowheads="1"/>
            </p:cNvSpPr>
            <p:nvPr/>
          </p:nvSpPr>
          <p:spPr bwMode="auto">
            <a:xfrm>
              <a:off x="5086351" y="3198813"/>
              <a:ext cx="111125" cy="1588"/>
            </a:xfrm>
            <a:prstGeom prst="rect">
              <a:avLst/>
            </a:prstGeom>
            <a:solidFill>
              <a:srgbClr val="718CC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6" name="Rectangle 3016">
              <a:extLst>
                <a:ext uri="{FF2B5EF4-FFF2-40B4-BE49-F238E27FC236}">
                  <a16:creationId xmlns:a16="http://schemas.microsoft.com/office/drawing/2014/main" id="{B1745817-A83F-7185-E7F1-679616857F79}"/>
                </a:ext>
              </a:extLst>
            </p:cNvPr>
            <p:cNvSpPr>
              <a:spLocks noChangeArrowheads="1"/>
            </p:cNvSpPr>
            <p:nvPr/>
          </p:nvSpPr>
          <p:spPr bwMode="auto">
            <a:xfrm>
              <a:off x="5086351" y="3198813"/>
              <a:ext cx="111125"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7" name="Rectangle 3017">
              <a:extLst>
                <a:ext uri="{FF2B5EF4-FFF2-40B4-BE49-F238E27FC236}">
                  <a16:creationId xmlns:a16="http://schemas.microsoft.com/office/drawing/2014/main" id="{BD788DF7-8EE6-EB11-2F79-A2A1E1316605}"/>
                </a:ext>
              </a:extLst>
            </p:cNvPr>
            <p:cNvSpPr>
              <a:spLocks noChangeArrowheads="1"/>
            </p:cNvSpPr>
            <p:nvPr/>
          </p:nvSpPr>
          <p:spPr bwMode="auto">
            <a:xfrm>
              <a:off x="5076826" y="3208338"/>
              <a:ext cx="111125" cy="1588"/>
            </a:xfrm>
            <a:prstGeom prst="rect">
              <a:avLst/>
            </a:prstGeom>
            <a:solidFill>
              <a:srgbClr val="718CC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8" name="Rectangle 3018">
              <a:extLst>
                <a:ext uri="{FF2B5EF4-FFF2-40B4-BE49-F238E27FC236}">
                  <a16:creationId xmlns:a16="http://schemas.microsoft.com/office/drawing/2014/main" id="{F748E568-3358-C364-178C-FE9B0AEE5EF1}"/>
                </a:ext>
              </a:extLst>
            </p:cNvPr>
            <p:cNvSpPr>
              <a:spLocks noChangeArrowheads="1"/>
            </p:cNvSpPr>
            <p:nvPr/>
          </p:nvSpPr>
          <p:spPr bwMode="auto">
            <a:xfrm>
              <a:off x="5076826" y="3208338"/>
              <a:ext cx="111125"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9" name="Rectangle 3020">
              <a:extLst>
                <a:ext uri="{FF2B5EF4-FFF2-40B4-BE49-F238E27FC236}">
                  <a16:creationId xmlns:a16="http://schemas.microsoft.com/office/drawing/2014/main" id="{121B5A72-93E2-9C60-A18A-0C60AB19B6C1}"/>
                </a:ext>
              </a:extLst>
            </p:cNvPr>
            <p:cNvSpPr>
              <a:spLocks noChangeArrowheads="1"/>
            </p:cNvSpPr>
            <p:nvPr/>
          </p:nvSpPr>
          <p:spPr bwMode="auto">
            <a:xfrm>
              <a:off x="5087938" y="3219450"/>
              <a:ext cx="111125" cy="1588"/>
            </a:xfrm>
            <a:prstGeom prst="rect">
              <a:avLst/>
            </a:prstGeom>
            <a:solidFill>
              <a:srgbClr val="718CC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0" name="Rectangle 3021">
              <a:extLst>
                <a:ext uri="{FF2B5EF4-FFF2-40B4-BE49-F238E27FC236}">
                  <a16:creationId xmlns:a16="http://schemas.microsoft.com/office/drawing/2014/main" id="{4ABA1C34-2E39-1BCF-1B45-CB491E99664E}"/>
                </a:ext>
              </a:extLst>
            </p:cNvPr>
            <p:cNvSpPr>
              <a:spLocks noChangeArrowheads="1"/>
            </p:cNvSpPr>
            <p:nvPr/>
          </p:nvSpPr>
          <p:spPr bwMode="auto">
            <a:xfrm>
              <a:off x="5087938" y="3219450"/>
              <a:ext cx="111125"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1" name="Freeform 3022">
              <a:extLst>
                <a:ext uri="{FF2B5EF4-FFF2-40B4-BE49-F238E27FC236}">
                  <a16:creationId xmlns:a16="http://schemas.microsoft.com/office/drawing/2014/main" id="{6E4EC001-25EC-1BF1-612F-899E84A4B15B}"/>
                </a:ext>
              </a:extLst>
            </p:cNvPr>
            <p:cNvSpPr>
              <a:spLocks noEditPoints="1"/>
            </p:cNvSpPr>
            <p:nvPr/>
          </p:nvSpPr>
          <p:spPr bwMode="auto">
            <a:xfrm>
              <a:off x="5114925" y="3200400"/>
              <a:ext cx="26988" cy="19050"/>
            </a:xfrm>
            <a:custGeom>
              <a:avLst/>
              <a:gdLst>
                <a:gd name="T0" fmla="*/ 9 w 17"/>
                <a:gd name="T1" fmla="*/ 6 h 12"/>
                <a:gd name="T2" fmla="*/ 0 w 17"/>
                <a:gd name="T3" fmla="*/ 6 h 12"/>
                <a:gd name="T4" fmla="*/ 0 w 17"/>
                <a:gd name="T5" fmla="*/ 12 h 12"/>
                <a:gd name="T6" fmla="*/ 17 w 17"/>
                <a:gd name="T7" fmla="*/ 12 h 12"/>
                <a:gd name="T8" fmla="*/ 9 w 17"/>
                <a:gd name="T9" fmla="*/ 6 h 12"/>
                <a:gd name="T10" fmla="*/ 0 w 17"/>
                <a:gd name="T11" fmla="*/ 0 h 12"/>
                <a:gd name="T12" fmla="*/ 0 w 17"/>
                <a:gd name="T13" fmla="*/ 0 h 12"/>
                <a:gd name="T14" fmla="*/ 0 w 17"/>
                <a:gd name="T15" fmla="*/ 5 h 12"/>
                <a:gd name="T16" fmla="*/ 0 w 17"/>
                <a:gd name="T17" fmla="*/ 5 h 12"/>
                <a:gd name="T18" fmla="*/ 0 w 17"/>
                <a:gd name="T19" fmla="*/ 5 h 12"/>
                <a:gd name="T20" fmla="*/ 8 w 17"/>
                <a:gd name="T21" fmla="*/ 5 h 12"/>
                <a:gd name="T22" fmla="*/ 0 w 17"/>
                <a:gd name="T2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 h="12">
                  <a:moveTo>
                    <a:pt x="9" y="6"/>
                  </a:moveTo>
                  <a:lnTo>
                    <a:pt x="0" y="6"/>
                  </a:lnTo>
                  <a:lnTo>
                    <a:pt x="0" y="12"/>
                  </a:lnTo>
                  <a:lnTo>
                    <a:pt x="17" y="12"/>
                  </a:lnTo>
                  <a:lnTo>
                    <a:pt x="9" y="6"/>
                  </a:lnTo>
                  <a:close/>
                  <a:moveTo>
                    <a:pt x="0" y="0"/>
                  </a:moveTo>
                  <a:lnTo>
                    <a:pt x="0" y="0"/>
                  </a:lnTo>
                  <a:lnTo>
                    <a:pt x="0" y="5"/>
                  </a:lnTo>
                  <a:lnTo>
                    <a:pt x="0" y="5"/>
                  </a:lnTo>
                  <a:lnTo>
                    <a:pt x="0" y="5"/>
                  </a:lnTo>
                  <a:lnTo>
                    <a:pt x="8" y="5"/>
                  </a:lnTo>
                  <a:lnTo>
                    <a:pt x="0" y="0"/>
                  </a:lnTo>
                  <a:close/>
                </a:path>
              </a:pathLst>
            </a:custGeom>
            <a:solidFill>
              <a:srgbClr val="B8B8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2" name="Freeform 3023">
              <a:extLst>
                <a:ext uri="{FF2B5EF4-FFF2-40B4-BE49-F238E27FC236}">
                  <a16:creationId xmlns:a16="http://schemas.microsoft.com/office/drawing/2014/main" id="{3E6B99B9-EF7A-3033-6209-F2B3F891AC3D}"/>
                </a:ext>
              </a:extLst>
            </p:cNvPr>
            <p:cNvSpPr>
              <a:spLocks noEditPoints="1"/>
            </p:cNvSpPr>
            <p:nvPr/>
          </p:nvSpPr>
          <p:spPr bwMode="auto">
            <a:xfrm>
              <a:off x="5114925" y="3200400"/>
              <a:ext cx="26988" cy="19050"/>
            </a:xfrm>
            <a:custGeom>
              <a:avLst/>
              <a:gdLst>
                <a:gd name="T0" fmla="*/ 9 w 17"/>
                <a:gd name="T1" fmla="*/ 6 h 12"/>
                <a:gd name="T2" fmla="*/ 0 w 17"/>
                <a:gd name="T3" fmla="*/ 6 h 12"/>
                <a:gd name="T4" fmla="*/ 0 w 17"/>
                <a:gd name="T5" fmla="*/ 12 h 12"/>
                <a:gd name="T6" fmla="*/ 17 w 17"/>
                <a:gd name="T7" fmla="*/ 12 h 12"/>
                <a:gd name="T8" fmla="*/ 9 w 17"/>
                <a:gd name="T9" fmla="*/ 6 h 12"/>
                <a:gd name="T10" fmla="*/ 0 w 17"/>
                <a:gd name="T11" fmla="*/ 0 h 12"/>
                <a:gd name="T12" fmla="*/ 0 w 17"/>
                <a:gd name="T13" fmla="*/ 0 h 12"/>
                <a:gd name="T14" fmla="*/ 0 w 17"/>
                <a:gd name="T15" fmla="*/ 5 h 12"/>
                <a:gd name="T16" fmla="*/ 0 w 17"/>
                <a:gd name="T17" fmla="*/ 5 h 12"/>
                <a:gd name="T18" fmla="*/ 0 w 17"/>
                <a:gd name="T19" fmla="*/ 5 h 12"/>
                <a:gd name="T20" fmla="*/ 8 w 17"/>
                <a:gd name="T21" fmla="*/ 5 h 12"/>
                <a:gd name="T22" fmla="*/ 0 w 17"/>
                <a:gd name="T2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 h="12">
                  <a:moveTo>
                    <a:pt x="9" y="6"/>
                  </a:moveTo>
                  <a:lnTo>
                    <a:pt x="0" y="6"/>
                  </a:lnTo>
                  <a:lnTo>
                    <a:pt x="0" y="12"/>
                  </a:lnTo>
                  <a:lnTo>
                    <a:pt x="17" y="12"/>
                  </a:lnTo>
                  <a:lnTo>
                    <a:pt x="9" y="6"/>
                  </a:lnTo>
                  <a:moveTo>
                    <a:pt x="0" y="0"/>
                  </a:moveTo>
                  <a:lnTo>
                    <a:pt x="0" y="0"/>
                  </a:lnTo>
                  <a:lnTo>
                    <a:pt x="0" y="5"/>
                  </a:lnTo>
                  <a:lnTo>
                    <a:pt x="0" y="5"/>
                  </a:lnTo>
                  <a:lnTo>
                    <a:pt x="0" y="5"/>
                  </a:lnTo>
                  <a:lnTo>
                    <a:pt x="8" y="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3" name="Freeform 3024">
              <a:extLst>
                <a:ext uri="{FF2B5EF4-FFF2-40B4-BE49-F238E27FC236}">
                  <a16:creationId xmlns:a16="http://schemas.microsoft.com/office/drawing/2014/main" id="{144277F0-CDFF-84B5-0FAD-0CF932FFF8F6}"/>
                </a:ext>
              </a:extLst>
            </p:cNvPr>
            <p:cNvSpPr>
              <a:spLocks/>
            </p:cNvSpPr>
            <p:nvPr/>
          </p:nvSpPr>
          <p:spPr bwMode="auto">
            <a:xfrm>
              <a:off x="5114925" y="3208338"/>
              <a:ext cx="14288" cy="1588"/>
            </a:xfrm>
            <a:custGeom>
              <a:avLst/>
              <a:gdLst>
                <a:gd name="T0" fmla="*/ 8 w 9"/>
                <a:gd name="T1" fmla="*/ 0 h 1"/>
                <a:gd name="T2" fmla="*/ 0 w 9"/>
                <a:gd name="T3" fmla="*/ 0 h 1"/>
                <a:gd name="T4" fmla="*/ 0 w 9"/>
                <a:gd name="T5" fmla="*/ 1 h 1"/>
                <a:gd name="T6" fmla="*/ 9 w 9"/>
                <a:gd name="T7" fmla="*/ 1 h 1"/>
                <a:gd name="T8" fmla="*/ 8 w 9"/>
                <a:gd name="T9" fmla="*/ 0 h 1"/>
              </a:gdLst>
              <a:ahLst/>
              <a:cxnLst>
                <a:cxn ang="0">
                  <a:pos x="T0" y="T1"/>
                </a:cxn>
                <a:cxn ang="0">
                  <a:pos x="T2" y="T3"/>
                </a:cxn>
                <a:cxn ang="0">
                  <a:pos x="T4" y="T5"/>
                </a:cxn>
                <a:cxn ang="0">
                  <a:pos x="T6" y="T7"/>
                </a:cxn>
                <a:cxn ang="0">
                  <a:pos x="T8" y="T9"/>
                </a:cxn>
              </a:cxnLst>
              <a:rect l="0" t="0" r="r" b="b"/>
              <a:pathLst>
                <a:path w="9" h="1">
                  <a:moveTo>
                    <a:pt x="8" y="0"/>
                  </a:moveTo>
                  <a:lnTo>
                    <a:pt x="0" y="0"/>
                  </a:lnTo>
                  <a:lnTo>
                    <a:pt x="0" y="1"/>
                  </a:lnTo>
                  <a:lnTo>
                    <a:pt x="9" y="1"/>
                  </a:lnTo>
                  <a:lnTo>
                    <a:pt x="8" y="0"/>
                  </a:lnTo>
                  <a:close/>
                </a:path>
              </a:pathLst>
            </a:custGeom>
            <a:solidFill>
              <a:srgbClr val="5A70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4" name="Freeform 3025">
              <a:extLst>
                <a:ext uri="{FF2B5EF4-FFF2-40B4-BE49-F238E27FC236}">
                  <a16:creationId xmlns:a16="http://schemas.microsoft.com/office/drawing/2014/main" id="{A4931447-0AD5-8194-F934-A5835CBB5691}"/>
                </a:ext>
              </a:extLst>
            </p:cNvPr>
            <p:cNvSpPr>
              <a:spLocks/>
            </p:cNvSpPr>
            <p:nvPr/>
          </p:nvSpPr>
          <p:spPr bwMode="auto">
            <a:xfrm>
              <a:off x="5114925" y="3208338"/>
              <a:ext cx="14288" cy="1588"/>
            </a:xfrm>
            <a:custGeom>
              <a:avLst/>
              <a:gdLst>
                <a:gd name="T0" fmla="*/ 8 w 9"/>
                <a:gd name="T1" fmla="*/ 0 h 1"/>
                <a:gd name="T2" fmla="*/ 0 w 9"/>
                <a:gd name="T3" fmla="*/ 0 h 1"/>
                <a:gd name="T4" fmla="*/ 0 w 9"/>
                <a:gd name="T5" fmla="*/ 1 h 1"/>
                <a:gd name="T6" fmla="*/ 9 w 9"/>
                <a:gd name="T7" fmla="*/ 1 h 1"/>
                <a:gd name="T8" fmla="*/ 8 w 9"/>
                <a:gd name="T9" fmla="*/ 0 h 1"/>
              </a:gdLst>
              <a:ahLst/>
              <a:cxnLst>
                <a:cxn ang="0">
                  <a:pos x="T0" y="T1"/>
                </a:cxn>
                <a:cxn ang="0">
                  <a:pos x="T2" y="T3"/>
                </a:cxn>
                <a:cxn ang="0">
                  <a:pos x="T4" y="T5"/>
                </a:cxn>
                <a:cxn ang="0">
                  <a:pos x="T6" y="T7"/>
                </a:cxn>
                <a:cxn ang="0">
                  <a:pos x="T8" y="T9"/>
                </a:cxn>
              </a:cxnLst>
              <a:rect l="0" t="0" r="r" b="b"/>
              <a:pathLst>
                <a:path w="9" h="1">
                  <a:moveTo>
                    <a:pt x="8" y="0"/>
                  </a:moveTo>
                  <a:lnTo>
                    <a:pt x="0" y="0"/>
                  </a:lnTo>
                  <a:lnTo>
                    <a:pt x="0" y="1"/>
                  </a:lnTo>
                  <a:lnTo>
                    <a:pt x="9" y="1"/>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5" name="Freeform 3026">
              <a:extLst>
                <a:ext uri="{FF2B5EF4-FFF2-40B4-BE49-F238E27FC236}">
                  <a16:creationId xmlns:a16="http://schemas.microsoft.com/office/drawing/2014/main" id="{168B17E2-C99F-B5B0-7ECA-1EA44C56BDB6}"/>
                </a:ext>
              </a:extLst>
            </p:cNvPr>
            <p:cNvSpPr>
              <a:spLocks/>
            </p:cNvSpPr>
            <p:nvPr/>
          </p:nvSpPr>
          <p:spPr bwMode="auto">
            <a:xfrm>
              <a:off x="5099050" y="3219450"/>
              <a:ext cx="79375" cy="23813"/>
            </a:xfrm>
            <a:custGeom>
              <a:avLst/>
              <a:gdLst>
                <a:gd name="T0" fmla="*/ 28 w 50"/>
                <a:gd name="T1" fmla="*/ 0 h 15"/>
                <a:gd name="T2" fmla="*/ 10 w 50"/>
                <a:gd name="T3" fmla="*/ 0 h 15"/>
                <a:gd name="T4" fmla="*/ 10 w 50"/>
                <a:gd name="T5" fmla="*/ 10 h 15"/>
                <a:gd name="T6" fmla="*/ 5 w 50"/>
                <a:gd name="T7" fmla="*/ 7 h 15"/>
                <a:gd name="T8" fmla="*/ 0 w 50"/>
                <a:gd name="T9" fmla="*/ 10 h 15"/>
                <a:gd name="T10" fmla="*/ 16 w 50"/>
                <a:gd name="T11" fmla="*/ 15 h 15"/>
                <a:gd name="T12" fmla="*/ 50 w 50"/>
                <a:gd name="T13" fmla="*/ 15 h 15"/>
                <a:gd name="T14" fmla="*/ 28 w 50"/>
                <a:gd name="T15" fmla="*/ 0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15">
                  <a:moveTo>
                    <a:pt x="28" y="0"/>
                  </a:moveTo>
                  <a:lnTo>
                    <a:pt x="10" y="0"/>
                  </a:lnTo>
                  <a:lnTo>
                    <a:pt x="10" y="10"/>
                  </a:lnTo>
                  <a:lnTo>
                    <a:pt x="5" y="7"/>
                  </a:lnTo>
                  <a:lnTo>
                    <a:pt x="0" y="10"/>
                  </a:lnTo>
                  <a:lnTo>
                    <a:pt x="16" y="15"/>
                  </a:lnTo>
                  <a:lnTo>
                    <a:pt x="50" y="15"/>
                  </a:lnTo>
                  <a:lnTo>
                    <a:pt x="28" y="0"/>
                  </a:lnTo>
                  <a:close/>
                </a:path>
              </a:pathLst>
            </a:custGeom>
            <a:solidFill>
              <a:srgbClr val="B8B8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6" name="Freeform 3027">
              <a:extLst>
                <a:ext uri="{FF2B5EF4-FFF2-40B4-BE49-F238E27FC236}">
                  <a16:creationId xmlns:a16="http://schemas.microsoft.com/office/drawing/2014/main" id="{F693805E-9160-BF82-38EB-E3C8B5CC6091}"/>
                </a:ext>
              </a:extLst>
            </p:cNvPr>
            <p:cNvSpPr>
              <a:spLocks/>
            </p:cNvSpPr>
            <p:nvPr/>
          </p:nvSpPr>
          <p:spPr bwMode="auto">
            <a:xfrm>
              <a:off x="5099050" y="3219450"/>
              <a:ext cx="79375" cy="23813"/>
            </a:xfrm>
            <a:custGeom>
              <a:avLst/>
              <a:gdLst>
                <a:gd name="T0" fmla="*/ 28 w 50"/>
                <a:gd name="T1" fmla="*/ 0 h 15"/>
                <a:gd name="T2" fmla="*/ 10 w 50"/>
                <a:gd name="T3" fmla="*/ 0 h 15"/>
                <a:gd name="T4" fmla="*/ 10 w 50"/>
                <a:gd name="T5" fmla="*/ 10 h 15"/>
                <a:gd name="T6" fmla="*/ 5 w 50"/>
                <a:gd name="T7" fmla="*/ 7 h 15"/>
                <a:gd name="T8" fmla="*/ 0 w 50"/>
                <a:gd name="T9" fmla="*/ 10 h 15"/>
                <a:gd name="T10" fmla="*/ 16 w 50"/>
                <a:gd name="T11" fmla="*/ 15 h 15"/>
                <a:gd name="T12" fmla="*/ 50 w 50"/>
                <a:gd name="T13" fmla="*/ 15 h 15"/>
                <a:gd name="T14" fmla="*/ 28 w 50"/>
                <a:gd name="T15" fmla="*/ 0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15">
                  <a:moveTo>
                    <a:pt x="28" y="0"/>
                  </a:moveTo>
                  <a:lnTo>
                    <a:pt x="10" y="0"/>
                  </a:lnTo>
                  <a:lnTo>
                    <a:pt x="10" y="10"/>
                  </a:lnTo>
                  <a:lnTo>
                    <a:pt x="5" y="7"/>
                  </a:lnTo>
                  <a:lnTo>
                    <a:pt x="0" y="10"/>
                  </a:lnTo>
                  <a:lnTo>
                    <a:pt x="16" y="15"/>
                  </a:lnTo>
                  <a:lnTo>
                    <a:pt x="50" y="15"/>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7" name="Freeform 3028">
              <a:extLst>
                <a:ext uri="{FF2B5EF4-FFF2-40B4-BE49-F238E27FC236}">
                  <a16:creationId xmlns:a16="http://schemas.microsoft.com/office/drawing/2014/main" id="{B8BE8D3D-8911-9B75-5CCC-4E556F0E3832}"/>
                </a:ext>
              </a:extLst>
            </p:cNvPr>
            <p:cNvSpPr>
              <a:spLocks/>
            </p:cNvSpPr>
            <p:nvPr/>
          </p:nvSpPr>
          <p:spPr bwMode="auto">
            <a:xfrm>
              <a:off x="5114925" y="3219450"/>
              <a:ext cx="28575" cy="0"/>
            </a:xfrm>
            <a:custGeom>
              <a:avLst/>
              <a:gdLst>
                <a:gd name="T0" fmla="*/ 17 w 18"/>
                <a:gd name="T1" fmla="*/ 0 w 18"/>
                <a:gd name="T2" fmla="*/ 0 w 18"/>
                <a:gd name="T3" fmla="*/ 18 w 18"/>
                <a:gd name="T4" fmla="*/ 17 w 18"/>
              </a:gdLst>
              <a:ahLst/>
              <a:cxnLst>
                <a:cxn ang="0">
                  <a:pos x="T0" y="0"/>
                </a:cxn>
                <a:cxn ang="0">
                  <a:pos x="T1" y="0"/>
                </a:cxn>
                <a:cxn ang="0">
                  <a:pos x="T2" y="0"/>
                </a:cxn>
                <a:cxn ang="0">
                  <a:pos x="T3" y="0"/>
                </a:cxn>
                <a:cxn ang="0">
                  <a:pos x="T4" y="0"/>
                </a:cxn>
              </a:cxnLst>
              <a:rect l="0" t="0" r="r" b="b"/>
              <a:pathLst>
                <a:path w="18">
                  <a:moveTo>
                    <a:pt x="17" y="0"/>
                  </a:moveTo>
                  <a:lnTo>
                    <a:pt x="0" y="0"/>
                  </a:lnTo>
                  <a:lnTo>
                    <a:pt x="0" y="0"/>
                  </a:lnTo>
                  <a:lnTo>
                    <a:pt x="18" y="0"/>
                  </a:lnTo>
                  <a:lnTo>
                    <a:pt x="17" y="0"/>
                  </a:lnTo>
                  <a:close/>
                </a:path>
              </a:pathLst>
            </a:custGeom>
            <a:solidFill>
              <a:srgbClr val="5A70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8" name="Freeform 3029">
              <a:extLst>
                <a:ext uri="{FF2B5EF4-FFF2-40B4-BE49-F238E27FC236}">
                  <a16:creationId xmlns:a16="http://schemas.microsoft.com/office/drawing/2014/main" id="{DCBF302A-D330-1332-581F-AA77FEE518F5}"/>
                </a:ext>
              </a:extLst>
            </p:cNvPr>
            <p:cNvSpPr>
              <a:spLocks/>
            </p:cNvSpPr>
            <p:nvPr/>
          </p:nvSpPr>
          <p:spPr bwMode="auto">
            <a:xfrm>
              <a:off x="5114925" y="3219450"/>
              <a:ext cx="28575" cy="0"/>
            </a:xfrm>
            <a:custGeom>
              <a:avLst/>
              <a:gdLst>
                <a:gd name="T0" fmla="*/ 17 w 18"/>
                <a:gd name="T1" fmla="*/ 0 w 18"/>
                <a:gd name="T2" fmla="*/ 0 w 18"/>
                <a:gd name="T3" fmla="*/ 18 w 18"/>
                <a:gd name="T4" fmla="*/ 17 w 18"/>
              </a:gdLst>
              <a:ahLst/>
              <a:cxnLst>
                <a:cxn ang="0">
                  <a:pos x="T0" y="0"/>
                </a:cxn>
                <a:cxn ang="0">
                  <a:pos x="T1" y="0"/>
                </a:cxn>
                <a:cxn ang="0">
                  <a:pos x="T2" y="0"/>
                </a:cxn>
                <a:cxn ang="0">
                  <a:pos x="T3" y="0"/>
                </a:cxn>
                <a:cxn ang="0">
                  <a:pos x="T4" y="0"/>
                </a:cxn>
              </a:cxnLst>
              <a:rect l="0" t="0" r="r" b="b"/>
              <a:pathLst>
                <a:path w="18">
                  <a:moveTo>
                    <a:pt x="17" y="0"/>
                  </a:moveTo>
                  <a:lnTo>
                    <a:pt x="0" y="0"/>
                  </a:lnTo>
                  <a:lnTo>
                    <a:pt x="0" y="0"/>
                  </a:lnTo>
                  <a:lnTo>
                    <a:pt x="18" y="0"/>
                  </a:lnTo>
                  <a:lnTo>
                    <a:pt x="1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9" name="Rectangle 3030">
              <a:extLst>
                <a:ext uri="{FF2B5EF4-FFF2-40B4-BE49-F238E27FC236}">
                  <a16:creationId xmlns:a16="http://schemas.microsoft.com/office/drawing/2014/main" id="{AE3A619D-2CE5-FD01-C20A-218EA6ED6085}"/>
                </a:ext>
              </a:extLst>
            </p:cNvPr>
            <p:cNvSpPr>
              <a:spLocks noChangeArrowheads="1"/>
            </p:cNvSpPr>
            <p:nvPr/>
          </p:nvSpPr>
          <p:spPr bwMode="auto">
            <a:xfrm>
              <a:off x="5089525" y="3230563"/>
              <a:ext cx="115888" cy="1588"/>
            </a:xfrm>
            <a:prstGeom prst="rect">
              <a:avLst/>
            </a:prstGeom>
            <a:solidFill>
              <a:srgbClr val="718CC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30" name="Freeform 3031">
              <a:extLst>
                <a:ext uri="{FF2B5EF4-FFF2-40B4-BE49-F238E27FC236}">
                  <a16:creationId xmlns:a16="http://schemas.microsoft.com/office/drawing/2014/main" id="{28196AEC-1FDE-A8A4-FEB9-67CB43E65860}"/>
                </a:ext>
              </a:extLst>
            </p:cNvPr>
            <p:cNvSpPr>
              <a:spLocks/>
            </p:cNvSpPr>
            <p:nvPr/>
          </p:nvSpPr>
          <p:spPr bwMode="auto">
            <a:xfrm>
              <a:off x="5099050" y="3200400"/>
              <a:ext cx="15875" cy="34925"/>
            </a:xfrm>
            <a:custGeom>
              <a:avLst/>
              <a:gdLst>
                <a:gd name="T0" fmla="*/ 0 w 10"/>
                <a:gd name="T1" fmla="*/ 0 h 22"/>
                <a:gd name="T2" fmla="*/ 10 w 10"/>
                <a:gd name="T3" fmla="*/ 0 h 22"/>
                <a:gd name="T4" fmla="*/ 10 w 10"/>
                <a:gd name="T5" fmla="*/ 22 h 22"/>
                <a:gd name="T6" fmla="*/ 5 w 10"/>
                <a:gd name="T7" fmla="*/ 19 h 22"/>
                <a:gd name="T8" fmla="*/ 0 w 10"/>
                <a:gd name="T9" fmla="*/ 22 h 22"/>
                <a:gd name="T10" fmla="*/ 0 w 10"/>
                <a:gd name="T11" fmla="*/ 0 h 22"/>
              </a:gdLst>
              <a:ahLst/>
              <a:cxnLst>
                <a:cxn ang="0">
                  <a:pos x="T0" y="T1"/>
                </a:cxn>
                <a:cxn ang="0">
                  <a:pos x="T2" y="T3"/>
                </a:cxn>
                <a:cxn ang="0">
                  <a:pos x="T4" y="T5"/>
                </a:cxn>
                <a:cxn ang="0">
                  <a:pos x="T6" y="T7"/>
                </a:cxn>
                <a:cxn ang="0">
                  <a:pos x="T8" y="T9"/>
                </a:cxn>
                <a:cxn ang="0">
                  <a:pos x="T10" y="T11"/>
                </a:cxn>
              </a:cxnLst>
              <a:rect l="0" t="0" r="r" b="b"/>
              <a:pathLst>
                <a:path w="10" h="22">
                  <a:moveTo>
                    <a:pt x="0" y="0"/>
                  </a:moveTo>
                  <a:lnTo>
                    <a:pt x="10" y="0"/>
                  </a:lnTo>
                  <a:lnTo>
                    <a:pt x="10" y="22"/>
                  </a:lnTo>
                  <a:lnTo>
                    <a:pt x="5" y="19"/>
                  </a:lnTo>
                  <a:lnTo>
                    <a:pt x="0" y="22"/>
                  </a:lnTo>
                  <a:lnTo>
                    <a:pt x="0" y="0"/>
                  </a:lnTo>
                  <a:close/>
                </a:path>
              </a:pathLst>
            </a:custGeom>
            <a:solidFill>
              <a:srgbClr val="FFC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31" name="Freeform 3032">
              <a:extLst>
                <a:ext uri="{FF2B5EF4-FFF2-40B4-BE49-F238E27FC236}">
                  <a16:creationId xmlns:a16="http://schemas.microsoft.com/office/drawing/2014/main" id="{F8AB2366-02FD-B578-CFA7-64A6D4BB903A}"/>
                </a:ext>
              </a:extLst>
            </p:cNvPr>
            <p:cNvSpPr>
              <a:spLocks/>
            </p:cNvSpPr>
            <p:nvPr/>
          </p:nvSpPr>
          <p:spPr bwMode="auto">
            <a:xfrm>
              <a:off x="5099050" y="3200400"/>
              <a:ext cx="15875" cy="34925"/>
            </a:xfrm>
            <a:custGeom>
              <a:avLst/>
              <a:gdLst>
                <a:gd name="T0" fmla="*/ 0 w 10"/>
                <a:gd name="T1" fmla="*/ 0 h 22"/>
                <a:gd name="T2" fmla="*/ 10 w 10"/>
                <a:gd name="T3" fmla="*/ 0 h 22"/>
                <a:gd name="T4" fmla="*/ 10 w 10"/>
                <a:gd name="T5" fmla="*/ 22 h 22"/>
                <a:gd name="T6" fmla="*/ 5 w 10"/>
                <a:gd name="T7" fmla="*/ 19 h 22"/>
                <a:gd name="T8" fmla="*/ 0 w 10"/>
                <a:gd name="T9" fmla="*/ 22 h 22"/>
                <a:gd name="T10" fmla="*/ 0 w 10"/>
                <a:gd name="T11" fmla="*/ 0 h 22"/>
              </a:gdLst>
              <a:ahLst/>
              <a:cxnLst>
                <a:cxn ang="0">
                  <a:pos x="T0" y="T1"/>
                </a:cxn>
                <a:cxn ang="0">
                  <a:pos x="T2" y="T3"/>
                </a:cxn>
                <a:cxn ang="0">
                  <a:pos x="T4" y="T5"/>
                </a:cxn>
                <a:cxn ang="0">
                  <a:pos x="T6" y="T7"/>
                </a:cxn>
                <a:cxn ang="0">
                  <a:pos x="T8" y="T9"/>
                </a:cxn>
                <a:cxn ang="0">
                  <a:pos x="T10" y="T11"/>
                </a:cxn>
              </a:cxnLst>
              <a:rect l="0" t="0" r="r" b="b"/>
              <a:pathLst>
                <a:path w="10" h="22">
                  <a:moveTo>
                    <a:pt x="0" y="0"/>
                  </a:moveTo>
                  <a:lnTo>
                    <a:pt x="10" y="0"/>
                  </a:lnTo>
                  <a:lnTo>
                    <a:pt x="10" y="22"/>
                  </a:lnTo>
                  <a:lnTo>
                    <a:pt x="5" y="19"/>
                  </a:lnTo>
                  <a:lnTo>
                    <a:pt x="0" y="2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32" name="Freeform 3033">
              <a:extLst>
                <a:ext uri="{FF2B5EF4-FFF2-40B4-BE49-F238E27FC236}">
                  <a16:creationId xmlns:a16="http://schemas.microsoft.com/office/drawing/2014/main" id="{7C5C8933-1D39-A356-D737-C6FB7223D333}"/>
                </a:ext>
              </a:extLst>
            </p:cNvPr>
            <p:cNvSpPr>
              <a:spLocks/>
            </p:cNvSpPr>
            <p:nvPr/>
          </p:nvSpPr>
          <p:spPr bwMode="auto">
            <a:xfrm>
              <a:off x="5099050" y="3200400"/>
              <a:ext cx="15875" cy="7938"/>
            </a:xfrm>
            <a:custGeom>
              <a:avLst/>
              <a:gdLst>
                <a:gd name="T0" fmla="*/ 19 w 19"/>
                <a:gd name="T1" fmla="*/ 0 h 9"/>
                <a:gd name="T2" fmla="*/ 0 w 19"/>
                <a:gd name="T3" fmla="*/ 0 h 9"/>
                <a:gd name="T4" fmla="*/ 0 w 19"/>
                <a:gd name="T5" fmla="*/ 7 h 9"/>
                <a:gd name="T6" fmla="*/ 6 w 19"/>
                <a:gd name="T7" fmla="*/ 7 h 9"/>
                <a:gd name="T8" fmla="*/ 19 w 19"/>
                <a:gd name="T9" fmla="*/ 9 h 9"/>
                <a:gd name="T10" fmla="*/ 19 w 19"/>
                <a:gd name="T11" fmla="*/ 0 h 9"/>
              </a:gdLst>
              <a:ahLst/>
              <a:cxnLst>
                <a:cxn ang="0">
                  <a:pos x="T0" y="T1"/>
                </a:cxn>
                <a:cxn ang="0">
                  <a:pos x="T2" y="T3"/>
                </a:cxn>
                <a:cxn ang="0">
                  <a:pos x="T4" y="T5"/>
                </a:cxn>
                <a:cxn ang="0">
                  <a:pos x="T6" y="T7"/>
                </a:cxn>
                <a:cxn ang="0">
                  <a:pos x="T8" y="T9"/>
                </a:cxn>
                <a:cxn ang="0">
                  <a:pos x="T10" y="T11"/>
                </a:cxn>
              </a:cxnLst>
              <a:rect l="0" t="0" r="r" b="b"/>
              <a:pathLst>
                <a:path w="19" h="9">
                  <a:moveTo>
                    <a:pt x="19" y="0"/>
                  </a:moveTo>
                  <a:cubicBezTo>
                    <a:pt x="0" y="0"/>
                    <a:pt x="0" y="0"/>
                    <a:pt x="0" y="0"/>
                  </a:cubicBezTo>
                  <a:cubicBezTo>
                    <a:pt x="0" y="7"/>
                    <a:pt x="0" y="7"/>
                    <a:pt x="0" y="7"/>
                  </a:cubicBezTo>
                  <a:cubicBezTo>
                    <a:pt x="2" y="7"/>
                    <a:pt x="4" y="7"/>
                    <a:pt x="6" y="7"/>
                  </a:cubicBezTo>
                  <a:cubicBezTo>
                    <a:pt x="10" y="7"/>
                    <a:pt x="15" y="7"/>
                    <a:pt x="19" y="9"/>
                  </a:cubicBezTo>
                  <a:cubicBezTo>
                    <a:pt x="19" y="0"/>
                    <a:pt x="19" y="0"/>
                    <a:pt x="19" y="0"/>
                  </a:cubicBezTo>
                </a:path>
              </a:pathLst>
            </a:custGeom>
            <a:solidFill>
              <a:srgbClr val="E5B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33" name="Rectangle 3034">
              <a:extLst>
                <a:ext uri="{FF2B5EF4-FFF2-40B4-BE49-F238E27FC236}">
                  <a16:creationId xmlns:a16="http://schemas.microsoft.com/office/drawing/2014/main" id="{C050D388-A37F-07FC-50B5-91EA581F001F}"/>
                </a:ext>
              </a:extLst>
            </p:cNvPr>
            <p:cNvSpPr>
              <a:spLocks noChangeArrowheads="1"/>
            </p:cNvSpPr>
            <p:nvPr/>
          </p:nvSpPr>
          <p:spPr bwMode="auto">
            <a:xfrm>
              <a:off x="5045075" y="3286125"/>
              <a:ext cx="222250" cy="31750"/>
            </a:xfrm>
            <a:prstGeom prst="rect">
              <a:avLst/>
            </a:prstGeom>
            <a:solidFill>
              <a:srgbClr val="DB4F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34" name="Rectangle 3035">
              <a:extLst>
                <a:ext uri="{FF2B5EF4-FFF2-40B4-BE49-F238E27FC236}">
                  <a16:creationId xmlns:a16="http://schemas.microsoft.com/office/drawing/2014/main" id="{DB11F583-01ED-8AD5-2982-95EF08302914}"/>
                </a:ext>
              </a:extLst>
            </p:cNvPr>
            <p:cNvSpPr>
              <a:spLocks noChangeArrowheads="1"/>
            </p:cNvSpPr>
            <p:nvPr/>
          </p:nvSpPr>
          <p:spPr bwMode="auto">
            <a:xfrm>
              <a:off x="5045075" y="3286125"/>
              <a:ext cx="222250" cy="31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35" name="Freeform 3036">
              <a:extLst>
                <a:ext uri="{FF2B5EF4-FFF2-40B4-BE49-F238E27FC236}">
                  <a16:creationId xmlns:a16="http://schemas.microsoft.com/office/drawing/2014/main" id="{C28B02C0-24A8-D053-B38D-AC98507397BA}"/>
                </a:ext>
              </a:extLst>
            </p:cNvPr>
            <p:cNvSpPr>
              <a:spLocks/>
            </p:cNvSpPr>
            <p:nvPr/>
          </p:nvSpPr>
          <p:spPr bwMode="auto">
            <a:xfrm>
              <a:off x="5018088" y="3365500"/>
              <a:ext cx="254000" cy="39688"/>
            </a:xfrm>
            <a:custGeom>
              <a:avLst/>
              <a:gdLst>
                <a:gd name="T0" fmla="*/ 313 w 313"/>
                <a:gd name="T1" fmla="*/ 0 h 49"/>
                <a:gd name="T2" fmla="*/ 0 w 313"/>
                <a:gd name="T3" fmla="*/ 0 h 49"/>
                <a:gd name="T4" fmla="*/ 0 w 313"/>
                <a:gd name="T5" fmla="*/ 49 h 49"/>
                <a:gd name="T6" fmla="*/ 301 w 313"/>
                <a:gd name="T7" fmla="*/ 49 h 49"/>
                <a:gd name="T8" fmla="*/ 313 w 313"/>
                <a:gd name="T9" fmla="*/ 0 h 49"/>
              </a:gdLst>
              <a:ahLst/>
              <a:cxnLst>
                <a:cxn ang="0">
                  <a:pos x="T0" y="T1"/>
                </a:cxn>
                <a:cxn ang="0">
                  <a:pos x="T2" y="T3"/>
                </a:cxn>
                <a:cxn ang="0">
                  <a:pos x="T4" y="T5"/>
                </a:cxn>
                <a:cxn ang="0">
                  <a:pos x="T6" y="T7"/>
                </a:cxn>
                <a:cxn ang="0">
                  <a:pos x="T8" y="T9"/>
                </a:cxn>
              </a:cxnLst>
              <a:rect l="0" t="0" r="r" b="b"/>
              <a:pathLst>
                <a:path w="313" h="49">
                  <a:moveTo>
                    <a:pt x="313" y="0"/>
                  </a:moveTo>
                  <a:cubicBezTo>
                    <a:pt x="0" y="0"/>
                    <a:pt x="0" y="0"/>
                    <a:pt x="0" y="0"/>
                  </a:cubicBezTo>
                  <a:cubicBezTo>
                    <a:pt x="0" y="49"/>
                    <a:pt x="0" y="49"/>
                    <a:pt x="0" y="49"/>
                  </a:cubicBezTo>
                  <a:cubicBezTo>
                    <a:pt x="301" y="49"/>
                    <a:pt x="301" y="49"/>
                    <a:pt x="301" y="49"/>
                  </a:cubicBezTo>
                  <a:cubicBezTo>
                    <a:pt x="304" y="32"/>
                    <a:pt x="307" y="15"/>
                    <a:pt x="313" y="0"/>
                  </a:cubicBezTo>
                </a:path>
              </a:pathLst>
            </a:custGeom>
            <a:solidFill>
              <a:srgbClr val="DB9F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36" name="Freeform 3037">
              <a:extLst>
                <a:ext uri="{FF2B5EF4-FFF2-40B4-BE49-F238E27FC236}">
                  <a16:creationId xmlns:a16="http://schemas.microsoft.com/office/drawing/2014/main" id="{2CF9C328-536B-A49F-B3FA-F73147F5EF35}"/>
                </a:ext>
              </a:extLst>
            </p:cNvPr>
            <p:cNvSpPr>
              <a:spLocks/>
            </p:cNvSpPr>
            <p:nvPr/>
          </p:nvSpPr>
          <p:spPr bwMode="auto">
            <a:xfrm>
              <a:off x="4929188" y="3414713"/>
              <a:ext cx="454025" cy="104775"/>
            </a:xfrm>
            <a:custGeom>
              <a:avLst/>
              <a:gdLst>
                <a:gd name="T0" fmla="*/ 559 w 559"/>
                <a:gd name="T1" fmla="*/ 0 h 128"/>
                <a:gd name="T2" fmla="*/ 63 w 559"/>
                <a:gd name="T3" fmla="*/ 0 h 128"/>
                <a:gd name="T4" fmla="*/ 0 w 559"/>
                <a:gd name="T5" fmla="*/ 64 h 128"/>
                <a:gd name="T6" fmla="*/ 63 w 559"/>
                <a:gd name="T7" fmla="*/ 128 h 128"/>
                <a:gd name="T8" fmla="*/ 559 w 559"/>
                <a:gd name="T9" fmla="*/ 128 h 128"/>
                <a:gd name="T10" fmla="*/ 559 w 559"/>
                <a:gd name="T11" fmla="*/ 0 h 128"/>
              </a:gdLst>
              <a:ahLst/>
              <a:cxnLst>
                <a:cxn ang="0">
                  <a:pos x="T0" y="T1"/>
                </a:cxn>
                <a:cxn ang="0">
                  <a:pos x="T2" y="T3"/>
                </a:cxn>
                <a:cxn ang="0">
                  <a:pos x="T4" y="T5"/>
                </a:cxn>
                <a:cxn ang="0">
                  <a:pos x="T6" y="T7"/>
                </a:cxn>
                <a:cxn ang="0">
                  <a:pos x="T8" y="T9"/>
                </a:cxn>
                <a:cxn ang="0">
                  <a:pos x="T10" y="T11"/>
                </a:cxn>
              </a:cxnLst>
              <a:rect l="0" t="0" r="r" b="b"/>
              <a:pathLst>
                <a:path w="559" h="128">
                  <a:moveTo>
                    <a:pt x="559" y="0"/>
                  </a:moveTo>
                  <a:cubicBezTo>
                    <a:pt x="63" y="0"/>
                    <a:pt x="63" y="0"/>
                    <a:pt x="63" y="0"/>
                  </a:cubicBezTo>
                  <a:cubicBezTo>
                    <a:pt x="28" y="0"/>
                    <a:pt x="0" y="29"/>
                    <a:pt x="0" y="64"/>
                  </a:cubicBezTo>
                  <a:cubicBezTo>
                    <a:pt x="0" y="100"/>
                    <a:pt x="28" y="128"/>
                    <a:pt x="63" y="128"/>
                  </a:cubicBezTo>
                  <a:cubicBezTo>
                    <a:pt x="559" y="128"/>
                    <a:pt x="559" y="128"/>
                    <a:pt x="559" y="128"/>
                  </a:cubicBezTo>
                  <a:cubicBezTo>
                    <a:pt x="559" y="0"/>
                    <a:pt x="559" y="0"/>
                    <a:pt x="55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37" name="Freeform 3038">
              <a:extLst>
                <a:ext uri="{FF2B5EF4-FFF2-40B4-BE49-F238E27FC236}">
                  <a16:creationId xmlns:a16="http://schemas.microsoft.com/office/drawing/2014/main" id="{9F5AF9AB-5290-38D1-AEAE-9A1785870736}"/>
                </a:ext>
              </a:extLst>
            </p:cNvPr>
            <p:cNvSpPr>
              <a:spLocks noEditPoints="1"/>
            </p:cNvSpPr>
            <p:nvPr/>
          </p:nvSpPr>
          <p:spPr bwMode="auto">
            <a:xfrm>
              <a:off x="4929188" y="3443288"/>
              <a:ext cx="6350" cy="26988"/>
            </a:xfrm>
            <a:custGeom>
              <a:avLst/>
              <a:gdLst>
                <a:gd name="T0" fmla="*/ 0 w 7"/>
                <a:gd name="T1" fmla="*/ 32 h 32"/>
                <a:gd name="T2" fmla="*/ 0 w 7"/>
                <a:gd name="T3" fmla="*/ 32 h 32"/>
                <a:gd name="T4" fmla="*/ 0 w 7"/>
                <a:gd name="T5" fmla="*/ 31 h 32"/>
                <a:gd name="T6" fmla="*/ 0 w 7"/>
                <a:gd name="T7" fmla="*/ 30 h 32"/>
                <a:gd name="T8" fmla="*/ 0 w 7"/>
                <a:gd name="T9" fmla="*/ 30 h 32"/>
                <a:gd name="T10" fmla="*/ 0 w 7"/>
                <a:gd name="T11" fmla="*/ 30 h 32"/>
                <a:gd name="T12" fmla="*/ 0 w 7"/>
                <a:gd name="T13" fmla="*/ 29 h 32"/>
                <a:gd name="T14" fmla="*/ 0 w 7"/>
                <a:gd name="T15" fmla="*/ 29 h 32"/>
                <a:gd name="T16" fmla="*/ 0 w 7"/>
                <a:gd name="T17" fmla="*/ 29 h 32"/>
                <a:gd name="T18" fmla="*/ 0 w 7"/>
                <a:gd name="T19" fmla="*/ 29 h 32"/>
                <a:gd name="T20" fmla="*/ 0 w 7"/>
                <a:gd name="T21" fmla="*/ 28 h 32"/>
                <a:gd name="T22" fmla="*/ 0 w 7"/>
                <a:gd name="T23" fmla="*/ 28 h 32"/>
                <a:gd name="T24" fmla="*/ 0 w 7"/>
                <a:gd name="T25" fmla="*/ 28 h 32"/>
                <a:gd name="T26" fmla="*/ 0 w 7"/>
                <a:gd name="T27" fmla="*/ 27 h 32"/>
                <a:gd name="T28" fmla="*/ 0 w 7"/>
                <a:gd name="T29" fmla="*/ 27 h 32"/>
                <a:gd name="T30" fmla="*/ 0 w 7"/>
                <a:gd name="T31" fmla="*/ 27 h 32"/>
                <a:gd name="T32" fmla="*/ 0 w 7"/>
                <a:gd name="T33" fmla="*/ 26 h 32"/>
                <a:gd name="T34" fmla="*/ 0 w 7"/>
                <a:gd name="T35" fmla="*/ 26 h 32"/>
                <a:gd name="T36" fmla="*/ 0 w 7"/>
                <a:gd name="T37" fmla="*/ 26 h 32"/>
                <a:gd name="T38" fmla="*/ 0 w 7"/>
                <a:gd name="T39" fmla="*/ 25 h 32"/>
                <a:gd name="T40" fmla="*/ 0 w 7"/>
                <a:gd name="T41" fmla="*/ 25 h 32"/>
                <a:gd name="T42" fmla="*/ 0 w 7"/>
                <a:gd name="T43" fmla="*/ 25 h 32"/>
                <a:gd name="T44" fmla="*/ 0 w 7"/>
                <a:gd name="T45" fmla="*/ 24 h 32"/>
                <a:gd name="T46" fmla="*/ 0 w 7"/>
                <a:gd name="T47" fmla="*/ 24 h 32"/>
                <a:gd name="T48" fmla="*/ 0 w 7"/>
                <a:gd name="T49" fmla="*/ 24 h 32"/>
                <a:gd name="T50" fmla="*/ 0 w 7"/>
                <a:gd name="T51" fmla="*/ 23 h 32"/>
                <a:gd name="T52" fmla="*/ 0 w 7"/>
                <a:gd name="T53" fmla="*/ 23 h 32"/>
                <a:gd name="T54" fmla="*/ 0 w 7"/>
                <a:gd name="T55" fmla="*/ 23 h 32"/>
                <a:gd name="T56" fmla="*/ 0 w 7"/>
                <a:gd name="T57" fmla="*/ 22 h 32"/>
                <a:gd name="T58" fmla="*/ 0 w 7"/>
                <a:gd name="T59" fmla="*/ 22 h 32"/>
                <a:gd name="T60" fmla="*/ 0 w 7"/>
                <a:gd name="T61" fmla="*/ 22 h 32"/>
                <a:gd name="T62" fmla="*/ 0 w 7"/>
                <a:gd name="T63" fmla="*/ 21 h 32"/>
                <a:gd name="T64" fmla="*/ 0 w 7"/>
                <a:gd name="T65" fmla="*/ 21 h 32"/>
                <a:gd name="T66" fmla="*/ 0 w 7"/>
                <a:gd name="T67" fmla="*/ 19 h 32"/>
                <a:gd name="T68" fmla="*/ 5 w 7"/>
                <a:gd name="T69" fmla="*/ 3 h 32"/>
                <a:gd name="T70" fmla="*/ 5 w 7"/>
                <a:gd name="T71" fmla="*/ 3 h 32"/>
                <a:gd name="T72" fmla="*/ 5 w 7"/>
                <a:gd name="T73" fmla="*/ 3 h 32"/>
                <a:gd name="T74" fmla="*/ 6 w 7"/>
                <a:gd name="T75" fmla="*/ 2 h 32"/>
                <a:gd name="T76" fmla="*/ 6 w 7"/>
                <a:gd name="T77" fmla="*/ 2 h 32"/>
                <a:gd name="T78" fmla="*/ 6 w 7"/>
                <a:gd name="T79" fmla="*/ 2 h 32"/>
                <a:gd name="T80" fmla="*/ 6 w 7"/>
                <a:gd name="T81" fmla="*/ 2 h 32"/>
                <a:gd name="T82" fmla="*/ 6 w 7"/>
                <a:gd name="T83" fmla="*/ 2 h 32"/>
                <a:gd name="T84" fmla="*/ 6 w 7"/>
                <a:gd name="T85" fmla="*/ 1 h 32"/>
                <a:gd name="T86" fmla="*/ 6 w 7"/>
                <a:gd name="T87" fmla="*/ 1 h 32"/>
                <a:gd name="T88" fmla="*/ 6 w 7"/>
                <a:gd name="T89" fmla="*/ 1 h 32"/>
                <a:gd name="T90" fmla="*/ 6 w 7"/>
                <a:gd name="T91" fmla="*/ 1 h 32"/>
                <a:gd name="T92" fmla="*/ 7 w 7"/>
                <a:gd name="T93" fmla="*/ 0 h 32"/>
                <a:gd name="T94" fmla="*/ 7 w 7"/>
                <a:gd name="T95" fmla="*/ 0 h 32"/>
                <a:gd name="T96" fmla="*/ 7 w 7"/>
                <a:gd name="T9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 h="32">
                  <a:moveTo>
                    <a:pt x="0" y="32"/>
                  </a:moveTo>
                  <a:cubicBezTo>
                    <a:pt x="0" y="32"/>
                    <a:pt x="0" y="32"/>
                    <a:pt x="0" y="32"/>
                  </a:cubicBezTo>
                  <a:cubicBezTo>
                    <a:pt x="0" y="32"/>
                    <a:pt x="0" y="32"/>
                    <a:pt x="0" y="32"/>
                  </a:cubicBezTo>
                  <a:moveTo>
                    <a:pt x="0" y="32"/>
                  </a:moveTo>
                  <a:cubicBezTo>
                    <a:pt x="0" y="32"/>
                    <a:pt x="0" y="32"/>
                    <a:pt x="0" y="32"/>
                  </a:cubicBezTo>
                  <a:cubicBezTo>
                    <a:pt x="0" y="32"/>
                    <a:pt x="0" y="32"/>
                    <a:pt x="0" y="32"/>
                  </a:cubicBezTo>
                  <a:moveTo>
                    <a:pt x="0" y="32"/>
                  </a:moveTo>
                  <a:cubicBezTo>
                    <a:pt x="0" y="32"/>
                    <a:pt x="0" y="32"/>
                    <a:pt x="0" y="32"/>
                  </a:cubicBezTo>
                  <a:cubicBezTo>
                    <a:pt x="0" y="32"/>
                    <a:pt x="0" y="32"/>
                    <a:pt x="0" y="32"/>
                  </a:cubicBezTo>
                  <a:moveTo>
                    <a:pt x="0" y="31"/>
                  </a:moveTo>
                  <a:cubicBezTo>
                    <a:pt x="0" y="31"/>
                    <a:pt x="0" y="31"/>
                    <a:pt x="0" y="31"/>
                  </a:cubicBezTo>
                  <a:cubicBezTo>
                    <a:pt x="0" y="31"/>
                    <a:pt x="0" y="31"/>
                    <a:pt x="0" y="31"/>
                  </a:cubicBezTo>
                  <a:moveTo>
                    <a:pt x="0" y="31"/>
                  </a:moveTo>
                  <a:cubicBezTo>
                    <a:pt x="0" y="31"/>
                    <a:pt x="0" y="31"/>
                    <a:pt x="0" y="31"/>
                  </a:cubicBezTo>
                  <a:cubicBezTo>
                    <a:pt x="0" y="31"/>
                    <a:pt x="0" y="31"/>
                    <a:pt x="0" y="31"/>
                  </a:cubicBezTo>
                  <a:moveTo>
                    <a:pt x="0" y="30"/>
                  </a:moveTo>
                  <a:cubicBezTo>
                    <a:pt x="0" y="31"/>
                    <a:pt x="0" y="31"/>
                    <a:pt x="0" y="31"/>
                  </a:cubicBezTo>
                  <a:cubicBezTo>
                    <a:pt x="0" y="31"/>
                    <a:pt x="0" y="31"/>
                    <a:pt x="0" y="30"/>
                  </a:cubicBezTo>
                  <a:moveTo>
                    <a:pt x="0" y="30"/>
                  </a:moveTo>
                  <a:cubicBezTo>
                    <a:pt x="0" y="30"/>
                    <a:pt x="0" y="30"/>
                    <a:pt x="0" y="30"/>
                  </a:cubicBezTo>
                  <a:cubicBezTo>
                    <a:pt x="0" y="30"/>
                    <a:pt x="0" y="30"/>
                    <a:pt x="0" y="30"/>
                  </a:cubicBezTo>
                  <a:moveTo>
                    <a:pt x="0" y="30"/>
                  </a:moveTo>
                  <a:cubicBezTo>
                    <a:pt x="0" y="30"/>
                    <a:pt x="0" y="30"/>
                    <a:pt x="0" y="30"/>
                  </a:cubicBezTo>
                  <a:cubicBezTo>
                    <a:pt x="0" y="30"/>
                    <a:pt x="0" y="30"/>
                    <a:pt x="0" y="30"/>
                  </a:cubicBezTo>
                  <a:moveTo>
                    <a:pt x="0" y="30"/>
                  </a:moveTo>
                  <a:cubicBezTo>
                    <a:pt x="0" y="30"/>
                    <a:pt x="0" y="30"/>
                    <a:pt x="0" y="30"/>
                  </a:cubicBezTo>
                  <a:cubicBezTo>
                    <a:pt x="0" y="30"/>
                    <a:pt x="0" y="30"/>
                    <a:pt x="0" y="30"/>
                  </a:cubicBezTo>
                  <a:moveTo>
                    <a:pt x="0" y="29"/>
                  </a:moveTo>
                  <a:cubicBezTo>
                    <a:pt x="0" y="29"/>
                    <a:pt x="0" y="29"/>
                    <a:pt x="0" y="29"/>
                  </a:cubicBezTo>
                  <a:cubicBezTo>
                    <a:pt x="0" y="29"/>
                    <a:pt x="0" y="29"/>
                    <a:pt x="0" y="29"/>
                  </a:cubicBezTo>
                  <a:cubicBezTo>
                    <a:pt x="0" y="29"/>
                    <a:pt x="0" y="29"/>
                    <a:pt x="0" y="29"/>
                  </a:cubicBezTo>
                  <a:moveTo>
                    <a:pt x="0" y="29"/>
                  </a:moveTo>
                  <a:cubicBezTo>
                    <a:pt x="0" y="29"/>
                    <a:pt x="0" y="29"/>
                    <a:pt x="0" y="29"/>
                  </a:cubicBezTo>
                  <a:cubicBezTo>
                    <a:pt x="0" y="29"/>
                    <a:pt x="0" y="29"/>
                    <a:pt x="0" y="29"/>
                  </a:cubicBezTo>
                  <a:moveTo>
                    <a:pt x="0" y="29"/>
                  </a:moveTo>
                  <a:cubicBezTo>
                    <a:pt x="0" y="29"/>
                    <a:pt x="0" y="29"/>
                    <a:pt x="0" y="29"/>
                  </a:cubicBezTo>
                  <a:cubicBezTo>
                    <a:pt x="0" y="29"/>
                    <a:pt x="0" y="29"/>
                    <a:pt x="0" y="29"/>
                  </a:cubicBezTo>
                  <a:moveTo>
                    <a:pt x="0" y="29"/>
                  </a:moveTo>
                  <a:cubicBezTo>
                    <a:pt x="0" y="29"/>
                    <a:pt x="0" y="29"/>
                    <a:pt x="0" y="29"/>
                  </a:cubicBezTo>
                  <a:cubicBezTo>
                    <a:pt x="0" y="29"/>
                    <a:pt x="0" y="29"/>
                    <a:pt x="0" y="29"/>
                  </a:cubicBezTo>
                  <a:moveTo>
                    <a:pt x="0" y="28"/>
                  </a:moveTo>
                  <a:cubicBezTo>
                    <a:pt x="0" y="28"/>
                    <a:pt x="0" y="28"/>
                    <a:pt x="0" y="28"/>
                  </a:cubicBezTo>
                  <a:cubicBezTo>
                    <a:pt x="0" y="28"/>
                    <a:pt x="0" y="28"/>
                    <a:pt x="0" y="28"/>
                  </a:cubicBezTo>
                  <a:moveTo>
                    <a:pt x="0" y="28"/>
                  </a:moveTo>
                  <a:cubicBezTo>
                    <a:pt x="0" y="28"/>
                    <a:pt x="0" y="28"/>
                    <a:pt x="0" y="28"/>
                  </a:cubicBezTo>
                  <a:cubicBezTo>
                    <a:pt x="0" y="28"/>
                    <a:pt x="0" y="28"/>
                    <a:pt x="0" y="28"/>
                  </a:cubicBezTo>
                  <a:moveTo>
                    <a:pt x="0" y="28"/>
                  </a:moveTo>
                  <a:cubicBezTo>
                    <a:pt x="0" y="28"/>
                    <a:pt x="0" y="28"/>
                    <a:pt x="0" y="28"/>
                  </a:cubicBezTo>
                  <a:cubicBezTo>
                    <a:pt x="0" y="28"/>
                    <a:pt x="0" y="28"/>
                    <a:pt x="0" y="28"/>
                  </a:cubicBezTo>
                  <a:moveTo>
                    <a:pt x="0" y="28"/>
                  </a:moveTo>
                  <a:cubicBezTo>
                    <a:pt x="0" y="28"/>
                    <a:pt x="0" y="28"/>
                    <a:pt x="0" y="28"/>
                  </a:cubicBezTo>
                  <a:cubicBezTo>
                    <a:pt x="0" y="28"/>
                    <a:pt x="0" y="28"/>
                    <a:pt x="0" y="28"/>
                  </a:cubicBezTo>
                  <a:moveTo>
                    <a:pt x="0" y="28"/>
                  </a:moveTo>
                  <a:cubicBezTo>
                    <a:pt x="0" y="28"/>
                    <a:pt x="0" y="28"/>
                    <a:pt x="0" y="28"/>
                  </a:cubicBezTo>
                  <a:cubicBezTo>
                    <a:pt x="0" y="28"/>
                    <a:pt x="0" y="28"/>
                    <a:pt x="0" y="28"/>
                  </a:cubicBezTo>
                  <a:moveTo>
                    <a:pt x="0" y="27"/>
                  </a:moveTo>
                  <a:cubicBezTo>
                    <a:pt x="0" y="27"/>
                    <a:pt x="0" y="27"/>
                    <a:pt x="0" y="27"/>
                  </a:cubicBezTo>
                  <a:cubicBezTo>
                    <a:pt x="0" y="27"/>
                    <a:pt x="0" y="27"/>
                    <a:pt x="0" y="27"/>
                  </a:cubicBezTo>
                  <a:moveTo>
                    <a:pt x="0" y="27"/>
                  </a:moveTo>
                  <a:cubicBezTo>
                    <a:pt x="0" y="27"/>
                    <a:pt x="0" y="27"/>
                    <a:pt x="0" y="27"/>
                  </a:cubicBezTo>
                  <a:cubicBezTo>
                    <a:pt x="0" y="27"/>
                    <a:pt x="0" y="27"/>
                    <a:pt x="0" y="27"/>
                  </a:cubicBezTo>
                  <a:moveTo>
                    <a:pt x="0" y="27"/>
                  </a:moveTo>
                  <a:cubicBezTo>
                    <a:pt x="0" y="27"/>
                    <a:pt x="0" y="27"/>
                    <a:pt x="0" y="27"/>
                  </a:cubicBezTo>
                  <a:cubicBezTo>
                    <a:pt x="0" y="27"/>
                    <a:pt x="0" y="27"/>
                    <a:pt x="0" y="27"/>
                  </a:cubicBezTo>
                  <a:moveTo>
                    <a:pt x="0" y="27"/>
                  </a:moveTo>
                  <a:cubicBezTo>
                    <a:pt x="0" y="27"/>
                    <a:pt x="0" y="27"/>
                    <a:pt x="0" y="27"/>
                  </a:cubicBezTo>
                  <a:cubicBezTo>
                    <a:pt x="0" y="27"/>
                    <a:pt x="0" y="27"/>
                    <a:pt x="0" y="27"/>
                  </a:cubicBezTo>
                  <a:moveTo>
                    <a:pt x="0" y="26"/>
                  </a:moveTo>
                  <a:cubicBezTo>
                    <a:pt x="0" y="26"/>
                    <a:pt x="0" y="26"/>
                    <a:pt x="0" y="27"/>
                  </a:cubicBezTo>
                  <a:cubicBezTo>
                    <a:pt x="0" y="26"/>
                    <a:pt x="0" y="26"/>
                    <a:pt x="0" y="26"/>
                  </a:cubicBezTo>
                  <a:moveTo>
                    <a:pt x="0" y="26"/>
                  </a:moveTo>
                  <a:cubicBezTo>
                    <a:pt x="0" y="26"/>
                    <a:pt x="0" y="26"/>
                    <a:pt x="0" y="26"/>
                  </a:cubicBezTo>
                  <a:cubicBezTo>
                    <a:pt x="0" y="26"/>
                    <a:pt x="0" y="26"/>
                    <a:pt x="0" y="26"/>
                  </a:cubicBezTo>
                  <a:moveTo>
                    <a:pt x="0" y="26"/>
                  </a:moveTo>
                  <a:cubicBezTo>
                    <a:pt x="0" y="26"/>
                    <a:pt x="0" y="26"/>
                    <a:pt x="0" y="26"/>
                  </a:cubicBezTo>
                  <a:cubicBezTo>
                    <a:pt x="0" y="26"/>
                    <a:pt x="0" y="26"/>
                    <a:pt x="0" y="26"/>
                  </a:cubicBezTo>
                  <a:moveTo>
                    <a:pt x="0" y="25"/>
                  </a:moveTo>
                  <a:cubicBezTo>
                    <a:pt x="0" y="26"/>
                    <a:pt x="0" y="26"/>
                    <a:pt x="0" y="26"/>
                  </a:cubicBezTo>
                  <a:cubicBezTo>
                    <a:pt x="0" y="26"/>
                    <a:pt x="0" y="26"/>
                    <a:pt x="0" y="25"/>
                  </a:cubicBezTo>
                  <a:moveTo>
                    <a:pt x="0" y="25"/>
                  </a:moveTo>
                  <a:cubicBezTo>
                    <a:pt x="0" y="25"/>
                    <a:pt x="0" y="25"/>
                    <a:pt x="0" y="25"/>
                  </a:cubicBezTo>
                  <a:cubicBezTo>
                    <a:pt x="0" y="25"/>
                    <a:pt x="0" y="25"/>
                    <a:pt x="0" y="25"/>
                  </a:cubicBezTo>
                  <a:moveTo>
                    <a:pt x="0" y="25"/>
                  </a:moveTo>
                  <a:cubicBezTo>
                    <a:pt x="0" y="25"/>
                    <a:pt x="0" y="25"/>
                    <a:pt x="0" y="25"/>
                  </a:cubicBezTo>
                  <a:cubicBezTo>
                    <a:pt x="0" y="25"/>
                    <a:pt x="0" y="25"/>
                    <a:pt x="0" y="25"/>
                  </a:cubicBezTo>
                  <a:moveTo>
                    <a:pt x="0" y="25"/>
                  </a:moveTo>
                  <a:cubicBezTo>
                    <a:pt x="0" y="25"/>
                    <a:pt x="0" y="25"/>
                    <a:pt x="0" y="25"/>
                  </a:cubicBezTo>
                  <a:cubicBezTo>
                    <a:pt x="0" y="25"/>
                    <a:pt x="0" y="25"/>
                    <a:pt x="0" y="25"/>
                  </a:cubicBezTo>
                  <a:moveTo>
                    <a:pt x="0" y="25"/>
                  </a:moveTo>
                  <a:cubicBezTo>
                    <a:pt x="0" y="25"/>
                    <a:pt x="0" y="25"/>
                    <a:pt x="0" y="25"/>
                  </a:cubicBezTo>
                  <a:cubicBezTo>
                    <a:pt x="0" y="25"/>
                    <a:pt x="0" y="25"/>
                    <a:pt x="0" y="25"/>
                  </a:cubicBezTo>
                  <a:moveTo>
                    <a:pt x="0" y="24"/>
                  </a:moveTo>
                  <a:cubicBezTo>
                    <a:pt x="0" y="25"/>
                    <a:pt x="0" y="25"/>
                    <a:pt x="0" y="25"/>
                  </a:cubicBezTo>
                  <a:cubicBezTo>
                    <a:pt x="0" y="25"/>
                    <a:pt x="0" y="25"/>
                    <a:pt x="0" y="24"/>
                  </a:cubicBezTo>
                  <a:moveTo>
                    <a:pt x="0" y="24"/>
                  </a:moveTo>
                  <a:cubicBezTo>
                    <a:pt x="0" y="24"/>
                    <a:pt x="0" y="24"/>
                    <a:pt x="0" y="24"/>
                  </a:cubicBezTo>
                  <a:cubicBezTo>
                    <a:pt x="0" y="24"/>
                    <a:pt x="0" y="24"/>
                    <a:pt x="0" y="24"/>
                  </a:cubicBezTo>
                  <a:moveTo>
                    <a:pt x="0" y="24"/>
                  </a:moveTo>
                  <a:cubicBezTo>
                    <a:pt x="0" y="24"/>
                    <a:pt x="0" y="24"/>
                    <a:pt x="0" y="24"/>
                  </a:cubicBezTo>
                  <a:cubicBezTo>
                    <a:pt x="0" y="24"/>
                    <a:pt x="0" y="24"/>
                    <a:pt x="0" y="24"/>
                  </a:cubicBezTo>
                  <a:moveTo>
                    <a:pt x="0" y="24"/>
                  </a:moveTo>
                  <a:cubicBezTo>
                    <a:pt x="0" y="24"/>
                    <a:pt x="0" y="24"/>
                    <a:pt x="0" y="24"/>
                  </a:cubicBezTo>
                  <a:cubicBezTo>
                    <a:pt x="0" y="24"/>
                    <a:pt x="0" y="24"/>
                    <a:pt x="0" y="24"/>
                  </a:cubicBezTo>
                  <a:moveTo>
                    <a:pt x="0" y="23"/>
                  </a:moveTo>
                  <a:cubicBezTo>
                    <a:pt x="0" y="23"/>
                    <a:pt x="0" y="24"/>
                    <a:pt x="0" y="24"/>
                  </a:cubicBezTo>
                  <a:cubicBezTo>
                    <a:pt x="0" y="24"/>
                    <a:pt x="0" y="23"/>
                    <a:pt x="0" y="23"/>
                  </a:cubicBezTo>
                  <a:moveTo>
                    <a:pt x="0" y="23"/>
                  </a:moveTo>
                  <a:cubicBezTo>
                    <a:pt x="0" y="23"/>
                    <a:pt x="0" y="23"/>
                    <a:pt x="0" y="23"/>
                  </a:cubicBezTo>
                  <a:cubicBezTo>
                    <a:pt x="0" y="23"/>
                    <a:pt x="0" y="23"/>
                    <a:pt x="0" y="23"/>
                  </a:cubicBezTo>
                  <a:moveTo>
                    <a:pt x="0" y="23"/>
                  </a:moveTo>
                  <a:cubicBezTo>
                    <a:pt x="0" y="23"/>
                    <a:pt x="0" y="23"/>
                    <a:pt x="0" y="23"/>
                  </a:cubicBezTo>
                  <a:cubicBezTo>
                    <a:pt x="0" y="23"/>
                    <a:pt x="0" y="23"/>
                    <a:pt x="0" y="23"/>
                  </a:cubicBezTo>
                  <a:moveTo>
                    <a:pt x="0" y="22"/>
                  </a:moveTo>
                  <a:cubicBezTo>
                    <a:pt x="0" y="22"/>
                    <a:pt x="0" y="23"/>
                    <a:pt x="0" y="23"/>
                  </a:cubicBezTo>
                  <a:cubicBezTo>
                    <a:pt x="0" y="23"/>
                    <a:pt x="0" y="22"/>
                    <a:pt x="0" y="22"/>
                  </a:cubicBezTo>
                  <a:moveTo>
                    <a:pt x="0" y="22"/>
                  </a:moveTo>
                  <a:cubicBezTo>
                    <a:pt x="0" y="22"/>
                    <a:pt x="0" y="22"/>
                    <a:pt x="0" y="22"/>
                  </a:cubicBezTo>
                  <a:cubicBezTo>
                    <a:pt x="0" y="22"/>
                    <a:pt x="0" y="22"/>
                    <a:pt x="0" y="22"/>
                  </a:cubicBezTo>
                  <a:moveTo>
                    <a:pt x="0" y="22"/>
                  </a:moveTo>
                  <a:cubicBezTo>
                    <a:pt x="0" y="22"/>
                    <a:pt x="0" y="22"/>
                    <a:pt x="0" y="22"/>
                  </a:cubicBezTo>
                  <a:cubicBezTo>
                    <a:pt x="0" y="22"/>
                    <a:pt x="0" y="22"/>
                    <a:pt x="0" y="22"/>
                  </a:cubicBezTo>
                  <a:moveTo>
                    <a:pt x="0" y="22"/>
                  </a:moveTo>
                  <a:cubicBezTo>
                    <a:pt x="0" y="22"/>
                    <a:pt x="0" y="22"/>
                    <a:pt x="0" y="22"/>
                  </a:cubicBezTo>
                  <a:cubicBezTo>
                    <a:pt x="0" y="22"/>
                    <a:pt x="0" y="22"/>
                    <a:pt x="0" y="22"/>
                  </a:cubicBezTo>
                  <a:moveTo>
                    <a:pt x="0" y="22"/>
                  </a:moveTo>
                  <a:cubicBezTo>
                    <a:pt x="0" y="22"/>
                    <a:pt x="0" y="22"/>
                    <a:pt x="0" y="22"/>
                  </a:cubicBezTo>
                  <a:cubicBezTo>
                    <a:pt x="0" y="22"/>
                    <a:pt x="0" y="22"/>
                    <a:pt x="0" y="22"/>
                  </a:cubicBezTo>
                  <a:moveTo>
                    <a:pt x="0" y="21"/>
                  </a:moveTo>
                  <a:cubicBezTo>
                    <a:pt x="0" y="21"/>
                    <a:pt x="0" y="22"/>
                    <a:pt x="0" y="22"/>
                  </a:cubicBezTo>
                  <a:cubicBezTo>
                    <a:pt x="0" y="22"/>
                    <a:pt x="0" y="21"/>
                    <a:pt x="0" y="21"/>
                  </a:cubicBezTo>
                  <a:moveTo>
                    <a:pt x="0" y="21"/>
                  </a:moveTo>
                  <a:cubicBezTo>
                    <a:pt x="0" y="21"/>
                    <a:pt x="0" y="21"/>
                    <a:pt x="0" y="21"/>
                  </a:cubicBezTo>
                  <a:cubicBezTo>
                    <a:pt x="0" y="21"/>
                    <a:pt x="0" y="21"/>
                    <a:pt x="0" y="21"/>
                  </a:cubicBezTo>
                  <a:moveTo>
                    <a:pt x="0" y="19"/>
                  </a:moveTo>
                  <a:cubicBezTo>
                    <a:pt x="0" y="20"/>
                    <a:pt x="0" y="21"/>
                    <a:pt x="0" y="21"/>
                  </a:cubicBezTo>
                  <a:cubicBezTo>
                    <a:pt x="0" y="21"/>
                    <a:pt x="0" y="20"/>
                    <a:pt x="0" y="19"/>
                  </a:cubicBezTo>
                  <a:moveTo>
                    <a:pt x="5" y="3"/>
                  </a:moveTo>
                  <a:cubicBezTo>
                    <a:pt x="3" y="8"/>
                    <a:pt x="1" y="14"/>
                    <a:pt x="0" y="19"/>
                  </a:cubicBezTo>
                  <a:cubicBezTo>
                    <a:pt x="1" y="14"/>
                    <a:pt x="3" y="8"/>
                    <a:pt x="5" y="3"/>
                  </a:cubicBezTo>
                  <a:moveTo>
                    <a:pt x="5" y="3"/>
                  </a:moveTo>
                  <a:cubicBezTo>
                    <a:pt x="5" y="3"/>
                    <a:pt x="5" y="3"/>
                    <a:pt x="5" y="3"/>
                  </a:cubicBezTo>
                  <a:cubicBezTo>
                    <a:pt x="5" y="3"/>
                    <a:pt x="5" y="3"/>
                    <a:pt x="5" y="3"/>
                  </a:cubicBezTo>
                  <a:moveTo>
                    <a:pt x="5" y="3"/>
                  </a:moveTo>
                  <a:cubicBezTo>
                    <a:pt x="5" y="3"/>
                    <a:pt x="5" y="3"/>
                    <a:pt x="5" y="3"/>
                  </a:cubicBezTo>
                  <a:cubicBezTo>
                    <a:pt x="5" y="3"/>
                    <a:pt x="5" y="3"/>
                    <a:pt x="5" y="3"/>
                  </a:cubicBezTo>
                  <a:moveTo>
                    <a:pt x="5" y="3"/>
                  </a:moveTo>
                  <a:cubicBezTo>
                    <a:pt x="5" y="3"/>
                    <a:pt x="5" y="3"/>
                    <a:pt x="5" y="3"/>
                  </a:cubicBezTo>
                  <a:cubicBezTo>
                    <a:pt x="5" y="3"/>
                    <a:pt x="5" y="3"/>
                    <a:pt x="5" y="3"/>
                  </a:cubicBezTo>
                  <a:moveTo>
                    <a:pt x="6" y="3"/>
                  </a:moveTo>
                  <a:cubicBezTo>
                    <a:pt x="5" y="3"/>
                    <a:pt x="5" y="3"/>
                    <a:pt x="5" y="3"/>
                  </a:cubicBezTo>
                  <a:cubicBezTo>
                    <a:pt x="5" y="3"/>
                    <a:pt x="5" y="3"/>
                    <a:pt x="6" y="3"/>
                  </a:cubicBezTo>
                  <a:moveTo>
                    <a:pt x="6" y="2"/>
                  </a:moveTo>
                  <a:cubicBezTo>
                    <a:pt x="6" y="2"/>
                    <a:pt x="6" y="2"/>
                    <a:pt x="6" y="2"/>
                  </a:cubicBezTo>
                  <a:cubicBezTo>
                    <a:pt x="6" y="2"/>
                    <a:pt x="6" y="2"/>
                    <a:pt x="6" y="2"/>
                  </a:cubicBezTo>
                  <a:moveTo>
                    <a:pt x="6" y="2"/>
                  </a:moveTo>
                  <a:cubicBezTo>
                    <a:pt x="6" y="2"/>
                    <a:pt x="6" y="2"/>
                    <a:pt x="6" y="2"/>
                  </a:cubicBezTo>
                  <a:cubicBezTo>
                    <a:pt x="6" y="2"/>
                    <a:pt x="6" y="2"/>
                    <a:pt x="6" y="2"/>
                  </a:cubicBezTo>
                  <a:moveTo>
                    <a:pt x="6" y="2"/>
                  </a:moveTo>
                  <a:cubicBezTo>
                    <a:pt x="6" y="2"/>
                    <a:pt x="6" y="2"/>
                    <a:pt x="6" y="2"/>
                  </a:cubicBezTo>
                  <a:cubicBezTo>
                    <a:pt x="6" y="2"/>
                    <a:pt x="6" y="2"/>
                    <a:pt x="6" y="2"/>
                  </a:cubicBezTo>
                  <a:moveTo>
                    <a:pt x="6" y="2"/>
                  </a:moveTo>
                  <a:cubicBezTo>
                    <a:pt x="6" y="2"/>
                    <a:pt x="6" y="2"/>
                    <a:pt x="6" y="2"/>
                  </a:cubicBezTo>
                  <a:cubicBezTo>
                    <a:pt x="6" y="2"/>
                    <a:pt x="6" y="2"/>
                    <a:pt x="6" y="2"/>
                  </a:cubicBezTo>
                  <a:moveTo>
                    <a:pt x="6" y="2"/>
                  </a:moveTo>
                  <a:cubicBezTo>
                    <a:pt x="6" y="2"/>
                    <a:pt x="6" y="2"/>
                    <a:pt x="6" y="2"/>
                  </a:cubicBezTo>
                  <a:cubicBezTo>
                    <a:pt x="6" y="2"/>
                    <a:pt x="6" y="2"/>
                    <a:pt x="6" y="2"/>
                  </a:cubicBezTo>
                  <a:moveTo>
                    <a:pt x="6" y="1"/>
                  </a:moveTo>
                  <a:cubicBezTo>
                    <a:pt x="6" y="2"/>
                    <a:pt x="6" y="2"/>
                    <a:pt x="6" y="2"/>
                  </a:cubicBezTo>
                  <a:cubicBezTo>
                    <a:pt x="6" y="2"/>
                    <a:pt x="6" y="2"/>
                    <a:pt x="6" y="1"/>
                  </a:cubicBezTo>
                  <a:moveTo>
                    <a:pt x="6" y="1"/>
                  </a:moveTo>
                  <a:cubicBezTo>
                    <a:pt x="6" y="1"/>
                    <a:pt x="6" y="1"/>
                    <a:pt x="6" y="1"/>
                  </a:cubicBezTo>
                  <a:cubicBezTo>
                    <a:pt x="6" y="1"/>
                    <a:pt x="6" y="1"/>
                    <a:pt x="6" y="1"/>
                  </a:cubicBezTo>
                  <a:moveTo>
                    <a:pt x="6" y="1"/>
                  </a:moveTo>
                  <a:cubicBezTo>
                    <a:pt x="6" y="1"/>
                    <a:pt x="6" y="1"/>
                    <a:pt x="6" y="1"/>
                  </a:cubicBezTo>
                  <a:cubicBezTo>
                    <a:pt x="6" y="1"/>
                    <a:pt x="6" y="1"/>
                    <a:pt x="6" y="1"/>
                  </a:cubicBezTo>
                  <a:moveTo>
                    <a:pt x="6" y="1"/>
                  </a:moveTo>
                  <a:cubicBezTo>
                    <a:pt x="6" y="1"/>
                    <a:pt x="6" y="1"/>
                    <a:pt x="6" y="1"/>
                  </a:cubicBezTo>
                  <a:cubicBezTo>
                    <a:pt x="6" y="1"/>
                    <a:pt x="6" y="1"/>
                    <a:pt x="6" y="1"/>
                  </a:cubicBezTo>
                  <a:moveTo>
                    <a:pt x="6" y="1"/>
                  </a:moveTo>
                  <a:cubicBezTo>
                    <a:pt x="6" y="1"/>
                    <a:pt x="6" y="1"/>
                    <a:pt x="6" y="1"/>
                  </a:cubicBezTo>
                  <a:cubicBezTo>
                    <a:pt x="6" y="1"/>
                    <a:pt x="6" y="1"/>
                    <a:pt x="6" y="1"/>
                  </a:cubicBezTo>
                  <a:moveTo>
                    <a:pt x="6" y="1"/>
                  </a:moveTo>
                  <a:cubicBezTo>
                    <a:pt x="6" y="1"/>
                    <a:pt x="6" y="1"/>
                    <a:pt x="6" y="1"/>
                  </a:cubicBezTo>
                  <a:cubicBezTo>
                    <a:pt x="6" y="1"/>
                    <a:pt x="6" y="1"/>
                    <a:pt x="6" y="1"/>
                  </a:cubicBezTo>
                  <a:moveTo>
                    <a:pt x="7" y="0"/>
                  </a:moveTo>
                  <a:cubicBezTo>
                    <a:pt x="6" y="0"/>
                    <a:pt x="6" y="0"/>
                    <a:pt x="6" y="0"/>
                  </a:cubicBezTo>
                  <a:cubicBezTo>
                    <a:pt x="6" y="0"/>
                    <a:pt x="6" y="0"/>
                    <a:pt x="7" y="0"/>
                  </a:cubicBezTo>
                  <a:moveTo>
                    <a:pt x="7" y="0"/>
                  </a:moveTo>
                  <a:cubicBezTo>
                    <a:pt x="7" y="0"/>
                    <a:pt x="7" y="0"/>
                    <a:pt x="7" y="0"/>
                  </a:cubicBezTo>
                  <a:cubicBezTo>
                    <a:pt x="7" y="0"/>
                    <a:pt x="7" y="0"/>
                    <a:pt x="7" y="0"/>
                  </a:cubicBezTo>
                  <a:moveTo>
                    <a:pt x="7" y="0"/>
                  </a:moveTo>
                  <a:cubicBezTo>
                    <a:pt x="7" y="0"/>
                    <a:pt x="7" y="0"/>
                    <a:pt x="7" y="0"/>
                  </a:cubicBezTo>
                  <a:cubicBezTo>
                    <a:pt x="7" y="0"/>
                    <a:pt x="7" y="0"/>
                    <a:pt x="7" y="0"/>
                  </a:cubicBezTo>
                  <a:moveTo>
                    <a:pt x="7" y="0"/>
                  </a:moveTo>
                  <a:cubicBezTo>
                    <a:pt x="7" y="0"/>
                    <a:pt x="7" y="0"/>
                    <a:pt x="7" y="0"/>
                  </a:cubicBezTo>
                  <a:cubicBezTo>
                    <a:pt x="7" y="0"/>
                    <a:pt x="7" y="0"/>
                    <a:pt x="7" y="0"/>
                  </a:cubicBezTo>
                  <a:moveTo>
                    <a:pt x="7" y="0"/>
                  </a:moveTo>
                  <a:cubicBezTo>
                    <a:pt x="7" y="0"/>
                    <a:pt x="7" y="0"/>
                    <a:pt x="7" y="0"/>
                  </a:cubicBezTo>
                  <a:cubicBezTo>
                    <a:pt x="7" y="0"/>
                    <a:pt x="7" y="0"/>
                    <a:pt x="7" y="0"/>
                  </a:cubicBezTo>
                </a:path>
              </a:pathLst>
            </a:custGeom>
            <a:solidFill>
              <a:srgbClr val="1E52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38" name="Freeform 3039">
              <a:extLst>
                <a:ext uri="{FF2B5EF4-FFF2-40B4-BE49-F238E27FC236}">
                  <a16:creationId xmlns:a16="http://schemas.microsoft.com/office/drawing/2014/main" id="{BAF3AE43-1667-743B-DE3A-D58969176479}"/>
                </a:ext>
              </a:extLst>
            </p:cNvPr>
            <p:cNvSpPr>
              <a:spLocks/>
            </p:cNvSpPr>
            <p:nvPr/>
          </p:nvSpPr>
          <p:spPr bwMode="auto">
            <a:xfrm>
              <a:off x="4927600" y="3416300"/>
              <a:ext cx="61913" cy="98425"/>
            </a:xfrm>
            <a:custGeom>
              <a:avLst/>
              <a:gdLst>
                <a:gd name="T0" fmla="*/ 10 w 76"/>
                <a:gd name="T1" fmla="*/ 34 h 121"/>
                <a:gd name="T2" fmla="*/ 10 w 76"/>
                <a:gd name="T3" fmla="*/ 34 h 121"/>
                <a:gd name="T4" fmla="*/ 10 w 76"/>
                <a:gd name="T5" fmla="*/ 34 h 121"/>
                <a:gd name="T6" fmla="*/ 9 w 76"/>
                <a:gd name="T7" fmla="*/ 35 h 121"/>
                <a:gd name="T8" fmla="*/ 9 w 76"/>
                <a:gd name="T9" fmla="*/ 35 h 121"/>
                <a:gd name="T10" fmla="*/ 9 w 76"/>
                <a:gd name="T11" fmla="*/ 35 h 121"/>
                <a:gd name="T12" fmla="*/ 9 w 76"/>
                <a:gd name="T13" fmla="*/ 35 h 121"/>
                <a:gd name="T14" fmla="*/ 9 w 76"/>
                <a:gd name="T15" fmla="*/ 36 h 121"/>
                <a:gd name="T16" fmla="*/ 9 w 76"/>
                <a:gd name="T17" fmla="*/ 36 h 121"/>
                <a:gd name="T18" fmla="*/ 9 w 76"/>
                <a:gd name="T19" fmla="*/ 36 h 121"/>
                <a:gd name="T20" fmla="*/ 9 w 76"/>
                <a:gd name="T21" fmla="*/ 36 h 121"/>
                <a:gd name="T22" fmla="*/ 8 w 76"/>
                <a:gd name="T23" fmla="*/ 37 h 121"/>
                <a:gd name="T24" fmla="*/ 8 w 76"/>
                <a:gd name="T25" fmla="*/ 37 h 121"/>
                <a:gd name="T26" fmla="*/ 8 w 76"/>
                <a:gd name="T27" fmla="*/ 37 h 121"/>
                <a:gd name="T28" fmla="*/ 3 w 76"/>
                <a:gd name="T29" fmla="*/ 55 h 121"/>
                <a:gd name="T30" fmla="*/ 3 w 76"/>
                <a:gd name="T31" fmla="*/ 55 h 121"/>
                <a:gd name="T32" fmla="*/ 3 w 76"/>
                <a:gd name="T33" fmla="*/ 56 h 121"/>
                <a:gd name="T34" fmla="*/ 3 w 76"/>
                <a:gd name="T35" fmla="*/ 56 h 121"/>
                <a:gd name="T36" fmla="*/ 3 w 76"/>
                <a:gd name="T37" fmla="*/ 56 h 121"/>
                <a:gd name="T38" fmla="*/ 3 w 76"/>
                <a:gd name="T39" fmla="*/ 57 h 121"/>
                <a:gd name="T40" fmla="*/ 3 w 76"/>
                <a:gd name="T41" fmla="*/ 57 h 121"/>
                <a:gd name="T42" fmla="*/ 3 w 76"/>
                <a:gd name="T43" fmla="*/ 58 h 121"/>
                <a:gd name="T44" fmla="*/ 3 w 76"/>
                <a:gd name="T45" fmla="*/ 58 h 121"/>
                <a:gd name="T46" fmla="*/ 3 w 76"/>
                <a:gd name="T47" fmla="*/ 58 h 121"/>
                <a:gd name="T48" fmla="*/ 3 w 76"/>
                <a:gd name="T49" fmla="*/ 59 h 121"/>
                <a:gd name="T50" fmla="*/ 3 w 76"/>
                <a:gd name="T51" fmla="*/ 59 h 121"/>
                <a:gd name="T52" fmla="*/ 3 w 76"/>
                <a:gd name="T53" fmla="*/ 59 h 121"/>
                <a:gd name="T54" fmla="*/ 3 w 76"/>
                <a:gd name="T55" fmla="*/ 60 h 121"/>
                <a:gd name="T56" fmla="*/ 3 w 76"/>
                <a:gd name="T57" fmla="*/ 60 h 121"/>
                <a:gd name="T58" fmla="*/ 3 w 76"/>
                <a:gd name="T59" fmla="*/ 61 h 121"/>
                <a:gd name="T60" fmla="*/ 3 w 76"/>
                <a:gd name="T61" fmla="*/ 61 h 121"/>
                <a:gd name="T62" fmla="*/ 3 w 76"/>
                <a:gd name="T63" fmla="*/ 61 h 121"/>
                <a:gd name="T64" fmla="*/ 3 w 76"/>
                <a:gd name="T65" fmla="*/ 62 h 121"/>
                <a:gd name="T66" fmla="*/ 3 w 76"/>
                <a:gd name="T67" fmla="*/ 62 h 121"/>
                <a:gd name="T68" fmla="*/ 3 w 76"/>
                <a:gd name="T69" fmla="*/ 62 h 121"/>
                <a:gd name="T70" fmla="*/ 3 w 76"/>
                <a:gd name="T71" fmla="*/ 63 h 121"/>
                <a:gd name="T72" fmla="*/ 3 w 76"/>
                <a:gd name="T73" fmla="*/ 63 h 121"/>
                <a:gd name="T74" fmla="*/ 3 w 76"/>
                <a:gd name="T75" fmla="*/ 63 h 121"/>
                <a:gd name="T76" fmla="*/ 3 w 76"/>
                <a:gd name="T77" fmla="*/ 64 h 121"/>
                <a:gd name="T78" fmla="*/ 3 w 76"/>
                <a:gd name="T79" fmla="*/ 64 h 121"/>
                <a:gd name="T80" fmla="*/ 3 w 76"/>
                <a:gd name="T81" fmla="*/ 65 h 121"/>
                <a:gd name="T82" fmla="*/ 3 w 76"/>
                <a:gd name="T83" fmla="*/ 65 h 121"/>
                <a:gd name="T84" fmla="*/ 3 w 76"/>
                <a:gd name="T85" fmla="*/ 66 h 121"/>
                <a:gd name="T86" fmla="*/ 3 w 76"/>
                <a:gd name="T87" fmla="*/ 66 h 121"/>
                <a:gd name="T88" fmla="*/ 32 w 76"/>
                <a:gd name="T89" fmla="*/ 107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6" h="121">
                  <a:moveTo>
                    <a:pt x="59" y="0"/>
                  </a:moveTo>
                  <a:cubicBezTo>
                    <a:pt x="38" y="2"/>
                    <a:pt x="19" y="15"/>
                    <a:pt x="10" y="34"/>
                  </a:cubicBezTo>
                  <a:cubicBezTo>
                    <a:pt x="10" y="34"/>
                    <a:pt x="10" y="34"/>
                    <a:pt x="10" y="34"/>
                  </a:cubicBezTo>
                  <a:cubicBezTo>
                    <a:pt x="10" y="34"/>
                    <a:pt x="10" y="34"/>
                    <a:pt x="10" y="34"/>
                  </a:cubicBezTo>
                  <a:cubicBezTo>
                    <a:pt x="10" y="34"/>
                    <a:pt x="10" y="34"/>
                    <a:pt x="10" y="34"/>
                  </a:cubicBezTo>
                  <a:cubicBezTo>
                    <a:pt x="10" y="34"/>
                    <a:pt x="10" y="34"/>
                    <a:pt x="10" y="34"/>
                  </a:cubicBezTo>
                  <a:cubicBezTo>
                    <a:pt x="10" y="34"/>
                    <a:pt x="10" y="34"/>
                    <a:pt x="10" y="34"/>
                  </a:cubicBezTo>
                  <a:cubicBezTo>
                    <a:pt x="10" y="34"/>
                    <a:pt x="10" y="34"/>
                    <a:pt x="10" y="34"/>
                  </a:cubicBezTo>
                  <a:cubicBezTo>
                    <a:pt x="10" y="34"/>
                    <a:pt x="10" y="34"/>
                    <a:pt x="10" y="34"/>
                  </a:cubicBezTo>
                  <a:cubicBezTo>
                    <a:pt x="10" y="34"/>
                    <a:pt x="10" y="34"/>
                    <a:pt x="10" y="34"/>
                  </a:cubicBezTo>
                  <a:cubicBezTo>
                    <a:pt x="9" y="34"/>
                    <a:pt x="9" y="34"/>
                    <a:pt x="9" y="34"/>
                  </a:cubicBezTo>
                  <a:cubicBezTo>
                    <a:pt x="9" y="35"/>
                    <a:pt x="9" y="35"/>
                    <a:pt x="9" y="35"/>
                  </a:cubicBezTo>
                  <a:cubicBezTo>
                    <a:pt x="9" y="35"/>
                    <a:pt x="9" y="35"/>
                    <a:pt x="9" y="35"/>
                  </a:cubicBezTo>
                  <a:cubicBezTo>
                    <a:pt x="9" y="35"/>
                    <a:pt x="9" y="35"/>
                    <a:pt x="9" y="35"/>
                  </a:cubicBezTo>
                  <a:cubicBezTo>
                    <a:pt x="9" y="35"/>
                    <a:pt x="9" y="35"/>
                    <a:pt x="9" y="35"/>
                  </a:cubicBezTo>
                  <a:cubicBezTo>
                    <a:pt x="9" y="35"/>
                    <a:pt x="9" y="35"/>
                    <a:pt x="9" y="35"/>
                  </a:cubicBezTo>
                  <a:cubicBezTo>
                    <a:pt x="9" y="35"/>
                    <a:pt x="9" y="35"/>
                    <a:pt x="9" y="35"/>
                  </a:cubicBezTo>
                  <a:cubicBezTo>
                    <a:pt x="9" y="35"/>
                    <a:pt x="9" y="35"/>
                    <a:pt x="9" y="35"/>
                  </a:cubicBezTo>
                  <a:cubicBezTo>
                    <a:pt x="9" y="35"/>
                    <a:pt x="9" y="35"/>
                    <a:pt x="9" y="35"/>
                  </a:cubicBezTo>
                  <a:cubicBezTo>
                    <a:pt x="9" y="35"/>
                    <a:pt x="9" y="35"/>
                    <a:pt x="9" y="35"/>
                  </a:cubicBezTo>
                  <a:cubicBezTo>
                    <a:pt x="9" y="35"/>
                    <a:pt x="9" y="35"/>
                    <a:pt x="9" y="35"/>
                  </a:cubicBezTo>
                  <a:cubicBezTo>
                    <a:pt x="9" y="35"/>
                    <a:pt x="9" y="35"/>
                    <a:pt x="9" y="35"/>
                  </a:cubicBezTo>
                  <a:cubicBezTo>
                    <a:pt x="9" y="36"/>
                    <a:pt x="9" y="36"/>
                    <a:pt x="9" y="36"/>
                  </a:cubicBezTo>
                  <a:cubicBezTo>
                    <a:pt x="9" y="36"/>
                    <a:pt x="9" y="36"/>
                    <a:pt x="9" y="36"/>
                  </a:cubicBezTo>
                  <a:cubicBezTo>
                    <a:pt x="9" y="36"/>
                    <a:pt x="9" y="36"/>
                    <a:pt x="9" y="36"/>
                  </a:cubicBezTo>
                  <a:cubicBezTo>
                    <a:pt x="9" y="36"/>
                    <a:pt x="9" y="36"/>
                    <a:pt x="9" y="36"/>
                  </a:cubicBezTo>
                  <a:cubicBezTo>
                    <a:pt x="9" y="36"/>
                    <a:pt x="9" y="36"/>
                    <a:pt x="9" y="36"/>
                  </a:cubicBezTo>
                  <a:cubicBezTo>
                    <a:pt x="9" y="36"/>
                    <a:pt x="9" y="36"/>
                    <a:pt x="9" y="36"/>
                  </a:cubicBezTo>
                  <a:cubicBezTo>
                    <a:pt x="9" y="36"/>
                    <a:pt x="9" y="36"/>
                    <a:pt x="9" y="36"/>
                  </a:cubicBezTo>
                  <a:cubicBezTo>
                    <a:pt x="9" y="36"/>
                    <a:pt x="9" y="36"/>
                    <a:pt x="9" y="36"/>
                  </a:cubicBezTo>
                  <a:cubicBezTo>
                    <a:pt x="9" y="36"/>
                    <a:pt x="9" y="36"/>
                    <a:pt x="9" y="36"/>
                  </a:cubicBezTo>
                  <a:cubicBezTo>
                    <a:pt x="9" y="36"/>
                    <a:pt x="9" y="36"/>
                    <a:pt x="9" y="36"/>
                  </a:cubicBezTo>
                  <a:cubicBezTo>
                    <a:pt x="9" y="36"/>
                    <a:pt x="9" y="36"/>
                    <a:pt x="9" y="36"/>
                  </a:cubicBezTo>
                  <a:cubicBezTo>
                    <a:pt x="9" y="36"/>
                    <a:pt x="9" y="36"/>
                    <a:pt x="9" y="37"/>
                  </a:cubicBezTo>
                  <a:cubicBezTo>
                    <a:pt x="8" y="37"/>
                    <a:pt x="8" y="37"/>
                    <a:pt x="8" y="37"/>
                  </a:cubicBezTo>
                  <a:cubicBezTo>
                    <a:pt x="8" y="37"/>
                    <a:pt x="8" y="37"/>
                    <a:pt x="8" y="37"/>
                  </a:cubicBezTo>
                  <a:cubicBezTo>
                    <a:pt x="8" y="37"/>
                    <a:pt x="8" y="37"/>
                    <a:pt x="8" y="37"/>
                  </a:cubicBezTo>
                  <a:cubicBezTo>
                    <a:pt x="8" y="37"/>
                    <a:pt x="8" y="37"/>
                    <a:pt x="8" y="37"/>
                  </a:cubicBezTo>
                  <a:cubicBezTo>
                    <a:pt x="8" y="37"/>
                    <a:pt x="8" y="37"/>
                    <a:pt x="8" y="37"/>
                  </a:cubicBezTo>
                  <a:cubicBezTo>
                    <a:pt x="8" y="37"/>
                    <a:pt x="8" y="37"/>
                    <a:pt x="8" y="37"/>
                  </a:cubicBezTo>
                  <a:cubicBezTo>
                    <a:pt x="8" y="37"/>
                    <a:pt x="8" y="37"/>
                    <a:pt x="8" y="37"/>
                  </a:cubicBezTo>
                  <a:cubicBezTo>
                    <a:pt x="8" y="37"/>
                    <a:pt x="8" y="37"/>
                    <a:pt x="8" y="37"/>
                  </a:cubicBezTo>
                  <a:cubicBezTo>
                    <a:pt x="6" y="42"/>
                    <a:pt x="4" y="48"/>
                    <a:pt x="3" y="53"/>
                  </a:cubicBezTo>
                  <a:cubicBezTo>
                    <a:pt x="3" y="53"/>
                    <a:pt x="3" y="53"/>
                    <a:pt x="3" y="53"/>
                  </a:cubicBezTo>
                  <a:cubicBezTo>
                    <a:pt x="3" y="54"/>
                    <a:pt x="3" y="55"/>
                    <a:pt x="3" y="55"/>
                  </a:cubicBezTo>
                  <a:cubicBezTo>
                    <a:pt x="3" y="55"/>
                    <a:pt x="3" y="55"/>
                    <a:pt x="3" y="55"/>
                  </a:cubicBezTo>
                  <a:cubicBezTo>
                    <a:pt x="3" y="55"/>
                    <a:pt x="3" y="55"/>
                    <a:pt x="3" y="55"/>
                  </a:cubicBezTo>
                  <a:cubicBezTo>
                    <a:pt x="3" y="55"/>
                    <a:pt x="3" y="55"/>
                    <a:pt x="3" y="55"/>
                  </a:cubicBezTo>
                  <a:cubicBezTo>
                    <a:pt x="3" y="55"/>
                    <a:pt x="3" y="56"/>
                    <a:pt x="3" y="56"/>
                  </a:cubicBezTo>
                  <a:cubicBezTo>
                    <a:pt x="3" y="56"/>
                    <a:pt x="3" y="56"/>
                    <a:pt x="3" y="56"/>
                  </a:cubicBezTo>
                  <a:cubicBezTo>
                    <a:pt x="3" y="56"/>
                    <a:pt x="3" y="56"/>
                    <a:pt x="3" y="56"/>
                  </a:cubicBezTo>
                  <a:cubicBezTo>
                    <a:pt x="3" y="56"/>
                    <a:pt x="3" y="56"/>
                    <a:pt x="3" y="56"/>
                  </a:cubicBezTo>
                  <a:cubicBezTo>
                    <a:pt x="3" y="56"/>
                    <a:pt x="3" y="56"/>
                    <a:pt x="3" y="56"/>
                  </a:cubicBezTo>
                  <a:cubicBezTo>
                    <a:pt x="3" y="56"/>
                    <a:pt x="3" y="56"/>
                    <a:pt x="3" y="56"/>
                  </a:cubicBezTo>
                  <a:cubicBezTo>
                    <a:pt x="3" y="56"/>
                    <a:pt x="3" y="56"/>
                    <a:pt x="3" y="56"/>
                  </a:cubicBezTo>
                  <a:cubicBezTo>
                    <a:pt x="3" y="56"/>
                    <a:pt x="3" y="56"/>
                    <a:pt x="3" y="56"/>
                  </a:cubicBezTo>
                  <a:cubicBezTo>
                    <a:pt x="3" y="56"/>
                    <a:pt x="3" y="56"/>
                    <a:pt x="3" y="56"/>
                  </a:cubicBezTo>
                  <a:cubicBezTo>
                    <a:pt x="3" y="56"/>
                    <a:pt x="3" y="56"/>
                    <a:pt x="3" y="56"/>
                  </a:cubicBezTo>
                  <a:cubicBezTo>
                    <a:pt x="3" y="56"/>
                    <a:pt x="3" y="57"/>
                    <a:pt x="3" y="57"/>
                  </a:cubicBezTo>
                  <a:cubicBezTo>
                    <a:pt x="3" y="57"/>
                    <a:pt x="3" y="57"/>
                    <a:pt x="3" y="57"/>
                  </a:cubicBezTo>
                  <a:cubicBezTo>
                    <a:pt x="3" y="57"/>
                    <a:pt x="3" y="57"/>
                    <a:pt x="3" y="57"/>
                  </a:cubicBezTo>
                  <a:cubicBezTo>
                    <a:pt x="3" y="57"/>
                    <a:pt x="3" y="57"/>
                    <a:pt x="3" y="57"/>
                  </a:cubicBezTo>
                  <a:cubicBezTo>
                    <a:pt x="3" y="57"/>
                    <a:pt x="3" y="57"/>
                    <a:pt x="3" y="57"/>
                  </a:cubicBezTo>
                  <a:cubicBezTo>
                    <a:pt x="3" y="57"/>
                    <a:pt x="3" y="57"/>
                    <a:pt x="3" y="57"/>
                  </a:cubicBezTo>
                  <a:cubicBezTo>
                    <a:pt x="3" y="57"/>
                    <a:pt x="3" y="58"/>
                    <a:pt x="3" y="58"/>
                  </a:cubicBezTo>
                  <a:cubicBezTo>
                    <a:pt x="3" y="58"/>
                    <a:pt x="3" y="58"/>
                    <a:pt x="3" y="58"/>
                  </a:cubicBezTo>
                  <a:cubicBezTo>
                    <a:pt x="3" y="58"/>
                    <a:pt x="3" y="58"/>
                    <a:pt x="3" y="58"/>
                  </a:cubicBezTo>
                  <a:cubicBezTo>
                    <a:pt x="3" y="58"/>
                    <a:pt x="3" y="58"/>
                    <a:pt x="3" y="58"/>
                  </a:cubicBezTo>
                  <a:cubicBezTo>
                    <a:pt x="3" y="58"/>
                    <a:pt x="3" y="58"/>
                    <a:pt x="3" y="58"/>
                  </a:cubicBezTo>
                  <a:cubicBezTo>
                    <a:pt x="3" y="58"/>
                    <a:pt x="3" y="58"/>
                    <a:pt x="3" y="58"/>
                  </a:cubicBezTo>
                  <a:cubicBezTo>
                    <a:pt x="3" y="58"/>
                    <a:pt x="3" y="58"/>
                    <a:pt x="3" y="58"/>
                  </a:cubicBezTo>
                  <a:cubicBezTo>
                    <a:pt x="3" y="58"/>
                    <a:pt x="3" y="58"/>
                    <a:pt x="3" y="58"/>
                  </a:cubicBezTo>
                  <a:cubicBezTo>
                    <a:pt x="3" y="59"/>
                    <a:pt x="3" y="59"/>
                    <a:pt x="3" y="59"/>
                  </a:cubicBezTo>
                  <a:cubicBezTo>
                    <a:pt x="3" y="59"/>
                    <a:pt x="3" y="59"/>
                    <a:pt x="3" y="59"/>
                  </a:cubicBezTo>
                  <a:cubicBezTo>
                    <a:pt x="3" y="59"/>
                    <a:pt x="3" y="59"/>
                    <a:pt x="3" y="59"/>
                  </a:cubicBezTo>
                  <a:cubicBezTo>
                    <a:pt x="3" y="59"/>
                    <a:pt x="3" y="59"/>
                    <a:pt x="3" y="59"/>
                  </a:cubicBezTo>
                  <a:cubicBezTo>
                    <a:pt x="3" y="59"/>
                    <a:pt x="3" y="59"/>
                    <a:pt x="3" y="59"/>
                  </a:cubicBezTo>
                  <a:cubicBezTo>
                    <a:pt x="3" y="59"/>
                    <a:pt x="3" y="59"/>
                    <a:pt x="3" y="59"/>
                  </a:cubicBezTo>
                  <a:cubicBezTo>
                    <a:pt x="3" y="59"/>
                    <a:pt x="3" y="59"/>
                    <a:pt x="3" y="59"/>
                  </a:cubicBezTo>
                  <a:cubicBezTo>
                    <a:pt x="3" y="59"/>
                    <a:pt x="3" y="59"/>
                    <a:pt x="3" y="59"/>
                  </a:cubicBezTo>
                  <a:cubicBezTo>
                    <a:pt x="3" y="59"/>
                    <a:pt x="3" y="59"/>
                    <a:pt x="3" y="59"/>
                  </a:cubicBezTo>
                  <a:cubicBezTo>
                    <a:pt x="3" y="59"/>
                    <a:pt x="3" y="59"/>
                    <a:pt x="3" y="59"/>
                  </a:cubicBezTo>
                  <a:cubicBezTo>
                    <a:pt x="3" y="60"/>
                    <a:pt x="3" y="60"/>
                    <a:pt x="3" y="60"/>
                  </a:cubicBezTo>
                  <a:cubicBezTo>
                    <a:pt x="3" y="60"/>
                    <a:pt x="3" y="60"/>
                    <a:pt x="3" y="60"/>
                  </a:cubicBezTo>
                  <a:cubicBezTo>
                    <a:pt x="3" y="60"/>
                    <a:pt x="3" y="60"/>
                    <a:pt x="3" y="60"/>
                  </a:cubicBezTo>
                  <a:cubicBezTo>
                    <a:pt x="3" y="60"/>
                    <a:pt x="3" y="60"/>
                    <a:pt x="3" y="60"/>
                  </a:cubicBezTo>
                  <a:cubicBezTo>
                    <a:pt x="3" y="60"/>
                    <a:pt x="3" y="60"/>
                    <a:pt x="3" y="60"/>
                  </a:cubicBezTo>
                  <a:cubicBezTo>
                    <a:pt x="3" y="60"/>
                    <a:pt x="3" y="60"/>
                    <a:pt x="3" y="60"/>
                  </a:cubicBezTo>
                  <a:cubicBezTo>
                    <a:pt x="3" y="60"/>
                    <a:pt x="3" y="60"/>
                    <a:pt x="3" y="61"/>
                  </a:cubicBezTo>
                  <a:cubicBezTo>
                    <a:pt x="3" y="61"/>
                    <a:pt x="3" y="61"/>
                    <a:pt x="3" y="61"/>
                  </a:cubicBezTo>
                  <a:cubicBezTo>
                    <a:pt x="3" y="61"/>
                    <a:pt x="3" y="61"/>
                    <a:pt x="3" y="61"/>
                  </a:cubicBezTo>
                  <a:cubicBezTo>
                    <a:pt x="3" y="61"/>
                    <a:pt x="3" y="61"/>
                    <a:pt x="3" y="61"/>
                  </a:cubicBezTo>
                  <a:cubicBezTo>
                    <a:pt x="3" y="61"/>
                    <a:pt x="3" y="61"/>
                    <a:pt x="3" y="61"/>
                  </a:cubicBezTo>
                  <a:cubicBezTo>
                    <a:pt x="3" y="61"/>
                    <a:pt x="3" y="61"/>
                    <a:pt x="3" y="61"/>
                  </a:cubicBezTo>
                  <a:cubicBezTo>
                    <a:pt x="3" y="61"/>
                    <a:pt x="3" y="61"/>
                    <a:pt x="3" y="61"/>
                  </a:cubicBezTo>
                  <a:cubicBezTo>
                    <a:pt x="3" y="61"/>
                    <a:pt x="3" y="61"/>
                    <a:pt x="3" y="61"/>
                  </a:cubicBezTo>
                  <a:cubicBezTo>
                    <a:pt x="3" y="61"/>
                    <a:pt x="3" y="61"/>
                    <a:pt x="3" y="61"/>
                  </a:cubicBezTo>
                  <a:cubicBezTo>
                    <a:pt x="3" y="61"/>
                    <a:pt x="3" y="62"/>
                    <a:pt x="3" y="62"/>
                  </a:cubicBezTo>
                  <a:cubicBezTo>
                    <a:pt x="3" y="62"/>
                    <a:pt x="3" y="62"/>
                    <a:pt x="3" y="62"/>
                  </a:cubicBezTo>
                  <a:cubicBezTo>
                    <a:pt x="3" y="62"/>
                    <a:pt x="3" y="62"/>
                    <a:pt x="3" y="62"/>
                  </a:cubicBezTo>
                  <a:cubicBezTo>
                    <a:pt x="3" y="62"/>
                    <a:pt x="3" y="62"/>
                    <a:pt x="3" y="62"/>
                  </a:cubicBezTo>
                  <a:cubicBezTo>
                    <a:pt x="3" y="62"/>
                    <a:pt x="3" y="62"/>
                    <a:pt x="3" y="62"/>
                  </a:cubicBezTo>
                  <a:cubicBezTo>
                    <a:pt x="3" y="62"/>
                    <a:pt x="3" y="62"/>
                    <a:pt x="3" y="62"/>
                  </a:cubicBezTo>
                  <a:cubicBezTo>
                    <a:pt x="3" y="62"/>
                    <a:pt x="3" y="62"/>
                    <a:pt x="3" y="62"/>
                  </a:cubicBezTo>
                  <a:cubicBezTo>
                    <a:pt x="3" y="62"/>
                    <a:pt x="3" y="62"/>
                    <a:pt x="3" y="62"/>
                  </a:cubicBezTo>
                  <a:cubicBezTo>
                    <a:pt x="3" y="62"/>
                    <a:pt x="3" y="62"/>
                    <a:pt x="3" y="62"/>
                  </a:cubicBezTo>
                  <a:cubicBezTo>
                    <a:pt x="3" y="62"/>
                    <a:pt x="3" y="62"/>
                    <a:pt x="3" y="62"/>
                  </a:cubicBezTo>
                  <a:cubicBezTo>
                    <a:pt x="3" y="62"/>
                    <a:pt x="3" y="63"/>
                    <a:pt x="3" y="63"/>
                  </a:cubicBezTo>
                  <a:cubicBezTo>
                    <a:pt x="3" y="63"/>
                    <a:pt x="3" y="63"/>
                    <a:pt x="3" y="63"/>
                  </a:cubicBezTo>
                  <a:cubicBezTo>
                    <a:pt x="3" y="63"/>
                    <a:pt x="3" y="63"/>
                    <a:pt x="3" y="63"/>
                  </a:cubicBezTo>
                  <a:cubicBezTo>
                    <a:pt x="3" y="63"/>
                    <a:pt x="3" y="63"/>
                    <a:pt x="3" y="63"/>
                  </a:cubicBezTo>
                  <a:cubicBezTo>
                    <a:pt x="3" y="63"/>
                    <a:pt x="3" y="63"/>
                    <a:pt x="3" y="63"/>
                  </a:cubicBezTo>
                  <a:cubicBezTo>
                    <a:pt x="3" y="63"/>
                    <a:pt x="3" y="63"/>
                    <a:pt x="3" y="63"/>
                  </a:cubicBezTo>
                  <a:cubicBezTo>
                    <a:pt x="3" y="63"/>
                    <a:pt x="3" y="63"/>
                    <a:pt x="3" y="63"/>
                  </a:cubicBezTo>
                  <a:cubicBezTo>
                    <a:pt x="3" y="63"/>
                    <a:pt x="3" y="63"/>
                    <a:pt x="3" y="63"/>
                  </a:cubicBezTo>
                  <a:cubicBezTo>
                    <a:pt x="3" y="63"/>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3" y="65"/>
                    <a:pt x="3" y="65"/>
                    <a:pt x="3" y="65"/>
                  </a:cubicBezTo>
                  <a:cubicBezTo>
                    <a:pt x="3" y="65"/>
                    <a:pt x="3" y="65"/>
                    <a:pt x="3" y="65"/>
                  </a:cubicBezTo>
                  <a:cubicBezTo>
                    <a:pt x="3" y="65"/>
                    <a:pt x="3" y="65"/>
                    <a:pt x="3" y="65"/>
                  </a:cubicBezTo>
                  <a:cubicBezTo>
                    <a:pt x="3" y="65"/>
                    <a:pt x="3" y="65"/>
                    <a:pt x="3" y="65"/>
                  </a:cubicBezTo>
                  <a:cubicBezTo>
                    <a:pt x="3" y="65"/>
                    <a:pt x="3" y="65"/>
                    <a:pt x="3" y="66"/>
                  </a:cubicBezTo>
                  <a:cubicBezTo>
                    <a:pt x="3" y="66"/>
                    <a:pt x="3" y="66"/>
                    <a:pt x="3" y="66"/>
                  </a:cubicBezTo>
                  <a:cubicBezTo>
                    <a:pt x="3" y="66"/>
                    <a:pt x="3" y="66"/>
                    <a:pt x="3" y="66"/>
                  </a:cubicBezTo>
                  <a:cubicBezTo>
                    <a:pt x="3" y="66"/>
                    <a:pt x="3" y="66"/>
                    <a:pt x="3" y="66"/>
                  </a:cubicBezTo>
                  <a:cubicBezTo>
                    <a:pt x="3" y="66"/>
                    <a:pt x="3" y="66"/>
                    <a:pt x="3" y="66"/>
                  </a:cubicBezTo>
                  <a:cubicBezTo>
                    <a:pt x="3" y="66"/>
                    <a:pt x="3" y="66"/>
                    <a:pt x="3" y="66"/>
                  </a:cubicBezTo>
                  <a:cubicBezTo>
                    <a:pt x="4" y="90"/>
                    <a:pt x="18" y="111"/>
                    <a:pt x="38" y="121"/>
                  </a:cubicBezTo>
                  <a:cubicBezTo>
                    <a:pt x="37" y="117"/>
                    <a:pt x="35" y="112"/>
                    <a:pt x="32" y="107"/>
                  </a:cubicBezTo>
                  <a:cubicBezTo>
                    <a:pt x="0" y="33"/>
                    <a:pt x="76" y="12"/>
                    <a:pt x="76" y="12"/>
                  </a:cubicBezTo>
                  <a:cubicBezTo>
                    <a:pt x="59" y="0"/>
                    <a:pt x="59" y="0"/>
                    <a:pt x="59" y="0"/>
                  </a:cubicBezTo>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39" name="Freeform 3040">
              <a:extLst>
                <a:ext uri="{FF2B5EF4-FFF2-40B4-BE49-F238E27FC236}">
                  <a16:creationId xmlns:a16="http://schemas.microsoft.com/office/drawing/2014/main" id="{8E79AF39-2000-48B8-83A0-44DCA230C2A6}"/>
                </a:ext>
              </a:extLst>
            </p:cNvPr>
            <p:cNvSpPr>
              <a:spLocks/>
            </p:cNvSpPr>
            <p:nvPr/>
          </p:nvSpPr>
          <p:spPr bwMode="auto">
            <a:xfrm>
              <a:off x="4919663" y="3405188"/>
              <a:ext cx="471488" cy="123825"/>
            </a:xfrm>
            <a:custGeom>
              <a:avLst/>
              <a:gdLst>
                <a:gd name="T0" fmla="*/ 582 w 582"/>
                <a:gd name="T1" fmla="*/ 128 h 153"/>
                <a:gd name="T2" fmla="*/ 77 w 582"/>
                <a:gd name="T3" fmla="*/ 128 h 153"/>
                <a:gd name="T4" fmla="*/ 25 w 582"/>
                <a:gd name="T5" fmla="*/ 76 h 153"/>
                <a:gd name="T6" fmla="*/ 77 w 582"/>
                <a:gd name="T7" fmla="*/ 25 h 153"/>
                <a:gd name="T8" fmla="*/ 582 w 582"/>
                <a:gd name="T9" fmla="*/ 25 h 153"/>
                <a:gd name="T10" fmla="*/ 582 w 582"/>
                <a:gd name="T11" fmla="*/ 0 h 153"/>
                <a:gd name="T12" fmla="*/ 77 w 582"/>
                <a:gd name="T13" fmla="*/ 0 h 153"/>
                <a:gd name="T14" fmla="*/ 0 w 582"/>
                <a:gd name="T15" fmla="*/ 76 h 153"/>
                <a:gd name="T16" fmla="*/ 77 w 582"/>
                <a:gd name="T17" fmla="*/ 153 h 153"/>
                <a:gd name="T18" fmla="*/ 582 w 582"/>
                <a:gd name="T19" fmla="*/ 153 h 153"/>
                <a:gd name="T20" fmla="*/ 582 w 582"/>
                <a:gd name="T21" fmla="*/ 128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2" h="153">
                  <a:moveTo>
                    <a:pt x="582" y="128"/>
                  </a:moveTo>
                  <a:cubicBezTo>
                    <a:pt x="77" y="128"/>
                    <a:pt x="77" y="128"/>
                    <a:pt x="77" y="128"/>
                  </a:cubicBezTo>
                  <a:cubicBezTo>
                    <a:pt x="48" y="128"/>
                    <a:pt x="25" y="105"/>
                    <a:pt x="25" y="76"/>
                  </a:cubicBezTo>
                  <a:cubicBezTo>
                    <a:pt x="25" y="48"/>
                    <a:pt x="48" y="25"/>
                    <a:pt x="77" y="25"/>
                  </a:cubicBezTo>
                  <a:cubicBezTo>
                    <a:pt x="582" y="25"/>
                    <a:pt x="582" y="25"/>
                    <a:pt x="582" y="25"/>
                  </a:cubicBezTo>
                  <a:cubicBezTo>
                    <a:pt x="582" y="0"/>
                    <a:pt x="582" y="0"/>
                    <a:pt x="582" y="0"/>
                  </a:cubicBezTo>
                  <a:cubicBezTo>
                    <a:pt x="77" y="0"/>
                    <a:pt x="77" y="0"/>
                    <a:pt x="77" y="0"/>
                  </a:cubicBezTo>
                  <a:cubicBezTo>
                    <a:pt x="35" y="0"/>
                    <a:pt x="0" y="34"/>
                    <a:pt x="0" y="76"/>
                  </a:cubicBezTo>
                  <a:cubicBezTo>
                    <a:pt x="0" y="119"/>
                    <a:pt x="35" y="153"/>
                    <a:pt x="77" y="153"/>
                  </a:cubicBezTo>
                  <a:cubicBezTo>
                    <a:pt x="582" y="153"/>
                    <a:pt x="582" y="153"/>
                    <a:pt x="582" y="153"/>
                  </a:cubicBezTo>
                  <a:lnTo>
                    <a:pt x="582" y="128"/>
                  </a:lnTo>
                  <a:close/>
                </a:path>
              </a:pathLst>
            </a:custGeom>
            <a:solidFill>
              <a:srgbClr val="0E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40" name="Freeform 3041">
              <a:extLst>
                <a:ext uri="{FF2B5EF4-FFF2-40B4-BE49-F238E27FC236}">
                  <a16:creationId xmlns:a16="http://schemas.microsoft.com/office/drawing/2014/main" id="{E1659B25-11B0-3042-1CC3-F77901934B9A}"/>
                </a:ext>
              </a:extLst>
            </p:cNvPr>
            <p:cNvSpPr>
              <a:spLocks/>
            </p:cNvSpPr>
            <p:nvPr/>
          </p:nvSpPr>
          <p:spPr bwMode="auto">
            <a:xfrm>
              <a:off x="4879975" y="3540125"/>
              <a:ext cx="454025" cy="103188"/>
            </a:xfrm>
            <a:custGeom>
              <a:avLst/>
              <a:gdLst>
                <a:gd name="T0" fmla="*/ 559 w 559"/>
                <a:gd name="T1" fmla="*/ 0 h 128"/>
                <a:gd name="T2" fmla="*/ 63 w 559"/>
                <a:gd name="T3" fmla="*/ 0 h 128"/>
                <a:gd name="T4" fmla="*/ 0 w 559"/>
                <a:gd name="T5" fmla="*/ 64 h 128"/>
                <a:gd name="T6" fmla="*/ 63 w 559"/>
                <a:gd name="T7" fmla="*/ 128 h 128"/>
                <a:gd name="T8" fmla="*/ 559 w 559"/>
                <a:gd name="T9" fmla="*/ 128 h 128"/>
                <a:gd name="T10" fmla="*/ 559 w 559"/>
                <a:gd name="T11" fmla="*/ 0 h 128"/>
              </a:gdLst>
              <a:ahLst/>
              <a:cxnLst>
                <a:cxn ang="0">
                  <a:pos x="T0" y="T1"/>
                </a:cxn>
                <a:cxn ang="0">
                  <a:pos x="T2" y="T3"/>
                </a:cxn>
                <a:cxn ang="0">
                  <a:pos x="T4" y="T5"/>
                </a:cxn>
                <a:cxn ang="0">
                  <a:pos x="T6" y="T7"/>
                </a:cxn>
                <a:cxn ang="0">
                  <a:pos x="T8" y="T9"/>
                </a:cxn>
                <a:cxn ang="0">
                  <a:pos x="T10" y="T11"/>
                </a:cxn>
              </a:cxnLst>
              <a:rect l="0" t="0" r="r" b="b"/>
              <a:pathLst>
                <a:path w="559" h="128">
                  <a:moveTo>
                    <a:pt x="559" y="0"/>
                  </a:moveTo>
                  <a:cubicBezTo>
                    <a:pt x="63" y="0"/>
                    <a:pt x="63" y="0"/>
                    <a:pt x="63" y="0"/>
                  </a:cubicBezTo>
                  <a:cubicBezTo>
                    <a:pt x="28" y="0"/>
                    <a:pt x="0" y="29"/>
                    <a:pt x="0" y="64"/>
                  </a:cubicBezTo>
                  <a:cubicBezTo>
                    <a:pt x="0" y="100"/>
                    <a:pt x="28" y="128"/>
                    <a:pt x="63" y="128"/>
                  </a:cubicBezTo>
                  <a:cubicBezTo>
                    <a:pt x="559" y="128"/>
                    <a:pt x="559" y="128"/>
                    <a:pt x="559" y="128"/>
                  </a:cubicBezTo>
                  <a:cubicBezTo>
                    <a:pt x="559" y="0"/>
                    <a:pt x="559" y="0"/>
                    <a:pt x="55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41" name="Freeform 3042">
              <a:extLst>
                <a:ext uri="{FF2B5EF4-FFF2-40B4-BE49-F238E27FC236}">
                  <a16:creationId xmlns:a16="http://schemas.microsoft.com/office/drawing/2014/main" id="{A2F98F9E-DF60-9913-1A0B-8AFEA6494DAD}"/>
                </a:ext>
              </a:extLst>
            </p:cNvPr>
            <p:cNvSpPr>
              <a:spLocks noEditPoints="1"/>
            </p:cNvSpPr>
            <p:nvPr/>
          </p:nvSpPr>
          <p:spPr bwMode="auto">
            <a:xfrm>
              <a:off x="4879975" y="3576638"/>
              <a:ext cx="3175" cy="17463"/>
            </a:xfrm>
            <a:custGeom>
              <a:avLst/>
              <a:gdLst>
                <a:gd name="T0" fmla="*/ 0 w 3"/>
                <a:gd name="T1" fmla="*/ 22 h 22"/>
                <a:gd name="T2" fmla="*/ 0 w 3"/>
                <a:gd name="T3" fmla="*/ 21 h 22"/>
                <a:gd name="T4" fmla="*/ 0 w 3"/>
                <a:gd name="T5" fmla="*/ 21 h 22"/>
                <a:gd name="T6" fmla="*/ 0 w 3"/>
                <a:gd name="T7" fmla="*/ 20 h 22"/>
                <a:gd name="T8" fmla="*/ 0 w 3"/>
                <a:gd name="T9" fmla="*/ 19 h 22"/>
                <a:gd name="T10" fmla="*/ 0 w 3"/>
                <a:gd name="T11" fmla="*/ 19 h 22"/>
                <a:gd name="T12" fmla="*/ 0 w 3"/>
                <a:gd name="T13" fmla="*/ 19 h 22"/>
                <a:gd name="T14" fmla="*/ 0 w 3"/>
                <a:gd name="T15" fmla="*/ 18 h 22"/>
                <a:gd name="T16" fmla="*/ 0 w 3"/>
                <a:gd name="T17" fmla="*/ 18 h 22"/>
                <a:gd name="T18" fmla="*/ 0 w 3"/>
                <a:gd name="T19" fmla="*/ 18 h 22"/>
                <a:gd name="T20" fmla="*/ 0 w 3"/>
                <a:gd name="T21" fmla="*/ 17 h 22"/>
                <a:gd name="T22" fmla="*/ 0 w 3"/>
                <a:gd name="T23" fmla="*/ 17 h 22"/>
                <a:gd name="T24" fmla="*/ 0 w 3"/>
                <a:gd name="T25" fmla="*/ 17 h 22"/>
                <a:gd name="T26" fmla="*/ 0 w 3"/>
                <a:gd name="T27" fmla="*/ 16 h 22"/>
                <a:gd name="T28" fmla="*/ 0 w 3"/>
                <a:gd name="T29" fmla="*/ 16 h 22"/>
                <a:gd name="T30" fmla="*/ 0 w 3"/>
                <a:gd name="T31" fmla="*/ 16 h 22"/>
                <a:gd name="T32" fmla="*/ 0 w 3"/>
                <a:gd name="T33" fmla="*/ 15 h 22"/>
                <a:gd name="T34" fmla="*/ 0 w 3"/>
                <a:gd name="T35" fmla="*/ 15 h 22"/>
                <a:gd name="T36" fmla="*/ 0 w 3"/>
                <a:gd name="T37" fmla="*/ 15 h 22"/>
                <a:gd name="T38" fmla="*/ 0 w 3"/>
                <a:gd name="T39" fmla="*/ 14 h 22"/>
                <a:gd name="T40" fmla="*/ 0 w 3"/>
                <a:gd name="T41" fmla="*/ 14 h 22"/>
                <a:gd name="T42" fmla="*/ 0 w 3"/>
                <a:gd name="T43" fmla="*/ 14 h 22"/>
                <a:gd name="T44" fmla="*/ 0 w 3"/>
                <a:gd name="T45" fmla="*/ 13 h 22"/>
                <a:gd name="T46" fmla="*/ 0 w 3"/>
                <a:gd name="T47" fmla="*/ 13 h 22"/>
                <a:gd name="T48" fmla="*/ 0 w 3"/>
                <a:gd name="T49" fmla="*/ 12 h 22"/>
                <a:gd name="T50" fmla="*/ 0 w 3"/>
                <a:gd name="T51" fmla="*/ 12 h 22"/>
                <a:gd name="T52" fmla="*/ 0 w 3"/>
                <a:gd name="T53" fmla="*/ 12 h 22"/>
                <a:gd name="T54" fmla="*/ 0 w 3"/>
                <a:gd name="T55" fmla="*/ 11 h 22"/>
                <a:gd name="T56" fmla="*/ 0 w 3"/>
                <a:gd name="T57" fmla="*/ 11 h 22"/>
                <a:gd name="T58" fmla="*/ 0 w 3"/>
                <a:gd name="T59" fmla="*/ 11 h 22"/>
                <a:gd name="T60" fmla="*/ 0 w 3"/>
                <a:gd name="T61" fmla="*/ 10 h 22"/>
                <a:gd name="T62" fmla="*/ 0 w 3"/>
                <a:gd name="T63" fmla="*/ 10 h 22"/>
                <a:gd name="T64" fmla="*/ 0 w 3"/>
                <a:gd name="T65" fmla="*/ 9 h 22"/>
                <a:gd name="T66" fmla="*/ 0 w 3"/>
                <a:gd name="T67" fmla="*/ 9 h 22"/>
                <a:gd name="T68" fmla="*/ 1 w 3"/>
                <a:gd name="T69" fmla="*/ 9 h 22"/>
                <a:gd name="T70" fmla="*/ 1 w 3"/>
                <a:gd name="T71" fmla="*/ 8 h 22"/>
                <a:gd name="T72" fmla="*/ 1 w 3"/>
                <a:gd name="T73" fmla="*/ 8 h 22"/>
                <a:gd name="T74" fmla="*/ 1 w 3"/>
                <a:gd name="T75" fmla="*/ 7 h 22"/>
                <a:gd name="T76" fmla="*/ 1 w 3"/>
                <a:gd name="T77" fmla="*/ 7 h 22"/>
                <a:gd name="T78" fmla="*/ 1 w 3"/>
                <a:gd name="T79" fmla="*/ 6 h 22"/>
                <a:gd name="T80" fmla="*/ 1 w 3"/>
                <a:gd name="T81" fmla="*/ 6 h 22"/>
                <a:gd name="T82" fmla="*/ 1 w 3"/>
                <a:gd name="T83" fmla="*/ 6 h 22"/>
                <a:gd name="T84" fmla="*/ 1 w 3"/>
                <a:gd name="T85" fmla="*/ 5 h 22"/>
                <a:gd name="T86" fmla="*/ 1 w 3"/>
                <a:gd name="T87" fmla="*/ 5 h 22"/>
                <a:gd name="T88" fmla="*/ 1 w 3"/>
                <a:gd name="T89" fmla="*/ 5 h 22"/>
                <a:gd name="T90" fmla="*/ 1 w 3"/>
                <a:gd name="T91" fmla="*/ 4 h 22"/>
                <a:gd name="T92" fmla="*/ 1 w 3"/>
                <a:gd name="T93" fmla="*/ 4 h 22"/>
                <a:gd name="T94" fmla="*/ 1 w 3"/>
                <a:gd name="T95" fmla="*/ 4 h 22"/>
                <a:gd name="T96" fmla="*/ 2 w 3"/>
                <a:gd name="T97" fmla="*/ 3 h 22"/>
                <a:gd name="T98" fmla="*/ 2 w 3"/>
                <a:gd name="T99" fmla="*/ 3 h 22"/>
                <a:gd name="T100" fmla="*/ 2 w 3"/>
                <a:gd name="T101" fmla="*/ 3 h 22"/>
                <a:gd name="T102" fmla="*/ 2 w 3"/>
                <a:gd name="T103" fmla="*/ 3 h 22"/>
                <a:gd name="T104" fmla="*/ 2 w 3"/>
                <a:gd name="T105" fmla="*/ 2 h 22"/>
                <a:gd name="T106" fmla="*/ 2 w 3"/>
                <a:gd name="T107" fmla="*/ 2 h 22"/>
                <a:gd name="T108" fmla="*/ 2 w 3"/>
                <a:gd name="T109" fmla="*/ 1 h 22"/>
                <a:gd name="T110" fmla="*/ 2 w 3"/>
                <a:gd name="T111" fmla="*/ 1 h 22"/>
                <a:gd name="T112" fmla="*/ 2 w 3"/>
                <a:gd name="T113" fmla="*/ 1 h 22"/>
                <a:gd name="T114" fmla="*/ 2 w 3"/>
                <a:gd name="T115" fmla="*/ 0 h 22"/>
                <a:gd name="T116" fmla="*/ 3 w 3"/>
                <a:gd name="T117" fmla="*/ 0 h 22"/>
                <a:gd name="T118" fmla="*/ 3 w 3"/>
                <a:gd name="T119"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 h="22">
                  <a:moveTo>
                    <a:pt x="0" y="22"/>
                  </a:moveTo>
                  <a:cubicBezTo>
                    <a:pt x="0" y="22"/>
                    <a:pt x="0" y="22"/>
                    <a:pt x="0" y="22"/>
                  </a:cubicBezTo>
                  <a:cubicBezTo>
                    <a:pt x="0" y="22"/>
                    <a:pt x="0" y="22"/>
                    <a:pt x="0" y="22"/>
                  </a:cubicBezTo>
                  <a:moveTo>
                    <a:pt x="0" y="22"/>
                  </a:moveTo>
                  <a:cubicBezTo>
                    <a:pt x="0" y="22"/>
                    <a:pt x="0" y="22"/>
                    <a:pt x="0" y="22"/>
                  </a:cubicBezTo>
                  <a:cubicBezTo>
                    <a:pt x="0" y="22"/>
                    <a:pt x="0" y="22"/>
                    <a:pt x="0" y="22"/>
                  </a:cubicBezTo>
                  <a:moveTo>
                    <a:pt x="0" y="22"/>
                  </a:moveTo>
                  <a:cubicBezTo>
                    <a:pt x="0" y="22"/>
                    <a:pt x="0" y="22"/>
                    <a:pt x="0" y="22"/>
                  </a:cubicBezTo>
                  <a:cubicBezTo>
                    <a:pt x="0" y="22"/>
                    <a:pt x="0" y="22"/>
                    <a:pt x="0" y="22"/>
                  </a:cubicBezTo>
                  <a:moveTo>
                    <a:pt x="0" y="21"/>
                  </a:moveTo>
                  <a:cubicBezTo>
                    <a:pt x="0" y="21"/>
                    <a:pt x="0" y="21"/>
                    <a:pt x="0" y="21"/>
                  </a:cubicBezTo>
                  <a:cubicBezTo>
                    <a:pt x="0" y="21"/>
                    <a:pt x="0" y="21"/>
                    <a:pt x="0" y="21"/>
                  </a:cubicBezTo>
                  <a:moveTo>
                    <a:pt x="0" y="21"/>
                  </a:moveTo>
                  <a:cubicBezTo>
                    <a:pt x="0" y="21"/>
                    <a:pt x="0" y="21"/>
                    <a:pt x="0" y="21"/>
                  </a:cubicBezTo>
                  <a:cubicBezTo>
                    <a:pt x="0" y="21"/>
                    <a:pt x="0" y="21"/>
                    <a:pt x="0" y="21"/>
                  </a:cubicBezTo>
                  <a:moveTo>
                    <a:pt x="0" y="20"/>
                  </a:moveTo>
                  <a:cubicBezTo>
                    <a:pt x="0" y="20"/>
                    <a:pt x="0" y="20"/>
                    <a:pt x="0" y="20"/>
                  </a:cubicBezTo>
                  <a:cubicBezTo>
                    <a:pt x="0" y="20"/>
                    <a:pt x="0" y="20"/>
                    <a:pt x="0" y="20"/>
                  </a:cubicBezTo>
                  <a:moveTo>
                    <a:pt x="0" y="20"/>
                  </a:moveTo>
                  <a:cubicBezTo>
                    <a:pt x="0" y="20"/>
                    <a:pt x="0" y="20"/>
                    <a:pt x="0" y="20"/>
                  </a:cubicBezTo>
                  <a:cubicBezTo>
                    <a:pt x="0" y="20"/>
                    <a:pt x="0" y="20"/>
                    <a:pt x="0" y="20"/>
                  </a:cubicBezTo>
                  <a:moveTo>
                    <a:pt x="0" y="20"/>
                  </a:moveTo>
                  <a:cubicBezTo>
                    <a:pt x="0" y="20"/>
                    <a:pt x="0" y="20"/>
                    <a:pt x="0" y="20"/>
                  </a:cubicBezTo>
                  <a:cubicBezTo>
                    <a:pt x="0" y="20"/>
                    <a:pt x="0" y="20"/>
                    <a:pt x="0" y="20"/>
                  </a:cubicBezTo>
                  <a:moveTo>
                    <a:pt x="0" y="19"/>
                  </a:moveTo>
                  <a:cubicBezTo>
                    <a:pt x="0" y="20"/>
                    <a:pt x="0" y="20"/>
                    <a:pt x="0" y="20"/>
                  </a:cubicBezTo>
                  <a:cubicBezTo>
                    <a:pt x="0" y="20"/>
                    <a:pt x="0" y="20"/>
                    <a:pt x="0" y="19"/>
                  </a:cubicBezTo>
                  <a:moveTo>
                    <a:pt x="0" y="19"/>
                  </a:moveTo>
                  <a:cubicBezTo>
                    <a:pt x="0" y="19"/>
                    <a:pt x="0" y="19"/>
                    <a:pt x="0" y="19"/>
                  </a:cubicBezTo>
                  <a:cubicBezTo>
                    <a:pt x="0" y="19"/>
                    <a:pt x="0" y="19"/>
                    <a:pt x="0" y="19"/>
                  </a:cubicBezTo>
                  <a:cubicBezTo>
                    <a:pt x="0" y="19"/>
                    <a:pt x="0" y="19"/>
                    <a:pt x="0" y="19"/>
                  </a:cubicBezTo>
                  <a:moveTo>
                    <a:pt x="0" y="19"/>
                  </a:moveTo>
                  <a:cubicBezTo>
                    <a:pt x="0" y="19"/>
                    <a:pt x="0" y="19"/>
                    <a:pt x="0" y="19"/>
                  </a:cubicBezTo>
                  <a:cubicBezTo>
                    <a:pt x="0" y="19"/>
                    <a:pt x="0" y="19"/>
                    <a:pt x="0" y="19"/>
                  </a:cubicBezTo>
                  <a:moveTo>
                    <a:pt x="0" y="19"/>
                  </a:moveTo>
                  <a:cubicBezTo>
                    <a:pt x="0" y="19"/>
                    <a:pt x="0" y="19"/>
                    <a:pt x="0" y="19"/>
                  </a:cubicBezTo>
                  <a:cubicBezTo>
                    <a:pt x="0" y="19"/>
                    <a:pt x="0" y="19"/>
                    <a:pt x="0" y="19"/>
                  </a:cubicBezTo>
                  <a:moveTo>
                    <a:pt x="0" y="18"/>
                  </a:moveTo>
                  <a:cubicBezTo>
                    <a:pt x="0" y="18"/>
                    <a:pt x="0" y="19"/>
                    <a:pt x="0" y="19"/>
                  </a:cubicBezTo>
                  <a:cubicBezTo>
                    <a:pt x="0" y="19"/>
                    <a:pt x="0" y="18"/>
                    <a:pt x="0" y="18"/>
                  </a:cubicBezTo>
                  <a:moveTo>
                    <a:pt x="0" y="18"/>
                  </a:moveTo>
                  <a:cubicBezTo>
                    <a:pt x="0" y="18"/>
                    <a:pt x="0" y="18"/>
                    <a:pt x="0" y="18"/>
                  </a:cubicBezTo>
                  <a:cubicBezTo>
                    <a:pt x="0" y="18"/>
                    <a:pt x="0" y="18"/>
                    <a:pt x="0" y="18"/>
                  </a:cubicBezTo>
                  <a:moveTo>
                    <a:pt x="0" y="18"/>
                  </a:moveTo>
                  <a:cubicBezTo>
                    <a:pt x="0" y="18"/>
                    <a:pt x="0" y="18"/>
                    <a:pt x="0" y="18"/>
                  </a:cubicBezTo>
                  <a:cubicBezTo>
                    <a:pt x="0" y="18"/>
                    <a:pt x="0" y="18"/>
                    <a:pt x="0" y="18"/>
                  </a:cubicBezTo>
                  <a:moveTo>
                    <a:pt x="0" y="18"/>
                  </a:moveTo>
                  <a:cubicBezTo>
                    <a:pt x="0" y="18"/>
                    <a:pt x="0" y="18"/>
                    <a:pt x="0" y="18"/>
                  </a:cubicBezTo>
                  <a:cubicBezTo>
                    <a:pt x="0" y="18"/>
                    <a:pt x="0" y="18"/>
                    <a:pt x="0" y="18"/>
                  </a:cubicBezTo>
                  <a:moveTo>
                    <a:pt x="0" y="18"/>
                  </a:moveTo>
                  <a:cubicBezTo>
                    <a:pt x="0" y="18"/>
                    <a:pt x="0" y="18"/>
                    <a:pt x="0" y="18"/>
                  </a:cubicBezTo>
                  <a:cubicBezTo>
                    <a:pt x="0" y="18"/>
                    <a:pt x="0" y="18"/>
                    <a:pt x="0" y="18"/>
                  </a:cubicBezTo>
                  <a:moveTo>
                    <a:pt x="0" y="17"/>
                  </a:moveTo>
                  <a:cubicBezTo>
                    <a:pt x="0" y="17"/>
                    <a:pt x="0" y="18"/>
                    <a:pt x="0" y="18"/>
                  </a:cubicBezTo>
                  <a:cubicBezTo>
                    <a:pt x="0" y="18"/>
                    <a:pt x="0" y="17"/>
                    <a:pt x="0" y="17"/>
                  </a:cubicBezTo>
                  <a:moveTo>
                    <a:pt x="0" y="17"/>
                  </a:moveTo>
                  <a:cubicBezTo>
                    <a:pt x="0" y="17"/>
                    <a:pt x="0" y="17"/>
                    <a:pt x="0" y="17"/>
                  </a:cubicBezTo>
                  <a:cubicBezTo>
                    <a:pt x="0" y="17"/>
                    <a:pt x="0" y="17"/>
                    <a:pt x="0" y="17"/>
                  </a:cubicBezTo>
                  <a:moveTo>
                    <a:pt x="0" y="17"/>
                  </a:moveTo>
                  <a:cubicBezTo>
                    <a:pt x="0" y="17"/>
                    <a:pt x="0" y="17"/>
                    <a:pt x="0" y="17"/>
                  </a:cubicBezTo>
                  <a:cubicBezTo>
                    <a:pt x="0" y="17"/>
                    <a:pt x="0" y="17"/>
                    <a:pt x="0" y="17"/>
                  </a:cubicBezTo>
                  <a:moveTo>
                    <a:pt x="0" y="17"/>
                  </a:moveTo>
                  <a:cubicBezTo>
                    <a:pt x="0" y="17"/>
                    <a:pt x="0" y="17"/>
                    <a:pt x="0" y="17"/>
                  </a:cubicBezTo>
                  <a:cubicBezTo>
                    <a:pt x="0" y="17"/>
                    <a:pt x="0" y="17"/>
                    <a:pt x="0" y="17"/>
                  </a:cubicBezTo>
                  <a:moveTo>
                    <a:pt x="0" y="17"/>
                  </a:moveTo>
                  <a:cubicBezTo>
                    <a:pt x="0" y="17"/>
                    <a:pt x="0" y="17"/>
                    <a:pt x="0" y="17"/>
                  </a:cubicBezTo>
                  <a:cubicBezTo>
                    <a:pt x="0" y="17"/>
                    <a:pt x="0" y="17"/>
                    <a:pt x="0" y="17"/>
                  </a:cubicBezTo>
                  <a:moveTo>
                    <a:pt x="0" y="16"/>
                  </a:moveTo>
                  <a:cubicBezTo>
                    <a:pt x="0" y="16"/>
                    <a:pt x="0" y="16"/>
                    <a:pt x="0" y="17"/>
                  </a:cubicBezTo>
                  <a:cubicBezTo>
                    <a:pt x="0" y="16"/>
                    <a:pt x="0" y="16"/>
                    <a:pt x="0" y="16"/>
                  </a:cubicBezTo>
                  <a:moveTo>
                    <a:pt x="0" y="16"/>
                  </a:moveTo>
                  <a:cubicBezTo>
                    <a:pt x="0" y="16"/>
                    <a:pt x="0" y="16"/>
                    <a:pt x="0" y="16"/>
                  </a:cubicBezTo>
                  <a:cubicBezTo>
                    <a:pt x="0" y="16"/>
                    <a:pt x="0" y="16"/>
                    <a:pt x="0" y="16"/>
                  </a:cubicBezTo>
                  <a:moveTo>
                    <a:pt x="0" y="16"/>
                  </a:moveTo>
                  <a:cubicBezTo>
                    <a:pt x="0" y="16"/>
                    <a:pt x="0" y="16"/>
                    <a:pt x="0" y="16"/>
                  </a:cubicBezTo>
                  <a:cubicBezTo>
                    <a:pt x="0" y="16"/>
                    <a:pt x="0" y="16"/>
                    <a:pt x="0" y="16"/>
                  </a:cubicBezTo>
                  <a:moveTo>
                    <a:pt x="0" y="16"/>
                  </a:moveTo>
                  <a:cubicBezTo>
                    <a:pt x="0" y="16"/>
                    <a:pt x="0" y="16"/>
                    <a:pt x="0" y="16"/>
                  </a:cubicBezTo>
                  <a:cubicBezTo>
                    <a:pt x="0" y="16"/>
                    <a:pt x="0" y="16"/>
                    <a:pt x="0" y="16"/>
                  </a:cubicBezTo>
                  <a:moveTo>
                    <a:pt x="0" y="16"/>
                  </a:moveTo>
                  <a:cubicBezTo>
                    <a:pt x="0" y="16"/>
                    <a:pt x="0" y="16"/>
                    <a:pt x="0" y="16"/>
                  </a:cubicBezTo>
                  <a:cubicBezTo>
                    <a:pt x="0" y="16"/>
                    <a:pt x="0" y="16"/>
                    <a:pt x="0" y="16"/>
                  </a:cubicBezTo>
                  <a:moveTo>
                    <a:pt x="0" y="15"/>
                  </a:moveTo>
                  <a:cubicBezTo>
                    <a:pt x="0" y="15"/>
                    <a:pt x="0" y="15"/>
                    <a:pt x="0" y="15"/>
                  </a:cubicBezTo>
                  <a:cubicBezTo>
                    <a:pt x="0" y="15"/>
                    <a:pt x="0" y="15"/>
                    <a:pt x="0" y="15"/>
                  </a:cubicBezTo>
                  <a:moveTo>
                    <a:pt x="0" y="15"/>
                  </a:moveTo>
                  <a:cubicBezTo>
                    <a:pt x="0" y="15"/>
                    <a:pt x="0" y="15"/>
                    <a:pt x="0" y="15"/>
                  </a:cubicBezTo>
                  <a:cubicBezTo>
                    <a:pt x="0" y="15"/>
                    <a:pt x="0" y="15"/>
                    <a:pt x="0" y="15"/>
                  </a:cubicBezTo>
                  <a:moveTo>
                    <a:pt x="0" y="15"/>
                  </a:moveTo>
                  <a:cubicBezTo>
                    <a:pt x="0" y="15"/>
                    <a:pt x="0" y="15"/>
                    <a:pt x="0" y="15"/>
                  </a:cubicBezTo>
                  <a:cubicBezTo>
                    <a:pt x="0" y="15"/>
                    <a:pt x="0" y="15"/>
                    <a:pt x="0" y="15"/>
                  </a:cubicBezTo>
                  <a:moveTo>
                    <a:pt x="0" y="15"/>
                  </a:moveTo>
                  <a:cubicBezTo>
                    <a:pt x="0" y="15"/>
                    <a:pt x="0" y="15"/>
                    <a:pt x="0" y="15"/>
                  </a:cubicBezTo>
                  <a:cubicBezTo>
                    <a:pt x="0" y="15"/>
                    <a:pt x="0" y="15"/>
                    <a:pt x="0" y="15"/>
                  </a:cubicBezTo>
                  <a:moveTo>
                    <a:pt x="0" y="15"/>
                  </a:moveTo>
                  <a:cubicBezTo>
                    <a:pt x="0" y="15"/>
                    <a:pt x="0" y="15"/>
                    <a:pt x="0" y="15"/>
                  </a:cubicBezTo>
                  <a:cubicBezTo>
                    <a:pt x="0" y="15"/>
                    <a:pt x="0" y="15"/>
                    <a:pt x="0" y="15"/>
                  </a:cubicBezTo>
                  <a:moveTo>
                    <a:pt x="0" y="14"/>
                  </a:moveTo>
                  <a:cubicBezTo>
                    <a:pt x="0" y="14"/>
                    <a:pt x="0" y="14"/>
                    <a:pt x="0" y="14"/>
                  </a:cubicBezTo>
                  <a:cubicBezTo>
                    <a:pt x="0" y="14"/>
                    <a:pt x="0" y="14"/>
                    <a:pt x="0" y="14"/>
                  </a:cubicBezTo>
                  <a:moveTo>
                    <a:pt x="0" y="14"/>
                  </a:moveTo>
                  <a:cubicBezTo>
                    <a:pt x="0" y="14"/>
                    <a:pt x="0" y="14"/>
                    <a:pt x="0" y="14"/>
                  </a:cubicBezTo>
                  <a:cubicBezTo>
                    <a:pt x="0" y="14"/>
                    <a:pt x="0" y="14"/>
                    <a:pt x="0" y="14"/>
                  </a:cubicBezTo>
                  <a:moveTo>
                    <a:pt x="0" y="14"/>
                  </a:moveTo>
                  <a:cubicBezTo>
                    <a:pt x="0" y="14"/>
                    <a:pt x="0" y="14"/>
                    <a:pt x="0" y="14"/>
                  </a:cubicBezTo>
                  <a:cubicBezTo>
                    <a:pt x="0" y="14"/>
                    <a:pt x="0" y="14"/>
                    <a:pt x="0" y="14"/>
                  </a:cubicBezTo>
                  <a:moveTo>
                    <a:pt x="0" y="14"/>
                  </a:moveTo>
                  <a:cubicBezTo>
                    <a:pt x="0" y="14"/>
                    <a:pt x="0" y="14"/>
                    <a:pt x="0" y="14"/>
                  </a:cubicBezTo>
                  <a:cubicBezTo>
                    <a:pt x="0" y="14"/>
                    <a:pt x="0" y="14"/>
                    <a:pt x="0" y="14"/>
                  </a:cubicBezTo>
                  <a:moveTo>
                    <a:pt x="0" y="14"/>
                  </a:moveTo>
                  <a:cubicBezTo>
                    <a:pt x="0" y="14"/>
                    <a:pt x="0" y="14"/>
                    <a:pt x="0" y="14"/>
                  </a:cubicBezTo>
                  <a:cubicBezTo>
                    <a:pt x="0" y="14"/>
                    <a:pt x="0" y="14"/>
                    <a:pt x="0" y="14"/>
                  </a:cubicBezTo>
                  <a:moveTo>
                    <a:pt x="0" y="13"/>
                  </a:moveTo>
                  <a:cubicBezTo>
                    <a:pt x="0" y="13"/>
                    <a:pt x="0" y="13"/>
                    <a:pt x="0" y="13"/>
                  </a:cubicBezTo>
                  <a:cubicBezTo>
                    <a:pt x="0" y="13"/>
                    <a:pt x="0" y="13"/>
                    <a:pt x="0" y="13"/>
                  </a:cubicBezTo>
                  <a:moveTo>
                    <a:pt x="0" y="13"/>
                  </a:moveTo>
                  <a:cubicBezTo>
                    <a:pt x="0" y="13"/>
                    <a:pt x="0" y="13"/>
                    <a:pt x="0" y="13"/>
                  </a:cubicBezTo>
                  <a:cubicBezTo>
                    <a:pt x="0" y="13"/>
                    <a:pt x="0" y="13"/>
                    <a:pt x="0" y="13"/>
                  </a:cubicBezTo>
                  <a:moveTo>
                    <a:pt x="0" y="13"/>
                  </a:moveTo>
                  <a:cubicBezTo>
                    <a:pt x="0" y="13"/>
                    <a:pt x="0" y="13"/>
                    <a:pt x="0" y="13"/>
                  </a:cubicBezTo>
                  <a:cubicBezTo>
                    <a:pt x="0" y="13"/>
                    <a:pt x="0" y="13"/>
                    <a:pt x="0" y="13"/>
                  </a:cubicBezTo>
                  <a:moveTo>
                    <a:pt x="0" y="13"/>
                  </a:moveTo>
                  <a:cubicBezTo>
                    <a:pt x="0" y="13"/>
                    <a:pt x="0" y="13"/>
                    <a:pt x="0" y="13"/>
                  </a:cubicBezTo>
                  <a:cubicBezTo>
                    <a:pt x="0" y="13"/>
                    <a:pt x="0" y="13"/>
                    <a:pt x="0" y="13"/>
                  </a:cubicBezTo>
                  <a:moveTo>
                    <a:pt x="0" y="12"/>
                  </a:moveTo>
                  <a:cubicBezTo>
                    <a:pt x="0" y="12"/>
                    <a:pt x="0" y="12"/>
                    <a:pt x="0" y="12"/>
                  </a:cubicBezTo>
                  <a:cubicBezTo>
                    <a:pt x="0" y="12"/>
                    <a:pt x="0" y="12"/>
                    <a:pt x="0" y="12"/>
                  </a:cubicBezTo>
                  <a:moveTo>
                    <a:pt x="0" y="12"/>
                  </a:moveTo>
                  <a:cubicBezTo>
                    <a:pt x="0" y="12"/>
                    <a:pt x="0" y="12"/>
                    <a:pt x="0" y="12"/>
                  </a:cubicBezTo>
                  <a:cubicBezTo>
                    <a:pt x="0" y="12"/>
                    <a:pt x="0" y="12"/>
                    <a:pt x="0" y="12"/>
                  </a:cubicBezTo>
                  <a:moveTo>
                    <a:pt x="0" y="12"/>
                  </a:moveTo>
                  <a:cubicBezTo>
                    <a:pt x="0" y="12"/>
                    <a:pt x="0" y="12"/>
                    <a:pt x="0" y="12"/>
                  </a:cubicBezTo>
                  <a:cubicBezTo>
                    <a:pt x="0" y="12"/>
                    <a:pt x="0" y="12"/>
                    <a:pt x="0" y="12"/>
                  </a:cubicBezTo>
                  <a:moveTo>
                    <a:pt x="0" y="12"/>
                  </a:moveTo>
                  <a:cubicBezTo>
                    <a:pt x="0" y="12"/>
                    <a:pt x="0" y="12"/>
                    <a:pt x="0" y="12"/>
                  </a:cubicBezTo>
                  <a:cubicBezTo>
                    <a:pt x="0" y="12"/>
                    <a:pt x="0" y="12"/>
                    <a:pt x="0" y="12"/>
                  </a:cubicBezTo>
                  <a:moveTo>
                    <a:pt x="0" y="12"/>
                  </a:moveTo>
                  <a:cubicBezTo>
                    <a:pt x="0" y="12"/>
                    <a:pt x="0" y="12"/>
                    <a:pt x="0" y="12"/>
                  </a:cubicBezTo>
                  <a:cubicBezTo>
                    <a:pt x="0" y="12"/>
                    <a:pt x="0" y="12"/>
                    <a:pt x="0" y="12"/>
                  </a:cubicBezTo>
                  <a:moveTo>
                    <a:pt x="0" y="11"/>
                  </a:moveTo>
                  <a:cubicBezTo>
                    <a:pt x="0" y="11"/>
                    <a:pt x="0" y="11"/>
                    <a:pt x="0" y="11"/>
                  </a:cubicBezTo>
                  <a:cubicBezTo>
                    <a:pt x="0" y="11"/>
                    <a:pt x="0" y="11"/>
                    <a:pt x="0" y="11"/>
                  </a:cubicBezTo>
                  <a:moveTo>
                    <a:pt x="0" y="11"/>
                  </a:moveTo>
                  <a:cubicBezTo>
                    <a:pt x="0" y="11"/>
                    <a:pt x="0" y="11"/>
                    <a:pt x="0" y="11"/>
                  </a:cubicBezTo>
                  <a:cubicBezTo>
                    <a:pt x="0" y="11"/>
                    <a:pt x="0" y="11"/>
                    <a:pt x="0" y="11"/>
                  </a:cubicBezTo>
                  <a:moveTo>
                    <a:pt x="0" y="11"/>
                  </a:moveTo>
                  <a:cubicBezTo>
                    <a:pt x="0" y="11"/>
                    <a:pt x="0" y="11"/>
                    <a:pt x="0" y="11"/>
                  </a:cubicBezTo>
                  <a:cubicBezTo>
                    <a:pt x="0" y="11"/>
                    <a:pt x="0" y="11"/>
                    <a:pt x="0" y="11"/>
                  </a:cubicBezTo>
                  <a:moveTo>
                    <a:pt x="0" y="11"/>
                  </a:moveTo>
                  <a:cubicBezTo>
                    <a:pt x="0" y="11"/>
                    <a:pt x="0" y="11"/>
                    <a:pt x="0" y="11"/>
                  </a:cubicBezTo>
                  <a:cubicBezTo>
                    <a:pt x="0" y="11"/>
                    <a:pt x="0" y="11"/>
                    <a:pt x="0" y="11"/>
                  </a:cubicBezTo>
                  <a:moveTo>
                    <a:pt x="0" y="10"/>
                  </a:moveTo>
                  <a:cubicBezTo>
                    <a:pt x="0" y="10"/>
                    <a:pt x="0" y="10"/>
                    <a:pt x="0" y="11"/>
                  </a:cubicBezTo>
                  <a:cubicBezTo>
                    <a:pt x="0" y="10"/>
                    <a:pt x="0" y="10"/>
                    <a:pt x="0" y="10"/>
                  </a:cubicBezTo>
                  <a:moveTo>
                    <a:pt x="0" y="10"/>
                  </a:moveTo>
                  <a:cubicBezTo>
                    <a:pt x="0" y="10"/>
                    <a:pt x="0" y="10"/>
                    <a:pt x="0" y="10"/>
                  </a:cubicBezTo>
                  <a:cubicBezTo>
                    <a:pt x="0" y="10"/>
                    <a:pt x="0" y="10"/>
                    <a:pt x="0" y="10"/>
                  </a:cubicBezTo>
                  <a:moveTo>
                    <a:pt x="0" y="10"/>
                  </a:moveTo>
                  <a:cubicBezTo>
                    <a:pt x="0" y="10"/>
                    <a:pt x="0" y="10"/>
                    <a:pt x="0" y="10"/>
                  </a:cubicBezTo>
                  <a:cubicBezTo>
                    <a:pt x="0" y="10"/>
                    <a:pt x="0" y="10"/>
                    <a:pt x="0" y="10"/>
                  </a:cubicBezTo>
                  <a:moveTo>
                    <a:pt x="0" y="10"/>
                  </a:moveTo>
                  <a:cubicBezTo>
                    <a:pt x="0" y="10"/>
                    <a:pt x="0" y="10"/>
                    <a:pt x="0" y="10"/>
                  </a:cubicBezTo>
                  <a:cubicBezTo>
                    <a:pt x="0" y="10"/>
                    <a:pt x="0" y="10"/>
                    <a:pt x="0" y="10"/>
                  </a:cubicBezTo>
                  <a:moveTo>
                    <a:pt x="0" y="9"/>
                  </a:moveTo>
                  <a:cubicBezTo>
                    <a:pt x="0" y="9"/>
                    <a:pt x="0" y="9"/>
                    <a:pt x="0" y="9"/>
                  </a:cubicBezTo>
                  <a:cubicBezTo>
                    <a:pt x="0" y="9"/>
                    <a:pt x="0" y="9"/>
                    <a:pt x="0" y="9"/>
                  </a:cubicBezTo>
                  <a:moveTo>
                    <a:pt x="0" y="9"/>
                  </a:moveTo>
                  <a:cubicBezTo>
                    <a:pt x="0" y="9"/>
                    <a:pt x="0" y="9"/>
                    <a:pt x="0" y="9"/>
                  </a:cubicBezTo>
                  <a:cubicBezTo>
                    <a:pt x="0" y="9"/>
                    <a:pt x="0" y="9"/>
                    <a:pt x="0" y="9"/>
                  </a:cubicBezTo>
                  <a:moveTo>
                    <a:pt x="0" y="9"/>
                  </a:moveTo>
                  <a:cubicBezTo>
                    <a:pt x="0" y="9"/>
                    <a:pt x="0" y="9"/>
                    <a:pt x="0" y="9"/>
                  </a:cubicBezTo>
                  <a:cubicBezTo>
                    <a:pt x="0" y="9"/>
                    <a:pt x="0" y="9"/>
                    <a:pt x="0" y="9"/>
                  </a:cubicBezTo>
                  <a:moveTo>
                    <a:pt x="1" y="9"/>
                  </a:moveTo>
                  <a:cubicBezTo>
                    <a:pt x="1" y="9"/>
                    <a:pt x="1" y="9"/>
                    <a:pt x="0" y="9"/>
                  </a:cubicBezTo>
                  <a:cubicBezTo>
                    <a:pt x="1" y="9"/>
                    <a:pt x="1" y="9"/>
                    <a:pt x="1" y="9"/>
                  </a:cubicBezTo>
                  <a:moveTo>
                    <a:pt x="1" y="9"/>
                  </a:moveTo>
                  <a:cubicBezTo>
                    <a:pt x="1" y="9"/>
                    <a:pt x="1" y="9"/>
                    <a:pt x="1" y="9"/>
                  </a:cubicBezTo>
                  <a:cubicBezTo>
                    <a:pt x="1" y="9"/>
                    <a:pt x="1" y="9"/>
                    <a:pt x="1" y="9"/>
                  </a:cubicBezTo>
                  <a:moveTo>
                    <a:pt x="1" y="8"/>
                  </a:moveTo>
                  <a:cubicBezTo>
                    <a:pt x="1" y="8"/>
                    <a:pt x="1" y="8"/>
                    <a:pt x="1" y="8"/>
                  </a:cubicBezTo>
                  <a:cubicBezTo>
                    <a:pt x="1" y="8"/>
                    <a:pt x="1" y="8"/>
                    <a:pt x="1" y="8"/>
                  </a:cubicBezTo>
                  <a:moveTo>
                    <a:pt x="1" y="8"/>
                  </a:moveTo>
                  <a:cubicBezTo>
                    <a:pt x="1" y="8"/>
                    <a:pt x="1" y="8"/>
                    <a:pt x="1" y="8"/>
                  </a:cubicBezTo>
                  <a:cubicBezTo>
                    <a:pt x="1" y="8"/>
                    <a:pt x="1" y="8"/>
                    <a:pt x="1" y="8"/>
                  </a:cubicBezTo>
                  <a:moveTo>
                    <a:pt x="1" y="8"/>
                  </a:moveTo>
                  <a:cubicBezTo>
                    <a:pt x="1" y="8"/>
                    <a:pt x="1" y="8"/>
                    <a:pt x="1" y="8"/>
                  </a:cubicBezTo>
                  <a:cubicBezTo>
                    <a:pt x="1" y="8"/>
                    <a:pt x="1" y="8"/>
                    <a:pt x="1" y="8"/>
                  </a:cubicBezTo>
                  <a:moveTo>
                    <a:pt x="1" y="7"/>
                  </a:moveTo>
                  <a:cubicBezTo>
                    <a:pt x="1" y="7"/>
                    <a:pt x="1" y="8"/>
                    <a:pt x="1" y="8"/>
                  </a:cubicBezTo>
                  <a:cubicBezTo>
                    <a:pt x="1" y="8"/>
                    <a:pt x="1" y="7"/>
                    <a:pt x="1" y="7"/>
                  </a:cubicBezTo>
                  <a:moveTo>
                    <a:pt x="1" y="7"/>
                  </a:moveTo>
                  <a:cubicBezTo>
                    <a:pt x="1" y="7"/>
                    <a:pt x="1" y="7"/>
                    <a:pt x="1" y="7"/>
                  </a:cubicBezTo>
                  <a:cubicBezTo>
                    <a:pt x="1" y="7"/>
                    <a:pt x="1" y="7"/>
                    <a:pt x="1" y="7"/>
                  </a:cubicBezTo>
                  <a:moveTo>
                    <a:pt x="1" y="7"/>
                  </a:moveTo>
                  <a:cubicBezTo>
                    <a:pt x="1" y="7"/>
                    <a:pt x="1" y="7"/>
                    <a:pt x="1" y="7"/>
                  </a:cubicBezTo>
                  <a:cubicBezTo>
                    <a:pt x="1" y="7"/>
                    <a:pt x="1" y="7"/>
                    <a:pt x="1" y="7"/>
                  </a:cubicBezTo>
                  <a:moveTo>
                    <a:pt x="1" y="7"/>
                  </a:moveTo>
                  <a:cubicBezTo>
                    <a:pt x="1" y="7"/>
                    <a:pt x="1" y="7"/>
                    <a:pt x="1" y="7"/>
                  </a:cubicBezTo>
                  <a:cubicBezTo>
                    <a:pt x="1" y="7"/>
                    <a:pt x="1" y="7"/>
                    <a:pt x="1" y="7"/>
                  </a:cubicBezTo>
                  <a:moveTo>
                    <a:pt x="1" y="6"/>
                  </a:moveTo>
                  <a:cubicBezTo>
                    <a:pt x="1" y="6"/>
                    <a:pt x="1" y="6"/>
                    <a:pt x="1" y="6"/>
                  </a:cubicBezTo>
                  <a:cubicBezTo>
                    <a:pt x="1" y="6"/>
                    <a:pt x="1" y="6"/>
                    <a:pt x="1" y="6"/>
                  </a:cubicBezTo>
                  <a:moveTo>
                    <a:pt x="1" y="6"/>
                  </a:moveTo>
                  <a:cubicBezTo>
                    <a:pt x="1" y="6"/>
                    <a:pt x="1" y="6"/>
                    <a:pt x="1" y="6"/>
                  </a:cubicBezTo>
                  <a:cubicBezTo>
                    <a:pt x="1" y="6"/>
                    <a:pt x="1" y="6"/>
                    <a:pt x="1" y="6"/>
                  </a:cubicBezTo>
                  <a:moveTo>
                    <a:pt x="1" y="6"/>
                  </a:moveTo>
                  <a:cubicBezTo>
                    <a:pt x="1" y="6"/>
                    <a:pt x="1" y="6"/>
                    <a:pt x="1" y="6"/>
                  </a:cubicBezTo>
                  <a:cubicBezTo>
                    <a:pt x="1" y="6"/>
                    <a:pt x="1" y="6"/>
                    <a:pt x="1" y="6"/>
                  </a:cubicBezTo>
                  <a:moveTo>
                    <a:pt x="1" y="6"/>
                  </a:moveTo>
                  <a:cubicBezTo>
                    <a:pt x="1" y="6"/>
                    <a:pt x="1" y="6"/>
                    <a:pt x="1" y="6"/>
                  </a:cubicBezTo>
                  <a:cubicBezTo>
                    <a:pt x="1" y="6"/>
                    <a:pt x="1" y="6"/>
                    <a:pt x="1" y="6"/>
                  </a:cubicBezTo>
                  <a:moveTo>
                    <a:pt x="1" y="6"/>
                  </a:moveTo>
                  <a:cubicBezTo>
                    <a:pt x="1" y="6"/>
                    <a:pt x="1" y="6"/>
                    <a:pt x="1" y="6"/>
                  </a:cubicBezTo>
                  <a:cubicBezTo>
                    <a:pt x="1" y="6"/>
                    <a:pt x="1" y="6"/>
                    <a:pt x="1" y="6"/>
                  </a:cubicBezTo>
                  <a:moveTo>
                    <a:pt x="1" y="5"/>
                  </a:moveTo>
                  <a:cubicBezTo>
                    <a:pt x="1" y="5"/>
                    <a:pt x="1" y="5"/>
                    <a:pt x="1" y="6"/>
                  </a:cubicBezTo>
                  <a:cubicBezTo>
                    <a:pt x="1" y="5"/>
                    <a:pt x="1" y="5"/>
                    <a:pt x="1" y="5"/>
                  </a:cubicBezTo>
                  <a:moveTo>
                    <a:pt x="1" y="5"/>
                  </a:moveTo>
                  <a:cubicBezTo>
                    <a:pt x="1" y="5"/>
                    <a:pt x="1" y="5"/>
                    <a:pt x="1" y="5"/>
                  </a:cubicBezTo>
                  <a:cubicBezTo>
                    <a:pt x="1" y="5"/>
                    <a:pt x="1" y="5"/>
                    <a:pt x="1" y="5"/>
                  </a:cubicBezTo>
                  <a:moveTo>
                    <a:pt x="1" y="5"/>
                  </a:moveTo>
                  <a:cubicBezTo>
                    <a:pt x="1" y="5"/>
                    <a:pt x="1" y="5"/>
                    <a:pt x="1" y="5"/>
                  </a:cubicBezTo>
                  <a:cubicBezTo>
                    <a:pt x="1" y="5"/>
                    <a:pt x="1" y="5"/>
                    <a:pt x="1" y="5"/>
                  </a:cubicBezTo>
                  <a:moveTo>
                    <a:pt x="1" y="5"/>
                  </a:moveTo>
                  <a:cubicBezTo>
                    <a:pt x="1" y="5"/>
                    <a:pt x="1" y="5"/>
                    <a:pt x="1" y="5"/>
                  </a:cubicBezTo>
                  <a:cubicBezTo>
                    <a:pt x="1" y="5"/>
                    <a:pt x="1" y="5"/>
                    <a:pt x="1" y="5"/>
                  </a:cubicBezTo>
                  <a:moveTo>
                    <a:pt x="1" y="5"/>
                  </a:moveTo>
                  <a:cubicBezTo>
                    <a:pt x="1" y="5"/>
                    <a:pt x="1" y="5"/>
                    <a:pt x="1" y="5"/>
                  </a:cubicBezTo>
                  <a:cubicBezTo>
                    <a:pt x="1" y="5"/>
                    <a:pt x="1" y="5"/>
                    <a:pt x="1" y="5"/>
                  </a:cubicBezTo>
                  <a:moveTo>
                    <a:pt x="1" y="4"/>
                  </a:moveTo>
                  <a:cubicBezTo>
                    <a:pt x="1" y="4"/>
                    <a:pt x="1" y="5"/>
                    <a:pt x="1" y="5"/>
                  </a:cubicBezTo>
                  <a:cubicBezTo>
                    <a:pt x="1" y="5"/>
                    <a:pt x="1" y="4"/>
                    <a:pt x="1" y="4"/>
                  </a:cubicBezTo>
                  <a:moveTo>
                    <a:pt x="1" y="4"/>
                  </a:moveTo>
                  <a:cubicBezTo>
                    <a:pt x="1" y="4"/>
                    <a:pt x="1" y="4"/>
                    <a:pt x="1" y="4"/>
                  </a:cubicBezTo>
                  <a:cubicBezTo>
                    <a:pt x="1" y="4"/>
                    <a:pt x="1" y="4"/>
                    <a:pt x="1" y="4"/>
                  </a:cubicBezTo>
                  <a:moveTo>
                    <a:pt x="1" y="4"/>
                  </a:moveTo>
                  <a:cubicBezTo>
                    <a:pt x="1" y="4"/>
                    <a:pt x="1" y="4"/>
                    <a:pt x="1" y="4"/>
                  </a:cubicBezTo>
                  <a:cubicBezTo>
                    <a:pt x="1" y="4"/>
                    <a:pt x="1" y="4"/>
                    <a:pt x="1" y="4"/>
                  </a:cubicBezTo>
                  <a:moveTo>
                    <a:pt x="2" y="4"/>
                  </a:moveTo>
                  <a:cubicBezTo>
                    <a:pt x="1" y="4"/>
                    <a:pt x="1" y="4"/>
                    <a:pt x="1" y="4"/>
                  </a:cubicBezTo>
                  <a:cubicBezTo>
                    <a:pt x="1" y="4"/>
                    <a:pt x="1" y="4"/>
                    <a:pt x="2" y="4"/>
                  </a:cubicBezTo>
                  <a:moveTo>
                    <a:pt x="2" y="4"/>
                  </a:moveTo>
                  <a:cubicBezTo>
                    <a:pt x="2" y="4"/>
                    <a:pt x="2" y="4"/>
                    <a:pt x="2" y="4"/>
                  </a:cubicBezTo>
                  <a:cubicBezTo>
                    <a:pt x="2" y="4"/>
                    <a:pt x="2" y="4"/>
                    <a:pt x="2" y="4"/>
                  </a:cubicBezTo>
                  <a:moveTo>
                    <a:pt x="2" y="3"/>
                  </a:moveTo>
                  <a:cubicBezTo>
                    <a:pt x="2" y="4"/>
                    <a:pt x="2" y="4"/>
                    <a:pt x="2" y="4"/>
                  </a:cubicBezTo>
                  <a:cubicBezTo>
                    <a:pt x="2" y="4"/>
                    <a:pt x="2" y="4"/>
                    <a:pt x="2" y="3"/>
                  </a:cubicBezTo>
                  <a:moveTo>
                    <a:pt x="2" y="3"/>
                  </a:moveTo>
                  <a:cubicBezTo>
                    <a:pt x="2" y="3"/>
                    <a:pt x="2" y="3"/>
                    <a:pt x="2" y="3"/>
                  </a:cubicBezTo>
                  <a:cubicBezTo>
                    <a:pt x="2" y="3"/>
                    <a:pt x="2" y="3"/>
                    <a:pt x="2" y="3"/>
                  </a:cubicBezTo>
                  <a:moveTo>
                    <a:pt x="2" y="3"/>
                  </a:moveTo>
                  <a:cubicBezTo>
                    <a:pt x="2" y="3"/>
                    <a:pt x="2" y="3"/>
                    <a:pt x="2" y="3"/>
                  </a:cubicBezTo>
                  <a:cubicBezTo>
                    <a:pt x="2" y="3"/>
                    <a:pt x="2" y="3"/>
                    <a:pt x="2" y="3"/>
                  </a:cubicBezTo>
                  <a:moveTo>
                    <a:pt x="2" y="3"/>
                  </a:moveTo>
                  <a:cubicBezTo>
                    <a:pt x="2" y="3"/>
                    <a:pt x="2" y="3"/>
                    <a:pt x="2" y="3"/>
                  </a:cubicBezTo>
                  <a:cubicBezTo>
                    <a:pt x="2" y="3"/>
                    <a:pt x="2" y="3"/>
                    <a:pt x="2" y="3"/>
                  </a:cubicBezTo>
                  <a:moveTo>
                    <a:pt x="2" y="3"/>
                  </a:moveTo>
                  <a:cubicBezTo>
                    <a:pt x="2" y="3"/>
                    <a:pt x="2" y="3"/>
                    <a:pt x="2" y="3"/>
                  </a:cubicBezTo>
                  <a:cubicBezTo>
                    <a:pt x="2" y="3"/>
                    <a:pt x="2" y="3"/>
                    <a:pt x="2" y="3"/>
                  </a:cubicBezTo>
                  <a:moveTo>
                    <a:pt x="2" y="3"/>
                  </a:moveTo>
                  <a:cubicBezTo>
                    <a:pt x="2" y="3"/>
                    <a:pt x="2" y="3"/>
                    <a:pt x="2" y="3"/>
                  </a:cubicBezTo>
                  <a:cubicBezTo>
                    <a:pt x="2" y="3"/>
                    <a:pt x="2" y="3"/>
                    <a:pt x="2" y="3"/>
                  </a:cubicBezTo>
                  <a:moveTo>
                    <a:pt x="2" y="2"/>
                  </a:moveTo>
                  <a:cubicBezTo>
                    <a:pt x="2" y="2"/>
                    <a:pt x="2" y="2"/>
                    <a:pt x="2" y="2"/>
                  </a:cubicBezTo>
                  <a:cubicBezTo>
                    <a:pt x="2" y="2"/>
                    <a:pt x="2" y="2"/>
                    <a:pt x="2" y="2"/>
                  </a:cubicBezTo>
                  <a:moveTo>
                    <a:pt x="2" y="2"/>
                  </a:moveTo>
                  <a:cubicBezTo>
                    <a:pt x="2" y="2"/>
                    <a:pt x="2" y="2"/>
                    <a:pt x="2" y="2"/>
                  </a:cubicBezTo>
                  <a:cubicBezTo>
                    <a:pt x="2" y="2"/>
                    <a:pt x="2" y="2"/>
                    <a:pt x="2" y="2"/>
                  </a:cubicBezTo>
                  <a:moveTo>
                    <a:pt x="2" y="2"/>
                  </a:moveTo>
                  <a:cubicBezTo>
                    <a:pt x="2" y="2"/>
                    <a:pt x="2" y="2"/>
                    <a:pt x="2" y="2"/>
                  </a:cubicBezTo>
                  <a:cubicBezTo>
                    <a:pt x="2" y="2"/>
                    <a:pt x="2" y="2"/>
                    <a:pt x="2" y="2"/>
                  </a:cubicBezTo>
                  <a:moveTo>
                    <a:pt x="2" y="1"/>
                  </a:moveTo>
                  <a:cubicBezTo>
                    <a:pt x="2" y="1"/>
                    <a:pt x="2" y="1"/>
                    <a:pt x="2" y="1"/>
                  </a:cubicBezTo>
                  <a:cubicBezTo>
                    <a:pt x="2" y="1"/>
                    <a:pt x="2" y="1"/>
                    <a:pt x="2" y="1"/>
                  </a:cubicBezTo>
                  <a:moveTo>
                    <a:pt x="2" y="1"/>
                  </a:moveTo>
                  <a:cubicBezTo>
                    <a:pt x="2" y="1"/>
                    <a:pt x="2" y="1"/>
                    <a:pt x="2" y="1"/>
                  </a:cubicBezTo>
                  <a:cubicBezTo>
                    <a:pt x="2" y="1"/>
                    <a:pt x="2" y="1"/>
                    <a:pt x="2" y="1"/>
                  </a:cubicBezTo>
                  <a:moveTo>
                    <a:pt x="2" y="1"/>
                  </a:moveTo>
                  <a:cubicBezTo>
                    <a:pt x="2" y="1"/>
                    <a:pt x="2" y="1"/>
                    <a:pt x="2" y="1"/>
                  </a:cubicBezTo>
                  <a:cubicBezTo>
                    <a:pt x="2" y="1"/>
                    <a:pt x="2" y="1"/>
                    <a:pt x="2" y="1"/>
                  </a:cubicBezTo>
                  <a:moveTo>
                    <a:pt x="2" y="1"/>
                  </a:moveTo>
                  <a:cubicBezTo>
                    <a:pt x="2" y="1"/>
                    <a:pt x="2" y="1"/>
                    <a:pt x="2" y="1"/>
                  </a:cubicBezTo>
                  <a:cubicBezTo>
                    <a:pt x="2" y="1"/>
                    <a:pt x="2" y="1"/>
                    <a:pt x="2" y="1"/>
                  </a:cubicBezTo>
                  <a:moveTo>
                    <a:pt x="2" y="1"/>
                  </a:moveTo>
                  <a:cubicBezTo>
                    <a:pt x="2" y="1"/>
                    <a:pt x="2" y="1"/>
                    <a:pt x="2" y="1"/>
                  </a:cubicBezTo>
                  <a:cubicBezTo>
                    <a:pt x="2" y="1"/>
                    <a:pt x="2" y="1"/>
                    <a:pt x="2" y="1"/>
                  </a:cubicBezTo>
                  <a:moveTo>
                    <a:pt x="2" y="0"/>
                  </a:moveTo>
                  <a:cubicBezTo>
                    <a:pt x="2" y="0"/>
                    <a:pt x="2" y="0"/>
                    <a:pt x="2" y="1"/>
                  </a:cubicBezTo>
                  <a:cubicBezTo>
                    <a:pt x="2" y="0"/>
                    <a:pt x="2" y="0"/>
                    <a:pt x="2" y="0"/>
                  </a:cubicBezTo>
                  <a:moveTo>
                    <a:pt x="2" y="0"/>
                  </a:moveTo>
                  <a:cubicBezTo>
                    <a:pt x="2" y="0"/>
                    <a:pt x="2" y="0"/>
                    <a:pt x="2" y="0"/>
                  </a:cubicBezTo>
                  <a:cubicBezTo>
                    <a:pt x="2" y="0"/>
                    <a:pt x="2" y="0"/>
                    <a:pt x="2" y="0"/>
                  </a:cubicBezTo>
                  <a:moveTo>
                    <a:pt x="3" y="0"/>
                  </a:moveTo>
                  <a:cubicBezTo>
                    <a:pt x="3" y="0"/>
                    <a:pt x="3" y="0"/>
                    <a:pt x="3" y="0"/>
                  </a:cubicBezTo>
                  <a:cubicBezTo>
                    <a:pt x="3" y="0"/>
                    <a:pt x="3" y="0"/>
                    <a:pt x="3" y="0"/>
                  </a:cubicBezTo>
                  <a:moveTo>
                    <a:pt x="3" y="0"/>
                  </a:moveTo>
                  <a:cubicBezTo>
                    <a:pt x="3" y="0"/>
                    <a:pt x="3" y="0"/>
                    <a:pt x="3" y="0"/>
                  </a:cubicBezTo>
                  <a:cubicBezTo>
                    <a:pt x="3" y="0"/>
                    <a:pt x="3" y="0"/>
                    <a:pt x="3" y="0"/>
                  </a:cubicBezTo>
                  <a:moveTo>
                    <a:pt x="3" y="0"/>
                  </a:moveTo>
                  <a:cubicBezTo>
                    <a:pt x="3" y="0"/>
                    <a:pt x="3" y="0"/>
                    <a:pt x="3" y="0"/>
                  </a:cubicBezTo>
                  <a:cubicBezTo>
                    <a:pt x="3" y="0"/>
                    <a:pt x="3" y="0"/>
                    <a:pt x="3" y="0"/>
                  </a:cubicBezTo>
                </a:path>
              </a:pathLst>
            </a:custGeom>
            <a:solidFill>
              <a:srgbClr val="1E52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42" name="Freeform 3043">
              <a:extLst>
                <a:ext uri="{FF2B5EF4-FFF2-40B4-BE49-F238E27FC236}">
                  <a16:creationId xmlns:a16="http://schemas.microsoft.com/office/drawing/2014/main" id="{712E03F9-9190-9B7B-8A6B-D0D56B0CA4AA}"/>
                </a:ext>
              </a:extLst>
            </p:cNvPr>
            <p:cNvSpPr>
              <a:spLocks/>
            </p:cNvSpPr>
            <p:nvPr/>
          </p:nvSpPr>
          <p:spPr bwMode="auto">
            <a:xfrm>
              <a:off x="4878388" y="3540125"/>
              <a:ext cx="60325" cy="98425"/>
            </a:xfrm>
            <a:custGeom>
              <a:avLst/>
              <a:gdLst>
                <a:gd name="T0" fmla="*/ 6 w 76"/>
                <a:gd name="T1" fmla="*/ 44 h 121"/>
                <a:gd name="T2" fmla="*/ 5 w 76"/>
                <a:gd name="T3" fmla="*/ 44 h 121"/>
                <a:gd name="T4" fmla="*/ 5 w 76"/>
                <a:gd name="T5" fmla="*/ 45 h 121"/>
                <a:gd name="T6" fmla="*/ 5 w 76"/>
                <a:gd name="T7" fmla="*/ 45 h 121"/>
                <a:gd name="T8" fmla="*/ 5 w 76"/>
                <a:gd name="T9" fmla="*/ 45 h 121"/>
                <a:gd name="T10" fmla="*/ 5 w 76"/>
                <a:gd name="T11" fmla="*/ 46 h 121"/>
                <a:gd name="T12" fmla="*/ 5 w 76"/>
                <a:gd name="T13" fmla="*/ 47 h 121"/>
                <a:gd name="T14" fmla="*/ 5 w 76"/>
                <a:gd name="T15" fmla="*/ 47 h 121"/>
                <a:gd name="T16" fmla="*/ 5 w 76"/>
                <a:gd name="T17" fmla="*/ 47 h 121"/>
                <a:gd name="T18" fmla="*/ 5 w 76"/>
                <a:gd name="T19" fmla="*/ 48 h 121"/>
                <a:gd name="T20" fmla="*/ 4 w 76"/>
                <a:gd name="T21" fmla="*/ 48 h 121"/>
                <a:gd name="T22" fmla="*/ 4 w 76"/>
                <a:gd name="T23" fmla="*/ 48 h 121"/>
                <a:gd name="T24" fmla="*/ 4 w 76"/>
                <a:gd name="T25" fmla="*/ 49 h 121"/>
                <a:gd name="T26" fmla="*/ 4 w 76"/>
                <a:gd name="T27" fmla="*/ 49 h 121"/>
                <a:gd name="T28" fmla="*/ 4 w 76"/>
                <a:gd name="T29" fmla="*/ 50 h 121"/>
                <a:gd name="T30" fmla="*/ 4 w 76"/>
                <a:gd name="T31" fmla="*/ 50 h 121"/>
                <a:gd name="T32" fmla="*/ 4 w 76"/>
                <a:gd name="T33" fmla="*/ 50 h 121"/>
                <a:gd name="T34" fmla="*/ 4 w 76"/>
                <a:gd name="T35" fmla="*/ 51 h 121"/>
                <a:gd name="T36" fmla="*/ 4 w 76"/>
                <a:gd name="T37" fmla="*/ 51 h 121"/>
                <a:gd name="T38" fmla="*/ 4 w 76"/>
                <a:gd name="T39" fmla="*/ 52 h 121"/>
                <a:gd name="T40" fmla="*/ 4 w 76"/>
                <a:gd name="T41" fmla="*/ 53 h 121"/>
                <a:gd name="T42" fmla="*/ 3 w 76"/>
                <a:gd name="T43" fmla="*/ 53 h 121"/>
                <a:gd name="T44" fmla="*/ 3 w 76"/>
                <a:gd name="T45" fmla="*/ 53 h 121"/>
                <a:gd name="T46" fmla="*/ 3 w 76"/>
                <a:gd name="T47" fmla="*/ 54 h 121"/>
                <a:gd name="T48" fmla="*/ 3 w 76"/>
                <a:gd name="T49" fmla="*/ 54 h 121"/>
                <a:gd name="T50" fmla="*/ 3 w 76"/>
                <a:gd name="T51" fmla="*/ 55 h 121"/>
                <a:gd name="T52" fmla="*/ 3 w 76"/>
                <a:gd name="T53" fmla="*/ 55 h 121"/>
                <a:gd name="T54" fmla="*/ 3 w 76"/>
                <a:gd name="T55" fmla="*/ 56 h 121"/>
                <a:gd name="T56" fmla="*/ 3 w 76"/>
                <a:gd name="T57" fmla="*/ 56 h 121"/>
                <a:gd name="T58" fmla="*/ 3 w 76"/>
                <a:gd name="T59" fmla="*/ 57 h 121"/>
                <a:gd name="T60" fmla="*/ 3 w 76"/>
                <a:gd name="T61" fmla="*/ 57 h 121"/>
                <a:gd name="T62" fmla="*/ 3 w 76"/>
                <a:gd name="T63" fmla="*/ 58 h 121"/>
                <a:gd name="T64" fmla="*/ 3 w 76"/>
                <a:gd name="T65" fmla="*/ 58 h 121"/>
                <a:gd name="T66" fmla="*/ 3 w 76"/>
                <a:gd name="T67" fmla="*/ 58 h 121"/>
                <a:gd name="T68" fmla="*/ 3 w 76"/>
                <a:gd name="T69" fmla="*/ 59 h 121"/>
                <a:gd name="T70" fmla="*/ 3 w 76"/>
                <a:gd name="T71" fmla="*/ 59 h 121"/>
                <a:gd name="T72" fmla="*/ 3 w 76"/>
                <a:gd name="T73" fmla="*/ 60 h 121"/>
                <a:gd name="T74" fmla="*/ 3 w 76"/>
                <a:gd name="T75" fmla="*/ 60 h 121"/>
                <a:gd name="T76" fmla="*/ 3 w 76"/>
                <a:gd name="T77" fmla="*/ 60 h 121"/>
                <a:gd name="T78" fmla="*/ 3 w 76"/>
                <a:gd name="T79" fmla="*/ 61 h 121"/>
                <a:gd name="T80" fmla="*/ 3 w 76"/>
                <a:gd name="T81" fmla="*/ 61 h 121"/>
                <a:gd name="T82" fmla="*/ 3 w 76"/>
                <a:gd name="T83" fmla="*/ 62 h 121"/>
                <a:gd name="T84" fmla="*/ 3 w 76"/>
                <a:gd name="T85" fmla="*/ 62 h 121"/>
                <a:gd name="T86" fmla="*/ 3 w 76"/>
                <a:gd name="T87" fmla="*/ 62 h 121"/>
                <a:gd name="T88" fmla="*/ 3 w 76"/>
                <a:gd name="T89" fmla="*/ 63 h 121"/>
                <a:gd name="T90" fmla="*/ 3 w 76"/>
                <a:gd name="T91" fmla="*/ 63 h 121"/>
                <a:gd name="T92" fmla="*/ 3 w 76"/>
                <a:gd name="T93" fmla="*/ 64 h 121"/>
                <a:gd name="T94" fmla="*/ 3 w 76"/>
                <a:gd name="T95" fmla="*/ 65 h 121"/>
                <a:gd name="T96" fmla="*/ 3 w 76"/>
                <a:gd name="T97" fmla="*/ 66 h 121"/>
                <a:gd name="T98" fmla="*/ 3 w 76"/>
                <a:gd name="T99" fmla="*/ 66 h 121"/>
                <a:gd name="T100" fmla="*/ 76 w 76"/>
                <a:gd name="T101" fmla="*/ 12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6" h="121">
                  <a:moveTo>
                    <a:pt x="59" y="0"/>
                  </a:moveTo>
                  <a:cubicBezTo>
                    <a:pt x="34" y="2"/>
                    <a:pt x="13" y="20"/>
                    <a:pt x="6" y="44"/>
                  </a:cubicBezTo>
                  <a:cubicBezTo>
                    <a:pt x="6" y="44"/>
                    <a:pt x="6" y="44"/>
                    <a:pt x="6" y="44"/>
                  </a:cubicBezTo>
                  <a:cubicBezTo>
                    <a:pt x="6" y="44"/>
                    <a:pt x="6" y="44"/>
                    <a:pt x="6" y="44"/>
                  </a:cubicBezTo>
                  <a:cubicBezTo>
                    <a:pt x="6" y="44"/>
                    <a:pt x="6" y="44"/>
                    <a:pt x="6" y="44"/>
                  </a:cubicBezTo>
                  <a:cubicBezTo>
                    <a:pt x="6" y="44"/>
                    <a:pt x="6" y="44"/>
                    <a:pt x="6" y="44"/>
                  </a:cubicBezTo>
                  <a:cubicBezTo>
                    <a:pt x="6" y="44"/>
                    <a:pt x="6" y="44"/>
                    <a:pt x="6" y="44"/>
                  </a:cubicBezTo>
                  <a:cubicBezTo>
                    <a:pt x="6" y="44"/>
                    <a:pt x="5" y="44"/>
                    <a:pt x="5" y="44"/>
                  </a:cubicBezTo>
                  <a:cubicBezTo>
                    <a:pt x="5" y="44"/>
                    <a:pt x="5" y="44"/>
                    <a:pt x="5" y="44"/>
                  </a:cubicBezTo>
                  <a:cubicBezTo>
                    <a:pt x="5" y="44"/>
                    <a:pt x="5" y="44"/>
                    <a:pt x="5" y="44"/>
                  </a:cubicBezTo>
                  <a:cubicBezTo>
                    <a:pt x="5" y="44"/>
                    <a:pt x="5" y="44"/>
                    <a:pt x="5" y="45"/>
                  </a:cubicBezTo>
                  <a:cubicBezTo>
                    <a:pt x="5" y="45"/>
                    <a:pt x="5" y="45"/>
                    <a:pt x="5" y="45"/>
                  </a:cubicBezTo>
                  <a:cubicBezTo>
                    <a:pt x="5" y="45"/>
                    <a:pt x="5" y="45"/>
                    <a:pt x="5" y="45"/>
                  </a:cubicBezTo>
                  <a:cubicBezTo>
                    <a:pt x="5" y="45"/>
                    <a:pt x="5" y="45"/>
                    <a:pt x="5" y="45"/>
                  </a:cubicBezTo>
                  <a:cubicBezTo>
                    <a:pt x="5" y="45"/>
                    <a:pt x="5" y="45"/>
                    <a:pt x="5" y="45"/>
                  </a:cubicBezTo>
                  <a:cubicBezTo>
                    <a:pt x="5" y="45"/>
                    <a:pt x="5" y="45"/>
                    <a:pt x="5" y="45"/>
                  </a:cubicBezTo>
                  <a:cubicBezTo>
                    <a:pt x="5" y="45"/>
                    <a:pt x="5" y="45"/>
                    <a:pt x="5" y="45"/>
                  </a:cubicBezTo>
                  <a:cubicBezTo>
                    <a:pt x="5" y="45"/>
                    <a:pt x="5" y="45"/>
                    <a:pt x="5" y="45"/>
                  </a:cubicBezTo>
                  <a:cubicBezTo>
                    <a:pt x="5" y="45"/>
                    <a:pt x="5" y="45"/>
                    <a:pt x="5" y="45"/>
                  </a:cubicBezTo>
                  <a:cubicBezTo>
                    <a:pt x="5" y="45"/>
                    <a:pt x="5" y="45"/>
                    <a:pt x="5" y="45"/>
                  </a:cubicBezTo>
                  <a:cubicBezTo>
                    <a:pt x="5" y="45"/>
                    <a:pt x="5" y="45"/>
                    <a:pt x="5" y="45"/>
                  </a:cubicBezTo>
                  <a:cubicBezTo>
                    <a:pt x="5" y="45"/>
                    <a:pt x="5" y="45"/>
                    <a:pt x="5" y="46"/>
                  </a:cubicBezTo>
                  <a:cubicBezTo>
                    <a:pt x="5" y="46"/>
                    <a:pt x="5" y="46"/>
                    <a:pt x="5" y="46"/>
                  </a:cubicBezTo>
                  <a:cubicBezTo>
                    <a:pt x="5" y="46"/>
                    <a:pt x="5" y="46"/>
                    <a:pt x="5" y="46"/>
                  </a:cubicBezTo>
                  <a:cubicBezTo>
                    <a:pt x="5" y="46"/>
                    <a:pt x="5" y="46"/>
                    <a:pt x="5" y="46"/>
                  </a:cubicBezTo>
                  <a:cubicBezTo>
                    <a:pt x="5" y="46"/>
                    <a:pt x="5" y="46"/>
                    <a:pt x="5" y="46"/>
                  </a:cubicBezTo>
                  <a:cubicBezTo>
                    <a:pt x="5" y="46"/>
                    <a:pt x="5" y="46"/>
                    <a:pt x="5" y="46"/>
                  </a:cubicBezTo>
                  <a:cubicBezTo>
                    <a:pt x="5" y="46"/>
                    <a:pt x="5" y="47"/>
                    <a:pt x="5" y="47"/>
                  </a:cubicBezTo>
                  <a:cubicBezTo>
                    <a:pt x="5" y="47"/>
                    <a:pt x="5" y="47"/>
                    <a:pt x="5" y="47"/>
                  </a:cubicBezTo>
                  <a:cubicBezTo>
                    <a:pt x="5" y="47"/>
                    <a:pt x="5" y="47"/>
                    <a:pt x="5" y="47"/>
                  </a:cubicBezTo>
                  <a:cubicBezTo>
                    <a:pt x="5" y="47"/>
                    <a:pt x="5" y="47"/>
                    <a:pt x="5" y="47"/>
                  </a:cubicBezTo>
                  <a:cubicBezTo>
                    <a:pt x="5" y="47"/>
                    <a:pt x="5" y="47"/>
                    <a:pt x="5" y="47"/>
                  </a:cubicBezTo>
                  <a:cubicBezTo>
                    <a:pt x="5" y="47"/>
                    <a:pt x="5" y="47"/>
                    <a:pt x="5" y="47"/>
                  </a:cubicBezTo>
                  <a:cubicBezTo>
                    <a:pt x="5" y="47"/>
                    <a:pt x="5" y="47"/>
                    <a:pt x="5" y="47"/>
                  </a:cubicBezTo>
                  <a:cubicBezTo>
                    <a:pt x="5" y="47"/>
                    <a:pt x="5" y="47"/>
                    <a:pt x="5" y="47"/>
                  </a:cubicBezTo>
                  <a:cubicBezTo>
                    <a:pt x="5" y="47"/>
                    <a:pt x="5" y="47"/>
                    <a:pt x="5" y="47"/>
                  </a:cubicBezTo>
                  <a:cubicBezTo>
                    <a:pt x="5" y="47"/>
                    <a:pt x="5" y="47"/>
                    <a:pt x="5" y="47"/>
                  </a:cubicBezTo>
                  <a:cubicBezTo>
                    <a:pt x="5" y="47"/>
                    <a:pt x="5" y="47"/>
                    <a:pt x="5" y="47"/>
                  </a:cubicBezTo>
                  <a:cubicBezTo>
                    <a:pt x="5" y="48"/>
                    <a:pt x="5" y="48"/>
                    <a:pt x="5" y="48"/>
                  </a:cubicBezTo>
                  <a:cubicBezTo>
                    <a:pt x="5" y="48"/>
                    <a:pt x="5" y="48"/>
                    <a:pt x="5" y="48"/>
                  </a:cubicBezTo>
                  <a:cubicBezTo>
                    <a:pt x="5" y="48"/>
                    <a:pt x="5" y="48"/>
                    <a:pt x="5" y="48"/>
                  </a:cubicBezTo>
                  <a:cubicBezTo>
                    <a:pt x="5" y="48"/>
                    <a:pt x="5" y="48"/>
                    <a:pt x="5" y="48"/>
                  </a:cubicBezTo>
                  <a:cubicBezTo>
                    <a:pt x="4" y="48"/>
                    <a:pt x="4" y="48"/>
                    <a:pt x="4" y="48"/>
                  </a:cubicBezTo>
                  <a:cubicBezTo>
                    <a:pt x="4" y="48"/>
                    <a:pt x="4" y="48"/>
                    <a:pt x="4" y="48"/>
                  </a:cubicBezTo>
                  <a:cubicBezTo>
                    <a:pt x="4" y="48"/>
                    <a:pt x="4" y="48"/>
                    <a:pt x="4" y="48"/>
                  </a:cubicBezTo>
                  <a:cubicBezTo>
                    <a:pt x="4" y="48"/>
                    <a:pt x="4" y="48"/>
                    <a:pt x="4" y="48"/>
                  </a:cubicBezTo>
                  <a:cubicBezTo>
                    <a:pt x="4" y="48"/>
                    <a:pt x="4" y="48"/>
                    <a:pt x="4" y="48"/>
                  </a:cubicBezTo>
                  <a:cubicBezTo>
                    <a:pt x="4" y="48"/>
                    <a:pt x="4" y="48"/>
                    <a:pt x="4" y="48"/>
                  </a:cubicBezTo>
                  <a:cubicBezTo>
                    <a:pt x="4" y="48"/>
                    <a:pt x="4" y="49"/>
                    <a:pt x="4" y="49"/>
                  </a:cubicBezTo>
                  <a:cubicBezTo>
                    <a:pt x="4" y="49"/>
                    <a:pt x="4" y="49"/>
                    <a:pt x="4" y="49"/>
                  </a:cubicBezTo>
                  <a:cubicBezTo>
                    <a:pt x="4" y="49"/>
                    <a:pt x="4" y="49"/>
                    <a:pt x="4" y="49"/>
                  </a:cubicBezTo>
                  <a:cubicBezTo>
                    <a:pt x="4" y="49"/>
                    <a:pt x="4" y="49"/>
                    <a:pt x="4" y="49"/>
                  </a:cubicBezTo>
                  <a:cubicBezTo>
                    <a:pt x="4" y="49"/>
                    <a:pt x="4" y="49"/>
                    <a:pt x="4" y="49"/>
                  </a:cubicBezTo>
                  <a:cubicBezTo>
                    <a:pt x="4" y="49"/>
                    <a:pt x="4" y="49"/>
                    <a:pt x="4" y="49"/>
                  </a:cubicBezTo>
                  <a:cubicBezTo>
                    <a:pt x="4" y="49"/>
                    <a:pt x="4" y="49"/>
                    <a:pt x="4" y="49"/>
                  </a:cubicBezTo>
                  <a:cubicBezTo>
                    <a:pt x="4" y="49"/>
                    <a:pt x="4" y="49"/>
                    <a:pt x="4" y="49"/>
                  </a:cubicBezTo>
                  <a:cubicBezTo>
                    <a:pt x="4" y="49"/>
                    <a:pt x="4" y="49"/>
                    <a:pt x="4" y="49"/>
                  </a:cubicBezTo>
                  <a:cubicBezTo>
                    <a:pt x="4" y="49"/>
                    <a:pt x="4" y="49"/>
                    <a:pt x="4" y="49"/>
                  </a:cubicBezTo>
                  <a:cubicBezTo>
                    <a:pt x="4" y="49"/>
                    <a:pt x="4" y="49"/>
                    <a:pt x="4" y="50"/>
                  </a:cubicBezTo>
                  <a:cubicBezTo>
                    <a:pt x="4" y="50"/>
                    <a:pt x="4" y="50"/>
                    <a:pt x="4" y="50"/>
                  </a:cubicBezTo>
                  <a:cubicBezTo>
                    <a:pt x="4" y="50"/>
                    <a:pt x="4" y="50"/>
                    <a:pt x="4" y="50"/>
                  </a:cubicBezTo>
                  <a:cubicBezTo>
                    <a:pt x="4" y="50"/>
                    <a:pt x="4" y="50"/>
                    <a:pt x="4" y="50"/>
                  </a:cubicBezTo>
                  <a:cubicBezTo>
                    <a:pt x="4" y="50"/>
                    <a:pt x="4" y="50"/>
                    <a:pt x="4" y="50"/>
                  </a:cubicBezTo>
                  <a:cubicBezTo>
                    <a:pt x="4" y="50"/>
                    <a:pt x="4" y="50"/>
                    <a:pt x="4" y="50"/>
                  </a:cubicBezTo>
                  <a:cubicBezTo>
                    <a:pt x="4" y="50"/>
                    <a:pt x="4" y="50"/>
                    <a:pt x="4" y="50"/>
                  </a:cubicBezTo>
                  <a:cubicBezTo>
                    <a:pt x="4" y="50"/>
                    <a:pt x="4" y="50"/>
                    <a:pt x="4" y="50"/>
                  </a:cubicBezTo>
                  <a:cubicBezTo>
                    <a:pt x="4" y="50"/>
                    <a:pt x="4" y="50"/>
                    <a:pt x="4" y="50"/>
                  </a:cubicBezTo>
                  <a:cubicBezTo>
                    <a:pt x="4" y="50"/>
                    <a:pt x="4" y="50"/>
                    <a:pt x="4" y="50"/>
                  </a:cubicBezTo>
                  <a:cubicBezTo>
                    <a:pt x="4" y="50"/>
                    <a:pt x="4" y="50"/>
                    <a:pt x="4" y="50"/>
                  </a:cubicBezTo>
                  <a:cubicBezTo>
                    <a:pt x="4" y="51"/>
                    <a:pt x="4" y="51"/>
                    <a:pt x="4" y="51"/>
                  </a:cubicBezTo>
                  <a:cubicBezTo>
                    <a:pt x="4" y="51"/>
                    <a:pt x="4" y="51"/>
                    <a:pt x="4" y="51"/>
                  </a:cubicBezTo>
                  <a:cubicBezTo>
                    <a:pt x="4" y="51"/>
                    <a:pt x="4" y="51"/>
                    <a:pt x="4" y="51"/>
                  </a:cubicBezTo>
                  <a:cubicBezTo>
                    <a:pt x="4" y="51"/>
                    <a:pt x="4" y="51"/>
                    <a:pt x="4" y="51"/>
                  </a:cubicBezTo>
                  <a:cubicBezTo>
                    <a:pt x="4" y="51"/>
                    <a:pt x="4" y="51"/>
                    <a:pt x="4" y="51"/>
                  </a:cubicBezTo>
                  <a:cubicBezTo>
                    <a:pt x="4" y="51"/>
                    <a:pt x="4" y="51"/>
                    <a:pt x="4" y="51"/>
                  </a:cubicBezTo>
                  <a:cubicBezTo>
                    <a:pt x="4" y="51"/>
                    <a:pt x="4" y="51"/>
                    <a:pt x="4" y="51"/>
                  </a:cubicBezTo>
                  <a:cubicBezTo>
                    <a:pt x="4" y="51"/>
                    <a:pt x="4" y="52"/>
                    <a:pt x="4" y="52"/>
                  </a:cubicBezTo>
                  <a:cubicBezTo>
                    <a:pt x="4" y="52"/>
                    <a:pt x="4" y="52"/>
                    <a:pt x="4" y="52"/>
                  </a:cubicBezTo>
                  <a:cubicBezTo>
                    <a:pt x="4" y="52"/>
                    <a:pt x="4" y="52"/>
                    <a:pt x="4" y="52"/>
                  </a:cubicBezTo>
                  <a:cubicBezTo>
                    <a:pt x="4" y="52"/>
                    <a:pt x="4" y="52"/>
                    <a:pt x="4" y="52"/>
                  </a:cubicBezTo>
                  <a:cubicBezTo>
                    <a:pt x="4" y="52"/>
                    <a:pt x="4" y="52"/>
                    <a:pt x="4" y="52"/>
                  </a:cubicBezTo>
                  <a:cubicBezTo>
                    <a:pt x="4" y="52"/>
                    <a:pt x="4" y="52"/>
                    <a:pt x="4" y="52"/>
                  </a:cubicBezTo>
                  <a:cubicBezTo>
                    <a:pt x="4" y="52"/>
                    <a:pt x="4" y="52"/>
                    <a:pt x="4" y="52"/>
                  </a:cubicBezTo>
                  <a:cubicBezTo>
                    <a:pt x="4" y="52"/>
                    <a:pt x="4" y="53"/>
                    <a:pt x="4" y="53"/>
                  </a:cubicBezTo>
                  <a:cubicBezTo>
                    <a:pt x="4" y="53"/>
                    <a:pt x="4" y="53"/>
                    <a:pt x="4" y="53"/>
                  </a:cubicBezTo>
                  <a:cubicBezTo>
                    <a:pt x="4" y="53"/>
                    <a:pt x="4" y="53"/>
                    <a:pt x="4" y="53"/>
                  </a:cubicBezTo>
                  <a:cubicBezTo>
                    <a:pt x="4" y="53"/>
                    <a:pt x="4" y="53"/>
                    <a:pt x="3" y="53"/>
                  </a:cubicBezTo>
                  <a:cubicBezTo>
                    <a:pt x="3" y="53"/>
                    <a:pt x="3" y="53"/>
                    <a:pt x="3" y="53"/>
                  </a:cubicBezTo>
                  <a:cubicBezTo>
                    <a:pt x="3" y="53"/>
                    <a:pt x="3" y="53"/>
                    <a:pt x="3" y="53"/>
                  </a:cubicBezTo>
                  <a:cubicBezTo>
                    <a:pt x="3" y="53"/>
                    <a:pt x="3" y="53"/>
                    <a:pt x="3" y="53"/>
                  </a:cubicBezTo>
                  <a:cubicBezTo>
                    <a:pt x="3" y="53"/>
                    <a:pt x="3" y="53"/>
                    <a:pt x="3" y="53"/>
                  </a:cubicBezTo>
                  <a:cubicBezTo>
                    <a:pt x="3" y="53"/>
                    <a:pt x="3" y="53"/>
                    <a:pt x="3" y="53"/>
                  </a:cubicBezTo>
                  <a:cubicBezTo>
                    <a:pt x="3" y="53"/>
                    <a:pt x="3" y="53"/>
                    <a:pt x="3" y="53"/>
                  </a:cubicBezTo>
                  <a:cubicBezTo>
                    <a:pt x="3" y="53"/>
                    <a:pt x="3" y="53"/>
                    <a:pt x="3" y="54"/>
                  </a:cubicBezTo>
                  <a:cubicBezTo>
                    <a:pt x="3" y="54"/>
                    <a:pt x="3" y="54"/>
                    <a:pt x="3" y="54"/>
                  </a:cubicBezTo>
                  <a:cubicBezTo>
                    <a:pt x="3" y="54"/>
                    <a:pt x="3" y="54"/>
                    <a:pt x="3" y="54"/>
                  </a:cubicBezTo>
                  <a:cubicBezTo>
                    <a:pt x="3" y="54"/>
                    <a:pt x="3" y="54"/>
                    <a:pt x="3" y="54"/>
                  </a:cubicBezTo>
                  <a:cubicBezTo>
                    <a:pt x="3" y="54"/>
                    <a:pt x="3" y="54"/>
                    <a:pt x="3" y="54"/>
                  </a:cubicBezTo>
                  <a:cubicBezTo>
                    <a:pt x="3" y="54"/>
                    <a:pt x="3" y="54"/>
                    <a:pt x="3" y="54"/>
                  </a:cubicBezTo>
                  <a:cubicBezTo>
                    <a:pt x="3" y="54"/>
                    <a:pt x="3" y="54"/>
                    <a:pt x="3" y="54"/>
                  </a:cubicBezTo>
                  <a:cubicBezTo>
                    <a:pt x="3" y="54"/>
                    <a:pt x="3" y="54"/>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5"/>
                    <a:pt x="3" y="55"/>
                  </a:cubicBezTo>
                  <a:cubicBezTo>
                    <a:pt x="3" y="55"/>
                    <a:pt x="3" y="56"/>
                    <a:pt x="3" y="56"/>
                  </a:cubicBezTo>
                  <a:cubicBezTo>
                    <a:pt x="3" y="56"/>
                    <a:pt x="3" y="56"/>
                    <a:pt x="3" y="56"/>
                  </a:cubicBezTo>
                  <a:cubicBezTo>
                    <a:pt x="3" y="56"/>
                    <a:pt x="3" y="56"/>
                    <a:pt x="3" y="56"/>
                  </a:cubicBezTo>
                  <a:cubicBezTo>
                    <a:pt x="3" y="56"/>
                    <a:pt x="3" y="56"/>
                    <a:pt x="3" y="56"/>
                  </a:cubicBezTo>
                  <a:cubicBezTo>
                    <a:pt x="3" y="56"/>
                    <a:pt x="3" y="56"/>
                    <a:pt x="3" y="56"/>
                  </a:cubicBezTo>
                  <a:cubicBezTo>
                    <a:pt x="3" y="56"/>
                    <a:pt x="3" y="56"/>
                    <a:pt x="3" y="56"/>
                  </a:cubicBezTo>
                  <a:cubicBezTo>
                    <a:pt x="3" y="56"/>
                    <a:pt x="3" y="56"/>
                    <a:pt x="3" y="56"/>
                  </a:cubicBezTo>
                  <a:cubicBezTo>
                    <a:pt x="3" y="56"/>
                    <a:pt x="3" y="56"/>
                    <a:pt x="3" y="56"/>
                  </a:cubicBezTo>
                  <a:cubicBezTo>
                    <a:pt x="3" y="56"/>
                    <a:pt x="3" y="56"/>
                    <a:pt x="3" y="56"/>
                  </a:cubicBezTo>
                  <a:cubicBezTo>
                    <a:pt x="3" y="56"/>
                    <a:pt x="3" y="56"/>
                    <a:pt x="3" y="56"/>
                  </a:cubicBezTo>
                  <a:cubicBezTo>
                    <a:pt x="3" y="56"/>
                    <a:pt x="3" y="56"/>
                    <a:pt x="3" y="57"/>
                  </a:cubicBezTo>
                  <a:cubicBezTo>
                    <a:pt x="3" y="57"/>
                    <a:pt x="3" y="57"/>
                    <a:pt x="3" y="57"/>
                  </a:cubicBezTo>
                  <a:cubicBezTo>
                    <a:pt x="3" y="57"/>
                    <a:pt x="3" y="57"/>
                    <a:pt x="3" y="57"/>
                  </a:cubicBezTo>
                  <a:cubicBezTo>
                    <a:pt x="3" y="57"/>
                    <a:pt x="3" y="57"/>
                    <a:pt x="3" y="57"/>
                  </a:cubicBezTo>
                  <a:cubicBezTo>
                    <a:pt x="3" y="57"/>
                    <a:pt x="3" y="57"/>
                    <a:pt x="3" y="57"/>
                  </a:cubicBezTo>
                  <a:cubicBezTo>
                    <a:pt x="3" y="57"/>
                    <a:pt x="3" y="57"/>
                    <a:pt x="3" y="57"/>
                  </a:cubicBezTo>
                  <a:cubicBezTo>
                    <a:pt x="3" y="57"/>
                    <a:pt x="3" y="57"/>
                    <a:pt x="3" y="57"/>
                  </a:cubicBezTo>
                  <a:cubicBezTo>
                    <a:pt x="3" y="57"/>
                    <a:pt x="3" y="57"/>
                    <a:pt x="3" y="57"/>
                  </a:cubicBezTo>
                  <a:cubicBezTo>
                    <a:pt x="3" y="58"/>
                    <a:pt x="3" y="58"/>
                    <a:pt x="3" y="58"/>
                  </a:cubicBezTo>
                  <a:cubicBezTo>
                    <a:pt x="3" y="58"/>
                    <a:pt x="3" y="58"/>
                    <a:pt x="3" y="58"/>
                  </a:cubicBezTo>
                  <a:cubicBezTo>
                    <a:pt x="3" y="58"/>
                    <a:pt x="3" y="58"/>
                    <a:pt x="3" y="58"/>
                  </a:cubicBezTo>
                  <a:cubicBezTo>
                    <a:pt x="3" y="58"/>
                    <a:pt x="3" y="58"/>
                    <a:pt x="3" y="58"/>
                  </a:cubicBezTo>
                  <a:cubicBezTo>
                    <a:pt x="3" y="58"/>
                    <a:pt x="3" y="58"/>
                    <a:pt x="3" y="58"/>
                  </a:cubicBezTo>
                  <a:cubicBezTo>
                    <a:pt x="3" y="58"/>
                    <a:pt x="3" y="58"/>
                    <a:pt x="3" y="58"/>
                  </a:cubicBezTo>
                  <a:cubicBezTo>
                    <a:pt x="3" y="58"/>
                    <a:pt x="3" y="58"/>
                    <a:pt x="3" y="58"/>
                  </a:cubicBezTo>
                  <a:cubicBezTo>
                    <a:pt x="3" y="58"/>
                    <a:pt x="3" y="58"/>
                    <a:pt x="3" y="58"/>
                  </a:cubicBezTo>
                  <a:cubicBezTo>
                    <a:pt x="3" y="58"/>
                    <a:pt x="3" y="58"/>
                    <a:pt x="3" y="58"/>
                  </a:cubicBezTo>
                  <a:cubicBezTo>
                    <a:pt x="3" y="58"/>
                    <a:pt x="3" y="58"/>
                    <a:pt x="3" y="58"/>
                  </a:cubicBezTo>
                  <a:cubicBezTo>
                    <a:pt x="3" y="59"/>
                    <a:pt x="3" y="59"/>
                    <a:pt x="3" y="59"/>
                  </a:cubicBezTo>
                  <a:cubicBezTo>
                    <a:pt x="3" y="59"/>
                    <a:pt x="3" y="59"/>
                    <a:pt x="3" y="59"/>
                  </a:cubicBezTo>
                  <a:cubicBezTo>
                    <a:pt x="3" y="59"/>
                    <a:pt x="3" y="59"/>
                    <a:pt x="3" y="59"/>
                  </a:cubicBezTo>
                  <a:cubicBezTo>
                    <a:pt x="3" y="59"/>
                    <a:pt x="3" y="59"/>
                    <a:pt x="3" y="59"/>
                  </a:cubicBezTo>
                  <a:cubicBezTo>
                    <a:pt x="3" y="59"/>
                    <a:pt x="3" y="59"/>
                    <a:pt x="3" y="59"/>
                  </a:cubicBezTo>
                  <a:cubicBezTo>
                    <a:pt x="3" y="59"/>
                    <a:pt x="3" y="59"/>
                    <a:pt x="3" y="59"/>
                  </a:cubicBezTo>
                  <a:cubicBezTo>
                    <a:pt x="3" y="59"/>
                    <a:pt x="3" y="59"/>
                    <a:pt x="3" y="59"/>
                  </a:cubicBezTo>
                  <a:cubicBezTo>
                    <a:pt x="3" y="59"/>
                    <a:pt x="3" y="59"/>
                    <a:pt x="3" y="59"/>
                  </a:cubicBezTo>
                  <a:cubicBezTo>
                    <a:pt x="3" y="59"/>
                    <a:pt x="3" y="59"/>
                    <a:pt x="3" y="59"/>
                  </a:cubicBezTo>
                  <a:cubicBezTo>
                    <a:pt x="3" y="59"/>
                    <a:pt x="3" y="59"/>
                    <a:pt x="3" y="59"/>
                  </a:cubicBezTo>
                  <a:cubicBezTo>
                    <a:pt x="3" y="60"/>
                    <a:pt x="3" y="60"/>
                    <a:pt x="3" y="60"/>
                  </a:cubicBezTo>
                  <a:cubicBezTo>
                    <a:pt x="3" y="60"/>
                    <a:pt x="3" y="60"/>
                    <a:pt x="3" y="60"/>
                  </a:cubicBezTo>
                  <a:cubicBezTo>
                    <a:pt x="3" y="60"/>
                    <a:pt x="3" y="60"/>
                    <a:pt x="3" y="60"/>
                  </a:cubicBezTo>
                  <a:cubicBezTo>
                    <a:pt x="3" y="60"/>
                    <a:pt x="3" y="60"/>
                    <a:pt x="3" y="60"/>
                  </a:cubicBezTo>
                  <a:cubicBezTo>
                    <a:pt x="3" y="60"/>
                    <a:pt x="3" y="60"/>
                    <a:pt x="3" y="60"/>
                  </a:cubicBezTo>
                  <a:cubicBezTo>
                    <a:pt x="3" y="60"/>
                    <a:pt x="3" y="60"/>
                    <a:pt x="3" y="60"/>
                  </a:cubicBezTo>
                  <a:cubicBezTo>
                    <a:pt x="3" y="60"/>
                    <a:pt x="3" y="60"/>
                    <a:pt x="3" y="60"/>
                  </a:cubicBezTo>
                  <a:cubicBezTo>
                    <a:pt x="3" y="60"/>
                    <a:pt x="3" y="60"/>
                    <a:pt x="3" y="60"/>
                  </a:cubicBezTo>
                  <a:cubicBezTo>
                    <a:pt x="3" y="60"/>
                    <a:pt x="3" y="60"/>
                    <a:pt x="3" y="60"/>
                  </a:cubicBezTo>
                  <a:cubicBezTo>
                    <a:pt x="3" y="60"/>
                    <a:pt x="3" y="60"/>
                    <a:pt x="3" y="61"/>
                  </a:cubicBezTo>
                  <a:cubicBezTo>
                    <a:pt x="3" y="61"/>
                    <a:pt x="3" y="61"/>
                    <a:pt x="3" y="61"/>
                  </a:cubicBezTo>
                  <a:cubicBezTo>
                    <a:pt x="3" y="61"/>
                    <a:pt x="3" y="61"/>
                    <a:pt x="3" y="61"/>
                  </a:cubicBezTo>
                  <a:cubicBezTo>
                    <a:pt x="3" y="61"/>
                    <a:pt x="3" y="61"/>
                    <a:pt x="3" y="61"/>
                  </a:cubicBezTo>
                  <a:cubicBezTo>
                    <a:pt x="3" y="61"/>
                    <a:pt x="3" y="61"/>
                    <a:pt x="3" y="61"/>
                  </a:cubicBezTo>
                  <a:cubicBezTo>
                    <a:pt x="3" y="61"/>
                    <a:pt x="3" y="61"/>
                    <a:pt x="3" y="61"/>
                  </a:cubicBezTo>
                  <a:cubicBezTo>
                    <a:pt x="3" y="61"/>
                    <a:pt x="3" y="61"/>
                    <a:pt x="3" y="61"/>
                  </a:cubicBezTo>
                  <a:cubicBezTo>
                    <a:pt x="3" y="61"/>
                    <a:pt x="3" y="61"/>
                    <a:pt x="3" y="61"/>
                  </a:cubicBezTo>
                  <a:cubicBezTo>
                    <a:pt x="3" y="61"/>
                    <a:pt x="3" y="61"/>
                    <a:pt x="3" y="61"/>
                  </a:cubicBezTo>
                  <a:cubicBezTo>
                    <a:pt x="3" y="61"/>
                    <a:pt x="3" y="61"/>
                    <a:pt x="3" y="61"/>
                  </a:cubicBezTo>
                  <a:cubicBezTo>
                    <a:pt x="3" y="61"/>
                    <a:pt x="3" y="62"/>
                    <a:pt x="3" y="62"/>
                  </a:cubicBezTo>
                  <a:cubicBezTo>
                    <a:pt x="3" y="62"/>
                    <a:pt x="3" y="62"/>
                    <a:pt x="3" y="62"/>
                  </a:cubicBezTo>
                  <a:cubicBezTo>
                    <a:pt x="3" y="62"/>
                    <a:pt x="3" y="62"/>
                    <a:pt x="3" y="62"/>
                  </a:cubicBezTo>
                  <a:cubicBezTo>
                    <a:pt x="3" y="62"/>
                    <a:pt x="3" y="62"/>
                    <a:pt x="3" y="62"/>
                  </a:cubicBezTo>
                  <a:cubicBezTo>
                    <a:pt x="3" y="62"/>
                    <a:pt x="3" y="62"/>
                    <a:pt x="3" y="62"/>
                  </a:cubicBezTo>
                  <a:cubicBezTo>
                    <a:pt x="3" y="62"/>
                    <a:pt x="3" y="62"/>
                    <a:pt x="3" y="62"/>
                  </a:cubicBezTo>
                  <a:cubicBezTo>
                    <a:pt x="3" y="62"/>
                    <a:pt x="3" y="62"/>
                    <a:pt x="3" y="62"/>
                  </a:cubicBezTo>
                  <a:cubicBezTo>
                    <a:pt x="3" y="62"/>
                    <a:pt x="3" y="62"/>
                    <a:pt x="3" y="62"/>
                  </a:cubicBezTo>
                  <a:cubicBezTo>
                    <a:pt x="3" y="62"/>
                    <a:pt x="3" y="62"/>
                    <a:pt x="3" y="62"/>
                  </a:cubicBezTo>
                  <a:cubicBezTo>
                    <a:pt x="3" y="62"/>
                    <a:pt x="3" y="62"/>
                    <a:pt x="3" y="62"/>
                  </a:cubicBezTo>
                  <a:cubicBezTo>
                    <a:pt x="3" y="62"/>
                    <a:pt x="3" y="63"/>
                    <a:pt x="3" y="63"/>
                  </a:cubicBezTo>
                  <a:cubicBezTo>
                    <a:pt x="3" y="63"/>
                    <a:pt x="3" y="63"/>
                    <a:pt x="3" y="63"/>
                  </a:cubicBezTo>
                  <a:cubicBezTo>
                    <a:pt x="3" y="63"/>
                    <a:pt x="3" y="63"/>
                    <a:pt x="3" y="63"/>
                  </a:cubicBezTo>
                  <a:cubicBezTo>
                    <a:pt x="3" y="63"/>
                    <a:pt x="3" y="63"/>
                    <a:pt x="3" y="63"/>
                  </a:cubicBezTo>
                  <a:cubicBezTo>
                    <a:pt x="3" y="63"/>
                    <a:pt x="3" y="63"/>
                    <a:pt x="3" y="63"/>
                  </a:cubicBezTo>
                  <a:cubicBezTo>
                    <a:pt x="3" y="63"/>
                    <a:pt x="3" y="63"/>
                    <a:pt x="3" y="63"/>
                  </a:cubicBezTo>
                  <a:cubicBezTo>
                    <a:pt x="3" y="63"/>
                    <a:pt x="3" y="63"/>
                    <a:pt x="3" y="63"/>
                  </a:cubicBezTo>
                  <a:cubicBezTo>
                    <a:pt x="3" y="63"/>
                    <a:pt x="3" y="63"/>
                    <a:pt x="3"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3" y="65"/>
                    <a:pt x="3" y="65"/>
                    <a:pt x="3" y="65"/>
                  </a:cubicBezTo>
                  <a:cubicBezTo>
                    <a:pt x="3" y="65"/>
                    <a:pt x="3" y="65"/>
                    <a:pt x="3" y="65"/>
                  </a:cubicBezTo>
                  <a:cubicBezTo>
                    <a:pt x="3" y="65"/>
                    <a:pt x="3" y="65"/>
                    <a:pt x="3" y="65"/>
                  </a:cubicBezTo>
                  <a:cubicBezTo>
                    <a:pt x="3" y="65"/>
                    <a:pt x="3" y="65"/>
                    <a:pt x="3" y="66"/>
                  </a:cubicBezTo>
                  <a:cubicBezTo>
                    <a:pt x="3" y="66"/>
                    <a:pt x="3" y="66"/>
                    <a:pt x="3" y="66"/>
                  </a:cubicBezTo>
                  <a:cubicBezTo>
                    <a:pt x="3" y="66"/>
                    <a:pt x="3" y="66"/>
                    <a:pt x="3" y="66"/>
                  </a:cubicBezTo>
                  <a:cubicBezTo>
                    <a:pt x="3" y="66"/>
                    <a:pt x="3" y="66"/>
                    <a:pt x="3" y="66"/>
                  </a:cubicBezTo>
                  <a:cubicBezTo>
                    <a:pt x="3" y="66"/>
                    <a:pt x="3" y="66"/>
                    <a:pt x="3" y="66"/>
                  </a:cubicBezTo>
                  <a:cubicBezTo>
                    <a:pt x="3" y="66"/>
                    <a:pt x="3" y="66"/>
                    <a:pt x="3" y="66"/>
                  </a:cubicBezTo>
                  <a:cubicBezTo>
                    <a:pt x="4" y="90"/>
                    <a:pt x="18" y="111"/>
                    <a:pt x="38" y="121"/>
                  </a:cubicBezTo>
                  <a:cubicBezTo>
                    <a:pt x="37" y="117"/>
                    <a:pt x="35" y="112"/>
                    <a:pt x="32" y="107"/>
                  </a:cubicBezTo>
                  <a:cubicBezTo>
                    <a:pt x="0" y="33"/>
                    <a:pt x="76" y="12"/>
                    <a:pt x="76" y="12"/>
                  </a:cubicBezTo>
                  <a:cubicBezTo>
                    <a:pt x="59" y="0"/>
                    <a:pt x="59" y="0"/>
                    <a:pt x="59" y="0"/>
                  </a:cubicBezTo>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43" name="Freeform 3044">
              <a:extLst>
                <a:ext uri="{FF2B5EF4-FFF2-40B4-BE49-F238E27FC236}">
                  <a16:creationId xmlns:a16="http://schemas.microsoft.com/office/drawing/2014/main" id="{C9F8C9C6-EF49-3CF1-1A67-613E90D49023}"/>
                </a:ext>
              </a:extLst>
            </p:cNvPr>
            <p:cNvSpPr>
              <a:spLocks/>
            </p:cNvSpPr>
            <p:nvPr/>
          </p:nvSpPr>
          <p:spPr bwMode="auto">
            <a:xfrm>
              <a:off x="4868863" y="3529013"/>
              <a:ext cx="473075" cy="125413"/>
            </a:xfrm>
            <a:custGeom>
              <a:avLst/>
              <a:gdLst>
                <a:gd name="T0" fmla="*/ 582 w 582"/>
                <a:gd name="T1" fmla="*/ 128 h 153"/>
                <a:gd name="T2" fmla="*/ 77 w 582"/>
                <a:gd name="T3" fmla="*/ 128 h 153"/>
                <a:gd name="T4" fmla="*/ 25 w 582"/>
                <a:gd name="T5" fmla="*/ 76 h 153"/>
                <a:gd name="T6" fmla="*/ 77 w 582"/>
                <a:gd name="T7" fmla="*/ 25 h 153"/>
                <a:gd name="T8" fmla="*/ 582 w 582"/>
                <a:gd name="T9" fmla="*/ 25 h 153"/>
                <a:gd name="T10" fmla="*/ 582 w 582"/>
                <a:gd name="T11" fmla="*/ 0 h 153"/>
                <a:gd name="T12" fmla="*/ 77 w 582"/>
                <a:gd name="T13" fmla="*/ 0 h 153"/>
                <a:gd name="T14" fmla="*/ 0 w 582"/>
                <a:gd name="T15" fmla="*/ 76 h 153"/>
                <a:gd name="T16" fmla="*/ 77 w 582"/>
                <a:gd name="T17" fmla="*/ 153 h 153"/>
                <a:gd name="T18" fmla="*/ 582 w 582"/>
                <a:gd name="T19" fmla="*/ 153 h 153"/>
                <a:gd name="T20" fmla="*/ 582 w 582"/>
                <a:gd name="T21" fmla="*/ 128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2" h="153">
                  <a:moveTo>
                    <a:pt x="582" y="128"/>
                  </a:moveTo>
                  <a:cubicBezTo>
                    <a:pt x="77" y="128"/>
                    <a:pt x="77" y="128"/>
                    <a:pt x="77" y="128"/>
                  </a:cubicBezTo>
                  <a:cubicBezTo>
                    <a:pt x="48" y="128"/>
                    <a:pt x="25" y="105"/>
                    <a:pt x="25" y="76"/>
                  </a:cubicBezTo>
                  <a:cubicBezTo>
                    <a:pt x="25" y="48"/>
                    <a:pt x="48" y="25"/>
                    <a:pt x="77" y="25"/>
                  </a:cubicBezTo>
                  <a:cubicBezTo>
                    <a:pt x="582" y="25"/>
                    <a:pt x="582" y="25"/>
                    <a:pt x="582" y="25"/>
                  </a:cubicBezTo>
                  <a:cubicBezTo>
                    <a:pt x="582" y="0"/>
                    <a:pt x="582" y="0"/>
                    <a:pt x="582" y="0"/>
                  </a:cubicBezTo>
                  <a:cubicBezTo>
                    <a:pt x="77" y="0"/>
                    <a:pt x="77" y="0"/>
                    <a:pt x="77" y="0"/>
                  </a:cubicBezTo>
                  <a:cubicBezTo>
                    <a:pt x="35" y="0"/>
                    <a:pt x="0" y="34"/>
                    <a:pt x="0" y="76"/>
                  </a:cubicBezTo>
                  <a:cubicBezTo>
                    <a:pt x="0" y="118"/>
                    <a:pt x="35" y="153"/>
                    <a:pt x="77" y="153"/>
                  </a:cubicBezTo>
                  <a:cubicBezTo>
                    <a:pt x="582" y="153"/>
                    <a:pt x="582" y="153"/>
                    <a:pt x="582" y="153"/>
                  </a:cubicBezTo>
                  <a:lnTo>
                    <a:pt x="582" y="128"/>
                  </a:lnTo>
                  <a:close/>
                </a:path>
              </a:pathLst>
            </a:custGeom>
            <a:solidFill>
              <a:srgbClr val="F4B5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44" name="Freeform 3045">
              <a:extLst>
                <a:ext uri="{FF2B5EF4-FFF2-40B4-BE49-F238E27FC236}">
                  <a16:creationId xmlns:a16="http://schemas.microsoft.com/office/drawing/2014/main" id="{9DFA6E60-E8B7-BE05-F56E-1D293289C708}"/>
                </a:ext>
              </a:extLst>
            </p:cNvPr>
            <p:cNvSpPr>
              <a:spLocks/>
            </p:cNvSpPr>
            <p:nvPr/>
          </p:nvSpPr>
          <p:spPr bwMode="auto">
            <a:xfrm>
              <a:off x="4922838" y="3663950"/>
              <a:ext cx="454025" cy="103188"/>
            </a:xfrm>
            <a:custGeom>
              <a:avLst/>
              <a:gdLst>
                <a:gd name="T0" fmla="*/ 559 w 559"/>
                <a:gd name="T1" fmla="*/ 0 h 128"/>
                <a:gd name="T2" fmla="*/ 63 w 559"/>
                <a:gd name="T3" fmla="*/ 0 h 128"/>
                <a:gd name="T4" fmla="*/ 0 w 559"/>
                <a:gd name="T5" fmla="*/ 64 h 128"/>
                <a:gd name="T6" fmla="*/ 63 w 559"/>
                <a:gd name="T7" fmla="*/ 128 h 128"/>
                <a:gd name="T8" fmla="*/ 559 w 559"/>
                <a:gd name="T9" fmla="*/ 128 h 128"/>
                <a:gd name="T10" fmla="*/ 559 w 559"/>
                <a:gd name="T11" fmla="*/ 0 h 128"/>
              </a:gdLst>
              <a:ahLst/>
              <a:cxnLst>
                <a:cxn ang="0">
                  <a:pos x="T0" y="T1"/>
                </a:cxn>
                <a:cxn ang="0">
                  <a:pos x="T2" y="T3"/>
                </a:cxn>
                <a:cxn ang="0">
                  <a:pos x="T4" y="T5"/>
                </a:cxn>
                <a:cxn ang="0">
                  <a:pos x="T6" y="T7"/>
                </a:cxn>
                <a:cxn ang="0">
                  <a:pos x="T8" y="T9"/>
                </a:cxn>
                <a:cxn ang="0">
                  <a:pos x="T10" y="T11"/>
                </a:cxn>
              </a:cxnLst>
              <a:rect l="0" t="0" r="r" b="b"/>
              <a:pathLst>
                <a:path w="559" h="128">
                  <a:moveTo>
                    <a:pt x="559" y="0"/>
                  </a:moveTo>
                  <a:cubicBezTo>
                    <a:pt x="63" y="0"/>
                    <a:pt x="63" y="0"/>
                    <a:pt x="63" y="0"/>
                  </a:cubicBezTo>
                  <a:cubicBezTo>
                    <a:pt x="28" y="0"/>
                    <a:pt x="0" y="29"/>
                    <a:pt x="0" y="64"/>
                  </a:cubicBezTo>
                  <a:cubicBezTo>
                    <a:pt x="0" y="100"/>
                    <a:pt x="28" y="128"/>
                    <a:pt x="63" y="128"/>
                  </a:cubicBezTo>
                  <a:cubicBezTo>
                    <a:pt x="559" y="128"/>
                    <a:pt x="559" y="128"/>
                    <a:pt x="559" y="128"/>
                  </a:cubicBezTo>
                  <a:cubicBezTo>
                    <a:pt x="559" y="0"/>
                    <a:pt x="559" y="0"/>
                    <a:pt x="55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45" name="Freeform 3046">
              <a:extLst>
                <a:ext uri="{FF2B5EF4-FFF2-40B4-BE49-F238E27FC236}">
                  <a16:creationId xmlns:a16="http://schemas.microsoft.com/office/drawing/2014/main" id="{377DD17B-0B2B-BE6F-A78A-EF0FD8657070}"/>
                </a:ext>
              </a:extLst>
            </p:cNvPr>
            <p:cNvSpPr>
              <a:spLocks noEditPoints="1"/>
            </p:cNvSpPr>
            <p:nvPr/>
          </p:nvSpPr>
          <p:spPr bwMode="auto">
            <a:xfrm>
              <a:off x="4922838" y="3709988"/>
              <a:ext cx="0" cy="7938"/>
            </a:xfrm>
            <a:custGeom>
              <a:avLst/>
              <a:gdLst>
                <a:gd name="T0" fmla="*/ 10 h 10"/>
                <a:gd name="T1" fmla="*/ 9 h 10"/>
                <a:gd name="T2" fmla="*/ 9 h 10"/>
                <a:gd name="T3" fmla="*/ 9 h 10"/>
                <a:gd name="T4" fmla="*/ 9 h 10"/>
                <a:gd name="T5" fmla="*/ 9 h 10"/>
                <a:gd name="T6" fmla="*/ 8 h 10"/>
                <a:gd name="T7" fmla="*/ 8 h 10"/>
                <a:gd name="T8" fmla="*/ 8 h 10"/>
                <a:gd name="T9" fmla="*/ 8 h 10"/>
                <a:gd name="T10" fmla="*/ 7 h 10"/>
                <a:gd name="T11" fmla="*/ 7 h 10"/>
                <a:gd name="T12" fmla="*/ 7 h 10"/>
                <a:gd name="T13" fmla="*/ 7 h 10"/>
                <a:gd name="T14" fmla="*/ 7 h 10"/>
                <a:gd name="T15" fmla="*/ 7 h 10"/>
                <a:gd name="T16" fmla="*/ 7 h 10"/>
                <a:gd name="T17" fmla="*/ 7 h 10"/>
                <a:gd name="T18" fmla="*/ 6 h 10"/>
                <a:gd name="T19" fmla="*/ 6 h 10"/>
                <a:gd name="T20" fmla="*/ 6 h 10"/>
                <a:gd name="T21" fmla="*/ 6 h 10"/>
                <a:gd name="T22" fmla="*/ 6 h 10"/>
                <a:gd name="T23" fmla="*/ 6 h 10"/>
                <a:gd name="T24" fmla="*/ 5 h 10"/>
                <a:gd name="T25" fmla="*/ 5 h 10"/>
                <a:gd name="T26" fmla="*/ 5 h 10"/>
                <a:gd name="T27" fmla="*/ 5 h 10"/>
                <a:gd name="T28" fmla="*/ 5 h 10"/>
                <a:gd name="T29" fmla="*/ 5 h 10"/>
                <a:gd name="T30" fmla="*/ 5 h 10"/>
                <a:gd name="T31" fmla="*/ 5 h 10"/>
                <a:gd name="T32" fmla="*/ 5 h 10"/>
                <a:gd name="T33" fmla="*/ 4 h 10"/>
                <a:gd name="T34" fmla="*/ 4 h 10"/>
                <a:gd name="T35" fmla="*/ 4 h 10"/>
                <a:gd name="T36" fmla="*/ 4 h 10"/>
                <a:gd name="T37" fmla="*/ 4 h 10"/>
                <a:gd name="T38" fmla="*/ 4 h 10"/>
                <a:gd name="T39" fmla="*/ 3 h 10"/>
                <a:gd name="T40" fmla="*/ 3 h 10"/>
                <a:gd name="T41" fmla="*/ 3 h 10"/>
                <a:gd name="T42" fmla="*/ 3 h 10"/>
                <a:gd name="T43" fmla="*/ 3 h 10"/>
                <a:gd name="T44" fmla="*/ 3 h 10"/>
                <a:gd name="T45" fmla="*/ 3 h 10"/>
                <a:gd name="T46" fmla="*/ 3 h 10"/>
                <a:gd name="T47" fmla="*/ 2 h 10"/>
                <a:gd name="T48" fmla="*/ 2 h 10"/>
                <a:gd name="T49" fmla="*/ 2 h 10"/>
                <a:gd name="T50" fmla="*/ 2 h 10"/>
                <a:gd name="T51" fmla="*/ 2 h 10"/>
                <a:gd name="T52" fmla="*/ 2 h 10"/>
                <a:gd name="T53" fmla="*/ 1 h 10"/>
                <a:gd name="T54" fmla="*/ 0 h 10"/>
                <a:gd name="T55" fmla="*/ 0 h 10"/>
                <a:gd name="T56" fmla="*/ 0 h 10"/>
                <a:gd name="T57" fmla="*/ 0 h 10"/>
                <a:gd name="T58" fmla="*/ 0 h 10"/>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 ang="0">
                  <a:pos x="0" y="T29"/>
                </a:cxn>
                <a:cxn ang="0">
                  <a:pos x="0" y="T30"/>
                </a:cxn>
                <a:cxn ang="0">
                  <a:pos x="0" y="T31"/>
                </a:cxn>
                <a:cxn ang="0">
                  <a:pos x="0" y="T32"/>
                </a:cxn>
                <a:cxn ang="0">
                  <a:pos x="0" y="T33"/>
                </a:cxn>
                <a:cxn ang="0">
                  <a:pos x="0" y="T34"/>
                </a:cxn>
                <a:cxn ang="0">
                  <a:pos x="0" y="T35"/>
                </a:cxn>
                <a:cxn ang="0">
                  <a:pos x="0" y="T36"/>
                </a:cxn>
                <a:cxn ang="0">
                  <a:pos x="0" y="T37"/>
                </a:cxn>
                <a:cxn ang="0">
                  <a:pos x="0" y="T38"/>
                </a:cxn>
                <a:cxn ang="0">
                  <a:pos x="0" y="T39"/>
                </a:cxn>
                <a:cxn ang="0">
                  <a:pos x="0" y="T40"/>
                </a:cxn>
                <a:cxn ang="0">
                  <a:pos x="0" y="T41"/>
                </a:cxn>
                <a:cxn ang="0">
                  <a:pos x="0" y="T42"/>
                </a:cxn>
                <a:cxn ang="0">
                  <a:pos x="0" y="T43"/>
                </a:cxn>
                <a:cxn ang="0">
                  <a:pos x="0" y="T44"/>
                </a:cxn>
                <a:cxn ang="0">
                  <a:pos x="0" y="T45"/>
                </a:cxn>
                <a:cxn ang="0">
                  <a:pos x="0" y="T46"/>
                </a:cxn>
                <a:cxn ang="0">
                  <a:pos x="0" y="T47"/>
                </a:cxn>
                <a:cxn ang="0">
                  <a:pos x="0" y="T48"/>
                </a:cxn>
                <a:cxn ang="0">
                  <a:pos x="0" y="T49"/>
                </a:cxn>
                <a:cxn ang="0">
                  <a:pos x="0" y="T50"/>
                </a:cxn>
                <a:cxn ang="0">
                  <a:pos x="0" y="T51"/>
                </a:cxn>
                <a:cxn ang="0">
                  <a:pos x="0" y="T52"/>
                </a:cxn>
                <a:cxn ang="0">
                  <a:pos x="0" y="T53"/>
                </a:cxn>
                <a:cxn ang="0">
                  <a:pos x="0" y="T54"/>
                </a:cxn>
                <a:cxn ang="0">
                  <a:pos x="0" y="T55"/>
                </a:cxn>
                <a:cxn ang="0">
                  <a:pos x="0" y="T56"/>
                </a:cxn>
                <a:cxn ang="0">
                  <a:pos x="0" y="T57"/>
                </a:cxn>
                <a:cxn ang="0">
                  <a:pos x="0" y="T58"/>
                </a:cxn>
              </a:cxnLst>
              <a:rect l="0" t="0" r="r" b="b"/>
              <a:pathLst>
                <a:path h="10">
                  <a:moveTo>
                    <a:pt x="0" y="10"/>
                  </a:moveTo>
                  <a:cubicBezTo>
                    <a:pt x="0" y="10"/>
                    <a:pt x="0" y="10"/>
                    <a:pt x="0" y="10"/>
                  </a:cubicBezTo>
                  <a:cubicBezTo>
                    <a:pt x="0" y="10"/>
                    <a:pt x="0" y="10"/>
                    <a:pt x="0" y="10"/>
                  </a:cubicBezTo>
                  <a:moveTo>
                    <a:pt x="0" y="9"/>
                  </a:moveTo>
                  <a:cubicBezTo>
                    <a:pt x="0" y="9"/>
                    <a:pt x="0" y="9"/>
                    <a:pt x="0" y="9"/>
                  </a:cubicBezTo>
                  <a:cubicBezTo>
                    <a:pt x="0" y="9"/>
                    <a:pt x="0" y="9"/>
                    <a:pt x="0" y="9"/>
                  </a:cubicBezTo>
                  <a:moveTo>
                    <a:pt x="0" y="9"/>
                  </a:moveTo>
                  <a:cubicBezTo>
                    <a:pt x="0" y="9"/>
                    <a:pt x="0" y="9"/>
                    <a:pt x="0" y="9"/>
                  </a:cubicBezTo>
                  <a:cubicBezTo>
                    <a:pt x="0" y="9"/>
                    <a:pt x="0" y="9"/>
                    <a:pt x="0" y="9"/>
                  </a:cubicBezTo>
                  <a:moveTo>
                    <a:pt x="0" y="9"/>
                  </a:moveTo>
                  <a:cubicBezTo>
                    <a:pt x="0" y="9"/>
                    <a:pt x="0" y="9"/>
                    <a:pt x="0" y="9"/>
                  </a:cubicBezTo>
                  <a:cubicBezTo>
                    <a:pt x="0" y="9"/>
                    <a:pt x="0" y="9"/>
                    <a:pt x="0" y="9"/>
                  </a:cubicBezTo>
                  <a:moveTo>
                    <a:pt x="0" y="8"/>
                  </a:moveTo>
                  <a:cubicBezTo>
                    <a:pt x="0" y="8"/>
                    <a:pt x="0" y="8"/>
                    <a:pt x="0" y="8"/>
                  </a:cubicBezTo>
                  <a:cubicBezTo>
                    <a:pt x="0" y="8"/>
                    <a:pt x="0" y="8"/>
                    <a:pt x="0" y="8"/>
                  </a:cubicBezTo>
                  <a:moveTo>
                    <a:pt x="0" y="8"/>
                  </a:moveTo>
                  <a:cubicBezTo>
                    <a:pt x="0" y="8"/>
                    <a:pt x="0" y="8"/>
                    <a:pt x="0" y="8"/>
                  </a:cubicBezTo>
                  <a:cubicBezTo>
                    <a:pt x="0" y="8"/>
                    <a:pt x="0" y="8"/>
                    <a:pt x="0" y="8"/>
                  </a:cubicBezTo>
                  <a:moveTo>
                    <a:pt x="0" y="8"/>
                  </a:moveTo>
                  <a:cubicBezTo>
                    <a:pt x="0" y="8"/>
                    <a:pt x="0" y="8"/>
                    <a:pt x="0" y="8"/>
                  </a:cubicBezTo>
                  <a:cubicBezTo>
                    <a:pt x="0" y="8"/>
                    <a:pt x="0" y="8"/>
                    <a:pt x="0" y="8"/>
                  </a:cubicBezTo>
                  <a:moveTo>
                    <a:pt x="0" y="7"/>
                  </a:moveTo>
                  <a:cubicBezTo>
                    <a:pt x="0" y="7"/>
                    <a:pt x="0" y="7"/>
                    <a:pt x="0" y="7"/>
                  </a:cubicBezTo>
                  <a:cubicBezTo>
                    <a:pt x="0" y="7"/>
                    <a:pt x="0" y="7"/>
                    <a:pt x="0" y="7"/>
                  </a:cubicBezTo>
                  <a:cubicBezTo>
                    <a:pt x="0" y="7"/>
                    <a:pt x="0" y="7"/>
                    <a:pt x="0" y="7"/>
                  </a:cubicBezTo>
                  <a:moveTo>
                    <a:pt x="0" y="7"/>
                  </a:moveTo>
                  <a:cubicBezTo>
                    <a:pt x="0" y="7"/>
                    <a:pt x="0" y="7"/>
                    <a:pt x="0" y="7"/>
                  </a:cubicBezTo>
                  <a:cubicBezTo>
                    <a:pt x="0" y="7"/>
                    <a:pt x="0" y="7"/>
                    <a:pt x="0" y="7"/>
                  </a:cubicBezTo>
                  <a:moveTo>
                    <a:pt x="0" y="7"/>
                  </a:moveTo>
                  <a:cubicBezTo>
                    <a:pt x="0" y="7"/>
                    <a:pt x="0" y="7"/>
                    <a:pt x="0" y="7"/>
                  </a:cubicBezTo>
                  <a:cubicBezTo>
                    <a:pt x="0" y="7"/>
                    <a:pt x="0" y="7"/>
                    <a:pt x="0" y="7"/>
                  </a:cubicBezTo>
                  <a:moveTo>
                    <a:pt x="0" y="7"/>
                  </a:moveTo>
                  <a:cubicBezTo>
                    <a:pt x="0" y="7"/>
                    <a:pt x="0" y="7"/>
                    <a:pt x="0" y="7"/>
                  </a:cubicBezTo>
                  <a:cubicBezTo>
                    <a:pt x="0" y="7"/>
                    <a:pt x="0" y="7"/>
                    <a:pt x="0" y="7"/>
                  </a:cubicBezTo>
                  <a:moveTo>
                    <a:pt x="0" y="6"/>
                  </a:moveTo>
                  <a:cubicBezTo>
                    <a:pt x="0" y="7"/>
                    <a:pt x="0" y="7"/>
                    <a:pt x="0" y="7"/>
                  </a:cubicBezTo>
                  <a:cubicBezTo>
                    <a:pt x="0" y="7"/>
                    <a:pt x="0" y="7"/>
                    <a:pt x="0" y="6"/>
                  </a:cubicBezTo>
                  <a:moveTo>
                    <a:pt x="0" y="6"/>
                  </a:moveTo>
                  <a:cubicBezTo>
                    <a:pt x="0" y="6"/>
                    <a:pt x="0" y="6"/>
                    <a:pt x="0" y="6"/>
                  </a:cubicBezTo>
                  <a:cubicBezTo>
                    <a:pt x="0" y="6"/>
                    <a:pt x="0" y="6"/>
                    <a:pt x="0" y="6"/>
                  </a:cubicBezTo>
                  <a:moveTo>
                    <a:pt x="0" y="6"/>
                  </a:moveTo>
                  <a:cubicBezTo>
                    <a:pt x="0" y="6"/>
                    <a:pt x="0" y="6"/>
                    <a:pt x="0" y="6"/>
                  </a:cubicBezTo>
                  <a:cubicBezTo>
                    <a:pt x="0" y="6"/>
                    <a:pt x="0" y="6"/>
                    <a:pt x="0" y="6"/>
                  </a:cubicBezTo>
                  <a:moveTo>
                    <a:pt x="0" y="6"/>
                  </a:moveTo>
                  <a:cubicBezTo>
                    <a:pt x="0" y="6"/>
                    <a:pt x="0" y="6"/>
                    <a:pt x="0" y="6"/>
                  </a:cubicBezTo>
                  <a:cubicBezTo>
                    <a:pt x="0" y="6"/>
                    <a:pt x="0" y="6"/>
                    <a:pt x="0" y="6"/>
                  </a:cubicBezTo>
                  <a:moveTo>
                    <a:pt x="0" y="6"/>
                  </a:moveTo>
                  <a:cubicBezTo>
                    <a:pt x="0" y="6"/>
                    <a:pt x="0" y="6"/>
                    <a:pt x="0" y="6"/>
                  </a:cubicBezTo>
                  <a:cubicBezTo>
                    <a:pt x="0" y="6"/>
                    <a:pt x="0" y="6"/>
                    <a:pt x="0" y="6"/>
                  </a:cubicBezTo>
                  <a:moveTo>
                    <a:pt x="0" y="5"/>
                  </a:moveTo>
                  <a:cubicBezTo>
                    <a:pt x="0" y="6"/>
                    <a:pt x="0" y="6"/>
                    <a:pt x="0" y="6"/>
                  </a:cubicBezTo>
                  <a:cubicBezTo>
                    <a:pt x="0" y="6"/>
                    <a:pt x="0" y="6"/>
                    <a:pt x="0" y="5"/>
                  </a:cubicBezTo>
                  <a:moveTo>
                    <a:pt x="0" y="5"/>
                  </a:moveTo>
                  <a:cubicBezTo>
                    <a:pt x="0" y="5"/>
                    <a:pt x="0" y="5"/>
                    <a:pt x="0" y="5"/>
                  </a:cubicBezTo>
                  <a:cubicBezTo>
                    <a:pt x="0" y="5"/>
                    <a:pt x="0" y="5"/>
                    <a:pt x="0" y="5"/>
                  </a:cubicBezTo>
                  <a:moveTo>
                    <a:pt x="0" y="5"/>
                  </a:moveTo>
                  <a:cubicBezTo>
                    <a:pt x="0" y="5"/>
                    <a:pt x="0" y="5"/>
                    <a:pt x="0" y="5"/>
                  </a:cubicBezTo>
                  <a:cubicBezTo>
                    <a:pt x="0" y="5"/>
                    <a:pt x="0" y="5"/>
                    <a:pt x="0" y="5"/>
                  </a:cubicBezTo>
                  <a:moveTo>
                    <a:pt x="0" y="5"/>
                  </a:moveTo>
                  <a:cubicBezTo>
                    <a:pt x="0" y="5"/>
                    <a:pt x="0" y="5"/>
                    <a:pt x="0" y="5"/>
                  </a:cubicBezTo>
                  <a:cubicBezTo>
                    <a:pt x="0" y="5"/>
                    <a:pt x="0" y="5"/>
                    <a:pt x="0" y="5"/>
                  </a:cubicBezTo>
                  <a:moveTo>
                    <a:pt x="0" y="5"/>
                  </a:moveTo>
                  <a:cubicBezTo>
                    <a:pt x="0" y="5"/>
                    <a:pt x="0" y="5"/>
                    <a:pt x="0" y="5"/>
                  </a:cubicBezTo>
                  <a:cubicBezTo>
                    <a:pt x="0" y="5"/>
                    <a:pt x="0" y="5"/>
                    <a:pt x="0" y="5"/>
                  </a:cubicBezTo>
                  <a:moveTo>
                    <a:pt x="0" y="4"/>
                  </a:moveTo>
                  <a:cubicBezTo>
                    <a:pt x="0" y="4"/>
                    <a:pt x="0" y="5"/>
                    <a:pt x="0" y="5"/>
                  </a:cubicBezTo>
                  <a:cubicBezTo>
                    <a:pt x="0" y="5"/>
                    <a:pt x="0" y="4"/>
                    <a:pt x="0" y="4"/>
                  </a:cubicBezTo>
                  <a:moveTo>
                    <a:pt x="0" y="4"/>
                  </a:moveTo>
                  <a:cubicBezTo>
                    <a:pt x="0" y="4"/>
                    <a:pt x="0" y="4"/>
                    <a:pt x="0" y="4"/>
                  </a:cubicBezTo>
                  <a:cubicBezTo>
                    <a:pt x="0" y="4"/>
                    <a:pt x="0" y="4"/>
                    <a:pt x="0" y="4"/>
                  </a:cubicBezTo>
                  <a:moveTo>
                    <a:pt x="0" y="4"/>
                  </a:moveTo>
                  <a:cubicBezTo>
                    <a:pt x="0" y="4"/>
                    <a:pt x="0" y="4"/>
                    <a:pt x="0" y="4"/>
                  </a:cubicBezTo>
                  <a:cubicBezTo>
                    <a:pt x="0" y="4"/>
                    <a:pt x="0" y="4"/>
                    <a:pt x="0" y="4"/>
                  </a:cubicBezTo>
                  <a:moveTo>
                    <a:pt x="0" y="4"/>
                  </a:moveTo>
                  <a:cubicBezTo>
                    <a:pt x="0" y="4"/>
                    <a:pt x="0" y="4"/>
                    <a:pt x="0" y="4"/>
                  </a:cubicBezTo>
                  <a:cubicBezTo>
                    <a:pt x="0" y="4"/>
                    <a:pt x="0" y="4"/>
                    <a:pt x="0" y="4"/>
                  </a:cubicBezTo>
                  <a:moveTo>
                    <a:pt x="0" y="4"/>
                  </a:moveTo>
                  <a:cubicBezTo>
                    <a:pt x="0" y="4"/>
                    <a:pt x="0" y="4"/>
                    <a:pt x="0" y="4"/>
                  </a:cubicBezTo>
                  <a:cubicBezTo>
                    <a:pt x="0" y="4"/>
                    <a:pt x="0" y="4"/>
                    <a:pt x="0" y="4"/>
                  </a:cubicBezTo>
                  <a:moveTo>
                    <a:pt x="0" y="3"/>
                  </a:moveTo>
                  <a:cubicBezTo>
                    <a:pt x="0" y="3"/>
                    <a:pt x="0" y="3"/>
                    <a:pt x="0" y="3"/>
                  </a:cubicBezTo>
                  <a:cubicBezTo>
                    <a:pt x="0" y="3"/>
                    <a:pt x="0" y="3"/>
                    <a:pt x="0" y="3"/>
                  </a:cubicBezTo>
                  <a:moveTo>
                    <a:pt x="0" y="3"/>
                  </a:moveTo>
                  <a:cubicBezTo>
                    <a:pt x="0" y="3"/>
                    <a:pt x="0" y="3"/>
                    <a:pt x="0" y="3"/>
                  </a:cubicBezTo>
                  <a:cubicBezTo>
                    <a:pt x="0" y="3"/>
                    <a:pt x="0" y="3"/>
                    <a:pt x="0" y="3"/>
                  </a:cubicBezTo>
                  <a:moveTo>
                    <a:pt x="0" y="3"/>
                  </a:moveTo>
                  <a:cubicBezTo>
                    <a:pt x="0" y="3"/>
                    <a:pt x="0" y="3"/>
                    <a:pt x="0" y="3"/>
                  </a:cubicBezTo>
                  <a:cubicBezTo>
                    <a:pt x="0" y="3"/>
                    <a:pt x="0" y="3"/>
                    <a:pt x="0" y="3"/>
                  </a:cubicBezTo>
                  <a:moveTo>
                    <a:pt x="0" y="3"/>
                  </a:moveTo>
                  <a:cubicBezTo>
                    <a:pt x="0" y="3"/>
                    <a:pt x="0" y="3"/>
                    <a:pt x="0" y="3"/>
                  </a:cubicBezTo>
                  <a:cubicBezTo>
                    <a:pt x="0" y="3"/>
                    <a:pt x="0" y="3"/>
                    <a:pt x="0" y="3"/>
                  </a:cubicBezTo>
                  <a:moveTo>
                    <a:pt x="0" y="3"/>
                  </a:moveTo>
                  <a:cubicBezTo>
                    <a:pt x="0" y="3"/>
                    <a:pt x="0" y="3"/>
                    <a:pt x="0" y="3"/>
                  </a:cubicBezTo>
                  <a:cubicBezTo>
                    <a:pt x="0" y="3"/>
                    <a:pt x="0" y="3"/>
                    <a:pt x="0" y="3"/>
                  </a:cubicBezTo>
                  <a:moveTo>
                    <a:pt x="0" y="2"/>
                  </a:moveTo>
                  <a:cubicBezTo>
                    <a:pt x="0" y="2"/>
                    <a:pt x="0" y="2"/>
                    <a:pt x="0" y="2"/>
                  </a:cubicBezTo>
                  <a:cubicBezTo>
                    <a:pt x="0" y="2"/>
                    <a:pt x="0" y="2"/>
                    <a:pt x="0" y="2"/>
                  </a:cubicBezTo>
                  <a:moveTo>
                    <a:pt x="0" y="2"/>
                  </a:moveTo>
                  <a:cubicBezTo>
                    <a:pt x="0" y="2"/>
                    <a:pt x="0" y="2"/>
                    <a:pt x="0" y="2"/>
                  </a:cubicBezTo>
                  <a:cubicBezTo>
                    <a:pt x="0" y="2"/>
                    <a:pt x="0" y="2"/>
                    <a:pt x="0" y="2"/>
                  </a:cubicBezTo>
                  <a:moveTo>
                    <a:pt x="0" y="2"/>
                  </a:moveTo>
                  <a:cubicBezTo>
                    <a:pt x="0" y="2"/>
                    <a:pt x="0" y="2"/>
                    <a:pt x="0" y="2"/>
                  </a:cubicBezTo>
                  <a:cubicBezTo>
                    <a:pt x="0" y="2"/>
                    <a:pt x="0" y="2"/>
                    <a:pt x="0" y="2"/>
                  </a:cubicBezTo>
                  <a:moveTo>
                    <a:pt x="0" y="2"/>
                  </a:moveTo>
                  <a:cubicBezTo>
                    <a:pt x="0" y="2"/>
                    <a:pt x="0" y="2"/>
                    <a:pt x="0" y="2"/>
                  </a:cubicBezTo>
                  <a:cubicBezTo>
                    <a:pt x="0" y="2"/>
                    <a:pt x="0" y="2"/>
                    <a:pt x="0" y="2"/>
                  </a:cubicBezTo>
                  <a:moveTo>
                    <a:pt x="0" y="1"/>
                  </a:move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46" name="Freeform 3047">
              <a:extLst>
                <a:ext uri="{FF2B5EF4-FFF2-40B4-BE49-F238E27FC236}">
                  <a16:creationId xmlns:a16="http://schemas.microsoft.com/office/drawing/2014/main" id="{0B4339E2-9FB3-CEBB-7CA3-9BE182A83094}"/>
                </a:ext>
              </a:extLst>
            </p:cNvPr>
            <p:cNvSpPr>
              <a:spLocks/>
            </p:cNvSpPr>
            <p:nvPr/>
          </p:nvSpPr>
          <p:spPr bwMode="auto">
            <a:xfrm>
              <a:off x="4921250" y="3663950"/>
              <a:ext cx="61913" cy="98425"/>
            </a:xfrm>
            <a:custGeom>
              <a:avLst/>
              <a:gdLst>
                <a:gd name="T0" fmla="*/ 3 w 76"/>
                <a:gd name="T1" fmla="*/ 56 h 121"/>
                <a:gd name="T2" fmla="*/ 3 w 76"/>
                <a:gd name="T3" fmla="*/ 56 h 121"/>
                <a:gd name="T4" fmla="*/ 3 w 76"/>
                <a:gd name="T5" fmla="*/ 56 h 121"/>
                <a:gd name="T6" fmla="*/ 3 w 76"/>
                <a:gd name="T7" fmla="*/ 57 h 121"/>
                <a:gd name="T8" fmla="*/ 3 w 76"/>
                <a:gd name="T9" fmla="*/ 58 h 121"/>
                <a:gd name="T10" fmla="*/ 3 w 76"/>
                <a:gd name="T11" fmla="*/ 58 h 121"/>
                <a:gd name="T12" fmla="*/ 3 w 76"/>
                <a:gd name="T13" fmla="*/ 58 h 121"/>
                <a:gd name="T14" fmla="*/ 3 w 76"/>
                <a:gd name="T15" fmla="*/ 58 h 121"/>
                <a:gd name="T16" fmla="*/ 3 w 76"/>
                <a:gd name="T17" fmla="*/ 59 h 121"/>
                <a:gd name="T18" fmla="*/ 3 w 76"/>
                <a:gd name="T19" fmla="*/ 59 h 121"/>
                <a:gd name="T20" fmla="*/ 3 w 76"/>
                <a:gd name="T21" fmla="*/ 59 h 121"/>
                <a:gd name="T22" fmla="*/ 3 w 76"/>
                <a:gd name="T23" fmla="*/ 59 h 121"/>
                <a:gd name="T24" fmla="*/ 3 w 76"/>
                <a:gd name="T25" fmla="*/ 59 h 121"/>
                <a:gd name="T26" fmla="*/ 3 w 76"/>
                <a:gd name="T27" fmla="*/ 60 h 121"/>
                <a:gd name="T28" fmla="*/ 3 w 76"/>
                <a:gd name="T29" fmla="*/ 60 h 121"/>
                <a:gd name="T30" fmla="*/ 3 w 76"/>
                <a:gd name="T31" fmla="*/ 60 h 121"/>
                <a:gd name="T32" fmla="*/ 3 w 76"/>
                <a:gd name="T33" fmla="*/ 60 h 121"/>
                <a:gd name="T34" fmla="*/ 3 w 76"/>
                <a:gd name="T35" fmla="*/ 60 h 121"/>
                <a:gd name="T36" fmla="*/ 3 w 76"/>
                <a:gd name="T37" fmla="*/ 61 h 121"/>
                <a:gd name="T38" fmla="*/ 3 w 76"/>
                <a:gd name="T39" fmla="*/ 61 h 121"/>
                <a:gd name="T40" fmla="*/ 3 w 76"/>
                <a:gd name="T41" fmla="*/ 61 h 121"/>
                <a:gd name="T42" fmla="*/ 3 w 76"/>
                <a:gd name="T43" fmla="*/ 61 h 121"/>
                <a:gd name="T44" fmla="*/ 3 w 76"/>
                <a:gd name="T45" fmla="*/ 61 h 121"/>
                <a:gd name="T46" fmla="*/ 3 w 76"/>
                <a:gd name="T47" fmla="*/ 62 h 121"/>
                <a:gd name="T48" fmla="*/ 3 w 76"/>
                <a:gd name="T49" fmla="*/ 62 h 121"/>
                <a:gd name="T50" fmla="*/ 3 w 76"/>
                <a:gd name="T51" fmla="*/ 62 h 121"/>
                <a:gd name="T52" fmla="*/ 3 w 76"/>
                <a:gd name="T53" fmla="*/ 62 h 121"/>
                <a:gd name="T54" fmla="*/ 3 w 76"/>
                <a:gd name="T55" fmla="*/ 62 h 121"/>
                <a:gd name="T56" fmla="*/ 3 w 76"/>
                <a:gd name="T57" fmla="*/ 63 h 121"/>
                <a:gd name="T58" fmla="*/ 3 w 76"/>
                <a:gd name="T59" fmla="*/ 63 h 121"/>
                <a:gd name="T60" fmla="*/ 3 w 76"/>
                <a:gd name="T61" fmla="*/ 63 h 121"/>
                <a:gd name="T62" fmla="*/ 3 w 76"/>
                <a:gd name="T63" fmla="*/ 63 h 121"/>
                <a:gd name="T64" fmla="*/ 3 w 76"/>
                <a:gd name="T65" fmla="*/ 64 h 121"/>
                <a:gd name="T66" fmla="*/ 3 w 76"/>
                <a:gd name="T67" fmla="*/ 64 h 121"/>
                <a:gd name="T68" fmla="*/ 3 w 76"/>
                <a:gd name="T69" fmla="*/ 64 h 121"/>
                <a:gd name="T70" fmla="*/ 3 w 76"/>
                <a:gd name="T71" fmla="*/ 65 h 121"/>
                <a:gd name="T72" fmla="*/ 3 w 76"/>
                <a:gd name="T73" fmla="*/ 65 h 121"/>
                <a:gd name="T74" fmla="*/ 3 w 76"/>
                <a:gd name="T75" fmla="*/ 65 h 121"/>
                <a:gd name="T76" fmla="*/ 3 w 76"/>
                <a:gd name="T77" fmla="*/ 66 h 121"/>
                <a:gd name="T78" fmla="*/ 38 w 76"/>
                <a:gd name="T79" fmla="*/ 121 h 121"/>
                <a:gd name="T80" fmla="*/ 76 w 76"/>
                <a:gd name="T81" fmla="*/ 12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6" h="121">
                  <a:moveTo>
                    <a:pt x="59" y="0"/>
                  </a:moveTo>
                  <a:cubicBezTo>
                    <a:pt x="30" y="3"/>
                    <a:pt x="7" y="26"/>
                    <a:pt x="3" y="56"/>
                  </a:cubicBezTo>
                  <a:cubicBezTo>
                    <a:pt x="3" y="56"/>
                    <a:pt x="3" y="56"/>
                    <a:pt x="3" y="56"/>
                  </a:cubicBezTo>
                  <a:cubicBezTo>
                    <a:pt x="3" y="56"/>
                    <a:pt x="3" y="56"/>
                    <a:pt x="3" y="56"/>
                  </a:cubicBezTo>
                  <a:cubicBezTo>
                    <a:pt x="3" y="56"/>
                    <a:pt x="3" y="56"/>
                    <a:pt x="3" y="56"/>
                  </a:cubicBezTo>
                  <a:cubicBezTo>
                    <a:pt x="3" y="56"/>
                    <a:pt x="3" y="56"/>
                    <a:pt x="3" y="56"/>
                  </a:cubicBezTo>
                  <a:cubicBezTo>
                    <a:pt x="3" y="56"/>
                    <a:pt x="3" y="56"/>
                    <a:pt x="3" y="56"/>
                  </a:cubicBezTo>
                  <a:cubicBezTo>
                    <a:pt x="3" y="56"/>
                    <a:pt x="3" y="57"/>
                    <a:pt x="3" y="57"/>
                  </a:cubicBezTo>
                  <a:cubicBezTo>
                    <a:pt x="3" y="57"/>
                    <a:pt x="3" y="57"/>
                    <a:pt x="3" y="57"/>
                  </a:cubicBezTo>
                  <a:cubicBezTo>
                    <a:pt x="3" y="57"/>
                    <a:pt x="3" y="57"/>
                    <a:pt x="3" y="58"/>
                  </a:cubicBezTo>
                  <a:cubicBezTo>
                    <a:pt x="3" y="58"/>
                    <a:pt x="3" y="58"/>
                    <a:pt x="3" y="58"/>
                  </a:cubicBezTo>
                  <a:cubicBezTo>
                    <a:pt x="3" y="58"/>
                    <a:pt x="3" y="58"/>
                    <a:pt x="3" y="58"/>
                  </a:cubicBezTo>
                  <a:cubicBezTo>
                    <a:pt x="3" y="58"/>
                    <a:pt x="3" y="58"/>
                    <a:pt x="3" y="58"/>
                  </a:cubicBezTo>
                  <a:cubicBezTo>
                    <a:pt x="3" y="58"/>
                    <a:pt x="3" y="58"/>
                    <a:pt x="3" y="58"/>
                  </a:cubicBezTo>
                  <a:cubicBezTo>
                    <a:pt x="3" y="58"/>
                    <a:pt x="3" y="58"/>
                    <a:pt x="3" y="58"/>
                  </a:cubicBezTo>
                  <a:cubicBezTo>
                    <a:pt x="3" y="58"/>
                    <a:pt x="3" y="58"/>
                    <a:pt x="3" y="58"/>
                  </a:cubicBezTo>
                  <a:cubicBezTo>
                    <a:pt x="3" y="58"/>
                    <a:pt x="3" y="58"/>
                    <a:pt x="3" y="58"/>
                  </a:cubicBezTo>
                  <a:cubicBezTo>
                    <a:pt x="3" y="59"/>
                    <a:pt x="3" y="59"/>
                    <a:pt x="3" y="59"/>
                  </a:cubicBezTo>
                  <a:cubicBezTo>
                    <a:pt x="3" y="59"/>
                    <a:pt x="3" y="59"/>
                    <a:pt x="3" y="59"/>
                  </a:cubicBezTo>
                  <a:cubicBezTo>
                    <a:pt x="3" y="59"/>
                    <a:pt x="3" y="59"/>
                    <a:pt x="3" y="59"/>
                  </a:cubicBezTo>
                  <a:cubicBezTo>
                    <a:pt x="3" y="59"/>
                    <a:pt x="3" y="59"/>
                    <a:pt x="3" y="59"/>
                  </a:cubicBezTo>
                  <a:cubicBezTo>
                    <a:pt x="3" y="59"/>
                    <a:pt x="3" y="59"/>
                    <a:pt x="3" y="59"/>
                  </a:cubicBezTo>
                  <a:cubicBezTo>
                    <a:pt x="3" y="59"/>
                    <a:pt x="3" y="59"/>
                    <a:pt x="3" y="59"/>
                  </a:cubicBezTo>
                  <a:cubicBezTo>
                    <a:pt x="3" y="59"/>
                    <a:pt x="3" y="59"/>
                    <a:pt x="3" y="59"/>
                  </a:cubicBezTo>
                  <a:cubicBezTo>
                    <a:pt x="3" y="59"/>
                    <a:pt x="3" y="59"/>
                    <a:pt x="3" y="59"/>
                  </a:cubicBezTo>
                  <a:cubicBezTo>
                    <a:pt x="3" y="59"/>
                    <a:pt x="3" y="59"/>
                    <a:pt x="3" y="59"/>
                  </a:cubicBezTo>
                  <a:cubicBezTo>
                    <a:pt x="3" y="59"/>
                    <a:pt x="3" y="59"/>
                    <a:pt x="3" y="59"/>
                  </a:cubicBezTo>
                  <a:cubicBezTo>
                    <a:pt x="3" y="60"/>
                    <a:pt x="3" y="60"/>
                    <a:pt x="3" y="60"/>
                  </a:cubicBezTo>
                  <a:cubicBezTo>
                    <a:pt x="3" y="60"/>
                    <a:pt x="3" y="60"/>
                    <a:pt x="3" y="60"/>
                  </a:cubicBezTo>
                  <a:cubicBezTo>
                    <a:pt x="3" y="60"/>
                    <a:pt x="3" y="60"/>
                    <a:pt x="3" y="60"/>
                  </a:cubicBezTo>
                  <a:cubicBezTo>
                    <a:pt x="3" y="60"/>
                    <a:pt x="3" y="60"/>
                    <a:pt x="3" y="60"/>
                  </a:cubicBezTo>
                  <a:cubicBezTo>
                    <a:pt x="3" y="60"/>
                    <a:pt x="3" y="60"/>
                    <a:pt x="3" y="60"/>
                  </a:cubicBezTo>
                  <a:cubicBezTo>
                    <a:pt x="3" y="60"/>
                    <a:pt x="3" y="60"/>
                    <a:pt x="3" y="60"/>
                  </a:cubicBezTo>
                  <a:cubicBezTo>
                    <a:pt x="3" y="60"/>
                    <a:pt x="3" y="60"/>
                    <a:pt x="3" y="60"/>
                  </a:cubicBezTo>
                  <a:cubicBezTo>
                    <a:pt x="3" y="60"/>
                    <a:pt x="3" y="60"/>
                    <a:pt x="3" y="60"/>
                  </a:cubicBezTo>
                  <a:cubicBezTo>
                    <a:pt x="3" y="60"/>
                    <a:pt x="3" y="60"/>
                    <a:pt x="3" y="60"/>
                  </a:cubicBezTo>
                  <a:cubicBezTo>
                    <a:pt x="3" y="60"/>
                    <a:pt x="3" y="61"/>
                    <a:pt x="3" y="61"/>
                  </a:cubicBezTo>
                  <a:cubicBezTo>
                    <a:pt x="3" y="61"/>
                    <a:pt x="3" y="61"/>
                    <a:pt x="3" y="61"/>
                  </a:cubicBezTo>
                  <a:cubicBezTo>
                    <a:pt x="3" y="61"/>
                    <a:pt x="3" y="61"/>
                    <a:pt x="3" y="61"/>
                  </a:cubicBezTo>
                  <a:cubicBezTo>
                    <a:pt x="3" y="61"/>
                    <a:pt x="3" y="61"/>
                    <a:pt x="3" y="61"/>
                  </a:cubicBezTo>
                  <a:cubicBezTo>
                    <a:pt x="3" y="61"/>
                    <a:pt x="3" y="61"/>
                    <a:pt x="3" y="61"/>
                  </a:cubicBezTo>
                  <a:cubicBezTo>
                    <a:pt x="3" y="61"/>
                    <a:pt x="3" y="61"/>
                    <a:pt x="3" y="61"/>
                  </a:cubicBezTo>
                  <a:cubicBezTo>
                    <a:pt x="3" y="61"/>
                    <a:pt x="3" y="61"/>
                    <a:pt x="3" y="61"/>
                  </a:cubicBezTo>
                  <a:cubicBezTo>
                    <a:pt x="3" y="61"/>
                    <a:pt x="3" y="61"/>
                    <a:pt x="3" y="61"/>
                  </a:cubicBezTo>
                  <a:cubicBezTo>
                    <a:pt x="3" y="61"/>
                    <a:pt x="3" y="61"/>
                    <a:pt x="3" y="61"/>
                  </a:cubicBezTo>
                  <a:cubicBezTo>
                    <a:pt x="3" y="61"/>
                    <a:pt x="3" y="61"/>
                    <a:pt x="3" y="61"/>
                  </a:cubicBezTo>
                  <a:cubicBezTo>
                    <a:pt x="3" y="62"/>
                    <a:pt x="3" y="62"/>
                    <a:pt x="3" y="62"/>
                  </a:cubicBezTo>
                  <a:cubicBezTo>
                    <a:pt x="3" y="62"/>
                    <a:pt x="3" y="62"/>
                    <a:pt x="3" y="62"/>
                  </a:cubicBezTo>
                  <a:cubicBezTo>
                    <a:pt x="3" y="62"/>
                    <a:pt x="3" y="62"/>
                    <a:pt x="3" y="62"/>
                  </a:cubicBezTo>
                  <a:cubicBezTo>
                    <a:pt x="3" y="62"/>
                    <a:pt x="3" y="62"/>
                    <a:pt x="3" y="62"/>
                  </a:cubicBezTo>
                  <a:cubicBezTo>
                    <a:pt x="3" y="62"/>
                    <a:pt x="3" y="62"/>
                    <a:pt x="3" y="62"/>
                  </a:cubicBezTo>
                  <a:cubicBezTo>
                    <a:pt x="3" y="62"/>
                    <a:pt x="3" y="62"/>
                    <a:pt x="3" y="62"/>
                  </a:cubicBezTo>
                  <a:cubicBezTo>
                    <a:pt x="3" y="62"/>
                    <a:pt x="3" y="62"/>
                    <a:pt x="3" y="62"/>
                  </a:cubicBezTo>
                  <a:cubicBezTo>
                    <a:pt x="3" y="62"/>
                    <a:pt x="3" y="62"/>
                    <a:pt x="3" y="62"/>
                  </a:cubicBezTo>
                  <a:cubicBezTo>
                    <a:pt x="3" y="62"/>
                    <a:pt x="3" y="62"/>
                    <a:pt x="3" y="62"/>
                  </a:cubicBezTo>
                  <a:cubicBezTo>
                    <a:pt x="3" y="62"/>
                    <a:pt x="3" y="62"/>
                    <a:pt x="3" y="62"/>
                  </a:cubicBezTo>
                  <a:cubicBezTo>
                    <a:pt x="3" y="63"/>
                    <a:pt x="3" y="63"/>
                    <a:pt x="3" y="63"/>
                  </a:cubicBezTo>
                  <a:cubicBezTo>
                    <a:pt x="3" y="63"/>
                    <a:pt x="3" y="63"/>
                    <a:pt x="3" y="63"/>
                  </a:cubicBezTo>
                  <a:cubicBezTo>
                    <a:pt x="3" y="63"/>
                    <a:pt x="3" y="63"/>
                    <a:pt x="3" y="63"/>
                  </a:cubicBezTo>
                  <a:cubicBezTo>
                    <a:pt x="3" y="63"/>
                    <a:pt x="3" y="63"/>
                    <a:pt x="3" y="63"/>
                  </a:cubicBezTo>
                  <a:cubicBezTo>
                    <a:pt x="3" y="63"/>
                    <a:pt x="3" y="63"/>
                    <a:pt x="3" y="63"/>
                  </a:cubicBezTo>
                  <a:cubicBezTo>
                    <a:pt x="3" y="63"/>
                    <a:pt x="3" y="63"/>
                    <a:pt x="3" y="63"/>
                  </a:cubicBezTo>
                  <a:cubicBezTo>
                    <a:pt x="3" y="63"/>
                    <a:pt x="3" y="63"/>
                    <a:pt x="3" y="63"/>
                  </a:cubicBezTo>
                  <a:cubicBezTo>
                    <a:pt x="3" y="63"/>
                    <a:pt x="3" y="63"/>
                    <a:pt x="3" y="63"/>
                  </a:cubicBezTo>
                  <a:cubicBezTo>
                    <a:pt x="3" y="63"/>
                    <a:pt x="3" y="63"/>
                    <a:pt x="3"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5"/>
                    <a:pt x="3" y="65"/>
                  </a:cubicBezTo>
                  <a:cubicBezTo>
                    <a:pt x="3" y="65"/>
                    <a:pt x="3" y="65"/>
                    <a:pt x="3" y="65"/>
                  </a:cubicBezTo>
                  <a:cubicBezTo>
                    <a:pt x="3" y="65"/>
                    <a:pt x="3" y="65"/>
                    <a:pt x="3" y="65"/>
                  </a:cubicBezTo>
                  <a:cubicBezTo>
                    <a:pt x="3" y="65"/>
                    <a:pt x="3" y="65"/>
                    <a:pt x="3" y="65"/>
                  </a:cubicBezTo>
                  <a:cubicBezTo>
                    <a:pt x="3" y="65"/>
                    <a:pt x="3" y="65"/>
                    <a:pt x="3" y="65"/>
                  </a:cubicBezTo>
                  <a:cubicBezTo>
                    <a:pt x="3" y="65"/>
                    <a:pt x="3" y="65"/>
                    <a:pt x="3" y="65"/>
                  </a:cubicBezTo>
                  <a:cubicBezTo>
                    <a:pt x="3" y="65"/>
                    <a:pt x="3" y="66"/>
                    <a:pt x="3" y="66"/>
                  </a:cubicBezTo>
                  <a:cubicBezTo>
                    <a:pt x="3" y="66"/>
                    <a:pt x="3" y="66"/>
                    <a:pt x="3" y="66"/>
                  </a:cubicBezTo>
                  <a:cubicBezTo>
                    <a:pt x="4" y="90"/>
                    <a:pt x="18" y="111"/>
                    <a:pt x="38" y="121"/>
                  </a:cubicBezTo>
                  <a:cubicBezTo>
                    <a:pt x="37" y="117"/>
                    <a:pt x="35" y="112"/>
                    <a:pt x="33" y="107"/>
                  </a:cubicBezTo>
                  <a:cubicBezTo>
                    <a:pt x="0" y="33"/>
                    <a:pt x="76" y="12"/>
                    <a:pt x="76" y="12"/>
                  </a:cubicBezTo>
                  <a:cubicBezTo>
                    <a:pt x="59" y="0"/>
                    <a:pt x="59" y="0"/>
                    <a:pt x="59" y="0"/>
                  </a:cubicBezTo>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47" name="Freeform 3048">
              <a:extLst>
                <a:ext uri="{FF2B5EF4-FFF2-40B4-BE49-F238E27FC236}">
                  <a16:creationId xmlns:a16="http://schemas.microsoft.com/office/drawing/2014/main" id="{D27A626A-E2BF-98D3-9245-68E5708EA649}"/>
                </a:ext>
              </a:extLst>
            </p:cNvPr>
            <p:cNvSpPr>
              <a:spLocks/>
            </p:cNvSpPr>
            <p:nvPr/>
          </p:nvSpPr>
          <p:spPr bwMode="auto">
            <a:xfrm>
              <a:off x="4913313" y="3654425"/>
              <a:ext cx="471488" cy="123825"/>
            </a:xfrm>
            <a:custGeom>
              <a:avLst/>
              <a:gdLst>
                <a:gd name="T0" fmla="*/ 582 w 582"/>
                <a:gd name="T1" fmla="*/ 128 h 153"/>
                <a:gd name="T2" fmla="*/ 77 w 582"/>
                <a:gd name="T3" fmla="*/ 128 h 153"/>
                <a:gd name="T4" fmla="*/ 25 w 582"/>
                <a:gd name="T5" fmla="*/ 76 h 153"/>
                <a:gd name="T6" fmla="*/ 77 w 582"/>
                <a:gd name="T7" fmla="*/ 25 h 153"/>
                <a:gd name="T8" fmla="*/ 582 w 582"/>
                <a:gd name="T9" fmla="*/ 25 h 153"/>
                <a:gd name="T10" fmla="*/ 582 w 582"/>
                <a:gd name="T11" fmla="*/ 0 h 153"/>
                <a:gd name="T12" fmla="*/ 77 w 582"/>
                <a:gd name="T13" fmla="*/ 0 h 153"/>
                <a:gd name="T14" fmla="*/ 0 w 582"/>
                <a:gd name="T15" fmla="*/ 76 h 153"/>
                <a:gd name="T16" fmla="*/ 77 w 582"/>
                <a:gd name="T17" fmla="*/ 153 h 153"/>
                <a:gd name="T18" fmla="*/ 582 w 582"/>
                <a:gd name="T19" fmla="*/ 153 h 153"/>
                <a:gd name="T20" fmla="*/ 582 w 582"/>
                <a:gd name="T21" fmla="*/ 128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2" h="153">
                  <a:moveTo>
                    <a:pt x="582" y="128"/>
                  </a:moveTo>
                  <a:cubicBezTo>
                    <a:pt x="77" y="128"/>
                    <a:pt x="77" y="128"/>
                    <a:pt x="77" y="128"/>
                  </a:cubicBezTo>
                  <a:cubicBezTo>
                    <a:pt x="48" y="128"/>
                    <a:pt x="25" y="105"/>
                    <a:pt x="25" y="76"/>
                  </a:cubicBezTo>
                  <a:cubicBezTo>
                    <a:pt x="25" y="48"/>
                    <a:pt x="48" y="25"/>
                    <a:pt x="77" y="25"/>
                  </a:cubicBezTo>
                  <a:cubicBezTo>
                    <a:pt x="582" y="25"/>
                    <a:pt x="582" y="25"/>
                    <a:pt x="582" y="25"/>
                  </a:cubicBezTo>
                  <a:cubicBezTo>
                    <a:pt x="582" y="0"/>
                    <a:pt x="582" y="0"/>
                    <a:pt x="582" y="0"/>
                  </a:cubicBezTo>
                  <a:cubicBezTo>
                    <a:pt x="77" y="0"/>
                    <a:pt x="77" y="0"/>
                    <a:pt x="77" y="0"/>
                  </a:cubicBezTo>
                  <a:cubicBezTo>
                    <a:pt x="35" y="0"/>
                    <a:pt x="0" y="34"/>
                    <a:pt x="0" y="76"/>
                  </a:cubicBezTo>
                  <a:cubicBezTo>
                    <a:pt x="0" y="119"/>
                    <a:pt x="35" y="153"/>
                    <a:pt x="77" y="153"/>
                  </a:cubicBezTo>
                  <a:cubicBezTo>
                    <a:pt x="582" y="153"/>
                    <a:pt x="582" y="153"/>
                    <a:pt x="582" y="153"/>
                  </a:cubicBezTo>
                  <a:lnTo>
                    <a:pt x="582" y="128"/>
                  </a:lnTo>
                  <a:close/>
                </a:path>
              </a:pathLst>
            </a:custGeom>
            <a:solidFill>
              <a:srgbClr val="F24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48" name="Freeform 3049">
              <a:extLst>
                <a:ext uri="{FF2B5EF4-FFF2-40B4-BE49-F238E27FC236}">
                  <a16:creationId xmlns:a16="http://schemas.microsoft.com/office/drawing/2014/main" id="{24F40B61-2823-6A27-BE82-DC4186D77DCD}"/>
                </a:ext>
              </a:extLst>
            </p:cNvPr>
            <p:cNvSpPr>
              <a:spLocks/>
            </p:cNvSpPr>
            <p:nvPr/>
          </p:nvSpPr>
          <p:spPr bwMode="auto">
            <a:xfrm>
              <a:off x="5273675" y="2941638"/>
              <a:ext cx="153988" cy="171450"/>
            </a:xfrm>
            <a:custGeom>
              <a:avLst/>
              <a:gdLst>
                <a:gd name="T0" fmla="*/ 95 w 190"/>
                <a:gd name="T1" fmla="*/ 0 h 211"/>
                <a:gd name="T2" fmla="*/ 0 w 190"/>
                <a:gd name="T3" fmla="*/ 96 h 211"/>
                <a:gd name="T4" fmla="*/ 52 w 190"/>
                <a:gd name="T5" fmla="*/ 211 h 211"/>
                <a:gd name="T6" fmla="*/ 94 w 190"/>
                <a:gd name="T7" fmla="*/ 211 h 211"/>
                <a:gd name="T8" fmla="*/ 95 w 190"/>
                <a:gd name="T9" fmla="*/ 211 h 211"/>
                <a:gd name="T10" fmla="*/ 138 w 190"/>
                <a:gd name="T11" fmla="*/ 211 h 211"/>
                <a:gd name="T12" fmla="*/ 190 w 190"/>
                <a:gd name="T13" fmla="*/ 96 h 211"/>
                <a:gd name="T14" fmla="*/ 95 w 190"/>
                <a:gd name="T15" fmla="*/ 0 h 2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0" h="211">
                  <a:moveTo>
                    <a:pt x="95" y="0"/>
                  </a:moveTo>
                  <a:cubicBezTo>
                    <a:pt x="85" y="0"/>
                    <a:pt x="0" y="0"/>
                    <a:pt x="0" y="96"/>
                  </a:cubicBezTo>
                  <a:cubicBezTo>
                    <a:pt x="0" y="133"/>
                    <a:pt x="52" y="211"/>
                    <a:pt x="52" y="211"/>
                  </a:cubicBezTo>
                  <a:cubicBezTo>
                    <a:pt x="94" y="211"/>
                    <a:pt x="94" y="211"/>
                    <a:pt x="94" y="211"/>
                  </a:cubicBezTo>
                  <a:cubicBezTo>
                    <a:pt x="95" y="211"/>
                    <a:pt x="95" y="211"/>
                    <a:pt x="95" y="211"/>
                  </a:cubicBezTo>
                  <a:cubicBezTo>
                    <a:pt x="138" y="211"/>
                    <a:pt x="138" y="211"/>
                    <a:pt x="138" y="211"/>
                  </a:cubicBezTo>
                  <a:cubicBezTo>
                    <a:pt x="138" y="211"/>
                    <a:pt x="190" y="133"/>
                    <a:pt x="190" y="96"/>
                  </a:cubicBezTo>
                  <a:cubicBezTo>
                    <a:pt x="189" y="0"/>
                    <a:pt x="104" y="0"/>
                    <a:pt x="95" y="0"/>
                  </a:cubicBezTo>
                </a:path>
              </a:pathLst>
            </a:custGeom>
            <a:solidFill>
              <a:srgbClr val="FFF0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49" name="Freeform 3050">
              <a:extLst>
                <a:ext uri="{FF2B5EF4-FFF2-40B4-BE49-F238E27FC236}">
                  <a16:creationId xmlns:a16="http://schemas.microsoft.com/office/drawing/2014/main" id="{C74FC290-D4AB-187F-F617-9C49C53080E2}"/>
                </a:ext>
              </a:extLst>
            </p:cNvPr>
            <p:cNvSpPr>
              <a:spLocks noEditPoints="1"/>
            </p:cNvSpPr>
            <p:nvPr/>
          </p:nvSpPr>
          <p:spPr bwMode="auto">
            <a:xfrm>
              <a:off x="5332413" y="3046413"/>
              <a:ext cx="34925" cy="69850"/>
            </a:xfrm>
            <a:custGeom>
              <a:avLst/>
              <a:gdLst>
                <a:gd name="T0" fmla="*/ 33 w 42"/>
                <a:gd name="T1" fmla="*/ 85 h 85"/>
                <a:gd name="T2" fmla="*/ 28 w 42"/>
                <a:gd name="T3" fmla="*/ 34 h 85"/>
                <a:gd name="T4" fmla="*/ 31 w 42"/>
                <a:gd name="T5" fmla="*/ 12 h 85"/>
                <a:gd name="T6" fmla="*/ 23 w 42"/>
                <a:gd name="T7" fmla="*/ 12 h 85"/>
                <a:gd name="T8" fmla="*/ 19 w 42"/>
                <a:gd name="T9" fmla="*/ 10 h 85"/>
                <a:gd name="T10" fmla="*/ 11 w 42"/>
                <a:gd name="T11" fmla="*/ 13 h 85"/>
                <a:gd name="T12" fmla="*/ 12 w 42"/>
                <a:gd name="T13" fmla="*/ 15 h 85"/>
                <a:gd name="T14" fmla="*/ 14 w 42"/>
                <a:gd name="T15" fmla="*/ 85 h 85"/>
                <a:gd name="T16" fmla="*/ 12 w 42"/>
                <a:gd name="T17" fmla="*/ 84 h 85"/>
                <a:gd name="T18" fmla="*/ 10 w 42"/>
                <a:gd name="T19" fmla="*/ 16 h 85"/>
                <a:gd name="T20" fmla="*/ 8 w 42"/>
                <a:gd name="T21" fmla="*/ 14 h 85"/>
                <a:gd name="T22" fmla="*/ 6 w 42"/>
                <a:gd name="T23" fmla="*/ 14 h 85"/>
                <a:gd name="T24" fmla="*/ 0 w 42"/>
                <a:gd name="T25" fmla="*/ 11 h 85"/>
                <a:gd name="T26" fmla="*/ 2 w 42"/>
                <a:gd name="T27" fmla="*/ 8 h 85"/>
                <a:gd name="T28" fmla="*/ 9 w 42"/>
                <a:gd name="T29" fmla="*/ 11 h 85"/>
                <a:gd name="T30" fmla="*/ 15 w 42"/>
                <a:gd name="T31" fmla="*/ 10 h 85"/>
                <a:gd name="T32" fmla="*/ 18 w 42"/>
                <a:gd name="T33" fmla="*/ 8 h 85"/>
                <a:gd name="T34" fmla="*/ 18 w 42"/>
                <a:gd name="T35" fmla="*/ 8 h 85"/>
                <a:gd name="T36" fmla="*/ 21 w 42"/>
                <a:gd name="T37" fmla="*/ 1 h 85"/>
                <a:gd name="T38" fmla="*/ 23 w 42"/>
                <a:gd name="T39" fmla="*/ 1 h 85"/>
                <a:gd name="T40" fmla="*/ 23 w 42"/>
                <a:gd name="T41" fmla="*/ 5 h 85"/>
                <a:gd name="T42" fmla="*/ 21 w 42"/>
                <a:gd name="T43" fmla="*/ 8 h 85"/>
                <a:gd name="T44" fmla="*/ 24 w 42"/>
                <a:gd name="T45" fmla="*/ 10 h 85"/>
                <a:gd name="T46" fmla="*/ 32 w 42"/>
                <a:gd name="T47" fmla="*/ 9 h 85"/>
                <a:gd name="T48" fmla="*/ 35 w 42"/>
                <a:gd name="T49" fmla="*/ 6 h 85"/>
                <a:gd name="T50" fmla="*/ 40 w 42"/>
                <a:gd name="T51" fmla="*/ 5 h 85"/>
                <a:gd name="T52" fmla="*/ 42 w 42"/>
                <a:gd name="T53" fmla="*/ 6 h 85"/>
                <a:gd name="T54" fmla="*/ 41 w 42"/>
                <a:gd name="T55" fmla="*/ 8 h 85"/>
                <a:gd name="T56" fmla="*/ 34 w 42"/>
                <a:gd name="T57" fmla="*/ 12 h 85"/>
                <a:gd name="T58" fmla="*/ 31 w 42"/>
                <a:gd name="T59" fmla="*/ 34 h 85"/>
                <a:gd name="T60" fmla="*/ 35 w 42"/>
                <a:gd name="T61" fmla="*/ 84 h 85"/>
                <a:gd name="T62" fmla="*/ 33 w 42"/>
                <a:gd name="T63" fmla="*/ 85 h 85"/>
                <a:gd name="T64" fmla="*/ 3 w 42"/>
                <a:gd name="T65" fmla="*/ 11 h 85"/>
                <a:gd name="T66" fmla="*/ 5 w 42"/>
                <a:gd name="T67" fmla="*/ 11 h 85"/>
                <a:gd name="T68" fmla="*/ 3 w 42"/>
                <a:gd name="T69" fmla="*/ 10 h 85"/>
                <a:gd name="T70" fmla="*/ 3 w 42"/>
                <a:gd name="T71" fmla="*/ 1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 h="85">
                  <a:moveTo>
                    <a:pt x="33" y="85"/>
                  </a:moveTo>
                  <a:cubicBezTo>
                    <a:pt x="33" y="85"/>
                    <a:pt x="29" y="67"/>
                    <a:pt x="28" y="34"/>
                  </a:cubicBezTo>
                  <a:cubicBezTo>
                    <a:pt x="28" y="25"/>
                    <a:pt x="29" y="17"/>
                    <a:pt x="31" y="12"/>
                  </a:cubicBezTo>
                  <a:cubicBezTo>
                    <a:pt x="29" y="13"/>
                    <a:pt x="26" y="13"/>
                    <a:pt x="23" y="12"/>
                  </a:cubicBezTo>
                  <a:cubicBezTo>
                    <a:pt x="21" y="12"/>
                    <a:pt x="20" y="11"/>
                    <a:pt x="19" y="10"/>
                  </a:cubicBezTo>
                  <a:cubicBezTo>
                    <a:pt x="17" y="12"/>
                    <a:pt x="14" y="13"/>
                    <a:pt x="11" y="13"/>
                  </a:cubicBezTo>
                  <a:cubicBezTo>
                    <a:pt x="11" y="14"/>
                    <a:pt x="12" y="14"/>
                    <a:pt x="12" y="15"/>
                  </a:cubicBezTo>
                  <a:cubicBezTo>
                    <a:pt x="19" y="25"/>
                    <a:pt x="15" y="82"/>
                    <a:pt x="14" y="85"/>
                  </a:cubicBezTo>
                  <a:cubicBezTo>
                    <a:pt x="12" y="84"/>
                    <a:pt x="12" y="84"/>
                    <a:pt x="12" y="84"/>
                  </a:cubicBezTo>
                  <a:cubicBezTo>
                    <a:pt x="13" y="68"/>
                    <a:pt x="15" y="24"/>
                    <a:pt x="10" y="16"/>
                  </a:cubicBezTo>
                  <a:cubicBezTo>
                    <a:pt x="9" y="15"/>
                    <a:pt x="8" y="14"/>
                    <a:pt x="8" y="14"/>
                  </a:cubicBezTo>
                  <a:cubicBezTo>
                    <a:pt x="7" y="14"/>
                    <a:pt x="7" y="14"/>
                    <a:pt x="6" y="14"/>
                  </a:cubicBezTo>
                  <a:cubicBezTo>
                    <a:pt x="0" y="13"/>
                    <a:pt x="0" y="12"/>
                    <a:pt x="0" y="11"/>
                  </a:cubicBezTo>
                  <a:cubicBezTo>
                    <a:pt x="0" y="10"/>
                    <a:pt x="1" y="8"/>
                    <a:pt x="2" y="8"/>
                  </a:cubicBezTo>
                  <a:cubicBezTo>
                    <a:pt x="4" y="7"/>
                    <a:pt x="6" y="7"/>
                    <a:pt x="9" y="11"/>
                  </a:cubicBezTo>
                  <a:cubicBezTo>
                    <a:pt x="11" y="11"/>
                    <a:pt x="13" y="10"/>
                    <a:pt x="15" y="10"/>
                  </a:cubicBezTo>
                  <a:cubicBezTo>
                    <a:pt x="16" y="9"/>
                    <a:pt x="17" y="9"/>
                    <a:pt x="18" y="8"/>
                  </a:cubicBezTo>
                  <a:cubicBezTo>
                    <a:pt x="18" y="8"/>
                    <a:pt x="18" y="8"/>
                    <a:pt x="18" y="8"/>
                  </a:cubicBezTo>
                  <a:cubicBezTo>
                    <a:pt x="18" y="5"/>
                    <a:pt x="19" y="1"/>
                    <a:pt x="21" y="1"/>
                  </a:cubicBezTo>
                  <a:cubicBezTo>
                    <a:pt x="21" y="0"/>
                    <a:pt x="22" y="0"/>
                    <a:pt x="23" y="1"/>
                  </a:cubicBezTo>
                  <a:cubicBezTo>
                    <a:pt x="23" y="1"/>
                    <a:pt x="24" y="3"/>
                    <a:pt x="23" y="5"/>
                  </a:cubicBezTo>
                  <a:cubicBezTo>
                    <a:pt x="23" y="6"/>
                    <a:pt x="22" y="8"/>
                    <a:pt x="21" y="8"/>
                  </a:cubicBezTo>
                  <a:cubicBezTo>
                    <a:pt x="22" y="9"/>
                    <a:pt x="23" y="10"/>
                    <a:pt x="24" y="10"/>
                  </a:cubicBezTo>
                  <a:cubicBezTo>
                    <a:pt x="27" y="10"/>
                    <a:pt x="30" y="10"/>
                    <a:pt x="32" y="9"/>
                  </a:cubicBezTo>
                  <a:cubicBezTo>
                    <a:pt x="33" y="8"/>
                    <a:pt x="34" y="6"/>
                    <a:pt x="35" y="6"/>
                  </a:cubicBezTo>
                  <a:cubicBezTo>
                    <a:pt x="37" y="4"/>
                    <a:pt x="40" y="5"/>
                    <a:pt x="40" y="5"/>
                  </a:cubicBezTo>
                  <a:cubicBezTo>
                    <a:pt x="42" y="6"/>
                    <a:pt x="42" y="6"/>
                    <a:pt x="42" y="6"/>
                  </a:cubicBezTo>
                  <a:cubicBezTo>
                    <a:pt x="41" y="8"/>
                    <a:pt x="41" y="8"/>
                    <a:pt x="41" y="8"/>
                  </a:cubicBezTo>
                  <a:cubicBezTo>
                    <a:pt x="41" y="8"/>
                    <a:pt x="38" y="10"/>
                    <a:pt x="34" y="12"/>
                  </a:cubicBezTo>
                  <a:cubicBezTo>
                    <a:pt x="32" y="15"/>
                    <a:pt x="31" y="22"/>
                    <a:pt x="31" y="34"/>
                  </a:cubicBezTo>
                  <a:cubicBezTo>
                    <a:pt x="31" y="67"/>
                    <a:pt x="35" y="84"/>
                    <a:pt x="35" y="84"/>
                  </a:cubicBezTo>
                  <a:cubicBezTo>
                    <a:pt x="33" y="85"/>
                    <a:pt x="33" y="85"/>
                    <a:pt x="33" y="85"/>
                  </a:cubicBezTo>
                  <a:moveTo>
                    <a:pt x="3" y="11"/>
                  </a:moveTo>
                  <a:cubicBezTo>
                    <a:pt x="3" y="11"/>
                    <a:pt x="4" y="11"/>
                    <a:pt x="5" y="11"/>
                  </a:cubicBezTo>
                  <a:cubicBezTo>
                    <a:pt x="4" y="10"/>
                    <a:pt x="3" y="10"/>
                    <a:pt x="3" y="10"/>
                  </a:cubicBezTo>
                  <a:cubicBezTo>
                    <a:pt x="3" y="10"/>
                    <a:pt x="3" y="10"/>
                    <a:pt x="3" y="11"/>
                  </a:cubicBezTo>
                </a:path>
              </a:pathLst>
            </a:custGeom>
            <a:solidFill>
              <a:srgbClr val="4F4E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50" name="Freeform 3051">
              <a:extLst>
                <a:ext uri="{FF2B5EF4-FFF2-40B4-BE49-F238E27FC236}">
                  <a16:creationId xmlns:a16="http://schemas.microsoft.com/office/drawing/2014/main" id="{37AB2F7E-7040-DE52-83AE-D585C0EBA926}"/>
                </a:ext>
              </a:extLst>
            </p:cNvPr>
            <p:cNvSpPr>
              <a:spLocks/>
            </p:cNvSpPr>
            <p:nvPr/>
          </p:nvSpPr>
          <p:spPr bwMode="auto">
            <a:xfrm>
              <a:off x="5314950" y="3113088"/>
              <a:ext cx="69850" cy="46038"/>
            </a:xfrm>
            <a:custGeom>
              <a:avLst/>
              <a:gdLst>
                <a:gd name="T0" fmla="*/ 0 w 86"/>
                <a:gd name="T1" fmla="*/ 0 h 56"/>
                <a:gd name="T2" fmla="*/ 0 w 86"/>
                <a:gd name="T3" fmla="*/ 46 h 56"/>
                <a:gd name="T4" fmla="*/ 10 w 86"/>
                <a:gd name="T5" fmla="*/ 56 h 56"/>
                <a:gd name="T6" fmla="*/ 75 w 86"/>
                <a:gd name="T7" fmla="*/ 56 h 56"/>
                <a:gd name="T8" fmla="*/ 86 w 86"/>
                <a:gd name="T9" fmla="*/ 46 h 56"/>
                <a:gd name="T10" fmla="*/ 86 w 86"/>
                <a:gd name="T11" fmla="*/ 0 h 56"/>
                <a:gd name="T12" fmla="*/ 0 w 86"/>
                <a:gd name="T13" fmla="*/ 0 h 56"/>
              </a:gdLst>
              <a:ahLst/>
              <a:cxnLst>
                <a:cxn ang="0">
                  <a:pos x="T0" y="T1"/>
                </a:cxn>
                <a:cxn ang="0">
                  <a:pos x="T2" y="T3"/>
                </a:cxn>
                <a:cxn ang="0">
                  <a:pos x="T4" y="T5"/>
                </a:cxn>
                <a:cxn ang="0">
                  <a:pos x="T6" y="T7"/>
                </a:cxn>
                <a:cxn ang="0">
                  <a:pos x="T8" y="T9"/>
                </a:cxn>
                <a:cxn ang="0">
                  <a:pos x="T10" y="T11"/>
                </a:cxn>
                <a:cxn ang="0">
                  <a:pos x="T12" y="T13"/>
                </a:cxn>
              </a:cxnLst>
              <a:rect l="0" t="0" r="r" b="b"/>
              <a:pathLst>
                <a:path w="86" h="56">
                  <a:moveTo>
                    <a:pt x="0" y="0"/>
                  </a:moveTo>
                  <a:cubicBezTo>
                    <a:pt x="0" y="46"/>
                    <a:pt x="0" y="46"/>
                    <a:pt x="0" y="46"/>
                  </a:cubicBezTo>
                  <a:cubicBezTo>
                    <a:pt x="0" y="52"/>
                    <a:pt x="4" y="56"/>
                    <a:pt x="10" y="56"/>
                  </a:cubicBezTo>
                  <a:cubicBezTo>
                    <a:pt x="75" y="56"/>
                    <a:pt x="75" y="56"/>
                    <a:pt x="75" y="56"/>
                  </a:cubicBezTo>
                  <a:cubicBezTo>
                    <a:pt x="81" y="56"/>
                    <a:pt x="86" y="52"/>
                    <a:pt x="86" y="46"/>
                  </a:cubicBezTo>
                  <a:cubicBezTo>
                    <a:pt x="86" y="0"/>
                    <a:pt x="86" y="0"/>
                    <a:pt x="86" y="0"/>
                  </a:cubicBezTo>
                  <a:cubicBezTo>
                    <a:pt x="0" y="0"/>
                    <a:pt x="0" y="0"/>
                    <a:pt x="0" y="0"/>
                  </a:cubicBezTo>
                </a:path>
              </a:pathLst>
            </a:custGeom>
            <a:solidFill>
              <a:srgbClr val="1E2F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51" name="Freeform 3052">
              <a:extLst>
                <a:ext uri="{FF2B5EF4-FFF2-40B4-BE49-F238E27FC236}">
                  <a16:creationId xmlns:a16="http://schemas.microsoft.com/office/drawing/2014/main" id="{C85E790F-AD1C-3A1C-E1D8-15C268217C23}"/>
                </a:ext>
              </a:extLst>
            </p:cNvPr>
            <p:cNvSpPr>
              <a:spLocks/>
            </p:cNvSpPr>
            <p:nvPr/>
          </p:nvSpPr>
          <p:spPr bwMode="auto">
            <a:xfrm>
              <a:off x="5314950" y="3116263"/>
              <a:ext cx="69850" cy="4763"/>
            </a:xfrm>
            <a:custGeom>
              <a:avLst/>
              <a:gdLst>
                <a:gd name="T0" fmla="*/ 82 w 86"/>
                <a:gd name="T1" fmla="*/ 0 h 6"/>
                <a:gd name="T2" fmla="*/ 3 w 86"/>
                <a:gd name="T3" fmla="*/ 0 h 6"/>
                <a:gd name="T4" fmla="*/ 0 w 86"/>
                <a:gd name="T5" fmla="*/ 3 h 6"/>
                <a:gd name="T6" fmla="*/ 3 w 86"/>
                <a:gd name="T7" fmla="*/ 6 h 6"/>
                <a:gd name="T8" fmla="*/ 3 w 86"/>
                <a:gd name="T9" fmla="*/ 6 h 6"/>
                <a:gd name="T10" fmla="*/ 82 w 86"/>
                <a:gd name="T11" fmla="*/ 6 h 6"/>
                <a:gd name="T12" fmla="*/ 82 w 86"/>
                <a:gd name="T13" fmla="*/ 6 h 6"/>
                <a:gd name="T14" fmla="*/ 86 w 86"/>
                <a:gd name="T15" fmla="*/ 3 h 6"/>
                <a:gd name="T16" fmla="*/ 82 w 8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 h="6">
                  <a:moveTo>
                    <a:pt x="82" y="0"/>
                  </a:moveTo>
                  <a:cubicBezTo>
                    <a:pt x="3" y="0"/>
                    <a:pt x="3" y="0"/>
                    <a:pt x="3" y="0"/>
                  </a:cubicBezTo>
                  <a:cubicBezTo>
                    <a:pt x="1" y="0"/>
                    <a:pt x="0" y="2"/>
                    <a:pt x="0" y="3"/>
                  </a:cubicBezTo>
                  <a:cubicBezTo>
                    <a:pt x="0" y="5"/>
                    <a:pt x="1" y="6"/>
                    <a:pt x="3" y="6"/>
                  </a:cubicBezTo>
                  <a:cubicBezTo>
                    <a:pt x="3" y="6"/>
                    <a:pt x="3" y="6"/>
                    <a:pt x="3" y="6"/>
                  </a:cubicBezTo>
                  <a:cubicBezTo>
                    <a:pt x="82" y="6"/>
                    <a:pt x="82" y="6"/>
                    <a:pt x="82" y="6"/>
                  </a:cubicBezTo>
                  <a:cubicBezTo>
                    <a:pt x="82" y="6"/>
                    <a:pt x="82" y="6"/>
                    <a:pt x="82" y="6"/>
                  </a:cubicBezTo>
                  <a:cubicBezTo>
                    <a:pt x="84" y="6"/>
                    <a:pt x="86" y="5"/>
                    <a:pt x="86" y="3"/>
                  </a:cubicBezTo>
                  <a:cubicBezTo>
                    <a:pt x="86" y="2"/>
                    <a:pt x="84" y="0"/>
                    <a:pt x="82" y="0"/>
                  </a:cubicBezTo>
                </a:path>
              </a:pathLst>
            </a:custGeom>
            <a:solidFill>
              <a:srgbClr val="354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52" name="Freeform 3053">
              <a:extLst>
                <a:ext uri="{FF2B5EF4-FFF2-40B4-BE49-F238E27FC236}">
                  <a16:creationId xmlns:a16="http://schemas.microsoft.com/office/drawing/2014/main" id="{A5F3BE5B-2E40-C69F-F00F-1609D4F9CE0A}"/>
                </a:ext>
              </a:extLst>
            </p:cNvPr>
            <p:cNvSpPr>
              <a:spLocks/>
            </p:cNvSpPr>
            <p:nvPr/>
          </p:nvSpPr>
          <p:spPr bwMode="auto">
            <a:xfrm>
              <a:off x="5314950" y="3125788"/>
              <a:ext cx="69850" cy="4763"/>
            </a:xfrm>
            <a:custGeom>
              <a:avLst/>
              <a:gdLst>
                <a:gd name="T0" fmla="*/ 82 w 86"/>
                <a:gd name="T1" fmla="*/ 0 h 6"/>
                <a:gd name="T2" fmla="*/ 3 w 86"/>
                <a:gd name="T3" fmla="*/ 0 h 6"/>
                <a:gd name="T4" fmla="*/ 0 w 86"/>
                <a:gd name="T5" fmla="*/ 3 h 6"/>
                <a:gd name="T6" fmla="*/ 3 w 86"/>
                <a:gd name="T7" fmla="*/ 6 h 6"/>
                <a:gd name="T8" fmla="*/ 3 w 86"/>
                <a:gd name="T9" fmla="*/ 6 h 6"/>
                <a:gd name="T10" fmla="*/ 82 w 86"/>
                <a:gd name="T11" fmla="*/ 6 h 6"/>
                <a:gd name="T12" fmla="*/ 82 w 86"/>
                <a:gd name="T13" fmla="*/ 6 h 6"/>
                <a:gd name="T14" fmla="*/ 86 w 86"/>
                <a:gd name="T15" fmla="*/ 3 h 6"/>
                <a:gd name="T16" fmla="*/ 82 w 8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 h="6">
                  <a:moveTo>
                    <a:pt x="82" y="0"/>
                  </a:moveTo>
                  <a:cubicBezTo>
                    <a:pt x="3" y="0"/>
                    <a:pt x="3" y="0"/>
                    <a:pt x="3" y="0"/>
                  </a:cubicBezTo>
                  <a:cubicBezTo>
                    <a:pt x="1" y="0"/>
                    <a:pt x="0" y="1"/>
                    <a:pt x="0" y="3"/>
                  </a:cubicBezTo>
                  <a:cubicBezTo>
                    <a:pt x="0" y="4"/>
                    <a:pt x="1" y="6"/>
                    <a:pt x="3" y="6"/>
                  </a:cubicBezTo>
                  <a:cubicBezTo>
                    <a:pt x="3" y="6"/>
                    <a:pt x="3" y="6"/>
                    <a:pt x="3" y="6"/>
                  </a:cubicBezTo>
                  <a:cubicBezTo>
                    <a:pt x="82" y="6"/>
                    <a:pt x="82" y="6"/>
                    <a:pt x="82" y="6"/>
                  </a:cubicBezTo>
                  <a:cubicBezTo>
                    <a:pt x="82" y="6"/>
                    <a:pt x="82" y="6"/>
                    <a:pt x="82" y="6"/>
                  </a:cubicBezTo>
                  <a:cubicBezTo>
                    <a:pt x="84" y="6"/>
                    <a:pt x="86" y="4"/>
                    <a:pt x="86" y="3"/>
                  </a:cubicBezTo>
                  <a:cubicBezTo>
                    <a:pt x="86" y="1"/>
                    <a:pt x="84" y="0"/>
                    <a:pt x="82" y="0"/>
                  </a:cubicBezTo>
                </a:path>
              </a:pathLst>
            </a:custGeom>
            <a:solidFill>
              <a:srgbClr val="354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53" name="Freeform 3054">
              <a:extLst>
                <a:ext uri="{FF2B5EF4-FFF2-40B4-BE49-F238E27FC236}">
                  <a16:creationId xmlns:a16="http://schemas.microsoft.com/office/drawing/2014/main" id="{71A59A28-0AFA-9B2B-115D-60AA7DD5C399}"/>
                </a:ext>
              </a:extLst>
            </p:cNvPr>
            <p:cNvSpPr>
              <a:spLocks/>
            </p:cNvSpPr>
            <p:nvPr/>
          </p:nvSpPr>
          <p:spPr bwMode="auto">
            <a:xfrm>
              <a:off x="5314950" y="3135313"/>
              <a:ext cx="69850" cy="4763"/>
            </a:xfrm>
            <a:custGeom>
              <a:avLst/>
              <a:gdLst>
                <a:gd name="T0" fmla="*/ 82 w 86"/>
                <a:gd name="T1" fmla="*/ 0 h 5"/>
                <a:gd name="T2" fmla="*/ 3 w 86"/>
                <a:gd name="T3" fmla="*/ 0 h 5"/>
                <a:gd name="T4" fmla="*/ 0 w 86"/>
                <a:gd name="T5" fmla="*/ 2 h 5"/>
                <a:gd name="T6" fmla="*/ 3 w 86"/>
                <a:gd name="T7" fmla="*/ 5 h 5"/>
                <a:gd name="T8" fmla="*/ 3 w 86"/>
                <a:gd name="T9" fmla="*/ 5 h 5"/>
                <a:gd name="T10" fmla="*/ 82 w 86"/>
                <a:gd name="T11" fmla="*/ 5 h 5"/>
                <a:gd name="T12" fmla="*/ 82 w 86"/>
                <a:gd name="T13" fmla="*/ 5 h 5"/>
                <a:gd name="T14" fmla="*/ 86 w 86"/>
                <a:gd name="T15" fmla="*/ 2 h 5"/>
                <a:gd name="T16" fmla="*/ 82 w 86"/>
                <a:gd name="T1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 h="5">
                  <a:moveTo>
                    <a:pt x="82" y="0"/>
                  </a:moveTo>
                  <a:cubicBezTo>
                    <a:pt x="3" y="0"/>
                    <a:pt x="3" y="0"/>
                    <a:pt x="3" y="0"/>
                  </a:cubicBezTo>
                  <a:cubicBezTo>
                    <a:pt x="1" y="0"/>
                    <a:pt x="0" y="1"/>
                    <a:pt x="0" y="2"/>
                  </a:cubicBezTo>
                  <a:cubicBezTo>
                    <a:pt x="0" y="4"/>
                    <a:pt x="1" y="5"/>
                    <a:pt x="3" y="5"/>
                  </a:cubicBezTo>
                  <a:cubicBezTo>
                    <a:pt x="3" y="5"/>
                    <a:pt x="3" y="5"/>
                    <a:pt x="3" y="5"/>
                  </a:cubicBezTo>
                  <a:cubicBezTo>
                    <a:pt x="82" y="5"/>
                    <a:pt x="82" y="5"/>
                    <a:pt x="82" y="5"/>
                  </a:cubicBezTo>
                  <a:cubicBezTo>
                    <a:pt x="82" y="5"/>
                    <a:pt x="82" y="5"/>
                    <a:pt x="82" y="5"/>
                  </a:cubicBezTo>
                  <a:cubicBezTo>
                    <a:pt x="84" y="5"/>
                    <a:pt x="86" y="4"/>
                    <a:pt x="86" y="2"/>
                  </a:cubicBezTo>
                  <a:cubicBezTo>
                    <a:pt x="86" y="1"/>
                    <a:pt x="84" y="0"/>
                    <a:pt x="82" y="0"/>
                  </a:cubicBezTo>
                </a:path>
              </a:pathLst>
            </a:custGeom>
            <a:solidFill>
              <a:srgbClr val="354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54" name="Freeform 3055">
              <a:extLst>
                <a:ext uri="{FF2B5EF4-FFF2-40B4-BE49-F238E27FC236}">
                  <a16:creationId xmlns:a16="http://schemas.microsoft.com/office/drawing/2014/main" id="{0C23F95F-5472-14C4-01A0-1945D9229994}"/>
                </a:ext>
              </a:extLst>
            </p:cNvPr>
            <p:cNvSpPr>
              <a:spLocks/>
            </p:cNvSpPr>
            <p:nvPr/>
          </p:nvSpPr>
          <p:spPr bwMode="auto">
            <a:xfrm>
              <a:off x="5314950" y="3144838"/>
              <a:ext cx="69850" cy="4763"/>
            </a:xfrm>
            <a:custGeom>
              <a:avLst/>
              <a:gdLst>
                <a:gd name="T0" fmla="*/ 82 w 86"/>
                <a:gd name="T1" fmla="*/ 0 h 6"/>
                <a:gd name="T2" fmla="*/ 3 w 86"/>
                <a:gd name="T3" fmla="*/ 0 h 6"/>
                <a:gd name="T4" fmla="*/ 0 w 86"/>
                <a:gd name="T5" fmla="*/ 3 h 6"/>
                <a:gd name="T6" fmla="*/ 3 w 86"/>
                <a:gd name="T7" fmla="*/ 6 h 6"/>
                <a:gd name="T8" fmla="*/ 3 w 86"/>
                <a:gd name="T9" fmla="*/ 6 h 6"/>
                <a:gd name="T10" fmla="*/ 82 w 86"/>
                <a:gd name="T11" fmla="*/ 6 h 6"/>
                <a:gd name="T12" fmla="*/ 82 w 86"/>
                <a:gd name="T13" fmla="*/ 6 h 6"/>
                <a:gd name="T14" fmla="*/ 86 w 86"/>
                <a:gd name="T15" fmla="*/ 3 h 6"/>
                <a:gd name="T16" fmla="*/ 82 w 8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 h="6">
                  <a:moveTo>
                    <a:pt x="82" y="0"/>
                  </a:moveTo>
                  <a:cubicBezTo>
                    <a:pt x="3" y="0"/>
                    <a:pt x="3" y="0"/>
                    <a:pt x="3" y="0"/>
                  </a:cubicBezTo>
                  <a:cubicBezTo>
                    <a:pt x="1" y="0"/>
                    <a:pt x="0" y="2"/>
                    <a:pt x="0" y="3"/>
                  </a:cubicBezTo>
                  <a:cubicBezTo>
                    <a:pt x="0" y="5"/>
                    <a:pt x="1" y="6"/>
                    <a:pt x="3" y="6"/>
                  </a:cubicBezTo>
                  <a:cubicBezTo>
                    <a:pt x="3" y="6"/>
                    <a:pt x="3" y="6"/>
                    <a:pt x="3" y="6"/>
                  </a:cubicBezTo>
                  <a:cubicBezTo>
                    <a:pt x="82" y="6"/>
                    <a:pt x="82" y="6"/>
                    <a:pt x="82" y="6"/>
                  </a:cubicBezTo>
                  <a:cubicBezTo>
                    <a:pt x="82" y="6"/>
                    <a:pt x="82" y="6"/>
                    <a:pt x="82" y="6"/>
                  </a:cubicBezTo>
                  <a:cubicBezTo>
                    <a:pt x="84" y="6"/>
                    <a:pt x="86" y="5"/>
                    <a:pt x="86" y="3"/>
                  </a:cubicBezTo>
                  <a:cubicBezTo>
                    <a:pt x="86" y="2"/>
                    <a:pt x="84" y="0"/>
                    <a:pt x="82" y="0"/>
                  </a:cubicBezTo>
                </a:path>
              </a:pathLst>
            </a:custGeom>
            <a:solidFill>
              <a:srgbClr val="354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55" name="Freeform 3056">
              <a:extLst>
                <a:ext uri="{FF2B5EF4-FFF2-40B4-BE49-F238E27FC236}">
                  <a16:creationId xmlns:a16="http://schemas.microsoft.com/office/drawing/2014/main" id="{31DA7BC4-ED0C-C456-69C5-DE9F1B7A82CD}"/>
                </a:ext>
              </a:extLst>
            </p:cNvPr>
            <p:cNvSpPr>
              <a:spLocks/>
            </p:cNvSpPr>
            <p:nvPr/>
          </p:nvSpPr>
          <p:spPr bwMode="auto">
            <a:xfrm>
              <a:off x="5314950" y="3121025"/>
              <a:ext cx="69850" cy="4763"/>
            </a:xfrm>
            <a:custGeom>
              <a:avLst/>
              <a:gdLst>
                <a:gd name="T0" fmla="*/ 82 w 86"/>
                <a:gd name="T1" fmla="*/ 0 h 6"/>
                <a:gd name="T2" fmla="*/ 82 w 86"/>
                <a:gd name="T3" fmla="*/ 0 h 6"/>
                <a:gd name="T4" fmla="*/ 3 w 86"/>
                <a:gd name="T5" fmla="*/ 0 h 6"/>
                <a:gd name="T6" fmla="*/ 3 w 86"/>
                <a:gd name="T7" fmla="*/ 0 h 6"/>
                <a:gd name="T8" fmla="*/ 0 w 86"/>
                <a:gd name="T9" fmla="*/ 3 h 6"/>
                <a:gd name="T10" fmla="*/ 3 w 86"/>
                <a:gd name="T11" fmla="*/ 6 h 6"/>
                <a:gd name="T12" fmla="*/ 82 w 86"/>
                <a:gd name="T13" fmla="*/ 6 h 6"/>
                <a:gd name="T14" fmla="*/ 86 w 86"/>
                <a:gd name="T15" fmla="*/ 3 h 6"/>
                <a:gd name="T16" fmla="*/ 82 w 8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 h="6">
                  <a:moveTo>
                    <a:pt x="82" y="0"/>
                  </a:moveTo>
                  <a:cubicBezTo>
                    <a:pt x="82" y="0"/>
                    <a:pt x="82" y="0"/>
                    <a:pt x="82" y="0"/>
                  </a:cubicBezTo>
                  <a:cubicBezTo>
                    <a:pt x="3" y="0"/>
                    <a:pt x="3" y="0"/>
                    <a:pt x="3" y="0"/>
                  </a:cubicBezTo>
                  <a:cubicBezTo>
                    <a:pt x="3" y="0"/>
                    <a:pt x="3" y="0"/>
                    <a:pt x="3" y="0"/>
                  </a:cubicBezTo>
                  <a:cubicBezTo>
                    <a:pt x="1" y="0"/>
                    <a:pt x="0" y="1"/>
                    <a:pt x="0" y="3"/>
                  </a:cubicBezTo>
                  <a:cubicBezTo>
                    <a:pt x="0" y="5"/>
                    <a:pt x="1" y="6"/>
                    <a:pt x="3" y="6"/>
                  </a:cubicBezTo>
                  <a:cubicBezTo>
                    <a:pt x="82" y="6"/>
                    <a:pt x="82" y="6"/>
                    <a:pt x="82" y="6"/>
                  </a:cubicBezTo>
                  <a:cubicBezTo>
                    <a:pt x="84" y="6"/>
                    <a:pt x="86" y="5"/>
                    <a:pt x="86" y="3"/>
                  </a:cubicBezTo>
                  <a:cubicBezTo>
                    <a:pt x="86" y="1"/>
                    <a:pt x="84" y="0"/>
                    <a:pt x="82" y="0"/>
                  </a:cubicBezTo>
                </a:path>
              </a:pathLst>
            </a:custGeom>
            <a:solidFill>
              <a:srgbClr val="1B2A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56" name="Freeform 3057">
              <a:extLst>
                <a:ext uri="{FF2B5EF4-FFF2-40B4-BE49-F238E27FC236}">
                  <a16:creationId xmlns:a16="http://schemas.microsoft.com/office/drawing/2014/main" id="{599B1729-0E93-8A2F-49AE-0762E9472B23}"/>
                </a:ext>
              </a:extLst>
            </p:cNvPr>
            <p:cNvSpPr>
              <a:spLocks/>
            </p:cNvSpPr>
            <p:nvPr/>
          </p:nvSpPr>
          <p:spPr bwMode="auto">
            <a:xfrm>
              <a:off x="5314950" y="3130550"/>
              <a:ext cx="69850" cy="4763"/>
            </a:xfrm>
            <a:custGeom>
              <a:avLst/>
              <a:gdLst>
                <a:gd name="T0" fmla="*/ 82 w 86"/>
                <a:gd name="T1" fmla="*/ 0 h 6"/>
                <a:gd name="T2" fmla="*/ 82 w 86"/>
                <a:gd name="T3" fmla="*/ 0 h 6"/>
                <a:gd name="T4" fmla="*/ 3 w 86"/>
                <a:gd name="T5" fmla="*/ 0 h 6"/>
                <a:gd name="T6" fmla="*/ 3 w 86"/>
                <a:gd name="T7" fmla="*/ 0 h 6"/>
                <a:gd name="T8" fmla="*/ 0 w 86"/>
                <a:gd name="T9" fmla="*/ 3 h 6"/>
                <a:gd name="T10" fmla="*/ 3 w 86"/>
                <a:gd name="T11" fmla="*/ 6 h 6"/>
                <a:gd name="T12" fmla="*/ 82 w 86"/>
                <a:gd name="T13" fmla="*/ 6 h 6"/>
                <a:gd name="T14" fmla="*/ 86 w 86"/>
                <a:gd name="T15" fmla="*/ 3 h 6"/>
                <a:gd name="T16" fmla="*/ 82 w 8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 h="6">
                  <a:moveTo>
                    <a:pt x="82" y="0"/>
                  </a:moveTo>
                  <a:cubicBezTo>
                    <a:pt x="82" y="0"/>
                    <a:pt x="82" y="0"/>
                    <a:pt x="82" y="0"/>
                  </a:cubicBezTo>
                  <a:cubicBezTo>
                    <a:pt x="3" y="0"/>
                    <a:pt x="3" y="0"/>
                    <a:pt x="3" y="0"/>
                  </a:cubicBezTo>
                  <a:cubicBezTo>
                    <a:pt x="3" y="0"/>
                    <a:pt x="3" y="0"/>
                    <a:pt x="3" y="0"/>
                  </a:cubicBezTo>
                  <a:cubicBezTo>
                    <a:pt x="1" y="0"/>
                    <a:pt x="0" y="1"/>
                    <a:pt x="0" y="3"/>
                  </a:cubicBezTo>
                  <a:cubicBezTo>
                    <a:pt x="0" y="4"/>
                    <a:pt x="1" y="6"/>
                    <a:pt x="3" y="6"/>
                  </a:cubicBezTo>
                  <a:cubicBezTo>
                    <a:pt x="82" y="6"/>
                    <a:pt x="82" y="6"/>
                    <a:pt x="82" y="6"/>
                  </a:cubicBezTo>
                  <a:cubicBezTo>
                    <a:pt x="84" y="6"/>
                    <a:pt x="86" y="4"/>
                    <a:pt x="86" y="3"/>
                  </a:cubicBezTo>
                  <a:cubicBezTo>
                    <a:pt x="86" y="1"/>
                    <a:pt x="84" y="0"/>
                    <a:pt x="82" y="0"/>
                  </a:cubicBezTo>
                </a:path>
              </a:pathLst>
            </a:custGeom>
            <a:solidFill>
              <a:srgbClr val="1B2A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57" name="Freeform 3058">
              <a:extLst>
                <a:ext uri="{FF2B5EF4-FFF2-40B4-BE49-F238E27FC236}">
                  <a16:creationId xmlns:a16="http://schemas.microsoft.com/office/drawing/2014/main" id="{1B7C5F3D-2553-33F6-3CBE-F03F85D0C7A4}"/>
                </a:ext>
              </a:extLst>
            </p:cNvPr>
            <p:cNvSpPr>
              <a:spLocks/>
            </p:cNvSpPr>
            <p:nvPr/>
          </p:nvSpPr>
          <p:spPr bwMode="auto">
            <a:xfrm>
              <a:off x="5314950" y="3140075"/>
              <a:ext cx="69850" cy="4763"/>
            </a:xfrm>
            <a:custGeom>
              <a:avLst/>
              <a:gdLst>
                <a:gd name="T0" fmla="*/ 82 w 86"/>
                <a:gd name="T1" fmla="*/ 0 h 6"/>
                <a:gd name="T2" fmla="*/ 82 w 86"/>
                <a:gd name="T3" fmla="*/ 0 h 6"/>
                <a:gd name="T4" fmla="*/ 3 w 86"/>
                <a:gd name="T5" fmla="*/ 0 h 6"/>
                <a:gd name="T6" fmla="*/ 3 w 86"/>
                <a:gd name="T7" fmla="*/ 0 h 6"/>
                <a:gd name="T8" fmla="*/ 0 w 86"/>
                <a:gd name="T9" fmla="*/ 3 h 6"/>
                <a:gd name="T10" fmla="*/ 3 w 86"/>
                <a:gd name="T11" fmla="*/ 6 h 6"/>
                <a:gd name="T12" fmla="*/ 82 w 86"/>
                <a:gd name="T13" fmla="*/ 6 h 6"/>
                <a:gd name="T14" fmla="*/ 86 w 86"/>
                <a:gd name="T15" fmla="*/ 3 h 6"/>
                <a:gd name="T16" fmla="*/ 82 w 8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 h="6">
                  <a:moveTo>
                    <a:pt x="82" y="0"/>
                  </a:moveTo>
                  <a:cubicBezTo>
                    <a:pt x="82" y="0"/>
                    <a:pt x="82" y="0"/>
                    <a:pt x="82" y="0"/>
                  </a:cubicBezTo>
                  <a:cubicBezTo>
                    <a:pt x="3" y="0"/>
                    <a:pt x="3" y="0"/>
                    <a:pt x="3" y="0"/>
                  </a:cubicBezTo>
                  <a:cubicBezTo>
                    <a:pt x="3" y="0"/>
                    <a:pt x="3" y="0"/>
                    <a:pt x="3" y="0"/>
                  </a:cubicBezTo>
                  <a:cubicBezTo>
                    <a:pt x="1" y="0"/>
                    <a:pt x="0" y="2"/>
                    <a:pt x="0" y="3"/>
                  </a:cubicBezTo>
                  <a:cubicBezTo>
                    <a:pt x="0" y="5"/>
                    <a:pt x="1" y="6"/>
                    <a:pt x="3" y="6"/>
                  </a:cubicBezTo>
                  <a:cubicBezTo>
                    <a:pt x="82" y="6"/>
                    <a:pt x="82" y="6"/>
                    <a:pt x="82" y="6"/>
                  </a:cubicBezTo>
                  <a:cubicBezTo>
                    <a:pt x="84" y="6"/>
                    <a:pt x="86" y="5"/>
                    <a:pt x="86" y="3"/>
                  </a:cubicBezTo>
                  <a:cubicBezTo>
                    <a:pt x="86" y="2"/>
                    <a:pt x="84" y="0"/>
                    <a:pt x="82" y="0"/>
                  </a:cubicBezTo>
                </a:path>
              </a:pathLst>
            </a:custGeom>
            <a:solidFill>
              <a:srgbClr val="1B2A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58" name="Freeform 3059">
              <a:extLst>
                <a:ext uri="{FF2B5EF4-FFF2-40B4-BE49-F238E27FC236}">
                  <a16:creationId xmlns:a16="http://schemas.microsoft.com/office/drawing/2014/main" id="{860F6C61-7AEB-4530-60CD-0A1CAB5F758E}"/>
                </a:ext>
              </a:extLst>
            </p:cNvPr>
            <p:cNvSpPr>
              <a:spLocks noEditPoints="1"/>
            </p:cNvSpPr>
            <p:nvPr/>
          </p:nvSpPr>
          <p:spPr bwMode="auto">
            <a:xfrm>
              <a:off x="5314950" y="3151188"/>
              <a:ext cx="69850" cy="3175"/>
            </a:xfrm>
            <a:custGeom>
              <a:avLst/>
              <a:gdLst>
                <a:gd name="T0" fmla="*/ 85 w 86"/>
                <a:gd name="T1" fmla="*/ 0 h 3"/>
                <a:gd name="T2" fmla="*/ 85 w 86"/>
                <a:gd name="T3" fmla="*/ 3 h 3"/>
                <a:gd name="T4" fmla="*/ 86 w 86"/>
                <a:gd name="T5" fmla="*/ 1 h 3"/>
                <a:gd name="T6" fmla="*/ 85 w 86"/>
                <a:gd name="T7" fmla="*/ 0 h 3"/>
                <a:gd name="T8" fmla="*/ 0 w 86"/>
                <a:gd name="T9" fmla="*/ 0 h 3"/>
                <a:gd name="T10" fmla="*/ 0 w 86"/>
                <a:gd name="T11" fmla="*/ 1 h 3"/>
                <a:gd name="T12" fmla="*/ 0 w 86"/>
                <a:gd name="T13" fmla="*/ 3 h 3"/>
                <a:gd name="T14" fmla="*/ 0 w 86"/>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3">
                  <a:moveTo>
                    <a:pt x="85" y="0"/>
                  </a:moveTo>
                  <a:cubicBezTo>
                    <a:pt x="85" y="1"/>
                    <a:pt x="85" y="2"/>
                    <a:pt x="85" y="3"/>
                  </a:cubicBezTo>
                  <a:cubicBezTo>
                    <a:pt x="85" y="2"/>
                    <a:pt x="86" y="2"/>
                    <a:pt x="86" y="1"/>
                  </a:cubicBezTo>
                  <a:cubicBezTo>
                    <a:pt x="86" y="1"/>
                    <a:pt x="86" y="0"/>
                    <a:pt x="85" y="0"/>
                  </a:cubicBezTo>
                  <a:moveTo>
                    <a:pt x="0" y="0"/>
                  </a:moveTo>
                  <a:cubicBezTo>
                    <a:pt x="0" y="0"/>
                    <a:pt x="0" y="1"/>
                    <a:pt x="0" y="1"/>
                  </a:cubicBezTo>
                  <a:cubicBezTo>
                    <a:pt x="0" y="2"/>
                    <a:pt x="0" y="2"/>
                    <a:pt x="0" y="3"/>
                  </a:cubicBezTo>
                  <a:cubicBezTo>
                    <a:pt x="0" y="2"/>
                    <a:pt x="0" y="1"/>
                    <a:pt x="0" y="0"/>
                  </a:cubicBezTo>
                </a:path>
              </a:pathLst>
            </a:custGeom>
            <a:solidFill>
              <a:srgbClr val="225C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59" name="Freeform 3060">
              <a:extLst>
                <a:ext uri="{FF2B5EF4-FFF2-40B4-BE49-F238E27FC236}">
                  <a16:creationId xmlns:a16="http://schemas.microsoft.com/office/drawing/2014/main" id="{4A2FF4A3-41A7-15E1-B818-FC9EE39381C1}"/>
                </a:ext>
              </a:extLst>
            </p:cNvPr>
            <p:cNvSpPr>
              <a:spLocks/>
            </p:cNvSpPr>
            <p:nvPr/>
          </p:nvSpPr>
          <p:spPr bwMode="auto">
            <a:xfrm>
              <a:off x="5314950" y="3149600"/>
              <a:ext cx="69850" cy="4763"/>
            </a:xfrm>
            <a:custGeom>
              <a:avLst/>
              <a:gdLst>
                <a:gd name="T0" fmla="*/ 82 w 85"/>
                <a:gd name="T1" fmla="*/ 0 h 6"/>
                <a:gd name="T2" fmla="*/ 82 w 85"/>
                <a:gd name="T3" fmla="*/ 0 h 6"/>
                <a:gd name="T4" fmla="*/ 3 w 85"/>
                <a:gd name="T5" fmla="*/ 0 h 6"/>
                <a:gd name="T6" fmla="*/ 3 w 85"/>
                <a:gd name="T7" fmla="*/ 0 h 6"/>
                <a:gd name="T8" fmla="*/ 0 w 85"/>
                <a:gd name="T9" fmla="*/ 2 h 6"/>
                <a:gd name="T10" fmla="*/ 0 w 85"/>
                <a:gd name="T11" fmla="*/ 5 h 6"/>
                <a:gd name="T12" fmla="*/ 3 w 85"/>
                <a:gd name="T13" fmla="*/ 6 h 6"/>
                <a:gd name="T14" fmla="*/ 82 w 85"/>
                <a:gd name="T15" fmla="*/ 6 h 6"/>
                <a:gd name="T16" fmla="*/ 85 w 85"/>
                <a:gd name="T17" fmla="*/ 5 h 6"/>
                <a:gd name="T18" fmla="*/ 85 w 85"/>
                <a:gd name="T19" fmla="*/ 2 h 6"/>
                <a:gd name="T20" fmla="*/ 82 w 85"/>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6">
                  <a:moveTo>
                    <a:pt x="82" y="0"/>
                  </a:moveTo>
                  <a:cubicBezTo>
                    <a:pt x="82" y="0"/>
                    <a:pt x="82" y="0"/>
                    <a:pt x="82" y="0"/>
                  </a:cubicBezTo>
                  <a:cubicBezTo>
                    <a:pt x="3" y="0"/>
                    <a:pt x="3" y="0"/>
                    <a:pt x="3" y="0"/>
                  </a:cubicBezTo>
                  <a:cubicBezTo>
                    <a:pt x="3" y="0"/>
                    <a:pt x="3" y="0"/>
                    <a:pt x="3" y="0"/>
                  </a:cubicBezTo>
                  <a:cubicBezTo>
                    <a:pt x="1" y="0"/>
                    <a:pt x="0" y="1"/>
                    <a:pt x="0" y="2"/>
                  </a:cubicBezTo>
                  <a:cubicBezTo>
                    <a:pt x="0" y="3"/>
                    <a:pt x="0" y="4"/>
                    <a:pt x="0" y="5"/>
                  </a:cubicBezTo>
                  <a:cubicBezTo>
                    <a:pt x="1" y="6"/>
                    <a:pt x="2" y="6"/>
                    <a:pt x="3" y="6"/>
                  </a:cubicBezTo>
                  <a:cubicBezTo>
                    <a:pt x="82" y="6"/>
                    <a:pt x="82" y="6"/>
                    <a:pt x="82" y="6"/>
                  </a:cubicBezTo>
                  <a:cubicBezTo>
                    <a:pt x="83" y="6"/>
                    <a:pt x="84" y="6"/>
                    <a:pt x="85" y="5"/>
                  </a:cubicBezTo>
                  <a:cubicBezTo>
                    <a:pt x="85" y="4"/>
                    <a:pt x="85" y="3"/>
                    <a:pt x="85" y="2"/>
                  </a:cubicBezTo>
                  <a:cubicBezTo>
                    <a:pt x="85" y="1"/>
                    <a:pt x="84" y="0"/>
                    <a:pt x="82" y="0"/>
                  </a:cubicBezTo>
                </a:path>
              </a:pathLst>
            </a:custGeom>
            <a:solidFill>
              <a:srgbClr val="1B2A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60" name="Freeform 3061">
              <a:extLst>
                <a:ext uri="{FF2B5EF4-FFF2-40B4-BE49-F238E27FC236}">
                  <a16:creationId xmlns:a16="http://schemas.microsoft.com/office/drawing/2014/main" id="{A2D9EAED-5ED6-ADF8-C1D7-9D3C06CD2226}"/>
                </a:ext>
              </a:extLst>
            </p:cNvPr>
            <p:cNvSpPr>
              <a:spLocks/>
            </p:cNvSpPr>
            <p:nvPr/>
          </p:nvSpPr>
          <p:spPr bwMode="auto">
            <a:xfrm>
              <a:off x="5384800" y="3019425"/>
              <a:ext cx="42863" cy="93663"/>
            </a:xfrm>
            <a:custGeom>
              <a:avLst/>
              <a:gdLst>
                <a:gd name="T0" fmla="*/ 52 w 52"/>
                <a:gd name="T1" fmla="*/ 0 h 115"/>
                <a:gd name="T2" fmla="*/ 0 w 52"/>
                <a:gd name="T3" fmla="*/ 115 h 115"/>
                <a:gd name="T4" fmla="*/ 0 w 52"/>
                <a:gd name="T5" fmla="*/ 115 h 115"/>
                <a:gd name="T6" fmla="*/ 52 w 52"/>
                <a:gd name="T7" fmla="*/ 0 h 115"/>
                <a:gd name="T8" fmla="*/ 52 w 52"/>
                <a:gd name="T9" fmla="*/ 0 h 115"/>
              </a:gdLst>
              <a:ahLst/>
              <a:cxnLst>
                <a:cxn ang="0">
                  <a:pos x="T0" y="T1"/>
                </a:cxn>
                <a:cxn ang="0">
                  <a:pos x="T2" y="T3"/>
                </a:cxn>
                <a:cxn ang="0">
                  <a:pos x="T4" y="T5"/>
                </a:cxn>
                <a:cxn ang="0">
                  <a:pos x="T6" y="T7"/>
                </a:cxn>
                <a:cxn ang="0">
                  <a:pos x="T8" y="T9"/>
                </a:cxn>
              </a:cxnLst>
              <a:rect l="0" t="0" r="r" b="b"/>
              <a:pathLst>
                <a:path w="52" h="115">
                  <a:moveTo>
                    <a:pt x="52" y="0"/>
                  </a:moveTo>
                  <a:cubicBezTo>
                    <a:pt x="51" y="37"/>
                    <a:pt x="0" y="115"/>
                    <a:pt x="0" y="115"/>
                  </a:cubicBezTo>
                  <a:cubicBezTo>
                    <a:pt x="0" y="115"/>
                    <a:pt x="0" y="115"/>
                    <a:pt x="0" y="115"/>
                  </a:cubicBezTo>
                  <a:cubicBezTo>
                    <a:pt x="0" y="115"/>
                    <a:pt x="52" y="37"/>
                    <a:pt x="52" y="0"/>
                  </a:cubicBezTo>
                  <a:cubicBezTo>
                    <a:pt x="52" y="0"/>
                    <a:pt x="52" y="0"/>
                    <a:pt x="52" y="0"/>
                  </a:cubicBezTo>
                </a:path>
              </a:pathLst>
            </a:custGeom>
            <a:solidFill>
              <a:srgbClr val="225C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61" name="Freeform 3062">
              <a:extLst>
                <a:ext uri="{FF2B5EF4-FFF2-40B4-BE49-F238E27FC236}">
                  <a16:creationId xmlns:a16="http://schemas.microsoft.com/office/drawing/2014/main" id="{B4463DFA-5839-41D2-0C53-DFB9143873E3}"/>
                </a:ext>
              </a:extLst>
            </p:cNvPr>
            <p:cNvSpPr>
              <a:spLocks/>
            </p:cNvSpPr>
            <p:nvPr/>
          </p:nvSpPr>
          <p:spPr bwMode="auto">
            <a:xfrm>
              <a:off x="5368925" y="2944813"/>
              <a:ext cx="58738" cy="168275"/>
            </a:xfrm>
            <a:custGeom>
              <a:avLst/>
              <a:gdLst>
                <a:gd name="T0" fmla="*/ 2 w 71"/>
                <a:gd name="T1" fmla="*/ 0 h 208"/>
                <a:gd name="T2" fmla="*/ 0 w 71"/>
                <a:gd name="T3" fmla="*/ 208 h 208"/>
                <a:gd name="T4" fmla="*/ 19 w 71"/>
                <a:gd name="T5" fmla="*/ 208 h 208"/>
                <a:gd name="T6" fmla="*/ 71 w 71"/>
                <a:gd name="T7" fmla="*/ 93 h 208"/>
                <a:gd name="T8" fmla="*/ 2 w 71"/>
                <a:gd name="T9" fmla="*/ 0 h 208"/>
              </a:gdLst>
              <a:ahLst/>
              <a:cxnLst>
                <a:cxn ang="0">
                  <a:pos x="T0" y="T1"/>
                </a:cxn>
                <a:cxn ang="0">
                  <a:pos x="T2" y="T3"/>
                </a:cxn>
                <a:cxn ang="0">
                  <a:pos x="T4" y="T5"/>
                </a:cxn>
                <a:cxn ang="0">
                  <a:pos x="T6" y="T7"/>
                </a:cxn>
                <a:cxn ang="0">
                  <a:pos x="T8" y="T9"/>
                </a:cxn>
              </a:cxnLst>
              <a:rect l="0" t="0" r="r" b="b"/>
              <a:pathLst>
                <a:path w="71" h="208">
                  <a:moveTo>
                    <a:pt x="2" y="0"/>
                  </a:moveTo>
                  <a:cubicBezTo>
                    <a:pt x="16" y="30"/>
                    <a:pt x="48" y="120"/>
                    <a:pt x="0" y="208"/>
                  </a:cubicBezTo>
                  <a:cubicBezTo>
                    <a:pt x="19" y="208"/>
                    <a:pt x="19" y="208"/>
                    <a:pt x="19" y="208"/>
                  </a:cubicBezTo>
                  <a:cubicBezTo>
                    <a:pt x="19" y="208"/>
                    <a:pt x="70" y="130"/>
                    <a:pt x="71" y="93"/>
                  </a:cubicBezTo>
                  <a:cubicBezTo>
                    <a:pt x="70" y="28"/>
                    <a:pt x="31" y="7"/>
                    <a:pt x="2" y="0"/>
                  </a:cubicBezTo>
                </a:path>
              </a:pathLst>
            </a:custGeom>
            <a:solidFill>
              <a:srgbClr val="E5D8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62" name="Freeform 3063">
              <a:extLst>
                <a:ext uri="{FF2B5EF4-FFF2-40B4-BE49-F238E27FC236}">
                  <a16:creationId xmlns:a16="http://schemas.microsoft.com/office/drawing/2014/main" id="{05719EF7-33EF-AC79-E5F5-D71FDA494DA6}"/>
                </a:ext>
              </a:extLst>
            </p:cNvPr>
            <p:cNvSpPr>
              <a:spLocks/>
            </p:cNvSpPr>
            <p:nvPr/>
          </p:nvSpPr>
          <p:spPr bwMode="auto">
            <a:xfrm>
              <a:off x="5368925" y="3113088"/>
              <a:ext cx="15875" cy="0"/>
            </a:xfrm>
            <a:custGeom>
              <a:avLst/>
              <a:gdLst>
                <a:gd name="T0" fmla="*/ 19 w 19"/>
                <a:gd name="T1" fmla="*/ 0 w 19"/>
                <a:gd name="T2" fmla="*/ 0 w 19"/>
                <a:gd name="T3" fmla="*/ 19 w 19"/>
                <a:gd name="T4" fmla="*/ 19 w 19"/>
              </a:gdLst>
              <a:ahLst/>
              <a:cxnLst>
                <a:cxn ang="0">
                  <a:pos x="T0" y="0"/>
                </a:cxn>
                <a:cxn ang="0">
                  <a:pos x="T1" y="0"/>
                </a:cxn>
                <a:cxn ang="0">
                  <a:pos x="T2" y="0"/>
                </a:cxn>
                <a:cxn ang="0">
                  <a:pos x="T3" y="0"/>
                </a:cxn>
                <a:cxn ang="0">
                  <a:pos x="T4" y="0"/>
                </a:cxn>
              </a:cxnLst>
              <a:rect l="0" t="0" r="r" b="b"/>
              <a:pathLst>
                <a:path w="19">
                  <a:moveTo>
                    <a:pt x="19" y="0"/>
                  </a:moveTo>
                  <a:cubicBezTo>
                    <a:pt x="0" y="0"/>
                    <a:pt x="0" y="0"/>
                    <a:pt x="0" y="0"/>
                  </a:cubicBezTo>
                  <a:cubicBezTo>
                    <a:pt x="0" y="0"/>
                    <a:pt x="0" y="0"/>
                    <a:pt x="0" y="0"/>
                  </a:cubicBezTo>
                  <a:cubicBezTo>
                    <a:pt x="19" y="0"/>
                    <a:pt x="19" y="0"/>
                    <a:pt x="19" y="0"/>
                  </a:cubicBezTo>
                  <a:cubicBezTo>
                    <a:pt x="19" y="0"/>
                    <a:pt x="19" y="0"/>
                    <a:pt x="19" y="0"/>
                  </a:cubicBezTo>
                </a:path>
              </a:pathLst>
            </a:custGeom>
            <a:solidFill>
              <a:srgbClr val="1B2A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63" name="Freeform 3064">
              <a:extLst>
                <a:ext uri="{FF2B5EF4-FFF2-40B4-BE49-F238E27FC236}">
                  <a16:creationId xmlns:a16="http://schemas.microsoft.com/office/drawing/2014/main" id="{7A2D4169-3C97-3EFA-7FAD-612E2D26F85F}"/>
                </a:ext>
              </a:extLst>
            </p:cNvPr>
            <p:cNvSpPr>
              <a:spLocks/>
            </p:cNvSpPr>
            <p:nvPr/>
          </p:nvSpPr>
          <p:spPr bwMode="auto">
            <a:xfrm>
              <a:off x="5289550" y="3000375"/>
              <a:ext cx="25400" cy="17463"/>
            </a:xfrm>
            <a:custGeom>
              <a:avLst/>
              <a:gdLst>
                <a:gd name="T0" fmla="*/ 19 w 31"/>
                <a:gd name="T1" fmla="*/ 0 h 21"/>
                <a:gd name="T2" fmla="*/ 12 w 31"/>
                <a:gd name="T3" fmla="*/ 2 h 21"/>
                <a:gd name="T4" fmla="*/ 1 w 31"/>
                <a:gd name="T5" fmla="*/ 16 h 21"/>
                <a:gd name="T6" fmla="*/ 12 w 31"/>
                <a:gd name="T7" fmla="*/ 21 h 21"/>
                <a:gd name="T8" fmla="*/ 19 w 31"/>
                <a:gd name="T9" fmla="*/ 20 h 21"/>
                <a:gd name="T10" fmla="*/ 29 w 31"/>
                <a:gd name="T11" fmla="*/ 6 h 21"/>
                <a:gd name="T12" fmla="*/ 19 w 31"/>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31" h="21">
                  <a:moveTo>
                    <a:pt x="19" y="0"/>
                  </a:moveTo>
                  <a:cubicBezTo>
                    <a:pt x="17" y="0"/>
                    <a:pt x="14" y="1"/>
                    <a:pt x="12" y="2"/>
                  </a:cubicBezTo>
                  <a:cubicBezTo>
                    <a:pt x="4" y="4"/>
                    <a:pt x="0" y="11"/>
                    <a:pt x="1" y="16"/>
                  </a:cubicBezTo>
                  <a:cubicBezTo>
                    <a:pt x="3" y="19"/>
                    <a:pt x="7" y="21"/>
                    <a:pt x="12" y="21"/>
                  </a:cubicBezTo>
                  <a:cubicBezTo>
                    <a:pt x="14" y="21"/>
                    <a:pt x="16" y="21"/>
                    <a:pt x="19" y="20"/>
                  </a:cubicBezTo>
                  <a:cubicBezTo>
                    <a:pt x="26" y="17"/>
                    <a:pt x="31" y="11"/>
                    <a:pt x="29" y="6"/>
                  </a:cubicBezTo>
                  <a:cubicBezTo>
                    <a:pt x="28" y="2"/>
                    <a:pt x="24" y="0"/>
                    <a:pt x="19" y="0"/>
                  </a:cubicBezTo>
                </a:path>
              </a:pathLst>
            </a:custGeom>
            <a:solidFill>
              <a:srgbClr val="FFF6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64" name="Freeform 3065">
              <a:extLst>
                <a:ext uri="{FF2B5EF4-FFF2-40B4-BE49-F238E27FC236}">
                  <a16:creationId xmlns:a16="http://schemas.microsoft.com/office/drawing/2014/main" id="{C0426AD8-9B56-31D5-6391-930454B2D5FE}"/>
                </a:ext>
              </a:extLst>
            </p:cNvPr>
            <p:cNvSpPr>
              <a:spLocks/>
            </p:cNvSpPr>
            <p:nvPr/>
          </p:nvSpPr>
          <p:spPr bwMode="auto">
            <a:xfrm>
              <a:off x="5292725" y="2962275"/>
              <a:ext cx="49213" cy="31750"/>
            </a:xfrm>
            <a:custGeom>
              <a:avLst/>
              <a:gdLst>
                <a:gd name="T0" fmla="*/ 38 w 61"/>
                <a:gd name="T1" fmla="*/ 0 h 40"/>
                <a:gd name="T2" fmla="*/ 24 w 61"/>
                <a:gd name="T3" fmla="*/ 2 h 40"/>
                <a:gd name="T4" fmla="*/ 4 w 61"/>
                <a:gd name="T5" fmla="*/ 29 h 40"/>
                <a:gd name="T6" fmla="*/ 23 w 61"/>
                <a:gd name="T7" fmla="*/ 40 h 40"/>
                <a:gd name="T8" fmla="*/ 37 w 61"/>
                <a:gd name="T9" fmla="*/ 38 h 40"/>
                <a:gd name="T10" fmla="*/ 57 w 61"/>
                <a:gd name="T11" fmla="*/ 10 h 40"/>
                <a:gd name="T12" fmla="*/ 38 w 61"/>
                <a:gd name="T13" fmla="*/ 0 h 40"/>
              </a:gdLst>
              <a:ahLst/>
              <a:cxnLst>
                <a:cxn ang="0">
                  <a:pos x="T0" y="T1"/>
                </a:cxn>
                <a:cxn ang="0">
                  <a:pos x="T2" y="T3"/>
                </a:cxn>
                <a:cxn ang="0">
                  <a:pos x="T4" y="T5"/>
                </a:cxn>
                <a:cxn ang="0">
                  <a:pos x="T6" y="T7"/>
                </a:cxn>
                <a:cxn ang="0">
                  <a:pos x="T8" y="T9"/>
                </a:cxn>
                <a:cxn ang="0">
                  <a:pos x="T10" y="T11"/>
                </a:cxn>
                <a:cxn ang="0">
                  <a:pos x="T12" y="T13"/>
                </a:cxn>
              </a:cxnLst>
              <a:rect l="0" t="0" r="r" b="b"/>
              <a:pathLst>
                <a:path w="61" h="40">
                  <a:moveTo>
                    <a:pt x="38" y="0"/>
                  </a:moveTo>
                  <a:cubicBezTo>
                    <a:pt x="33" y="0"/>
                    <a:pt x="29" y="0"/>
                    <a:pt x="24" y="2"/>
                  </a:cubicBezTo>
                  <a:cubicBezTo>
                    <a:pt x="9" y="7"/>
                    <a:pt x="0" y="19"/>
                    <a:pt x="4" y="29"/>
                  </a:cubicBezTo>
                  <a:cubicBezTo>
                    <a:pt x="6" y="36"/>
                    <a:pt x="14" y="40"/>
                    <a:pt x="23" y="40"/>
                  </a:cubicBezTo>
                  <a:cubicBezTo>
                    <a:pt x="28" y="40"/>
                    <a:pt x="32" y="39"/>
                    <a:pt x="37" y="38"/>
                  </a:cubicBezTo>
                  <a:cubicBezTo>
                    <a:pt x="52" y="32"/>
                    <a:pt x="61" y="20"/>
                    <a:pt x="57" y="10"/>
                  </a:cubicBezTo>
                  <a:cubicBezTo>
                    <a:pt x="55" y="4"/>
                    <a:pt x="47" y="0"/>
                    <a:pt x="38" y="0"/>
                  </a:cubicBezTo>
                </a:path>
              </a:pathLst>
            </a:custGeom>
            <a:solidFill>
              <a:srgbClr val="FFF6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65" name="Freeform 3066">
              <a:extLst>
                <a:ext uri="{FF2B5EF4-FFF2-40B4-BE49-F238E27FC236}">
                  <a16:creationId xmlns:a16="http://schemas.microsoft.com/office/drawing/2014/main" id="{95CCF24F-8C9B-CE60-4A04-29951639C3A2}"/>
                </a:ext>
              </a:extLst>
            </p:cNvPr>
            <p:cNvSpPr>
              <a:spLocks/>
            </p:cNvSpPr>
            <p:nvPr/>
          </p:nvSpPr>
          <p:spPr bwMode="auto">
            <a:xfrm>
              <a:off x="5232400" y="2873375"/>
              <a:ext cx="66675" cy="68263"/>
            </a:xfrm>
            <a:custGeom>
              <a:avLst/>
              <a:gdLst>
                <a:gd name="T0" fmla="*/ 0 w 42"/>
                <a:gd name="T1" fmla="*/ 1 h 43"/>
                <a:gd name="T2" fmla="*/ 1 w 42"/>
                <a:gd name="T3" fmla="*/ 0 h 43"/>
                <a:gd name="T4" fmla="*/ 42 w 42"/>
                <a:gd name="T5" fmla="*/ 42 h 43"/>
                <a:gd name="T6" fmla="*/ 40 w 42"/>
                <a:gd name="T7" fmla="*/ 43 h 43"/>
                <a:gd name="T8" fmla="*/ 0 w 42"/>
                <a:gd name="T9" fmla="*/ 1 h 43"/>
              </a:gdLst>
              <a:ahLst/>
              <a:cxnLst>
                <a:cxn ang="0">
                  <a:pos x="T0" y="T1"/>
                </a:cxn>
                <a:cxn ang="0">
                  <a:pos x="T2" y="T3"/>
                </a:cxn>
                <a:cxn ang="0">
                  <a:pos x="T4" y="T5"/>
                </a:cxn>
                <a:cxn ang="0">
                  <a:pos x="T6" y="T7"/>
                </a:cxn>
                <a:cxn ang="0">
                  <a:pos x="T8" y="T9"/>
                </a:cxn>
              </a:cxnLst>
              <a:rect l="0" t="0" r="r" b="b"/>
              <a:pathLst>
                <a:path w="42" h="43">
                  <a:moveTo>
                    <a:pt x="0" y="1"/>
                  </a:moveTo>
                  <a:lnTo>
                    <a:pt x="1" y="0"/>
                  </a:lnTo>
                  <a:lnTo>
                    <a:pt x="42" y="42"/>
                  </a:lnTo>
                  <a:lnTo>
                    <a:pt x="40" y="43"/>
                  </a:lnTo>
                  <a:lnTo>
                    <a:pt x="0" y="1"/>
                  </a:lnTo>
                  <a:close/>
                </a:path>
              </a:pathLst>
            </a:custGeom>
            <a:solidFill>
              <a:srgbClr val="FFF0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66" name="Freeform 3067">
              <a:extLst>
                <a:ext uri="{FF2B5EF4-FFF2-40B4-BE49-F238E27FC236}">
                  <a16:creationId xmlns:a16="http://schemas.microsoft.com/office/drawing/2014/main" id="{75018DC3-C637-3B39-785E-7449110A73EF}"/>
                </a:ext>
              </a:extLst>
            </p:cNvPr>
            <p:cNvSpPr>
              <a:spLocks/>
            </p:cNvSpPr>
            <p:nvPr/>
          </p:nvSpPr>
          <p:spPr bwMode="auto">
            <a:xfrm>
              <a:off x="5160963" y="2965450"/>
              <a:ext cx="93663" cy="15875"/>
            </a:xfrm>
            <a:custGeom>
              <a:avLst/>
              <a:gdLst>
                <a:gd name="T0" fmla="*/ 0 w 59"/>
                <a:gd name="T1" fmla="*/ 2 h 10"/>
                <a:gd name="T2" fmla="*/ 1 w 59"/>
                <a:gd name="T3" fmla="*/ 0 h 10"/>
                <a:gd name="T4" fmla="*/ 59 w 59"/>
                <a:gd name="T5" fmla="*/ 8 h 10"/>
                <a:gd name="T6" fmla="*/ 59 w 59"/>
                <a:gd name="T7" fmla="*/ 10 h 10"/>
                <a:gd name="T8" fmla="*/ 0 w 59"/>
                <a:gd name="T9" fmla="*/ 2 h 10"/>
              </a:gdLst>
              <a:ahLst/>
              <a:cxnLst>
                <a:cxn ang="0">
                  <a:pos x="T0" y="T1"/>
                </a:cxn>
                <a:cxn ang="0">
                  <a:pos x="T2" y="T3"/>
                </a:cxn>
                <a:cxn ang="0">
                  <a:pos x="T4" y="T5"/>
                </a:cxn>
                <a:cxn ang="0">
                  <a:pos x="T6" y="T7"/>
                </a:cxn>
                <a:cxn ang="0">
                  <a:pos x="T8" y="T9"/>
                </a:cxn>
              </a:cxnLst>
              <a:rect l="0" t="0" r="r" b="b"/>
              <a:pathLst>
                <a:path w="59" h="10">
                  <a:moveTo>
                    <a:pt x="0" y="2"/>
                  </a:moveTo>
                  <a:lnTo>
                    <a:pt x="1" y="0"/>
                  </a:lnTo>
                  <a:lnTo>
                    <a:pt x="59" y="8"/>
                  </a:lnTo>
                  <a:lnTo>
                    <a:pt x="59" y="10"/>
                  </a:lnTo>
                  <a:lnTo>
                    <a:pt x="0" y="2"/>
                  </a:lnTo>
                  <a:close/>
                </a:path>
              </a:pathLst>
            </a:custGeom>
            <a:solidFill>
              <a:srgbClr val="FFF0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67" name="Freeform 3068">
              <a:extLst>
                <a:ext uri="{FF2B5EF4-FFF2-40B4-BE49-F238E27FC236}">
                  <a16:creationId xmlns:a16="http://schemas.microsoft.com/office/drawing/2014/main" id="{A9F8E8AE-16B0-05DB-9829-49A95298755D}"/>
                </a:ext>
              </a:extLst>
            </p:cNvPr>
            <p:cNvSpPr>
              <a:spLocks/>
            </p:cNvSpPr>
            <p:nvPr/>
          </p:nvSpPr>
          <p:spPr bwMode="auto">
            <a:xfrm>
              <a:off x="5164138" y="3036888"/>
              <a:ext cx="93663" cy="20638"/>
            </a:xfrm>
            <a:custGeom>
              <a:avLst/>
              <a:gdLst>
                <a:gd name="T0" fmla="*/ 1 w 59"/>
                <a:gd name="T1" fmla="*/ 13 h 13"/>
                <a:gd name="T2" fmla="*/ 0 w 59"/>
                <a:gd name="T3" fmla="*/ 11 h 13"/>
                <a:gd name="T4" fmla="*/ 58 w 59"/>
                <a:gd name="T5" fmla="*/ 0 h 13"/>
                <a:gd name="T6" fmla="*/ 59 w 59"/>
                <a:gd name="T7" fmla="*/ 2 h 13"/>
                <a:gd name="T8" fmla="*/ 1 w 59"/>
                <a:gd name="T9" fmla="*/ 13 h 13"/>
              </a:gdLst>
              <a:ahLst/>
              <a:cxnLst>
                <a:cxn ang="0">
                  <a:pos x="T0" y="T1"/>
                </a:cxn>
                <a:cxn ang="0">
                  <a:pos x="T2" y="T3"/>
                </a:cxn>
                <a:cxn ang="0">
                  <a:pos x="T4" y="T5"/>
                </a:cxn>
                <a:cxn ang="0">
                  <a:pos x="T6" y="T7"/>
                </a:cxn>
                <a:cxn ang="0">
                  <a:pos x="T8" y="T9"/>
                </a:cxn>
              </a:cxnLst>
              <a:rect l="0" t="0" r="r" b="b"/>
              <a:pathLst>
                <a:path w="59" h="13">
                  <a:moveTo>
                    <a:pt x="1" y="13"/>
                  </a:moveTo>
                  <a:lnTo>
                    <a:pt x="0" y="11"/>
                  </a:lnTo>
                  <a:lnTo>
                    <a:pt x="58" y="0"/>
                  </a:lnTo>
                  <a:lnTo>
                    <a:pt x="59" y="2"/>
                  </a:lnTo>
                  <a:lnTo>
                    <a:pt x="1" y="13"/>
                  </a:lnTo>
                  <a:close/>
                </a:path>
              </a:pathLst>
            </a:custGeom>
            <a:solidFill>
              <a:srgbClr val="FFF0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68" name="Freeform 3069">
              <a:extLst>
                <a:ext uri="{FF2B5EF4-FFF2-40B4-BE49-F238E27FC236}">
                  <a16:creationId xmlns:a16="http://schemas.microsoft.com/office/drawing/2014/main" id="{2F7EF012-B34D-73D3-C50E-386EF30FB219}"/>
                </a:ext>
              </a:extLst>
            </p:cNvPr>
            <p:cNvSpPr>
              <a:spLocks/>
            </p:cNvSpPr>
            <p:nvPr/>
          </p:nvSpPr>
          <p:spPr bwMode="auto">
            <a:xfrm>
              <a:off x="5392738" y="2873375"/>
              <a:ext cx="68263" cy="68263"/>
            </a:xfrm>
            <a:custGeom>
              <a:avLst/>
              <a:gdLst>
                <a:gd name="T0" fmla="*/ 43 w 43"/>
                <a:gd name="T1" fmla="*/ 1 h 43"/>
                <a:gd name="T2" fmla="*/ 41 w 43"/>
                <a:gd name="T3" fmla="*/ 0 h 43"/>
                <a:gd name="T4" fmla="*/ 0 w 43"/>
                <a:gd name="T5" fmla="*/ 42 h 43"/>
                <a:gd name="T6" fmla="*/ 2 w 43"/>
                <a:gd name="T7" fmla="*/ 43 h 43"/>
                <a:gd name="T8" fmla="*/ 43 w 43"/>
                <a:gd name="T9" fmla="*/ 1 h 43"/>
              </a:gdLst>
              <a:ahLst/>
              <a:cxnLst>
                <a:cxn ang="0">
                  <a:pos x="T0" y="T1"/>
                </a:cxn>
                <a:cxn ang="0">
                  <a:pos x="T2" y="T3"/>
                </a:cxn>
                <a:cxn ang="0">
                  <a:pos x="T4" y="T5"/>
                </a:cxn>
                <a:cxn ang="0">
                  <a:pos x="T6" y="T7"/>
                </a:cxn>
                <a:cxn ang="0">
                  <a:pos x="T8" y="T9"/>
                </a:cxn>
              </a:cxnLst>
              <a:rect l="0" t="0" r="r" b="b"/>
              <a:pathLst>
                <a:path w="43" h="43">
                  <a:moveTo>
                    <a:pt x="43" y="1"/>
                  </a:moveTo>
                  <a:lnTo>
                    <a:pt x="41" y="0"/>
                  </a:lnTo>
                  <a:lnTo>
                    <a:pt x="0" y="42"/>
                  </a:lnTo>
                  <a:lnTo>
                    <a:pt x="2" y="43"/>
                  </a:lnTo>
                  <a:lnTo>
                    <a:pt x="43" y="1"/>
                  </a:lnTo>
                  <a:close/>
                </a:path>
              </a:pathLst>
            </a:custGeom>
            <a:solidFill>
              <a:srgbClr val="FFF0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69" name="Freeform 3070">
              <a:extLst>
                <a:ext uri="{FF2B5EF4-FFF2-40B4-BE49-F238E27FC236}">
                  <a16:creationId xmlns:a16="http://schemas.microsoft.com/office/drawing/2014/main" id="{5330351E-481C-B713-21BD-83214E35C40D}"/>
                </a:ext>
              </a:extLst>
            </p:cNvPr>
            <p:cNvSpPr>
              <a:spLocks/>
            </p:cNvSpPr>
            <p:nvPr/>
          </p:nvSpPr>
          <p:spPr bwMode="auto">
            <a:xfrm>
              <a:off x="5443538" y="2970213"/>
              <a:ext cx="93663" cy="15875"/>
            </a:xfrm>
            <a:custGeom>
              <a:avLst/>
              <a:gdLst>
                <a:gd name="T0" fmla="*/ 59 w 59"/>
                <a:gd name="T1" fmla="*/ 2 h 10"/>
                <a:gd name="T2" fmla="*/ 59 w 59"/>
                <a:gd name="T3" fmla="*/ 0 h 10"/>
                <a:gd name="T4" fmla="*/ 0 w 59"/>
                <a:gd name="T5" fmla="*/ 8 h 10"/>
                <a:gd name="T6" fmla="*/ 0 w 59"/>
                <a:gd name="T7" fmla="*/ 10 h 10"/>
                <a:gd name="T8" fmla="*/ 59 w 59"/>
                <a:gd name="T9" fmla="*/ 2 h 10"/>
              </a:gdLst>
              <a:ahLst/>
              <a:cxnLst>
                <a:cxn ang="0">
                  <a:pos x="T0" y="T1"/>
                </a:cxn>
                <a:cxn ang="0">
                  <a:pos x="T2" y="T3"/>
                </a:cxn>
                <a:cxn ang="0">
                  <a:pos x="T4" y="T5"/>
                </a:cxn>
                <a:cxn ang="0">
                  <a:pos x="T6" y="T7"/>
                </a:cxn>
                <a:cxn ang="0">
                  <a:pos x="T8" y="T9"/>
                </a:cxn>
              </a:cxnLst>
              <a:rect l="0" t="0" r="r" b="b"/>
              <a:pathLst>
                <a:path w="59" h="10">
                  <a:moveTo>
                    <a:pt x="59" y="2"/>
                  </a:moveTo>
                  <a:lnTo>
                    <a:pt x="59" y="0"/>
                  </a:lnTo>
                  <a:lnTo>
                    <a:pt x="0" y="8"/>
                  </a:lnTo>
                  <a:lnTo>
                    <a:pt x="0" y="10"/>
                  </a:lnTo>
                  <a:lnTo>
                    <a:pt x="59" y="2"/>
                  </a:lnTo>
                  <a:close/>
                </a:path>
              </a:pathLst>
            </a:custGeom>
            <a:solidFill>
              <a:srgbClr val="FFF0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70" name="Freeform 3071">
              <a:extLst>
                <a:ext uri="{FF2B5EF4-FFF2-40B4-BE49-F238E27FC236}">
                  <a16:creationId xmlns:a16="http://schemas.microsoft.com/office/drawing/2014/main" id="{617E1D1E-B818-DAFE-7F6B-7F3E991EF089}"/>
                </a:ext>
              </a:extLst>
            </p:cNvPr>
            <p:cNvSpPr>
              <a:spLocks/>
            </p:cNvSpPr>
            <p:nvPr/>
          </p:nvSpPr>
          <p:spPr bwMode="auto">
            <a:xfrm>
              <a:off x="5438775" y="3028950"/>
              <a:ext cx="93663" cy="20638"/>
            </a:xfrm>
            <a:custGeom>
              <a:avLst/>
              <a:gdLst>
                <a:gd name="T0" fmla="*/ 58 w 59"/>
                <a:gd name="T1" fmla="*/ 13 h 13"/>
                <a:gd name="T2" fmla="*/ 59 w 59"/>
                <a:gd name="T3" fmla="*/ 11 h 13"/>
                <a:gd name="T4" fmla="*/ 0 w 59"/>
                <a:gd name="T5" fmla="*/ 0 h 13"/>
                <a:gd name="T6" fmla="*/ 0 w 59"/>
                <a:gd name="T7" fmla="*/ 2 h 13"/>
                <a:gd name="T8" fmla="*/ 58 w 59"/>
                <a:gd name="T9" fmla="*/ 13 h 13"/>
              </a:gdLst>
              <a:ahLst/>
              <a:cxnLst>
                <a:cxn ang="0">
                  <a:pos x="T0" y="T1"/>
                </a:cxn>
                <a:cxn ang="0">
                  <a:pos x="T2" y="T3"/>
                </a:cxn>
                <a:cxn ang="0">
                  <a:pos x="T4" y="T5"/>
                </a:cxn>
                <a:cxn ang="0">
                  <a:pos x="T6" y="T7"/>
                </a:cxn>
                <a:cxn ang="0">
                  <a:pos x="T8" y="T9"/>
                </a:cxn>
              </a:cxnLst>
              <a:rect l="0" t="0" r="r" b="b"/>
              <a:pathLst>
                <a:path w="59" h="13">
                  <a:moveTo>
                    <a:pt x="58" y="13"/>
                  </a:moveTo>
                  <a:lnTo>
                    <a:pt x="59" y="11"/>
                  </a:lnTo>
                  <a:lnTo>
                    <a:pt x="0" y="0"/>
                  </a:lnTo>
                  <a:lnTo>
                    <a:pt x="0" y="2"/>
                  </a:lnTo>
                  <a:lnTo>
                    <a:pt x="58" y="13"/>
                  </a:lnTo>
                  <a:close/>
                </a:path>
              </a:pathLst>
            </a:custGeom>
            <a:solidFill>
              <a:srgbClr val="FFF0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71" name="Freeform 3072">
              <a:extLst>
                <a:ext uri="{FF2B5EF4-FFF2-40B4-BE49-F238E27FC236}">
                  <a16:creationId xmlns:a16="http://schemas.microsoft.com/office/drawing/2014/main" id="{0A9E668A-5E27-B442-563D-7514AD27CE32}"/>
                </a:ext>
              </a:extLst>
            </p:cNvPr>
            <p:cNvSpPr>
              <a:spLocks/>
            </p:cNvSpPr>
            <p:nvPr/>
          </p:nvSpPr>
          <p:spPr bwMode="auto">
            <a:xfrm>
              <a:off x="5346700" y="2833688"/>
              <a:ext cx="4763" cy="90488"/>
            </a:xfrm>
            <a:custGeom>
              <a:avLst/>
              <a:gdLst>
                <a:gd name="T0" fmla="*/ 3 w 3"/>
                <a:gd name="T1" fmla="*/ 57 h 57"/>
                <a:gd name="T2" fmla="*/ 1 w 3"/>
                <a:gd name="T3" fmla="*/ 57 h 57"/>
                <a:gd name="T4" fmla="*/ 0 w 3"/>
                <a:gd name="T5" fmla="*/ 0 h 57"/>
                <a:gd name="T6" fmla="*/ 2 w 3"/>
                <a:gd name="T7" fmla="*/ 0 h 57"/>
                <a:gd name="T8" fmla="*/ 3 w 3"/>
                <a:gd name="T9" fmla="*/ 57 h 57"/>
              </a:gdLst>
              <a:ahLst/>
              <a:cxnLst>
                <a:cxn ang="0">
                  <a:pos x="T0" y="T1"/>
                </a:cxn>
                <a:cxn ang="0">
                  <a:pos x="T2" y="T3"/>
                </a:cxn>
                <a:cxn ang="0">
                  <a:pos x="T4" y="T5"/>
                </a:cxn>
                <a:cxn ang="0">
                  <a:pos x="T6" y="T7"/>
                </a:cxn>
                <a:cxn ang="0">
                  <a:pos x="T8" y="T9"/>
                </a:cxn>
              </a:cxnLst>
              <a:rect l="0" t="0" r="r" b="b"/>
              <a:pathLst>
                <a:path w="3" h="57">
                  <a:moveTo>
                    <a:pt x="3" y="57"/>
                  </a:moveTo>
                  <a:lnTo>
                    <a:pt x="1" y="57"/>
                  </a:lnTo>
                  <a:lnTo>
                    <a:pt x="0" y="0"/>
                  </a:lnTo>
                  <a:lnTo>
                    <a:pt x="2" y="0"/>
                  </a:lnTo>
                  <a:lnTo>
                    <a:pt x="3" y="57"/>
                  </a:lnTo>
                  <a:close/>
                </a:path>
              </a:pathLst>
            </a:custGeom>
            <a:solidFill>
              <a:srgbClr val="FFF0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72" name="Freeform 3073">
              <a:extLst>
                <a:ext uri="{FF2B5EF4-FFF2-40B4-BE49-F238E27FC236}">
                  <a16:creationId xmlns:a16="http://schemas.microsoft.com/office/drawing/2014/main" id="{9C6990DA-42D2-489B-DD0E-904F56B42566}"/>
                </a:ext>
              </a:extLst>
            </p:cNvPr>
            <p:cNvSpPr>
              <a:spLocks/>
            </p:cNvSpPr>
            <p:nvPr/>
          </p:nvSpPr>
          <p:spPr bwMode="auto">
            <a:xfrm>
              <a:off x="5629275" y="3254375"/>
              <a:ext cx="50800" cy="50800"/>
            </a:xfrm>
            <a:custGeom>
              <a:avLst/>
              <a:gdLst>
                <a:gd name="T0" fmla="*/ 32 w 32"/>
                <a:gd name="T1" fmla="*/ 3 h 32"/>
                <a:gd name="T2" fmla="*/ 3 w 32"/>
                <a:gd name="T3" fmla="*/ 32 h 32"/>
                <a:gd name="T4" fmla="*/ 0 w 32"/>
                <a:gd name="T5" fmla="*/ 29 h 32"/>
                <a:gd name="T6" fmla="*/ 29 w 32"/>
                <a:gd name="T7" fmla="*/ 0 h 32"/>
                <a:gd name="T8" fmla="*/ 32 w 32"/>
                <a:gd name="T9" fmla="*/ 3 h 32"/>
              </a:gdLst>
              <a:ahLst/>
              <a:cxnLst>
                <a:cxn ang="0">
                  <a:pos x="T0" y="T1"/>
                </a:cxn>
                <a:cxn ang="0">
                  <a:pos x="T2" y="T3"/>
                </a:cxn>
                <a:cxn ang="0">
                  <a:pos x="T4" y="T5"/>
                </a:cxn>
                <a:cxn ang="0">
                  <a:pos x="T6" y="T7"/>
                </a:cxn>
                <a:cxn ang="0">
                  <a:pos x="T8" y="T9"/>
                </a:cxn>
              </a:cxnLst>
              <a:rect l="0" t="0" r="r" b="b"/>
              <a:pathLst>
                <a:path w="32" h="32">
                  <a:moveTo>
                    <a:pt x="32" y="3"/>
                  </a:moveTo>
                  <a:lnTo>
                    <a:pt x="3" y="32"/>
                  </a:lnTo>
                  <a:lnTo>
                    <a:pt x="0" y="29"/>
                  </a:lnTo>
                  <a:lnTo>
                    <a:pt x="29" y="0"/>
                  </a:lnTo>
                  <a:lnTo>
                    <a:pt x="32" y="3"/>
                  </a:lnTo>
                  <a:close/>
                </a:path>
              </a:pathLst>
            </a:custGeom>
            <a:solidFill>
              <a:srgbClr val="3838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73" name="Freeform 3074">
              <a:extLst>
                <a:ext uri="{FF2B5EF4-FFF2-40B4-BE49-F238E27FC236}">
                  <a16:creationId xmlns:a16="http://schemas.microsoft.com/office/drawing/2014/main" id="{61EDBD02-8021-2722-4D82-2ED42EC56245}"/>
                </a:ext>
              </a:extLst>
            </p:cNvPr>
            <p:cNvSpPr>
              <a:spLocks/>
            </p:cNvSpPr>
            <p:nvPr/>
          </p:nvSpPr>
          <p:spPr bwMode="auto">
            <a:xfrm>
              <a:off x="5629275" y="3254375"/>
              <a:ext cx="50800" cy="50800"/>
            </a:xfrm>
            <a:custGeom>
              <a:avLst/>
              <a:gdLst>
                <a:gd name="T0" fmla="*/ 32 w 32"/>
                <a:gd name="T1" fmla="*/ 3 h 32"/>
                <a:gd name="T2" fmla="*/ 3 w 32"/>
                <a:gd name="T3" fmla="*/ 32 h 32"/>
                <a:gd name="T4" fmla="*/ 0 w 32"/>
                <a:gd name="T5" fmla="*/ 29 h 32"/>
                <a:gd name="T6" fmla="*/ 29 w 32"/>
                <a:gd name="T7" fmla="*/ 0 h 32"/>
                <a:gd name="T8" fmla="*/ 32 w 32"/>
                <a:gd name="T9" fmla="*/ 3 h 32"/>
              </a:gdLst>
              <a:ahLst/>
              <a:cxnLst>
                <a:cxn ang="0">
                  <a:pos x="T0" y="T1"/>
                </a:cxn>
                <a:cxn ang="0">
                  <a:pos x="T2" y="T3"/>
                </a:cxn>
                <a:cxn ang="0">
                  <a:pos x="T4" y="T5"/>
                </a:cxn>
                <a:cxn ang="0">
                  <a:pos x="T6" y="T7"/>
                </a:cxn>
                <a:cxn ang="0">
                  <a:pos x="T8" y="T9"/>
                </a:cxn>
              </a:cxnLst>
              <a:rect l="0" t="0" r="r" b="b"/>
              <a:pathLst>
                <a:path w="32" h="32">
                  <a:moveTo>
                    <a:pt x="32" y="3"/>
                  </a:moveTo>
                  <a:lnTo>
                    <a:pt x="3" y="32"/>
                  </a:lnTo>
                  <a:lnTo>
                    <a:pt x="0" y="29"/>
                  </a:lnTo>
                  <a:lnTo>
                    <a:pt x="29" y="0"/>
                  </a:lnTo>
                  <a:lnTo>
                    <a:pt x="32"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74" name="Freeform 3075">
              <a:extLst>
                <a:ext uri="{FF2B5EF4-FFF2-40B4-BE49-F238E27FC236}">
                  <a16:creationId xmlns:a16="http://schemas.microsoft.com/office/drawing/2014/main" id="{93038866-7757-1260-64C4-992E3C79835D}"/>
                </a:ext>
              </a:extLst>
            </p:cNvPr>
            <p:cNvSpPr>
              <a:spLocks/>
            </p:cNvSpPr>
            <p:nvPr/>
          </p:nvSpPr>
          <p:spPr bwMode="auto">
            <a:xfrm>
              <a:off x="5326063" y="3590925"/>
              <a:ext cx="46038" cy="57150"/>
            </a:xfrm>
            <a:custGeom>
              <a:avLst/>
              <a:gdLst>
                <a:gd name="T0" fmla="*/ 29 w 29"/>
                <a:gd name="T1" fmla="*/ 3 h 36"/>
                <a:gd name="T2" fmla="*/ 4 w 29"/>
                <a:gd name="T3" fmla="*/ 36 h 36"/>
                <a:gd name="T4" fmla="*/ 0 w 29"/>
                <a:gd name="T5" fmla="*/ 33 h 36"/>
                <a:gd name="T6" fmla="*/ 25 w 29"/>
                <a:gd name="T7" fmla="*/ 0 h 36"/>
                <a:gd name="T8" fmla="*/ 29 w 29"/>
                <a:gd name="T9" fmla="*/ 3 h 36"/>
              </a:gdLst>
              <a:ahLst/>
              <a:cxnLst>
                <a:cxn ang="0">
                  <a:pos x="T0" y="T1"/>
                </a:cxn>
                <a:cxn ang="0">
                  <a:pos x="T2" y="T3"/>
                </a:cxn>
                <a:cxn ang="0">
                  <a:pos x="T4" y="T5"/>
                </a:cxn>
                <a:cxn ang="0">
                  <a:pos x="T6" y="T7"/>
                </a:cxn>
                <a:cxn ang="0">
                  <a:pos x="T8" y="T9"/>
                </a:cxn>
              </a:cxnLst>
              <a:rect l="0" t="0" r="r" b="b"/>
              <a:pathLst>
                <a:path w="29" h="36">
                  <a:moveTo>
                    <a:pt x="29" y="3"/>
                  </a:moveTo>
                  <a:lnTo>
                    <a:pt x="4" y="36"/>
                  </a:lnTo>
                  <a:lnTo>
                    <a:pt x="0" y="33"/>
                  </a:lnTo>
                  <a:lnTo>
                    <a:pt x="25" y="0"/>
                  </a:lnTo>
                  <a:lnTo>
                    <a:pt x="29" y="3"/>
                  </a:lnTo>
                  <a:close/>
                </a:path>
              </a:pathLst>
            </a:custGeom>
            <a:solidFill>
              <a:srgbClr val="3838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75" name="Freeform 3076">
              <a:extLst>
                <a:ext uri="{FF2B5EF4-FFF2-40B4-BE49-F238E27FC236}">
                  <a16:creationId xmlns:a16="http://schemas.microsoft.com/office/drawing/2014/main" id="{5B330D6C-209D-033E-98E3-175E8D61F1A0}"/>
                </a:ext>
              </a:extLst>
            </p:cNvPr>
            <p:cNvSpPr>
              <a:spLocks/>
            </p:cNvSpPr>
            <p:nvPr/>
          </p:nvSpPr>
          <p:spPr bwMode="auto">
            <a:xfrm>
              <a:off x="5316538" y="3236913"/>
              <a:ext cx="471488" cy="496888"/>
            </a:xfrm>
            <a:custGeom>
              <a:avLst/>
              <a:gdLst>
                <a:gd name="T0" fmla="*/ 418 w 581"/>
                <a:gd name="T1" fmla="*/ 16 h 612"/>
                <a:gd name="T2" fmla="*/ 446 w 581"/>
                <a:gd name="T3" fmla="*/ 448 h 612"/>
                <a:gd name="T4" fmla="*/ 14 w 581"/>
                <a:gd name="T5" fmla="*/ 476 h 612"/>
                <a:gd name="T6" fmla="*/ 14 w 581"/>
                <a:gd name="T7" fmla="*/ 476 h 612"/>
                <a:gd name="T8" fmla="*/ 0 w 581"/>
                <a:gd name="T9" fmla="*/ 492 h 612"/>
                <a:gd name="T10" fmla="*/ 462 w 581"/>
                <a:gd name="T11" fmla="*/ 462 h 612"/>
                <a:gd name="T12" fmla="*/ 432 w 581"/>
                <a:gd name="T13" fmla="*/ 0 h 612"/>
                <a:gd name="T14" fmla="*/ 418 w 581"/>
                <a:gd name="T15" fmla="*/ 16 h 6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1" h="612">
                  <a:moveTo>
                    <a:pt x="418" y="16"/>
                  </a:moveTo>
                  <a:cubicBezTo>
                    <a:pt x="545" y="128"/>
                    <a:pt x="558" y="321"/>
                    <a:pt x="446" y="448"/>
                  </a:cubicBezTo>
                  <a:cubicBezTo>
                    <a:pt x="335" y="575"/>
                    <a:pt x="141" y="588"/>
                    <a:pt x="14" y="476"/>
                  </a:cubicBezTo>
                  <a:cubicBezTo>
                    <a:pt x="14" y="476"/>
                    <a:pt x="14" y="476"/>
                    <a:pt x="14" y="476"/>
                  </a:cubicBezTo>
                  <a:cubicBezTo>
                    <a:pt x="0" y="492"/>
                    <a:pt x="0" y="492"/>
                    <a:pt x="0" y="492"/>
                  </a:cubicBezTo>
                  <a:cubicBezTo>
                    <a:pt x="136" y="612"/>
                    <a:pt x="343" y="598"/>
                    <a:pt x="462" y="462"/>
                  </a:cubicBezTo>
                  <a:cubicBezTo>
                    <a:pt x="581" y="327"/>
                    <a:pt x="568" y="119"/>
                    <a:pt x="432" y="0"/>
                  </a:cubicBezTo>
                  <a:cubicBezTo>
                    <a:pt x="418" y="16"/>
                    <a:pt x="418" y="16"/>
                    <a:pt x="418" y="16"/>
                  </a:cubicBezTo>
                </a:path>
              </a:pathLst>
            </a:custGeom>
            <a:solidFill>
              <a:srgbClr val="FF86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76" name="Freeform 3077">
              <a:extLst>
                <a:ext uri="{FF2B5EF4-FFF2-40B4-BE49-F238E27FC236}">
                  <a16:creationId xmlns:a16="http://schemas.microsoft.com/office/drawing/2014/main" id="{CEDFFA6B-0AE3-2E3B-3005-D3AEE2C8FF0E}"/>
                </a:ext>
              </a:extLst>
            </p:cNvPr>
            <p:cNvSpPr>
              <a:spLocks/>
            </p:cNvSpPr>
            <p:nvPr/>
          </p:nvSpPr>
          <p:spPr bwMode="auto">
            <a:xfrm>
              <a:off x="5454650" y="3703638"/>
              <a:ext cx="98425" cy="84138"/>
            </a:xfrm>
            <a:custGeom>
              <a:avLst/>
              <a:gdLst>
                <a:gd name="T0" fmla="*/ 31 w 62"/>
                <a:gd name="T1" fmla="*/ 0 h 53"/>
                <a:gd name="T2" fmla="*/ 62 w 62"/>
                <a:gd name="T3" fmla="*/ 53 h 53"/>
                <a:gd name="T4" fmla="*/ 0 w 62"/>
                <a:gd name="T5" fmla="*/ 53 h 53"/>
                <a:gd name="T6" fmla="*/ 31 w 62"/>
                <a:gd name="T7" fmla="*/ 0 h 53"/>
              </a:gdLst>
              <a:ahLst/>
              <a:cxnLst>
                <a:cxn ang="0">
                  <a:pos x="T0" y="T1"/>
                </a:cxn>
                <a:cxn ang="0">
                  <a:pos x="T2" y="T3"/>
                </a:cxn>
                <a:cxn ang="0">
                  <a:pos x="T4" y="T5"/>
                </a:cxn>
                <a:cxn ang="0">
                  <a:pos x="T6" y="T7"/>
                </a:cxn>
              </a:cxnLst>
              <a:rect l="0" t="0" r="r" b="b"/>
              <a:pathLst>
                <a:path w="62" h="53">
                  <a:moveTo>
                    <a:pt x="31" y="0"/>
                  </a:moveTo>
                  <a:lnTo>
                    <a:pt x="62" y="53"/>
                  </a:lnTo>
                  <a:lnTo>
                    <a:pt x="0" y="53"/>
                  </a:lnTo>
                  <a:lnTo>
                    <a:pt x="31" y="0"/>
                  </a:lnTo>
                  <a:close/>
                </a:path>
              </a:pathLst>
            </a:custGeom>
            <a:solidFill>
              <a:srgbClr val="FF86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77" name="Rectangle 3078">
              <a:extLst>
                <a:ext uri="{FF2B5EF4-FFF2-40B4-BE49-F238E27FC236}">
                  <a16:creationId xmlns:a16="http://schemas.microsoft.com/office/drawing/2014/main" id="{55D8AD21-DB63-2883-067C-C789F6F8F862}"/>
                </a:ext>
              </a:extLst>
            </p:cNvPr>
            <p:cNvSpPr>
              <a:spLocks noChangeArrowheads="1"/>
            </p:cNvSpPr>
            <p:nvPr/>
          </p:nvSpPr>
          <p:spPr bwMode="auto">
            <a:xfrm>
              <a:off x="5365750" y="3787775"/>
              <a:ext cx="276225" cy="31750"/>
            </a:xfrm>
            <a:prstGeom prst="rect">
              <a:avLst/>
            </a:prstGeom>
            <a:solidFill>
              <a:srgbClr val="FFBD0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78" name="Rectangle 3079">
              <a:extLst>
                <a:ext uri="{FF2B5EF4-FFF2-40B4-BE49-F238E27FC236}">
                  <a16:creationId xmlns:a16="http://schemas.microsoft.com/office/drawing/2014/main" id="{75343103-F1CC-D893-E210-27313633D55F}"/>
                </a:ext>
              </a:extLst>
            </p:cNvPr>
            <p:cNvSpPr>
              <a:spLocks noChangeArrowheads="1"/>
            </p:cNvSpPr>
            <p:nvPr/>
          </p:nvSpPr>
          <p:spPr bwMode="auto">
            <a:xfrm>
              <a:off x="5343525" y="3816350"/>
              <a:ext cx="320675" cy="34925"/>
            </a:xfrm>
            <a:prstGeom prst="rect">
              <a:avLst/>
            </a:prstGeom>
            <a:solidFill>
              <a:srgbClr val="00B98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79" name="Oval 3080">
              <a:extLst>
                <a:ext uri="{FF2B5EF4-FFF2-40B4-BE49-F238E27FC236}">
                  <a16:creationId xmlns:a16="http://schemas.microsoft.com/office/drawing/2014/main" id="{91DFD603-CD95-7301-3767-9A0A56076190}"/>
                </a:ext>
              </a:extLst>
            </p:cNvPr>
            <p:cNvSpPr>
              <a:spLocks noChangeArrowheads="1"/>
            </p:cNvSpPr>
            <p:nvPr/>
          </p:nvSpPr>
          <p:spPr bwMode="auto">
            <a:xfrm>
              <a:off x="5259388" y="3206750"/>
              <a:ext cx="458788" cy="458788"/>
            </a:xfrm>
            <a:prstGeom prst="ellipse">
              <a:avLst/>
            </a:prstGeom>
            <a:solidFill>
              <a:srgbClr val="25C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80" name="Freeform 3081">
              <a:extLst>
                <a:ext uri="{FF2B5EF4-FFF2-40B4-BE49-F238E27FC236}">
                  <a16:creationId xmlns:a16="http://schemas.microsoft.com/office/drawing/2014/main" id="{6B15F006-E1BC-4733-05C9-4C13ED9F883E}"/>
                </a:ext>
              </a:extLst>
            </p:cNvPr>
            <p:cNvSpPr>
              <a:spLocks/>
            </p:cNvSpPr>
            <p:nvPr/>
          </p:nvSpPr>
          <p:spPr bwMode="auto">
            <a:xfrm>
              <a:off x="5303838" y="3235325"/>
              <a:ext cx="319088" cy="428625"/>
            </a:xfrm>
            <a:custGeom>
              <a:avLst/>
              <a:gdLst>
                <a:gd name="T0" fmla="*/ 351 w 394"/>
                <a:gd name="T1" fmla="*/ 384 h 528"/>
                <a:gd name="T2" fmla="*/ 339 w 394"/>
                <a:gd name="T3" fmla="*/ 364 h 528"/>
                <a:gd name="T4" fmla="*/ 293 w 394"/>
                <a:gd name="T5" fmla="*/ 338 h 528"/>
                <a:gd name="T6" fmla="*/ 269 w 394"/>
                <a:gd name="T7" fmla="*/ 334 h 528"/>
                <a:gd name="T8" fmla="*/ 257 w 394"/>
                <a:gd name="T9" fmla="*/ 328 h 528"/>
                <a:gd name="T10" fmla="*/ 230 w 394"/>
                <a:gd name="T11" fmla="*/ 349 h 528"/>
                <a:gd name="T12" fmla="*/ 202 w 394"/>
                <a:gd name="T13" fmla="*/ 331 h 528"/>
                <a:gd name="T14" fmla="*/ 181 w 394"/>
                <a:gd name="T15" fmla="*/ 314 h 528"/>
                <a:gd name="T16" fmla="*/ 175 w 394"/>
                <a:gd name="T17" fmla="*/ 296 h 528"/>
                <a:gd name="T18" fmla="*/ 169 w 394"/>
                <a:gd name="T19" fmla="*/ 248 h 528"/>
                <a:gd name="T20" fmla="*/ 205 w 394"/>
                <a:gd name="T21" fmla="*/ 247 h 528"/>
                <a:gd name="T22" fmla="*/ 218 w 394"/>
                <a:gd name="T23" fmla="*/ 241 h 528"/>
                <a:gd name="T24" fmla="*/ 253 w 394"/>
                <a:gd name="T25" fmla="*/ 199 h 528"/>
                <a:gd name="T26" fmla="*/ 278 w 394"/>
                <a:gd name="T27" fmla="*/ 171 h 528"/>
                <a:gd name="T28" fmla="*/ 310 w 394"/>
                <a:gd name="T29" fmla="*/ 165 h 528"/>
                <a:gd name="T30" fmla="*/ 278 w 394"/>
                <a:gd name="T31" fmla="*/ 151 h 528"/>
                <a:gd name="T32" fmla="*/ 333 w 394"/>
                <a:gd name="T33" fmla="*/ 134 h 528"/>
                <a:gd name="T34" fmla="*/ 311 w 394"/>
                <a:gd name="T35" fmla="*/ 83 h 528"/>
                <a:gd name="T36" fmla="*/ 291 w 394"/>
                <a:gd name="T37" fmla="*/ 75 h 528"/>
                <a:gd name="T38" fmla="*/ 269 w 394"/>
                <a:gd name="T39" fmla="*/ 81 h 528"/>
                <a:gd name="T40" fmla="*/ 252 w 394"/>
                <a:gd name="T41" fmla="*/ 109 h 528"/>
                <a:gd name="T42" fmla="*/ 224 w 394"/>
                <a:gd name="T43" fmla="*/ 99 h 528"/>
                <a:gd name="T44" fmla="*/ 241 w 394"/>
                <a:gd name="T45" fmla="*/ 50 h 528"/>
                <a:gd name="T46" fmla="*/ 265 w 394"/>
                <a:gd name="T47" fmla="*/ 39 h 528"/>
                <a:gd name="T48" fmla="*/ 261 w 394"/>
                <a:gd name="T49" fmla="*/ 29 h 528"/>
                <a:gd name="T50" fmla="*/ 249 w 394"/>
                <a:gd name="T51" fmla="*/ 26 h 528"/>
                <a:gd name="T52" fmla="*/ 236 w 394"/>
                <a:gd name="T53" fmla="*/ 12 h 528"/>
                <a:gd name="T54" fmla="*/ 226 w 394"/>
                <a:gd name="T55" fmla="*/ 27 h 528"/>
                <a:gd name="T56" fmla="*/ 195 w 394"/>
                <a:gd name="T57" fmla="*/ 21 h 528"/>
                <a:gd name="T58" fmla="*/ 171 w 394"/>
                <a:gd name="T59" fmla="*/ 23 h 528"/>
                <a:gd name="T60" fmla="*/ 165 w 394"/>
                <a:gd name="T61" fmla="*/ 14 h 528"/>
                <a:gd name="T62" fmla="*/ 155 w 394"/>
                <a:gd name="T63" fmla="*/ 9 h 528"/>
                <a:gd name="T64" fmla="*/ 149 w 394"/>
                <a:gd name="T65" fmla="*/ 5 h 528"/>
                <a:gd name="T66" fmla="*/ 121 w 394"/>
                <a:gd name="T67" fmla="*/ 15 h 528"/>
                <a:gd name="T68" fmla="*/ 36 w 394"/>
                <a:gd name="T69" fmla="*/ 41 h 528"/>
                <a:gd name="T70" fmla="*/ 22 w 394"/>
                <a:gd name="T71" fmla="*/ 80 h 528"/>
                <a:gd name="T72" fmla="*/ 28 w 394"/>
                <a:gd name="T73" fmla="*/ 81 h 528"/>
                <a:gd name="T74" fmla="*/ 44 w 394"/>
                <a:gd name="T75" fmla="*/ 64 h 528"/>
                <a:gd name="T76" fmla="*/ 56 w 394"/>
                <a:gd name="T77" fmla="*/ 69 h 528"/>
                <a:gd name="T78" fmla="*/ 71 w 394"/>
                <a:gd name="T79" fmla="*/ 88 h 528"/>
                <a:gd name="T80" fmla="*/ 70 w 394"/>
                <a:gd name="T81" fmla="*/ 104 h 528"/>
                <a:gd name="T82" fmla="*/ 78 w 394"/>
                <a:gd name="T83" fmla="*/ 139 h 528"/>
                <a:gd name="T84" fmla="*/ 59 w 394"/>
                <a:gd name="T85" fmla="*/ 180 h 528"/>
                <a:gd name="T86" fmla="*/ 75 w 394"/>
                <a:gd name="T87" fmla="*/ 238 h 528"/>
                <a:gd name="T88" fmla="*/ 87 w 394"/>
                <a:gd name="T89" fmla="*/ 265 h 528"/>
                <a:gd name="T90" fmla="*/ 96 w 394"/>
                <a:gd name="T91" fmla="*/ 278 h 528"/>
                <a:gd name="T92" fmla="*/ 92 w 394"/>
                <a:gd name="T93" fmla="*/ 269 h 528"/>
                <a:gd name="T94" fmla="*/ 86 w 394"/>
                <a:gd name="T95" fmla="*/ 250 h 528"/>
                <a:gd name="T96" fmla="*/ 101 w 394"/>
                <a:gd name="T97" fmla="*/ 263 h 528"/>
                <a:gd name="T98" fmla="*/ 115 w 394"/>
                <a:gd name="T99" fmla="*/ 296 h 528"/>
                <a:gd name="T100" fmla="*/ 153 w 394"/>
                <a:gd name="T101" fmla="*/ 313 h 528"/>
                <a:gd name="T102" fmla="*/ 183 w 394"/>
                <a:gd name="T103" fmla="*/ 326 h 528"/>
                <a:gd name="T104" fmla="*/ 201 w 394"/>
                <a:gd name="T105" fmla="*/ 343 h 528"/>
                <a:gd name="T106" fmla="*/ 221 w 394"/>
                <a:gd name="T107" fmla="*/ 344 h 528"/>
                <a:gd name="T108" fmla="*/ 216 w 394"/>
                <a:gd name="T109" fmla="*/ 382 h 528"/>
                <a:gd name="T110" fmla="*/ 212 w 394"/>
                <a:gd name="T111" fmla="*/ 407 h 528"/>
                <a:gd name="T112" fmla="*/ 257 w 394"/>
                <a:gd name="T113" fmla="*/ 448 h 528"/>
                <a:gd name="T114" fmla="*/ 256 w 394"/>
                <a:gd name="T115" fmla="*/ 501 h 528"/>
                <a:gd name="T116" fmla="*/ 254 w 394"/>
                <a:gd name="T117" fmla="*/ 523 h 528"/>
                <a:gd name="T118" fmla="*/ 277 w 394"/>
                <a:gd name="T119" fmla="*/ 523 h 528"/>
                <a:gd name="T120" fmla="*/ 305 w 394"/>
                <a:gd name="T121" fmla="*/ 496 h 528"/>
                <a:gd name="T122" fmla="*/ 378 w 394"/>
                <a:gd name="T123" fmla="*/ 417 h 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94" h="528">
                  <a:moveTo>
                    <a:pt x="390" y="391"/>
                  </a:moveTo>
                  <a:cubicBezTo>
                    <a:pt x="389" y="391"/>
                    <a:pt x="386" y="387"/>
                    <a:pt x="384" y="385"/>
                  </a:cubicBezTo>
                  <a:cubicBezTo>
                    <a:pt x="382" y="383"/>
                    <a:pt x="369" y="386"/>
                    <a:pt x="366" y="386"/>
                  </a:cubicBezTo>
                  <a:cubicBezTo>
                    <a:pt x="363" y="386"/>
                    <a:pt x="362" y="384"/>
                    <a:pt x="359" y="383"/>
                  </a:cubicBezTo>
                  <a:cubicBezTo>
                    <a:pt x="356" y="381"/>
                    <a:pt x="353" y="383"/>
                    <a:pt x="351" y="384"/>
                  </a:cubicBezTo>
                  <a:cubicBezTo>
                    <a:pt x="349" y="384"/>
                    <a:pt x="348" y="382"/>
                    <a:pt x="349" y="380"/>
                  </a:cubicBezTo>
                  <a:cubicBezTo>
                    <a:pt x="351" y="377"/>
                    <a:pt x="345" y="378"/>
                    <a:pt x="341" y="379"/>
                  </a:cubicBezTo>
                  <a:cubicBezTo>
                    <a:pt x="337" y="380"/>
                    <a:pt x="338" y="382"/>
                    <a:pt x="335" y="381"/>
                  </a:cubicBezTo>
                  <a:cubicBezTo>
                    <a:pt x="331" y="379"/>
                    <a:pt x="339" y="376"/>
                    <a:pt x="341" y="373"/>
                  </a:cubicBezTo>
                  <a:cubicBezTo>
                    <a:pt x="344" y="370"/>
                    <a:pt x="341" y="365"/>
                    <a:pt x="339" y="364"/>
                  </a:cubicBezTo>
                  <a:cubicBezTo>
                    <a:pt x="338" y="364"/>
                    <a:pt x="335" y="359"/>
                    <a:pt x="331" y="356"/>
                  </a:cubicBezTo>
                  <a:cubicBezTo>
                    <a:pt x="327" y="353"/>
                    <a:pt x="323" y="355"/>
                    <a:pt x="318" y="355"/>
                  </a:cubicBezTo>
                  <a:cubicBezTo>
                    <a:pt x="313" y="355"/>
                    <a:pt x="312" y="353"/>
                    <a:pt x="310" y="351"/>
                  </a:cubicBezTo>
                  <a:cubicBezTo>
                    <a:pt x="307" y="349"/>
                    <a:pt x="308" y="346"/>
                    <a:pt x="298" y="341"/>
                  </a:cubicBezTo>
                  <a:cubicBezTo>
                    <a:pt x="292" y="337"/>
                    <a:pt x="292" y="338"/>
                    <a:pt x="293" y="338"/>
                  </a:cubicBezTo>
                  <a:cubicBezTo>
                    <a:pt x="293" y="338"/>
                    <a:pt x="293" y="338"/>
                    <a:pt x="294" y="338"/>
                  </a:cubicBezTo>
                  <a:cubicBezTo>
                    <a:pt x="294" y="337"/>
                    <a:pt x="295" y="337"/>
                    <a:pt x="292" y="335"/>
                  </a:cubicBezTo>
                  <a:cubicBezTo>
                    <a:pt x="288" y="334"/>
                    <a:pt x="286" y="337"/>
                    <a:pt x="282" y="338"/>
                  </a:cubicBezTo>
                  <a:cubicBezTo>
                    <a:pt x="279" y="340"/>
                    <a:pt x="275" y="339"/>
                    <a:pt x="274" y="339"/>
                  </a:cubicBezTo>
                  <a:cubicBezTo>
                    <a:pt x="272" y="339"/>
                    <a:pt x="271" y="335"/>
                    <a:pt x="269" y="334"/>
                  </a:cubicBezTo>
                  <a:cubicBezTo>
                    <a:pt x="267" y="334"/>
                    <a:pt x="266" y="332"/>
                    <a:pt x="265" y="330"/>
                  </a:cubicBezTo>
                  <a:cubicBezTo>
                    <a:pt x="264" y="329"/>
                    <a:pt x="260" y="330"/>
                    <a:pt x="260" y="333"/>
                  </a:cubicBezTo>
                  <a:cubicBezTo>
                    <a:pt x="260" y="336"/>
                    <a:pt x="259" y="337"/>
                    <a:pt x="255" y="339"/>
                  </a:cubicBezTo>
                  <a:cubicBezTo>
                    <a:pt x="252" y="340"/>
                    <a:pt x="253" y="335"/>
                    <a:pt x="253" y="334"/>
                  </a:cubicBezTo>
                  <a:cubicBezTo>
                    <a:pt x="253" y="332"/>
                    <a:pt x="256" y="330"/>
                    <a:pt x="257" y="328"/>
                  </a:cubicBezTo>
                  <a:cubicBezTo>
                    <a:pt x="257" y="326"/>
                    <a:pt x="254" y="330"/>
                    <a:pt x="251" y="334"/>
                  </a:cubicBezTo>
                  <a:cubicBezTo>
                    <a:pt x="249" y="336"/>
                    <a:pt x="247" y="335"/>
                    <a:pt x="245" y="335"/>
                  </a:cubicBezTo>
                  <a:cubicBezTo>
                    <a:pt x="243" y="335"/>
                    <a:pt x="242" y="334"/>
                    <a:pt x="239" y="335"/>
                  </a:cubicBezTo>
                  <a:cubicBezTo>
                    <a:pt x="233" y="335"/>
                    <a:pt x="236" y="341"/>
                    <a:pt x="236" y="345"/>
                  </a:cubicBezTo>
                  <a:cubicBezTo>
                    <a:pt x="236" y="348"/>
                    <a:pt x="231" y="349"/>
                    <a:pt x="230" y="349"/>
                  </a:cubicBezTo>
                  <a:cubicBezTo>
                    <a:pt x="230" y="348"/>
                    <a:pt x="230" y="346"/>
                    <a:pt x="228" y="346"/>
                  </a:cubicBezTo>
                  <a:cubicBezTo>
                    <a:pt x="226" y="346"/>
                    <a:pt x="226" y="343"/>
                    <a:pt x="225" y="342"/>
                  </a:cubicBezTo>
                  <a:cubicBezTo>
                    <a:pt x="225" y="341"/>
                    <a:pt x="219" y="340"/>
                    <a:pt x="216" y="344"/>
                  </a:cubicBezTo>
                  <a:cubicBezTo>
                    <a:pt x="214" y="348"/>
                    <a:pt x="212" y="345"/>
                    <a:pt x="209" y="344"/>
                  </a:cubicBezTo>
                  <a:cubicBezTo>
                    <a:pt x="206" y="343"/>
                    <a:pt x="201" y="332"/>
                    <a:pt x="202" y="331"/>
                  </a:cubicBezTo>
                  <a:cubicBezTo>
                    <a:pt x="203" y="329"/>
                    <a:pt x="203" y="328"/>
                    <a:pt x="202" y="327"/>
                  </a:cubicBezTo>
                  <a:cubicBezTo>
                    <a:pt x="201" y="325"/>
                    <a:pt x="201" y="324"/>
                    <a:pt x="202" y="322"/>
                  </a:cubicBezTo>
                  <a:cubicBezTo>
                    <a:pt x="203" y="320"/>
                    <a:pt x="206" y="318"/>
                    <a:pt x="200" y="315"/>
                  </a:cubicBezTo>
                  <a:cubicBezTo>
                    <a:pt x="197" y="312"/>
                    <a:pt x="192" y="313"/>
                    <a:pt x="187" y="313"/>
                  </a:cubicBezTo>
                  <a:cubicBezTo>
                    <a:pt x="185" y="314"/>
                    <a:pt x="183" y="314"/>
                    <a:pt x="181" y="314"/>
                  </a:cubicBezTo>
                  <a:cubicBezTo>
                    <a:pt x="176" y="313"/>
                    <a:pt x="180" y="310"/>
                    <a:pt x="181" y="309"/>
                  </a:cubicBezTo>
                  <a:cubicBezTo>
                    <a:pt x="182" y="308"/>
                    <a:pt x="184" y="305"/>
                    <a:pt x="185" y="302"/>
                  </a:cubicBezTo>
                  <a:cubicBezTo>
                    <a:pt x="186" y="299"/>
                    <a:pt x="184" y="299"/>
                    <a:pt x="186" y="295"/>
                  </a:cubicBezTo>
                  <a:cubicBezTo>
                    <a:pt x="187" y="291"/>
                    <a:pt x="187" y="288"/>
                    <a:pt x="183" y="288"/>
                  </a:cubicBezTo>
                  <a:cubicBezTo>
                    <a:pt x="179" y="288"/>
                    <a:pt x="176" y="291"/>
                    <a:pt x="175" y="296"/>
                  </a:cubicBezTo>
                  <a:cubicBezTo>
                    <a:pt x="175" y="302"/>
                    <a:pt x="170" y="301"/>
                    <a:pt x="157" y="300"/>
                  </a:cubicBezTo>
                  <a:cubicBezTo>
                    <a:pt x="145" y="300"/>
                    <a:pt x="146" y="290"/>
                    <a:pt x="144" y="281"/>
                  </a:cubicBezTo>
                  <a:cubicBezTo>
                    <a:pt x="143" y="273"/>
                    <a:pt x="147" y="266"/>
                    <a:pt x="147" y="262"/>
                  </a:cubicBezTo>
                  <a:cubicBezTo>
                    <a:pt x="147" y="258"/>
                    <a:pt x="152" y="254"/>
                    <a:pt x="157" y="250"/>
                  </a:cubicBezTo>
                  <a:cubicBezTo>
                    <a:pt x="162" y="247"/>
                    <a:pt x="169" y="248"/>
                    <a:pt x="169" y="248"/>
                  </a:cubicBezTo>
                  <a:cubicBezTo>
                    <a:pt x="169" y="248"/>
                    <a:pt x="178" y="250"/>
                    <a:pt x="181" y="249"/>
                  </a:cubicBezTo>
                  <a:cubicBezTo>
                    <a:pt x="184" y="249"/>
                    <a:pt x="181" y="247"/>
                    <a:pt x="181" y="244"/>
                  </a:cubicBezTo>
                  <a:cubicBezTo>
                    <a:pt x="182" y="241"/>
                    <a:pt x="195" y="243"/>
                    <a:pt x="198" y="243"/>
                  </a:cubicBezTo>
                  <a:cubicBezTo>
                    <a:pt x="200" y="243"/>
                    <a:pt x="200" y="245"/>
                    <a:pt x="202" y="248"/>
                  </a:cubicBezTo>
                  <a:cubicBezTo>
                    <a:pt x="204" y="249"/>
                    <a:pt x="204" y="248"/>
                    <a:pt x="205" y="247"/>
                  </a:cubicBezTo>
                  <a:cubicBezTo>
                    <a:pt x="205" y="246"/>
                    <a:pt x="206" y="245"/>
                    <a:pt x="207" y="246"/>
                  </a:cubicBezTo>
                  <a:cubicBezTo>
                    <a:pt x="210" y="246"/>
                    <a:pt x="208" y="248"/>
                    <a:pt x="211" y="254"/>
                  </a:cubicBezTo>
                  <a:cubicBezTo>
                    <a:pt x="215" y="260"/>
                    <a:pt x="215" y="262"/>
                    <a:pt x="216" y="267"/>
                  </a:cubicBezTo>
                  <a:cubicBezTo>
                    <a:pt x="217" y="273"/>
                    <a:pt x="220" y="270"/>
                    <a:pt x="221" y="266"/>
                  </a:cubicBezTo>
                  <a:cubicBezTo>
                    <a:pt x="223" y="261"/>
                    <a:pt x="219" y="248"/>
                    <a:pt x="218" y="241"/>
                  </a:cubicBezTo>
                  <a:cubicBezTo>
                    <a:pt x="217" y="233"/>
                    <a:pt x="224" y="236"/>
                    <a:pt x="230" y="229"/>
                  </a:cubicBezTo>
                  <a:cubicBezTo>
                    <a:pt x="236" y="223"/>
                    <a:pt x="243" y="222"/>
                    <a:pt x="245" y="217"/>
                  </a:cubicBezTo>
                  <a:cubicBezTo>
                    <a:pt x="248" y="213"/>
                    <a:pt x="245" y="205"/>
                    <a:pt x="247" y="209"/>
                  </a:cubicBezTo>
                  <a:cubicBezTo>
                    <a:pt x="249" y="213"/>
                    <a:pt x="249" y="207"/>
                    <a:pt x="249" y="203"/>
                  </a:cubicBezTo>
                  <a:cubicBezTo>
                    <a:pt x="249" y="198"/>
                    <a:pt x="252" y="197"/>
                    <a:pt x="253" y="199"/>
                  </a:cubicBezTo>
                  <a:cubicBezTo>
                    <a:pt x="254" y="202"/>
                    <a:pt x="255" y="200"/>
                    <a:pt x="256" y="195"/>
                  </a:cubicBezTo>
                  <a:cubicBezTo>
                    <a:pt x="257" y="191"/>
                    <a:pt x="261" y="186"/>
                    <a:pt x="263" y="184"/>
                  </a:cubicBezTo>
                  <a:cubicBezTo>
                    <a:pt x="265" y="182"/>
                    <a:pt x="269" y="184"/>
                    <a:pt x="274" y="184"/>
                  </a:cubicBezTo>
                  <a:cubicBezTo>
                    <a:pt x="279" y="184"/>
                    <a:pt x="274" y="183"/>
                    <a:pt x="273" y="178"/>
                  </a:cubicBezTo>
                  <a:cubicBezTo>
                    <a:pt x="271" y="173"/>
                    <a:pt x="276" y="171"/>
                    <a:pt x="278" y="171"/>
                  </a:cubicBezTo>
                  <a:cubicBezTo>
                    <a:pt x="280" y="171"/>
                    <a:pt x="289" y="166"/>
                    <a:pt x="291" y="165"/>
                  </a:cubicBezTo>
                  <a:cubicBezTo>
                    <a:pt x="293" y="164"/>
                    <a:pt x="295" y="164"/>
                    <a:pt x="299" y="166"/>
                  </a:cubicBezTo>
                  <a:cubicBezTo>
                    <a:pt x="302" y="169"/>
                    <a:pt x="296" y="167"/>
                    <a:pt x="293" y="171"/>
                  </a:cubicBezTo>
                  <a:cubicBezTo>
                    <a:pt x="291" y="174"/>
                    <a:pt x="296" y="175"/>
                    <a:pt x="299" y="171"/>
                  </a:cubicBezTo>
                  <a:cubicBezTo>
                    <a:pt x="301" y="168"/>
                    <a:pt x="306" y="170"/>
                    <a:pt x="310" y="165"/>
                  </a:cubicBezTo>
                  <a:cubicBezTo>
                    <a:pt x="315" y="161"/>
                    <a:pt x="305" y="163"/>
                    <a:pt x="303" y="162"/>
                  </a:cubicBezTo>
                  <a:cubicBezTo>
                    <a:pt x="301" y="161"/>
                    <a:pt x="300" y="156"/>
                    <a:pt x="300" y="155"/>
                  </a:cubicBezTo>
                  <a:cubicBezTo>
                    <a:pt x="300" y="153"/>
                    <a:pt x="299" y="149"/>
                    <a:pt x="297" y="147"/>
                  </a:cubicBezTo>
                  <a:cubicBezTo>
                    <a:pt x="295" y="146"/>
                    <a:pt x="289" y="148"/>
                    <a:pt x="284" y="150"/>
                  </a:cubicBezTo>
                  <a:cubicBezTo>
                    <a:pt x="280" y="151"/>
                    <a:pt x="278" y="153"/>
                    <a:pt x="278" y="151"/>
                  </a:cubicBezTo>
                  <a:cubicBezTo>
                    <a:pt x="279" y="149"/>
                    <a:pt x="287" y="143"/>
                    <a:pt x="289" y="143"/>
                  </a:cubicBezTo>
                  <a:cubicBezTo>
                    <a:pt x="291" y="143"/>
                    <a:pt x="297" y="140"/>
                    <a:pt x="300" y="137"/>
                  </a:cubicBezTo>
                  <a:cubicBezTo>
                    <a:pt x="303" y="134"/>
                    <a:pt x="311" y="137"/>
                    <a:pt x="315" y="138"/>
                  </a:cubicBezTo>
                  <a:cubicBezTo>
                    <a:pt x="319" y="138"/>
                    <a:pt x="324" y="140"/>
                    <a:pt x="326" y="138"/>
                  </a:cubicBezTo>
                  <a:cubicBezTo>
                    <a:pt x="328" y="135"/>
                    <a:pt x="330" y="135"/>
                    <a:pt x="333" y="134"/>
                  </a:cubicBezTo>
                  <a:cubicBezTo>
                    <a:pt x="337" y="134"/>
                    <a:pt x="338" y="128"/>
                    <a:pt x="335" y="126"/>
                  </a:cubicBezTo>
                  <a:cubicBezTo>
                    <a:pt x="333" y="123"/>
                    <a:pt x="329" y="114"/>
                    <a:pt x="323" y="111"/>
                  </a:cubicBezTo>
                  <a:cubicBezTo>
                    <a:pt x="318" y="108"/>
                    <a:pt x="320" y="107"/>
                    <a:pt x="322" y="104"/>
                  </a:cubicBezTo>
                  <a:cubicBezTo>
                    <a:pt x="323" y="102"/>
                    <a:pt x="316" y="96"/>
                    <a:pt x="314" y="90"/>
                  </a:cubicBezTo>
                  <a:cubicBezTo>
                    <a:pt x="311" y="84"/>
                    <a:pt x="314" y="83"/>
                    <a:pt x="311" y="83"/>
                  </a:cubicBezTo>
                  <a:cubicBezTo>
                    <a:pt x="308" y="82"/>
                    <a:pt x="310" y="87"/>
                    <a:pt x="309" y="91"/>
                  </a:cubicBezTo>
                  <a:cubicBezTo>
                    <a:pt x="307" y="95"/>
                    <a:pt x="301" y="93"/>
                    <a:pt x="300" y="93"/>
                  </a:cubicBezTo>
                  <a:cubicBezTo>
                    <a:pt x="299" y="92"/>
                    <a:pt x="296" y="88"/>
                    <a:pt x="296" y="85"/>
                  </a:cubicBezTo>
                  <a:cubicBezTo>
                    <a:pt x="297" y="81"/>
                    <a:pt x="298" y="77"/>
                    <a:pt x="296" y="76"/>
                  </a:cubicBezTo>
                  <a:cubicBezTo>
                    <a:pt x="295" y="75"/>
                    <a:pt x="293" y="76"/>
                    <a:pt x="291" y="75"/>
                  </a:cubicBezTo>
                  <a:cubicBezTo>
                    <a:pt x="290" y="73"/>
                    <a:pt x="288" y="69"/>
                    <a:pt x="286" y="67"/>
                  </a:cubicBezTo>
                  <a:cubicBezTo>
                    <a:pt x="284" y="66"/>
                    <a:pt x="282" y="66"/>
                    <a:pt x="280" y="66"/>
                  </a:cubicBezTo>
                  <a:cubicBezTo>
                    <a:pt x="278" y="66"/>
                    <a:pt x="277" y="66"/>
                    <a:pt x="275" y="65"/>
                  </a:cubicBezTo>
                  <a:cubicBezTo>
                    <a:pt x="272" y="65"/>
                    <a:pt x="269" y="66"/>
                    <a:pt x="270" y="68"/>
                  </a:cubicBezTo>
                  <a:cubicBezTo>
                    <a:pt x="270" y="70"/>
                    <a:pt x="270" y="73"/>
                    <a:pt x="269" y="81"/>
                  </a:cubicBezTo>
                  <a:cubicBezTo>
                    <a:pt x="268" y="86"/>
                    <a:pt x="267" y="86"/>
                    <a:pt x="265" y="86"/>
                  </a:cubicBezTo>
                  <a:cubicBezTo>
                    <a:pt x="265" y="86"/>
                    <a:pt x="264" y="86"/>
                    <a:pt x="263" y="86"/>
                  </a:cubicBezTo>
                  <a:cubicBezTo>
                    <a:pt x="261" y="88"/>
                    <a:pt x="264" y="89"/>
                    <a:pt x="266" y="94"/>
                  </a:cubicBezTo>
                  <a:cubicBezTo>
                    <a:pt x="268" y="100"/>
                    <a:pt x="264" y="104"/>
                    <a:pt x="262" y="105"/>
                  </a:cubicBezTo>
                  <a:cubicBezTo>
                    <a:pt x="261" y="107"/>
                    <a:pt x="255" y="108"/>
                    <a:pt x="252" y="109"/>
                  </a:cubicBezTo>
                  <a:cubicBezTo>
                    <a:pt x="248" y="110"/>
                    <a:pt x="252" y="115"/>
                    <a:pt x="252" y="119"/>
                  </a:cubicBezTo>
                  <a:cubicBezTo>
                    <a:pt x="253" y="123"/>
                    <a:pt x="249" y="128"/>
                    <a:pt x="247" y="129"/>
                  </a:cubicBezTo>
                  <a:cubicBezTo>
                    <a:pt x="245" y="129"/>
                    <a:pt x="239" y="122"/>
                    <a:pt x="239" y="117"/>
                  </a:cubicBezTo>
                  <a:cubicBezTo>
                    <a:pt x="238" y="113"/>
                    <a:pt x="243" y="108"/>
                    <a:pt x="241" y="106"/>
                  </a:cubicBezTo>
                  <a:cubicBezTo>
                    <a:pt x="239" y="105"/>
                    <a:pt x="231" y="105"/>
                    <a:pt x="224" y="99"/>
                  </a:cubicBezTo>
                  <a:cubicBezTo>
                    <a:pt x="218" y="93"/>
                    <a:pt x="209" y="90"/>
                    <a:pt x="206" y="83"/>
                  </a:cubicBezTo>
                  <a:cubicBezTo>
                    <a:pt x="204" y="76"/>
                    <a:pt x="209" y="70"/>
                    <a:pt x="212" y="65"/>
                  </a:cubicBezTo>
                  <a:cubicBezTo>
                    <a:pt x="214" y="60"/>
                    <a:pt x="219" y="61"/>
                    <a:pt x="226" y="58"/>
                  </a:cubicBezTo>
                  <a:cubicBezTo>
                    <a:pt x="234" y="55"/>
                    <a:pt x="229" y="53"/>
                    <a:pt x="231" y="53"/>
                  </a:cubicBezTo>
                  <a:cubicBezTo>
                    <a:pt x="233" y="53"/>
                    <a:pt x="239" y="52"/>
                    <a:pt x="241" y="50"/>
                  </a:cubicBezTo>
                  <a:cubicBezTo>
                    <a:pt x="242" y="48"/>
                    <a:pt x="245" y="46"/>
                    <a:pt x="249" y="44"/>
                  </a:cubicBezTo>
                  <a:cubicBezTo>
                    <a:pt x="252" y="43"/>
                    <a:pt x="252" y="39"/>
                    <a:pt x="254" y="37"/>
                  </a:cubicBezTo>
                  <a:cubicBezTo>
                    <a:pt x="254" y="36"/>
                    <a:pt x="256" y="37"/>
                    <a:pt x="257" y="38"/>
                  </a:cubicBezTo>
                  <a:cubicBezTo>
                    <a:pt x="259" y="39"/>
                    <a:pt x="260" y="40"/>
                    <a:pt x="262" y="40"/>
                  </a:cubicBezTo>
                  <a:cubicBezTo>
                    <a:pt x="263" y="39"/>
                    <a:pt x="264" y="39"/>
                    <a:pt x="265" y="39"/>
                  </a:cubicBezTo>
                  <a:cubicBezTo>
                    <a:pt x="266" y="39"/>
                    <a:pt x="267" y="40"/>
                    <a:pt x="271" y="38"/>
                  </a:cubicBezTo>
                  <a:cubicBezTo>
                    <a:pt x="276" y="36"/>
                    <a:pt x="271" y="34"/>
                    <a:pt x="271" y="31"/>
                  </a:cubicBezTo>
                  <a:cubicBezTo>
                    <a:pt x="270" y="29"/>
                    <a:pt x="274" y="30"/>
                    <a:pt x="273" y="27"/>
                  </a:cubicBezTo>
                  <a:cubicBezTo>
                    <a:pt x="272" y="24"/>
                    <a:pt x="267" y="21"/>
                    <a:pt x="263" y="21"/>
                  </a:cubicBezTo>
                  <a:cubicBezTo>
                    <a:pt x="260" y="22"/>
                    <a:pt x="264" y="25"/>
                    <a:pt x="261" y="29"/>
                  </a:cubicBezTo>
                  <a:cubicBezTo>
                    <a:pt x="257" y="32"/>
                    <a:pt x="258" y="34"/>
                    <a:pt x="257" y="35"/>
                  </a:cubicBezTo>
                  <a:cubicBezTo>
                    <a:pt x="255" y="35"/>
                    <a:pt x="250" y="33"/>
                    <a:pt x="250" y="32"/>
                  </a:cubicBezTo>
                  <a:cubicBezTo>
                    <a:pt x="250" y="30"/>
                    <a:pt x="253" y="29"/>
                    <a:pt x="254" y="28"/>
                  </a:cubicBezTo>
                  <a:cubicBezTo>
                    <a:pt x="254" y="27"/>
                    <a:pt x="253" y="24"/>
                    <a:pt x="252" y="22"/>
                  </a:cubicBezTo>
                  <a:cubicBezTo>
                    <a:pt x="252" y="21"/>
                    <a:pt x="250" y="24"/>
                    <a:pt x="249" y="26"/>
                  </a:cubicBezTo>
                  <a:cubicBezTo>
                    <a:pt x="249" y="29"/>
                    <a:pt x="246" y="29"/>
                    <a:pt x="247" y="27"/>
                  </a:cubicBezTo>
                  <a:cubicBezTo>
                    <a:pt x="248" y="25"/>
                    <a:pt x="245" y="22"/>
                    <a:pt x="243" y="19"/>
                  </a:cubicBezTo>
                  <a:cubicBezTo>
                    <a:pt x="241" y="17"/>
                    <a:pt x="245" y="17"/>
                    <a:pt x="247" y="14"/>
                  </a:cubicBezTo>
                  <a:cubicBezTo>
                    <a:pt x="249" y="10"/>
                    <a:pt x="249" y="9"/>
                    <a:pt x="246" y="7"/>
                  </a:cubicBezTo>
                  <a:cubicBezTo>
                    <a:pt x="243" y="6"/>
                    <a:pt x="239" y="8"/>
                    <a:pt x="236" y="12"/>
                  </a:cubicBezTo>
                  <a:cubicBezTo>
                    <a:pt x="233" y="15"/>
                    <a:pt x="234" y="15"/>
                    <a:pt x="235" y="20"/>
                  </a:cubicBezTo>
                  <a:cubicBezTo>
                    <a:pt x="236" y="22"/>
                    <a:pt x="236" y="22"/>
                    <a:pt x="236" y="22"/>
                  </a:cubicBezTo>
                  <a:cubicBezTo>
                    <a:pt x="236" y="22"/>
                    <a:pt x="236" y="22"/>
                    <a:pt x="236" y="24"/>
                  </a:cubicBezTo>
                  <a:cubicBezTo>
                    <a:pt x="237" y="28"/>
                    <a:pt x="230" y="28"/>
                    <a:pt x="230" y="28"/>
                  </a:cubicBezTo>
                  <a:cubicBezTo>
                    <a:pt x="230" y="28"/>
                    <a:pt x="227" y="27"/>
                    <a:pt x="226" y="27"/>
                  </a:cubicBezTo>
                  <a:cubicBezTo>
                    <a:pt x="225" y="26"/>
                    <a:pt x="226" y="25"/>
                    <a:pt x="224" y="24"/>
                  </a:cubicBezTo>
                  <a:cubicBezTo>
                    <a:pt x="221" y="23"/>
                    <a:pt x="220" y="27"/>
                    <a:pt x="220" y="27"/>
                  </a:cubicBezTo>
                  <a:cubicBezTo>
                    <a:pt x="220" y="27"/>
                    <a:pt x="213" y="27"/>
                    <a:pt x="210" y="27"/>
                  </a:cubicBezTo>
                  <a:cubicBezTo>
                    <a:pt x="207" y="27"/>
                    <a:pt x="203" y="26"/>
                    <a:pt x="202" y="24"/>
                  </a:cubicBezTo>
                  <a:cubicBezTo>
                    <a:pt x="201" y="23"/>
                    <a:pt x="198" y="21"/>
                    <a:pt x="195" y="21"/>
                  </a:cubicBezTo>
                  <a:cubicBezTo>
                    <a:pt x="192" y="21"/>
                    <a:pt x="190" y="23"/>
                    <a:pt x="190" y="26"/>
                  </a:cubicBezTo>
                  <a:cubicBezTo>
                    <a:pt x="190" y="30"/>
                    <a:pt x="185" y="30"/>
                    <a:pt x="185" y="28"/>
                  </a:cubicBezTo>
                  <a:cubicBezTo>
                    <a:pt x="186" y="27"/>
                    <a:pt x="185" y="22"/>
                    <a:pt x="185" y="22"/>
                  </a:cubicBezTo>
                  <a:cubicBezTo>
                    <a:pt x="182" y="24"/>
                    <a:pt x="182" y="24"/>
                    <a:pt x="182" y="24"/>
                  </a:cubicBezTo>
                  <a:cubicBezTo>
                    <a:pt x="182" y="24"/>
                    <a:pt x="174" y="23"/>
                    <a:pt x="171" y="23"/>
                  </a:cubicBezTo>
                  <a:cubicBezTo>
                    <a:pt x="169" y="23"/>
                    <a:pt x="170" y="19"/>
                    <a:pt x="170" y="19"/>
                  </a:cubicBezTo>
                  <a:cubicBezTo>
                    <a:pt x="175" y="19"/>
                    <a:pt x="175" y="19"/>
                    <a:pt x="175" y="19"/>
                  </a:cubicBezTo>
                  <a:cubicBezTo>
                    <a:pt x="176" y="18"/>
                    <a:pt x="176" y="18"/>
                    <a:pt x="176" y="18"/>
                  </a:cubicBezTo>
                  <a:cubicBezTo>
                    <a:pt x="176" y="18"/>
                    <a:pt x="174" y="16"/>
                    <a:pt x="173" y="16"/>
                  </a:cubicBezTo>
                  <a:cubicBezTo>
                    <a:pt x="171" y="15"/>
                    <a:pt x="165" y="14"/>
                    <a:pt x="165" y="14"/>
                  </a:cubicBezTo>
                  <a:cubicBezTo>
                    <a:pt x="163" y="11"/>
                    <a:pt x="163" y="11"/>
                    <a:pt x="163" y="11"/>
                  </a:cubicBezTo>
                  <a:cubicBezTo>
                    <a:pt x="163" y="11"/>
                    <a:pt x="161" y="11"/>
                    <a:pt x="159" y="11"/>
                  </a:cubicBezTo>
                  <a:cubicBezTo>
                    <a:pt x="158" y="11"/>
                    <a:pt x="156" y="14"/>
                    <a:pt x="155" y="14"/>
                  </a:cubicBezTo>
                  <a:cubicBezTo>
                    <a:pt x="154" y="14"/>
                    <a:pt x="154" y="11"/>
                    <a:pt x="154" y="11"/>
                  </a:cubicBezTo>
                  <a:cubicBezTo>
                    <a:pt x="155" y="9"/>
                    <a:pt x="155" y="9"/>
                    <a:pt x="155" y="9"/>
                  </a:cubicBezTo>
                  <a:cubicBezTo>
                    <a:pt x="155" y="9"/>
                    <a:pt x="155" y="9"/>
                    <a:pt x="152" y="10"/>
                  </a:cubicBezTo>
                  <a:cubicBezTo>
                    <a:pt x="150" y="11"/>
                    <a:pt x="149" y="11"/>
                    <a:pt x="149" y="11"/>
                  </a:cubicBezTo>
                  <a:cubicBezTo>
                    <a:pt x="150" y="8"/>
                    <a:pt x="150" y="8"/>
                    <a:pt x="150" y="8"/>
                  </a:cubicBezTo>
                  <a:cubicBezTo>
                    <a:pt x="150" y="6"/>
                    <a:pt x="150" y="6"/>
                    <a:pt x="150" y="6"/>
                  </a:cubicBezTo>
                  <a:cubicBezTo>
                    <a:pt x="150" y="6"/>
                    <a:pt x="149" y="4"/>
                    <a:pt x="149" y="5"/>
                  </a:cubicBezTo>
                  <a:cubicBezTo>
                    <a:pt x="149" y="6"/>
                    <a:pt x="146" y="9"/>
                    <a:pt x="144" y="9"/>
                  </a:cubicBezTo>
                  <a:cubicBezTo>
                    <a:pt x="143" y="9"/>
                    <a:pt x="143" y="9"/>
                    <a:pt x="142" y="9"/>
                  </a:cubicBezTo>
                  <a:cubicBezTo>
                    <a:pt x="141" y="10"/>
                    <a:pt x="139" y="10"/>
                    <a:pt x="138" y="10"/>
                  </a:cubicBezTo>
                  <a:cubicBezTo>
                    <a:pt x="135" y="9"/>
                    <a:pt x="129" y="11"/>
                    <a:pt x="125" y="14"/>
                  </a:cubicBezTo>
                  <a:cubicBezTo>
                    <a:pt x="122" y="17"/>
                    <a:pt x="120" y="18"/>
                    <a:pt x="121" y="15"/>
                  </a:cubicBezTo>
                  <a:cubicBezTo>
                    <a:pt x="121" y="11"/>
                    <a:pt x="111" y="12"/>
                    <a:pt x="110" y="11"/>
                  </a:cubicBezTo>
                  <a:cubicBezTo>
                    <a:pt x="108" y="10"/>
                    <a:pt x="104" y="10"/>
                    <a:pt x="100" y="9"/>
                  </a:cubicBezTo>
                  <a:cubicBezTo>
                    <a:pt x="96" y="9"/>
                    <a:pt x="95" y="6"/>
                    <a:pt x="95" y="6"/>
                  </a:cubicBezTo>
                  <a:cubicBezTo>
                    <a:pt x="93" y="0"/>
                    <a:pt x="93" y="0"/>
                    <a:pt x="93" y="0"/>
                  </a:cubicBezTo>
                  <a:cubicBezTo>
                    <a:pt x="72" y="11"/>
                    <a:pt x="53" y="25"/>
                    <a:pt x="36" y="41"/>
                  </a:cubicBezTo>
                  <a:cubicBezTo>
                    <a:pt x="38" y="45"/>
                    <a:pt x="40" y="49"/>
                    <a:pt x="41" y="50"/>
                  </a:cubicBezTo>
                  <a:cubicBezTo>
                    <a:pt x="43" y="51"/>
                    <a:pt x="44" y="50"/>
                    <a:pt x="44" y="50"/>
                  </a:cubicBezTo>
                  <a:cubicBezTo>
                    <a:pt x="44" y="50"/>
                    <a:pt x="38" y="54"/>
                    <a:pt x="27" y="64"/>
                  </a:cubicBezTo>
                  <a:cubicBezTo>
                    <a:pt x="16" y="73"/>
                    <a:pt x="20" y="74"/>
                    <a:pt x="20" y="78"/>
                  </a:cubicBezTo>
                  <a:cubicBezTo>
                    <a:pt x="20" y="81"/>
                    <a:pt x="22" y="80"/>
                    <a:pt x="22" y="80"/>
                  </a:cubicBezTo>
                  <a:cubicBezTo>
                    <a:pt x="22" y="80"/>
                    <a:pt x="14" y="88"/>
                    <a:pt x="11" y="91"/>
                  </a:cubicBezTo>
                  <a:cubicBezTo>
                    <a:pt x="9" y="93"/>
                    <a:pt x="5" y="96"/>
                    <a:pt x="5" y="96"/>
                  </a:cubicBezTo>
                  <a:cubicBezTo>
                    <a:pt x="0" y="102"/>
                    <a:pt x="0" y="102"/>
                    <a:pt x="0" y="102"/>
                  </a:cubicBezTo>
                  <a:cubicBezTo>
                    <a:pt x="2" y="102"/>
                    <a:pt x="2" y="102"/>
                    <a:pt x="2" y="102"/>
                  </a:cubicBezTo>
                  <a:cubicBezTo>
                    <a:pt x="28" y="81"/>
                    <a:pt x="28" y="81"/>
                    <a:pt x="28" y="81"/>
                  </a:cubicBezTo>
                  <a:cubicBezTo>
                    <a:pt x="28" y="81"/>
                    <a:pt x="30" y="80"/>
                    <a:pt x="30" y="79"/>
                  </a:cubicBezTo>
                  <a:cubicBezTo>
                    <a:pt x="30" y="79"/>
                    <a:pt x="32" y="75"/>
                    <a:pt x="32" y="75"/>
                  </a:cubicBezTo>
                  <a:cubicBezTo>
                    <a:pt x="33" y="75"/>
                    <a:pt x="35" y="71"/>
                    <a:pt x="35" y="71"/>
                  </a:cubicBezTo>
                  <a:cubicBezTo>
                    <a:pt x="35" y="71"/>
                    <a:pt x="37" y="71"/>
                    <a:pt x="39" y="69"/>
                  </a:cubicBezTo>
                  <a:cubicBezTo>
                    <a:pt x="41" y="67"/>
                    <a:pt x="42" y="64"/>
                    <a:pt x="44" y="64"/>
                  </a:cubicBezTo>
                  <a:cubicBezTo>
                    <a:pt x="46" y="64"/>
                    <a:pt x="44" y="67"/>
                    <a:pt x="41" y="69"/>
                  </a:cubicBezTo>
                  <a:cubicBezTo>
                    <a:pt x="38" y="71"/>
                    <a:pt x="35" y="76"/>
                    <a:pt x="35" y="76"/>
                  </a:cubicBezTo>
                  <a:cubicBezTo>
                    <a:pt x="35" y="76"/>
                    <a:pt x="44" y="71"/>
                    <a:pt x="48" y="69"/>
                  </a:cubicBezTo>
                  <a:cubicBezTo>
                    <a:pt x="51" y="67"/>
                    <a:pt x="50" y="64"/>
                    <a:pt x="51" y="64"/>
                  </a:cubicBezTo>
                  <a:cubicBezTo>
                    <a:pt x="52" y="63"/>
                    <a:pt x="55" y="66"/>
                    <a:pt x="56" y="69"/>
                  </a:cubicBezTo>
                  <a:cubicBezTo>
                    <a:pt x="57" y="70"/>
                    <a:pt x="57" y="70"/>
                    <a:pt x="59" y="69"/>
                  </a:cubicBezTo>
                  <a:cubicBezTo>
                    <a:pt x="60" y="69"/>
                    <a:pt x="61" y="68"/>
                    <a:pt x="63" y="69"/>
                  </a:cubicBezTo>
                  <a:cubicBezTo>
                    <a:pt x="68" y="69"/>
                    <a:pt x="64" y="73"/>
                    <a:pt x="66" y="75"/>
                  </a:cubicBezTo>
                  <a:cubicBezTo>
                    <a:pt x="68" y="78"/>
                    <a:pt x="68" y="79"/>
                    <a:pt x="73" y="78"/>
                  </a:cubicBezTo>
                  <a:cubicBezTo>
                    <a:pt x="77" y="77"/>
                    <a:pt x="71" y="88"/>
                    <a:pt x="71" y="88"/>
                  </a:cubicBezTo>
                  <a:cubicBezTo>
                    <a:pt x="70" y="91"/>
                    <a:pt x="70" y="91"/>
                    <a:pt x="70" y="91"/>
                  </a:cubicBezTo>
                  <a:cubicBezTo>
                    <a:pt x="70" y="91"/>
                    <a:pt x="72" y="94"/>
                    <a:pt x="72" y="94"/>
                  </a:cubicBezTo>
                  <a:cubicBezTo>
                    <a:pt x="72" y="94"/>
                    <a:pt x="70" y="101"/>
                    <a:pt x="70" y="101"/>
                  </a:cubicBezTo>
                  <a:cubicBezTo>
                    <a:pt x="74" y="101"/>
                    <a:pt x="74" y="101"/>
                    <a:pt x="74" y="101"/>
                  </a:cubicBezTo>
                  <a:cubicBezTo>
                    <a:pt x="74" y="101"/>
                    <a:pt x="72" y="103"/>
                    <a:pt x="70" y="104"/>
                  </a:cubicBezTo>
                  <a:cubicBezTo>
                    <a:pt x="69" y="105"/>
                    <a:pt x="71" y="108"/>
                    <a:pt x="73" y="109"/>
                  </a:cubicBezTo>
                  <a:cubicBezTo>
                    <a:pt x="74" y="110"/>
                    <a:pt x="73" y="109"/>
                    <a:pt x="70" y="115"/>
                  </a:cubicBezTo>
                  <a:cubicBezTo>
                    <a:pt x="68" y="120"/>
                    <a:pt x="70" y="119"/>
                    <a:pt x="73" y="123"/>
                  </a:cubicBezTo>
                  <a:cubicBezTo>
                    <a:pt x="76" y="126"/>
                    <a:pt x="78" y="128"/>
                    <a:pt x="80" y="131"/>
                  </a:cubicBezTo>
                  <a:cubicBezTo>
                    <a:pt x="82" y="133"/>
                    <a:pt x="80" y="139"/>
                    <a:pt x="78" y="139"/>
                  </a:cubicBezTo>
                  <a:cubicBezTo>
                    <a:pt x="75" y="140"/>
                    <a:pt x="71" y="136"/>
                    <a:pt x="71" y="136"/>
                  </a:cubicBezTo>
                  <a:cubicBezTo>
                    <a:pt x="71" y="173"/>
                    <a:pt x="69" y="168"/>
                    <a:pt x="68" y="162"/>
                  </a:cubicBezTo>
                  <a:cubicBezTo>
                    <a:pt x="67" y="160"/>
                    <a:pt x="66" y="157"/>
                    <a:pt x="66" y="159"/>
                  </a:cubicBezTo>
                  <a:cubicBezTo>
                    <a:pt x="64" y="163"/>
                    <a:pt x="62" y="166"/>
                    <a:pt x="62" y="169"/>
                  </a:cubicBezTo>
                  <a:cubicBezTo>
                    <a:pt x="62" y="171"/>
                    <a:pt x="62" y="176"/>
                    <a:pt x="59" y="180"/>
                  </a:cubicBezTo>
                  <a:cubicBezTo>
                    <a:pt x="56" y="184"/>
                    <a:pt x="58" y="193"/>
                    <a:pt x="59" y="194"/>
                  </a:cubicBezTo>
                  <a:cubicBezTo>
                    <a:pt x="59" y="195"/>
                    <a:pt x="61" y="199"/>
                    <a:pt x="61" y="199"/>
                  </a:cubicBezTo>
                  <a:cubicBezTo>
                    <a:pt x="61" y="199"/>
                    <a:pt x="61" y="209"/>
                    <a:pt x="61" y="214"/>
                  </a:cubicBezTo>
                  <a:cubicBezTo>
                    <a:pt x="61" y="219"/>
                    <a:pt x="70" y="221"/>
                    <a:pt x="73" y="225"/>
                  </a:cubicBezTo>
                  <a:cubicBezTo>
                    <a:pt x="76" y="229"/>
                    <a:pt x="75" y="237"/>
                    <a:pt x="75" y="238"/>
                  </a:cubicBezTo>
                  <a:cubicBezTo>
                    <a:pt x="75" y="240"/>
                    <a:pt x="77" y="243"/>
                    <a:pt x="79" y="244"/>
                  </a:cubicBezTo>
                  <a:cubicBezTo>
                    <a:pt x="80" y="246"/>
                    <a:pt x="81" y="249"/>
                    <a:pt x="82" y="251"/>
                  </a:cubicBezTo>
                  <a:cubicBezTo>
                    <a:pt x="83" y="253"/>
                    <a:pt x="80" y="252"/>
                    <a:pt x="80" y="256"/>
                  </a:cubicBezTo>
                  <a:cubicBezTo>
                    <a:pt x="79" y="259"/>
                    <a:pt x="82" y="259"/>
                    <a:pt x="84" y="259"/>
                  </a:cubicBezTo>
                  <a:cubicBezTo>
                    <a:pt x="86" y="260"/>
                    <a:pt x="88" y="261"/>
                    <a:pt x="87" y="265"/>
                  </a:cubicBezTo>
                  <a:cubicBezTo>
                    <a:pt x="86" y="268"/>
                    <a:pt x="86" y="267"/>
                    <a:pt x="88" y="269"/>
                  </a:cubicBezTo>
                  <a:cubicBezTo>
                    <a:pt x="90" y="271"/>
                    <a:pt x="89" y="269"/>
                    <a:pt x="90" y="273"/>
                  </a:cubicBezTo>
                  <a:cubicBezTo>
                    <a:pt x="91" y="276"/>
                    <a:pt x="93" y="275"/>
                    <a:pt x="93" y="275"/>
                  </a:cubicBezTo>
                  <a:cubicBezTo>
                    <a:pt x="93" y="275"/>
                    <a:pt x="93" y="276"/>
                    <a:pt x="93" y="277"/>
                  </a:cubicBezTo>
                  <a:cubicBezTo>
                    <a:pt x="93" y="278"/>
                    <a:pt x="96" y="278"/>
                    <a:pt x="96" y="278"/>
                  </a:cubicBezTo>
                  <a:cubicBezTo>
                    <a:pt x="97" y="276"/>
                    <a:pt x="97" y="276"/>
                    <a:pt x="97" y="276"/>
                  </a:cubicBezTo>
                  <a:cubicBezTo>
                    <a:pt x="97" y="276"/>
                    <a:pt x="96" y="276"/>
                    <a:pt x="96" y="275"/>
                  </a:cubicBezTo>
                  <a:cubicBezTo>
                    <a:pt x="96" y="275"/>
                    <a:pt x="96" y="273"/>
                    <a:pt x="96" y="273"/>
                  </a:cubicBezTo>
                  <a:cubicBezTo>
                    <a:pt x="92" y="272"/>
                    <a:pt x="92" y="272"/>
                    <a:pt x="92" y="272"/>
                  </a:cubicBezTo>
                  <a:cubicBezTo>
                    <a:pt x="92" y="272"/>
                    <a:pt x="92" y="270"/>
                    <a:pt x="92" y="269"/>
                  </a:cubicBezTo>
                  <a:cubicBezTo>
                    <a:pt x="92" y="269"/>
                    <a:pt x="92" y="267"/>
                    <a:pt x="92" y="266"/>
                  </a:cubicBezTo>
                  <a:cubicBezTo>
                    <a:pt x="92" y="266"/>
                    <a:pt x="91" y="265"/>
                    <a:pt x="91" y="265"/>
                  </a:cubicBezTo>
                  <a:cubicBezTo>
                    <a:pt x="91" y="265"/>
                    <a:pt x="91" y="262"/>
                    <a:pt x="91" y="260"/>
                  </a:cubicBezTo>
                  <a:cubicBezTo>
                    <a:pt x="91" y="258"/>
                    <a:pt x="88" y="257"/>
                    <a:pt x="87" y="256"/>
                  </a:cubicBezTo>
                  <a:cubicBezTo>
                    <a:pt x="87" y="255"/>
                    <a:pt x="87" y="252"/>
                    <a:pt x="86" y="250"/>
                  </a:cubicBezTo>
                  <a:cubicBezTo>
                    <a:pt x="85" y="249"/>
                    <a:pt x="82" y="245"/>
                    <a:pt x="82" y="241"/>
                  </a:cubicBezTo>
                  <a:cubicBezTo>
                    <a:pt x="82" y="237"/>
                    <a:pt x="81" y="234"/>
                    <a:pt x="83" y="234"/>
                  </a:cubicBezTo>
                  <a:cubicBezTo>
                    <a:pt x="84" y="234"/>
                    <a:pt x="87" y="238"/>
                    <a:pt x="87" y="239"/>
                  </a:cubicBezTo>
                  <a:cubicBezTo>
                    <a:pt x="88" y="239"/>
                    <a:pt x="88" y="244"/>
                    <a:pt x="91" y="249"/>
                  </a:cubicBezTo>
                  <a:cubicBezTo>
                    <a:pt x="94" y="253"/>
                    <a:pt x="101" y="262"/>
                    <a:pt x="101" y="263"/>
                  </a:cubicBezTo>
                  <a:cubicBezTo>
                    <a:pt x="100" y="264"/>
                    <a:pt x="98" y="263"/>
                    <a:pt x="99" y="266"/>
                  </a:cubicBezTo>
                  <a:cubicBezTo>
                    <a:pt x="100" y="269"/>
                    <a:pt x="103" y="269"/>
                    <a:pt x="105" y="270"/>
                  </a:cubicBezTo>
                  <a:cubicBezTo>
                    <a:pt x="107" y="270"/>
                    <a:pt x="110" y="281"/>
                    <a:pt x="112" y="285"/>
                  </a:cubicBezTo>
                  <a:cubicBezTo>
                    <a:pt x="114" y="288"/>
                    <a:pt x="111" y="288"/>
                    <a:pt x="111" y="291"/>
                  </a:cubicBezTo>
                  <a:cubicBezTo>
                    <a:pt x="110" y="293"/>
                    <a:pt x="111" y="294"/>
                    <a:pt x="115" y="296"/>
                  </a:cubicBezTo>
                  <a:cubicBezTo>
                    <a:pt x="118" y="297"/>
                    <a:pt x="117" y="301"/>
                    <a:pt x="122" y="303"/>
                  </a:cubicBezTo>
                  <a:cubicBezTo>
                    <a:pt x="126" y="304"/>
                    <a:pt x="134" y="309"/>
                    <a:pt x="136" y="310"/>
                  </a:cubicBezTo>
                  <a:cubicBezTo>
                    <a:pt x="138" y="310"/>
                    <a:pt x="138" y="312"/>
                    <a:pt x="141" y="312"/>
                  </a:cubicBezTo>
                  <a:cubicBezTo>
                    <a:pt x="143" y="312"/>
                    <a:pt x="144" y="313"/>
                    <a:pt x="145" y="314"/>
                  </a:cubicBezTo>
                  <a:cubicBezTo>
                    <a:pt x="147" y="315"/>
                    <a:pt x="152" y="313"/>
                    <a:pt x="153" y="313"/>
                  </a:cubicBezTo>
                  <a:cubicBezTo>
                    <a:pt x="154" y="312"/>
                    <a:pt x="155" y="312"/>
                    <a:pt x="157" y="313"/>
                  </a:cubicBezTo>
                  <a:cubicBezTo>
                    <a:pt x="160" y="313"/>
                    <a:pt x="167" y="321"/>
                    <a:pt x="170" y="324"/>
                  </a:cubicBezTo>
                  <a:cubicBezTo>
                    <a:pt x="171" y="325"/>
                    <a:pt x="172" y="324"/>
                    <a:pt x="173" y="324"/>
                  </a:cubicBezTo>
                  <a:cubicBezTo>
                    <a:pt x="174" y="324"/>
                    <a:pt x="175" y="323"/>
                    <a:pt x="176" y="324"/>
                  </a:cubicBezTo>
                  <a:cubicBezTo>
                    <a:pt x="178" y="325"/>
                    <a:pt x="181" y="327"/>
                    <a:pt x="183" y="326"/>
                  </a:cubicBezTo>
                  <a:cubicBezTo>
                    <a:pt x="184" y="326"/>
                    <a:pt x="184" y="325"/>
                    <a:pt x="185" y="325"/>
                  </a:cubicBezTo>
                  <a:cubicBezTo>
                    <a:pt x="186" y="325"/>
                    <a:pt x="185" y="327"/>
                    <a:pt x="189" y="331"/>
                  </a:cubicBezTo>
                  <a:cubicBezTo>
                    <a:pt x="193" y="336"/>
                    <a:pt x="192" y="337"/>
                    <a:pt x="192" y="338"/>
                  </a:cubicBezTo>
                  <a:cubicBezTo>
                    <a:pt x="192" y="338"/>
                    <a:pt x="194" y="342"/>
                    <a:pt x="196" y="341"/>
                  </a:cubicBezTo>
                  <a:cubicBezTo>
                    <a:pt x="198" y="341"/>
                    <a:pt x="201" y="343"/>
                    <a:pt x="201" y="343"/>
                  </a:cubicBezTo>
                  <a:cubicBezTo>
                    <a:pt x="201" y="347"/>
                    <a:pt x="201" y="347"/>
                    <a:pt x="201" y="347"/>
                  </a:cubicBezTo>
                  <a:cubicBezTo>
                    <a:pt x="201" y="347"/>
                    <a:pt x="209" y="348"/>
                    <a:pt x="210" y="348"/>
                  </a:cubicBezTo>
                  <a:cubicBezTo>
                    <a:pt x="212" y="349"/>
                    <a:pt x="212" y="352"/>
                    <a:pt x="213" y="353"/>
                  </a:cubicBezTo>
                  <a:cubicBezTo>
                    <a:pt x="214" y="353"/>
                    <a:pt x="217" y="350"/>
                    <a:pt x="216" y="348"/>
                  </a:cubicBezTo>
                  <a:cubicBezTo>
                    <a:pt x="216" y="346"/>
                    <a:pt x="219" y="345"/>
                    <a:pt x="221" y="344"/>
                  </a:cubicBezTo>
                  <a:cubicBezTo>
                    <a:pt x="222" y="342"/>
                    <a:pt x="224" y="345"/>
                    <a:pt x="225" y="347"/>
                  </a:cubicBezTo>
                  <a:cubicBezTo>
                    <a:pt x="226" y="348"/>
                    <a:pt x="229" y="352"/>
                    <a:pt x="229" y="355"/>
                  </a:cubicBezTo>
                  <a:cubicBezTo>
                    <a:pt x="229" y="358"/>
                    <a:pt x="229" y="362"/>
                    <a:pt x="229" y="366"/>
                  </a:cubicBezTo>
                  <a:cubicBezTo>
                    <a:pt x="229" y="371"/>
                    <a:pt x="225" y="373"/>
                    <a:pt x="223" y="376"/>
                  </a:cubicBezTo>
                  <a:cubicBezTo>
                    <a:pt x="220" y="379"/>
                    <a:pt x="218" y="381"/>
                    <a:pt x="216" y="382"/>
                  </a:cubicBezTo>
                  <a:cubicBezTo>
                    <a:pt x="215" y="384"/>
                    <a:pt x="214" y="388"/>
                    <a:pt x="215" y="391"/>
                  </a:cubicBezTo>
                  <a:cubicBezTo>
                    <a:pt x="215" y="393"/>
                    <a:pt x="219" y="391"/>
                    <a:pt x="219" y="394"/>
                  </a:cubicBezTo>
                  <a:cubicBezTo>
                    <a:pt x="219" y="397"/>
                    <a:pt x="215" y="395"/>
                    <a:pt x="212" y="398"/>
                  </a:cubicBezTo>
                  <a:cubicBezTo>
                    <a:pt x="208" y="401"/>
                    <a:pt x="212" y="401"/>
                    <a:pt x="214" y="404"/>
                  </a:cubicBezTo>
                  <a:cubicBezTo>
                    <a:pt x="215" y="406"/>
                    <a:pt x="212" y="404"/>
                    <a:pt x="212" y="407"/>
                  </a:cubicBezTo>
                  <a:cubicBezTo>
                    <a:pt x="212" y="410"/>
                    <a:pt x="216" y="409"/>
                    <a:pt x="220" y="411"/>
                  </a:cubicBezTo>
                  <a:cubicBezTo>
                    <a:pt x="224" y="412"/>
                    <a:pt x="229" y="422"/>
                    <a:pt x="231" y="428"/>
                  </a:cubicBezTo>
                  <a:cubicBezTo>
                    <a:pt x="233" y="433"/>
                    <a:pt x="236" y="438"/>
                    <a:pt x="238" y="439"/>
                  </a:cubicBezTo>
                  <a:cubicBezTo>
                    <a:pt x="240" y="440"/>
                    <a:pt x="241" y="442"/>
                    <a:pt x="246" y="443"/>
                  </a:cubicBezTo>
                  <a:cubicBezTo>
                    <a:pt x="251" y="444"/>
                    <a:pt x="255" y="448"/>
                    <a:pt x="257" y="448"/>
                  </a:cubicBezTo>
                  <a:cubicBezTo>
                    <a:pt x="260" y="448"/>
                    <a:pt x="260" y="453"/>
                    <a:pt x="259" y="455"/>
                  </a:cubicBezTo>
                  <a:cubicBezTo>
                    <a:pt x="258" y="457"/>
                    <a:pt x="259" y="458"/>
                    <a:pt x="260" y="465"/>
                  </a:cubicBezTo>
                  <a:cubicBezTo>
                    <a:pt x="260" y="472"/>
                    <a:pt x="258" y="488"/>
                    <a:pt x="257" y="490"/>
                  </a:cubicBezTo>
                  <a:cubicBezTo>
                    <a:pt x="257" y="491"/>
                    <a:pt x="257" y="491"/>
                    <a:pt x="258" y="492"/>
                  </a:cubicBezTo>
                  <a:cubicBezTo>
                    <a:pt x="259" y="494"/>
                    <a:pt x="256" y="499"/>
                    <a:pt x="256" y="501"/>
                  </a:cubicBezTo>
                  <a:cubicBezTo>
                    <a:pt x="256" y="503"/>
                    <a:pt x="252" y="504"/>
                    <a:pt x="252" y="506"/>
                  </a:cubicBezTo>
                  <a:cubicBezTo>
                    <a:pt x="251" y="507"/>
                    <a:pt x="253" y="507"/>
                    <a:pt x="254" y="509"/>
                  </a:cubicBezTo>
                  <a:cubicBezTo>
                    <a:pt x="254" y="511"/>
                    <a:pt x="253" y="514"/>
                    <a:pt x="254" y="516"/>
                  </a:cubicBezTo>
                  <a:cubicBezTo>
                    <a:pt x="256" y="517"/>
                    <a:pt x="257" y="517"/>
                    <a:pt x="257" y="519"/>
                  </a:cubicBezTo>
                  <a:cubicBezTo>
                    <a:pt x="258" y="521"/>
                    <a:pt x="256" y="523"/>
                    <a:pt x="254" y="523"/>
                  </a:cubicBezTo>
                  <a:cubicBezTo>
                    <a:pt x="251" y="523"/>
                    <a:pt x="251" y="526"/>
                    <a:pt x="252" y="525"/>
                  </a:cubicBezTo>
                  <a:cubicBezTo>
                    <a:pt x="254" y="524"/>
                    <a:pt x="255" y="525"/>
                    <a:pt x="255" y="525"/>
                  </a:cubicBezTo>
                  <a:cubicBezTo>
                    <a:pt x="257" y="528"/>
                    <a:pt x="257" y="528"/>
                    <a:pt x="257" y="528"/>
                  </a:cubicBezTo>
                  <a:cubicBezTo>
                    <a:pt x="263" y="528"/>
                    <a:pt x="268" y="527"/>
                    <a:pt x="274" y="526"/>
                  </a:cubicBezTo>
                  <a:cubicBezTo>
                    <a:pt x="275" y="525"/>
                    <a:pt x="276" y="524"/>
                    <a:pt x="277" y="523"/>
                  </a:cubicBezTo>
                  <a:cubicBezTo>
                    <a:pt x="280" y="523"/>
                    <a:pt x="279" y="520"/>
                    <a:pt x="277" y="514"/>
                  </a:cubicBezTo>
                  <a:cubicBezTo>
                    <a:pt x="276" y="510"/>
                    <a:pt x="278" y="511"/>
                    <a:pt x="280" y="512"/>
                  </a:cubicBezTo>
                  <a:cubicBezTo>
                    <a:pt x="282" y="512"/>
                    <a:pt x="283" y="512"/>
                    <a:pt x="285" y="512"/>
                  </a:cubicBezTo>
                  <a:cubicBezTo>
                    <a:pt x="288" y="510"/>
                    <a:pt x="287" y="506"/>
                    <a:pt x="292" y="505"/>
                  </a:cubicBezTo>
                  <a:cubicBezTo>
                    <a:pt x="297" y="504"/>
                    <a:pt x="303" y="500"/>
                    <a:pt x="305" y="496"/>
                  </a:cubicBezTo>
                  <a:cubicBezTo>
                    <a:pt x="307" y="493"/>
                    <a:pt x="304" y="491"/>
                    <a:pt x="312" y="492"/>
                  </a:cubicBezTo>
                  <a:cubicBezTo>
                    <a:pt x="319" y="493"/>
                    <a:pt x="327" y="483"/>
                    <a:pt x="333" y="476"/>
                  </a:cubicBezTo>
                  <a:cubicBezTo>
                    <a:pt x="339" y="468"/>
                    <a:pt x="333" y="466"/>
                    <a:pt x="344" y="459"/>
                  </a:cubicBezTo>
                  <a:cubicBezTo>
                    <a:pt x="355" y="452"/>
                    <a:pt x="373" y="434"/>
                    <a:pt x="374" y="428"/>
                  </a:cubicBezTo>
                  <a:cubicBezTo>
                    <a:pt x="375" y="422"/>
                    <a:pt x="372" y="422"/>
                    <a:pt x="378" y="417"/>
                  </a:cubicBezTo>
                  <a:cubicBezTo>
                    <a:pt x="385" y="413"/>
                    <a:pt x="392" y="402"/>
                    <a:pt x="393" y="399"/>
                  </a:cubicBezTo>
                  <a:cubicBezTo>
                    <a:pt x="394" y="396"/>
                    <a:pt x="392" y="391"/>
                    <a:pt x="390" y="391"/>
                  </a:cubicBezTo>
                </a:path>
              </a:pathLst>
            </a:custGeom>
            <a:solidFill>
              <a:srgbClr val="E2E2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81" name="Freeform 3082">
              <a:extLst>
                <a:ext uri="{FF2B5EF4-FFF2-40B4-BE49-F238E27FC236}">
                  <a16:creationId xmlns:a16="http://schemas.microsoft.com/office/drawing/2014/main" id="{1B75B248-FBEA-B723-7C24-6AA0FA0824E3}"/>
                </a:ext>
              </a:extLst>
            </p:cNvPr>
            <p:cNvSpPr>
              <a:spLocks/>
            </p:cNvSpPr>
            <p:nvPr/>
          </p:nvSpPr>
          <p:spPr bwMode="auto">
            <a:xfrm>
              <a:off x="5562600" y="3225800"/>
              <a:ext cx="82550" cy="90488"/>
            </a:xfrm>
            <a:custGeom>
              <a:avLst/>
              <a:gdLst>
                <a:gd name="T0" fmla="*/ 11 w 101"/>
                <a:gd name="T1" fmla="*/ 12 h 113"/>
                <a:gd name="T2" fmla="*/ 8 w 101"/>
                <a:gd name="T3" fmla="*/ 23 h 113"/>
                <a:gd name="T4" fmla="*/ 36 w 101"/>
                <a:gd name="T5" fmla="*/ 36 h 113"/>
                <a:gd name="T6" fmla="*/ 36 w 101"/>
                <a:gd name="T7" fmla="*/ 57 h 113"/>
                <a:gd name="T8" fmla="*/ 34 w 101"/>
                <a:gd name="T9" fmla="*/ 77 h 113"/>
                <a:gd name="T10" fmla="*/ 43 w 101"/>
                <a:gd name="T11" fmla="*/ 96 h 113"/>
                <a:gd name="T12" fmla="*/ 55 w 101"/>
                <a:gd name="T13" fmla="*/ 109 h 113"/>
                <a:gd name="T14" fmla="*/ 62 w 101"/>
                <a:gd name="T15" fmla="*/ 112 h 113"/>
                <a:gd name="T16" fmla="*/ 62 w 101"/>
                <a:gd name="T17" fmla="*/ 107 h 113"/>
                <a:gd name="T18" fmla="*/ 67 w 101"/>
                <a:gd name="T19" fmla="*/ 93 h 113"/>
                <a:gd name="T20" fmla="*/ 74 w 101"/>
                <a:gd name="T21" fmla="*/ 86 h 113"/>
                <a:gd name="T22" fmla="*/ 81 w 101"/>
                <a:gd name="T23" fmla="*/ 86 h 113"/>
                <a:gd name="T24" fmla="*/ 86 w 101"/>
                <a:gd name="T25" fmla="*/ 86 h 113"/>
                <a:gd name="T26" fmla="*/ 101 w 101"/>
                <a:gd name="T27" fmla="*/ 80 h 113"/>
                <a:gd name="T28" fmla="*/ 93 w 101"/>
                <a:gd name="T29" fmla="*/ 66 h 113"/>
                <a:gd name="T30" fmla="*/ 98 w 101"/>
                <a:gd name="T31" fmla="*/ 55 h 113"/>
                <a:gd name="T32" fmla="*/ 96 w 101"/>
                <a:gd name="T33" fmla="*/ 50 h 113"/>
                <a:gd name="T34" fmla="*/ 18 w 101"/>
                <a:gd name="T35" fmla="*/ 0 h 113"/>
                <a:gd name="T36" fmla="*/ 11 w 101"/>
                <a:gd name="T37" fmla="*/ 12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1" h="113">
                  <a:moveTo>
                    <a:pt x="11" y="12"/>
                  </a:moveTo>
                  <a:cubicBezTo>
                    <a:pt x="2" y="12"/>
                    <a:pt x="0" y="21"/>
                    <a:pt x="8" y="23"/>
                  </a:cubicBezTo>
                  <a:cubicBezTo>
                    <a:pt x="16" y="24"/>
                    <a:pt x="33" y="24"/>
                    <a:pt x="36" y="36"/>
                  </a:cubicBezTo>
                  <a:cubicBezTo>
                    <a:pt x="39" y="48"/>
                    <a:pt x="27" y="51"/>
                    <a:pt x="36" y="57"/>
                  </a:cubicBezTo>
                  <a:cubicBezTo>
                    <a:pt x="44" y="63"/>
                    <a:pt x="34" y="69"/>
                    <a:pt x="34" y="77"/>
                  </a:cubicBezTo>
                  <a:cubicBezTo>
                    <a:pt x="34" y="85"/>
                    <a:pt x="38" y="92"/>
                    <a:pt x="43" y="96"/>
                  </a:cubicBezTo>
                  <a:cubicBezTo>
                    <a:pt x="49" y="100"/>
                    <a:pt x="55" y="106"/>
                    <a:pt x="55" y="109"/>
                  </a:cubicBezTo>
                  <a:cubicBezTo>
                    <a:pt x="56" y="113"/>
                    <a:pt x="62" y="112"/>
                    <a:pt x="62" y="112"/>
                  </a:cubicBezTo>
                  <a:cubicBezTo>
                    <a:pt x="62" y="112"/>
                    <a:pt x="61" y="110"/>
                    <a:pt x="62" y="107"/>
                  </a:cubicBezTo>
                  <a:cubicBezTo>
                    <a:pt x="62" y="104"/>
                    <a:pt x="67" y="101"/>
                    <a:pt x="67" y="93"/>
                  </a:cubicBezTo>
                  <a:cubicBezTo>
                    <a:pt x="67" y="85"/>
                    <a:pt x="71" y="85"/>
                    <a:pt x="74" y="86"/>
                  </a:cubicBezTo>
                  <a:cubicBezTo>
                    <a:pt x="76" y="86"/>
                    <a:pt x="79" y="86"/>
                    <a:pt x="81" y="86"/>
                  </a:cubicBezTo>
                  <a:cubicBezTo>
                    <a:pt x="83" y="86"/>
                    <a:pt x="85" y="85"/>
                    <a:pt x="86" y="86"/>
                  </a:cubicBezTo>
                  <a:cubicBezTo>
                    <a:pt x="88" y="86"/>
                    <a:pt x="100" y="86"/>
                    <a:pt x="101" y="80"/>
                  </a:cubicBezTo>
                  <a:cubicBezTo>
                    <a:pt x="101" y="75"/>
                    <a:pt x="93" y="66"/>
                    <a:pt x="93" y="66"/>
                  </a:cubicBezTo>
                  <a:cubicBezTo>
                    <a:pt x="93" y="66"/>
                    <a:pt x="98" y="58"/>
                    <a:pt x="98" y="55"/>
                  </a:cubicBezTo>
                  <a:cubicBezTo>
                    <a:pt x="98" y="54"/>
                    <a:pt x="97" y="52"/>
                    <a:pt x="96" y="50"/>
                  </a:cubicBezTo>
                  <a:cubicBezTo>
                    <a:pt x="73" y="29"/>
                    <a:pt x="47" y="13"/>
                    <a:pt x="18" y="0"/>
                  </a:cubicBezTo>
                  <a:cubicBezTo>
                    <a:pt x="18" y="5"/>
                    <a:pt x="17" y="12"/>
                    <a:pt x="11" y="12"/>
                  </a:cubicBezTo>
                </a:path>
              </a:pathLst>
            </a:custGeom>
            <a:solidFill>
              <a:srgbClr val="E2E2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82" name="Freeform 3083">
              <a:extLst>
                <a:ext uri="{FF2B5EF4-FFF2-40B4-BE49-F238E27FC236}">
                  <a16:creationId xmlns:a16="http://schemas.microsoft.com/office/drawing/2014/main" id="{FFA76FA9-C5ED-3351-9402-2E2B57274FAB}"/>
                </a:ext>
              </a:extLst>
            </p:cNvPr>
            <p:cNvSpPr>
              <a:spLocks/>
            </p:cNvSpPr>
            <p:nvPr/>
          </p:nvSpPr>
          <p:spPr bwMode="auto">
            <a:xfrm>
              <a:off x="5657850" y="3413125"/>
              <a:ext cx="60325" cy="111125"/>
            </a:xfrm>
            <a:custGeom>
              <a:avLst/>
              <a:gdLst>
                <a:gd name="T0" fmla="*/ 62 w 73"/>
                <a:gd name="T1" fmla="*/ 14 h 138"/>
                <a:gd name="T2" fmla="*/ 33 w 73"/>
                <a:gd name="T3" fmla="*/ 4 h 138"/>
                <a:gd name="T4" fmla="*/ 33 w 73"/>
                <a:gd name="T5" fmla="*/ 36 h 138"/>
                <a:gd name="T6" fmla="*/ 18 w 73"/>
                <a:gd name="T7" fmla="*/ 71 h 138"/>
                <a:gd name="T8" fmla="*/ 17 w 73"/>
                <a:gd name="T9" fmla="*/ 107 h 138"/>
                <a:gd name="T10" fmla="*/ 42 w 73"/>
                <a:gd name="T11" fmla="*/ 117 h 138"/>
                <a:gd name="T12" fmla="*/ 52 w 73"/>
                <a:gd name="T13" fmla="*/ 138 h 138"/>
                <a:gd name="T14" fmla="*/ 73 w 73"/>
                <a:gd name="T15" fmla="*/ 30 h 138"/>
                <a:gd name="T16" fmla="*/ 73 w 73"/>
                <a:gd name="T17" fmla="*/ 26 h 138"/>
                <a:gd name="T18" fmla="*/ 62 w 73"/>
                <a:gd name="T19" fmla="*/ 14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 h="138">
                  <a:moveTo>
                    <a:pt x="62" y="14"/>
                  </a:moveTo>
                  <a:cubicBezTo>
                    <a:pt x="46" y="0"/>
                    <a:pt x="35" y="0"/>
                    <a:pt x="33" y="4"/>
                  </a:cubicBezTo>
                  <a:cubicBezTo>
                    <a:pt x="32" y="7"/>
                    <a:pt x="45" y="20"/>
                    <a:pt x="33" y="36"/>
                  </a:cubicBezTo>
                  <a:cubicBezTo>
                    <a:pt x="22" y="52"/>
                    <a:pt x="13" y="58"/>
                    <a:pt x="18" y="71"/>
                  </a:cubicBezTo>
                  <a:cubicBezTo>
                    <a:pt x="22" y="84"/>
                    <a:pt x="0" y="95"/>
                    <a:pt x="17" y="107"/>
                  </a:cubicBezTo>
                  <a:cubicBezTo>
                    <a:pt x="33" y="118"/>
                    <a:pt x="30" y="118"/>
                    <a:pt x="42" y="117"/>
                  </a:cubicBezTo>
                  <a:cubicBezTo>
                    <a:pt x="54" y="117"/>
                    <a:pt x="52" y="135"/>
                    <a:pt x="52" y="138"/>
                  </a:cubicBezTo>
                  <a:cubicBezTo>
                    <a:pt x="65" y="105"/>
                    <a:pt x="73" y="68"/>
                    <a:pt x="73" y="30"/>
                  </a:cubicBezTo>
                  <a:cubicBezTo>
                    <a:pt x="73" y="28"/>
                    <a:pt x="73" y="27"/>
                    <a:pt x="73" y="26"/>
                  </a:cubicBezTo>
                  <a:cubicBezTo>
                    <a:pt x="71" y="23"/>
                    <a:pt x="68" y="19"/>
                    <a:pt x="62" y="14"/>
                  </a:cubicBezTo>
                </a:path>
              </a:pathLst>
            </a:custGeom>
            <a:solidFill>
              <a:srgbClr val="E2E2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83" name="Freeform 3084">
              <a:extLst>
                <a:ext uri="{FF2B5EF4-FFF2-40B4-BE49-F238E27FC236}">
                  <a16:creationId xmlns:a16="http://schemas.microsoft.com/office/drawing/2014/main" id="{0E2C87DA-B83C-14E7-0CC0-8B15C69F2302}"/>
                </a:ext>
              </a:extLst>
            </p:cNvPr>
            <p:cNvSpPr>
              <a:spLocks noEditPoints="1"/>
            </p:cNvSpPr>
            <p:nvPr/>
          </p:nvSpPr>
          <p:spPr bwMode="auto">
            <a:xfrm>
              <a:off x="5529263" y="3211513"/>
              <a:ext cx="84138" cy="33338"/>
            </a:xfrm>
            <a:custGeom>
              <a:avLst/>
              <a:gdLst>
                <a:gd name="T0" fmla="*/ 104 w 104"/>
                <a:gd name="T1" fmla="*/ 41 h 41"/>
                <a:gd name="T2" fmla="*/ 104 w 104"/>
                <a:gd name="T3" fmla="*/ 41 h 41"/>
                <a:gd name="T4" fmla="*/ 104 w 104"/>
                <a:gd name="T5" fmla="*/ 41 h 41"/>
                <a:gd name="T6" fmla="*/ 0 w 104"/>
                <a:gd name="T7" fmla="*/ 0 h 41"/>
                <a:gd name="T8" fmla="*/ 48 w 104"/>
                <a:gd name="T9" fmla="*/ 31 h 41"/>
                <a:gd name="T10" fmla="*/ 53 w 104"/>
                <a:gd name="T11" fmla="*/ 29 h 41"/>
                <a:gd name="T12" fmla="*/ 60 w 104"/>
                <a:gd name="T13" fmla="*/ 18 h 41"/>
                <a:gd name="T14" fmla="*/ 0 w 104"/>
                <a:gd name="T15" fmla="*/ 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4" h="41">
                  <a:moveTo>
                    <a:pt x="104" y="41"/>
                  </a:moveTo>
                  <a:cubicBezTo>
                    <a:pt x="104" y="41"/>
                    <a:pt x="104" y="41"/>
                    <a:pt x="104" y="41"/>
                  </a:cubicBezTo>
                  <a:cubicBezTo>
                    <a:pt x="104" y="41"/>
                    <a:pt x="104" y="41"/>
                    <a:pt x="104" y="41"/>
                  </a:cubicBezTo>
                  <a:moveTo>
                    <a:pt x="0" y="0"/>
                  </a:moveTo>
                  <a:cubicBezTo>
                    <a:pt x="17" y="7"/>
                    <a:pt x="33" y="17"/>
                    <a:pt x="48" y="31"/>
                  </a:cubicBezTo>
                  <a:cubicBezTo>
                    <a:pt x="49" y="30"/>
                    <a:pt x="51" y="29"/>
                    <a:pt x="53" y="29"/>
                  </a:cubicBezTo>
                  <a:cubicBezTo>
                    <a:pt x="59" y="29"/>
                    <a:pt x="60" y="22"/>
                    <a:pt x="60" y="18"/>
                  </a:cubicBezTo>
                  <a:cubicBezTo>
                    <a:pt x="41" y="9"/>
                    <a:pt x="21" y="3"/>
                    <a:pt x="0" y="0"/>
                  </a:cubicBezTo>
                </a:path>
              </a:pathLst>
            </a:custGeom>
            <a:solidFill>
              <a:srgbClr val="25B0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84" name="Freeform 3085">
              <a:extLst>
                <a:ext uri="{FF2B5EF4-FFF2-40B4-BE49-F238E27FC236}">
                  <a16:creationId xmlns:a16="http://schemas.microsoft.com/office/drawing/2014/main" id="{BFD41378-B011-1D92-612D-74BF5565F146}"/>
                </a:ext>
              </a:extLst>
            </p:cNvPr>
            <p:cNvSpPr>
              <a:spLocks noEditPoints="1"/>
            </p:cNvSpPr>
            <p:nvPr/>
          </p:nvSpPr>
          <p:spPr bwMode="auto">
            <a:xfrm>
              <a:off x="5715000" y="3405188"/>
              <a:ext cx="3175" cy="47625"/>
            </a:xfrm>
            <a:custGeom>
              <a:avLst/>
              <a:gdLst>
                <a:gd name="T0" fmla="*/ 2 w 3"/>
                <a:gd name="T1" fmla="*/ 60 h 60"/>
                <a:gd name="T2" fmla="*/ 2 w 3"/>
                <a:gd name="T3" fmla="*/ 59 h 60"/>
                <a:gd name="T4" fmla="*/ 2 w 3"/>
                <a:gd name="T5" fmla="*/ 58 h 60"/>
                <a:gd name="T6" fmla="*/ 3 w 3"/>
                <a:gd name="T7" fmla="*/ 57 h 60"/>
                <a:gd name="T8" fmla="*/ 3 w 3"/>
                <a:gd name="T9" fmla="*/ 56 h 60"/>
                <a:gd name="T10" fmla="*/ 3 w 3"/>
                <a:gd name="T11" fmla="*/ 54 h 60"/>
                <a:gd name="T12" fmla="*/ 3 w 3"/>
                <a:gd name="T13" fmla="*/ 53 h 60"/>
                <a:gd name="T14" fmla="*/ 3 w 3"/>
                <a:gd name="T15" fmla="*/ 52 h 60"/>
                <a:gd name="T16" fmla="*/ 3 w 3"/>
                <a:gd name="T17" fmla="*/ 51 h 60"/>
                <a:gd name="T18" fmla="*/ 3 w 3"/>
                <a:gd name="T19" fmla="*/ 50 h 60"/>
                <a:gd name="T20" fmla="*/ 3 w 3"/>
                <a:gd name="T21" fmla="*/ 49 h 60"/>
                <a:gd name="T22" fmla="*/ 3 w 3"/>
                <a:gd name="T23" fmla="*/ 48 h 60"/>
                <a:gd name="T24" fmla="*/ 3 w 3"/>
                <a:gd name="T25" fmla="*/ 48 h 60"/>
                <a:gd name="T26" fmla="*/ 3 w 3"/>
                <a:gd name="T27" fmla="*/ 46 h 60"/>
                <a:gd name="T28" fmla="*/ 3 w 3"/>
                <a:gd name="T29" fmla="*/ 46 h 60"/>
                <a:gd name="T30" fmla="*/ 3 w 3"/>
                <a:gd name="T31" fmla="*/ 45 h 60"/>
                <a:gd name="T32" fmla="*/ 3 w 3"/>
                <a:gd name="T33" fmla="*/ 44 h 60"/>
                <a:gd name="T34" fmla="*/ 3 w 3"/>
                <a:gd name="T35" fmla="*/ 39 h 60"/>
                <a:gd name="T36" fmla="*/ 3 w 3"/>
                <a:gd name="T37" fmla="*/ 38 h 60"/>
                <a:gd name="T38" fmla="*/ 3 w 3"/>
                <a:gd name="T39" fmla="*/ 37 h 60"/>
                <a:gd name="T40" fmla="*/ 3 w 3"/>
                <a:gd name="T41" fmla="*/ 36 h 60"/>
                <a:gd name="T42" fmla="*/ 3 w 3"/>
                <a:gd name="T43" fmla="*/ 35 h 60"/>
                <a:gd name="T44" fmla="*/ 3 w 3"/>
                <a:gd name="T45" fmla="*/ 35 h 60"/>
                <a:gd name="T46" fmla="*/ 3 w 3"/>
                <a:gd name="T47" fmla="*/ 34 h 60"/>
                <a:gd name="T48" fmla="*/ 3 w 3"/>
                <a:gd name="T49" fmla="*/ 33 h 60"/>
                <a:gd name="T50" fmla="*/ 3 w 3"/>
                <a:gd name="T51" fmla="*/ 32 h 60"/>
                <a:gd name="T52" fmla="*/ 3 w 3"/>
                <a:gd name="T53" fmla="*/ 31 h 60"/>
                <a:gd name="T54" fmla="*/ 3 w 3"/>
                <a:gd name="T55" fmla="*/ 30 h 60"/>
                <a:gd name="T56" fmla="*/ 3 w 3"/>
                <a:gd name="T57" fmla="*/ 29 h 60"/>
                <a:gd name="T58" fmla="*/ 3 w 3"/>
                <a:gd name="T59" fmla="*/ 28 h 60"/>
                <a:gd name="T60" fmla="*/ 3 w 3"/>
                <a:gd name="T61" fmla="*/ 27 h 60"/>
                <a:gd name="T62" fmla="*/ 3 w 3"/>
                <a:gd name="T63" fmla="*/ 26 h 60"/>
                <a:gd name="T64" fmla="*/ 3 w 3"/>
                <a:gd name="T65" fmla="*/ 25 h 60"/>
                <a:gd name="T66" fmla="*/ 3 w 3"/>
                <a:gd name="T67" fmla="*/ 24 h 60"/>
                <a:gd name="T68" fmla="*/ 3 w 3"/>
                <a:gd name="T69" fmla="*/ 23 h 60"/>
                <a:gd name="T70" fmla="*/ 3 w 3"/>
                <a:gd name="T71" fmla="*/ 22 h 60"/>
                <a:gd name="T72" fmla="*/ 2 w 3"/>
                <a:gd name="T73" fmla="*/ 21 h 60"/>
                <a:gd name="T74" fmla="*/ 2 w 3"/>
                <a:gd name="T75" fmla="*/ 20 h 60"/>
                <a:gd name="T76" fmla="*/ 2 w 3"/>
                <a:gd name="T77" fmla="*/ 20 h 60"/>
                <a:gd name="T78" fmla="*/ 2 w 3"/>
                <a:gd name="T79" fmla="*/ 19 h 60"/>
                <a:gd name="T80" fmla="*/ 2 w 3"/>
                <a:gd name="T81" fmla="*/ 18 h 60"/>
                <a:gd name="T82" fmla="*/ 2 w 3"/>
                <a:gd name="T83" fmla="*/ 17 h 60"/>
                <a:gd name="T84" fmla="*/ 2 w 3"/>
                <a:gd name="T85" fmla="*/ 16 h 60"/>
                <a:gd name="T86" fmla="*/ 2 w 3"/>
                <a:gd name="T87" fmla="*/ 15 h 60"/>
                <a:gd name="T88" fmla="*/ 2 w 3"/>
                <a:gd name="T89" fmla="*/ 14 h 60"/>
                <a:gd name="T90" fmla="*/ 2 w 3"/>
                <a:gd name="T91" fmla="*/ 13 h 60"/>
                <a:gd name="T92" fmla="*/ 2 w 3"/>
                <a:gd name="T93" fmla="*/ 12 h 60"/>
                <a:gd name="T94" fmla="*/ 2 w 3"/>
                <a:gd name="T95" fmla="*/ 12 h 60"/>
                <a:gd name="T96" fmla="*/ 2 w 3"/>
                <a:gd name="T97" fmla="*/ 11 h 60"/>
                <a:gd name="T98" fmla="*/ 1 w 3"/>
                <a:gd name="T99" fmla="*/ 9 h 60"/>
                <a:gd name="T100" fmla="*/ 1 w 3"/>
                <a:gd name="T101" fmla="*/ 8 h 60"/>
                <a:gd name="T102" fmla="*/ 1 w 3"/>
                <a:gd name="T103" fmla="*/ 8 h 60"/>
                <a:gd name="T104" fmla="*/ 1 w 3"/>
                <a:gd name="T105" fmla="*/ 7 h 60"/>
                <a:gd name="T106" fmla="*/ 1 w 3"/>
                <a:gd name="T107" fmla="*/ 5 h 60"/>
                <a:gd name="T108" fmla="*/ 1 w 3"/>
                <a:gd name="T109" fmla="*/ 4 h 60"/>
                <a:gd name="T110" fmla="*/ 0 w 3"/>
                <a:gd name="T111" fmla="*/ 1 h 60"/>
                <a:gd name="T112" fmla="*/ 0 w 3"/>
                <a:gd name="T113"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 h="60">
                  <a:moveTo>
                    <a:pt x="2" y="60"/>
                  </a:moveTo>
                  <a:cubicBezTo>
                    <a:pt x="2" y="60"/>
                    <a:pt x="2" y="60"/>
                    <a:pt x="2" y="60"/>
                  </a:cubicBezTo>
                  <a:cubicBezTo>
                    <a:pt x="2" y="60"/>
                    <a:pt x="2" y="60"/>
                    <a:pt x="2" y="60"/>
                  </a:cubicBezTo>
                  <a:moveTo>
                    <a:pt x="2" y="60"/>
                  </a:moveTo>
                  <a:cubicBezTo>
                    <a:pt x="2" y="60"/>
                    <a:pt x="2" y="60"/>
                    <a:pt x="2" y="60"/>
                  </a:cubicBezTo>
                  <a:cubicBezTo>
                    <a:pt x="2" y="60"/>
                    <a:pt x="2" y="60"/>
                    <a:pt x="2" y="60"/>
                  </a:cubicBezTo>
                  <a:moveTo>
                    <a:pt x="2" y="59"/>
                  </a:moveTo>
                  <a:cubicBezTo>
                    <a:pt x="2" y="59"/>
                    <a:pt x="2" y="59"/>
                    <a:pt x="2" y="59"/>
                  </a:cubicBezTo>
                  <a:cubicBezTo>
                    <a:pt x="2" y="59"/>
                    <a:pt x="2" y="59"/>
                    <a:pt x="2" y="59"/>
                  </a:cubicBezTo>
                  <a:moveTo>
                    <a:pt x="2" y="59"/>
                  </a:moveTo>
                  <a:cubicBezTo>
                    <a:pt x="2" y="59"/>
                    <a:pt x="2" y="59"/>
                    <a:pt x="2" y="59"/>
                  </a:cubicBezTo>
                  <a:cubicBezTo>
                    <a:pt x="2" y="59"/>
                    <a:pt x="2" y="59"/>
                    <a:pt x="2" y="59"/>
                  </a:cubicBezTo>
                  <a:moveTo>
                    <a:pt x="2" y="58"/>
                  </a:moveTo>
                  <a:cubicBezTo>
                    <a:pt x="2" y="58"/>
                    <a:pt x="2" y="58"/>
                    <a:pt x="2" y="59"/>
                  </a:cubicBezTo>
                  <a:cubicBezTo>
                    <a:pt x="2" y="58"/>
                    <a:pt x="2" y="58"/>
                    <a:pt x="2" y="58"/>
                  </a:cubicBezTo>
                  <a:moveTo>
                    <a:pt x="2" y="58"/>
                  </a:moveTo>
                  <a:cubicBezTo>
                    <a:pt x="2" y="58"/>
                    <a:pt x="2" y="58"/>
                    <a:pt x="2" y="58"/>
                  </a:cubicBezTo>
                  <a:cubicBezTo>
                    <a:pt x="2" y="58"/>
                    <a:pt x="2" y="58"/>
                    <a:pt x="2" y="58"/>
                  </a:cubicBezTo>
                  <a:moveTo>
                    <a:pt x="2" y="58"/>
                  </a:moveTo>
                  <a:cubicBezTo>
                    <a:pt x="2" y="58"/>
                    <a:pt x="2" y="58"/>
                    <a:pt x="2" y="58"/>
                  </a:cubicBezTo>
                  <a:cubicBezTo>
                    <a:pt x="2" y="58"/>
                    <a:pt x="2" y="58"/>
                    <a:pt x="2" y="58"/>
                  </a:cubicBezTo>
                  <a:moveTo>
                    <a:pt x="3" y="57"/>
                  </a:moveTo>
                  <a:cubicBezTo>
                    <a:pt x="3" y="57"/>
                    <a:pt x="3" y="57"/>
                    <a:pt x="3" y="57"/>
                  </a:cubicBezTo>
                  <a:cubicBezTo>
                    <a:pt x="3" y="57"/>
                    <a:pt x="3" y="57"/>
                    <a:pt x="3" y="57"/>
                  </a:cubicBezTo>
                  <a:moveTo>
                    <a:pt x="3" y="57"/>
                  </a:moveTo>
                  <a:cubicBezTo>
                    <a:pt x="3" y="57"/>
                    <a:pt x="3" y="57"/>
                    <a:pt x="3" y="57"/>
                  </a:cubicBezTo>
                  <a:cubicBezTo>
                    <a:pt x="3" y="57"/>
                    <a:pt x="3" y="57"/>
                    <a:pt x="3" y="57"/>
                  </a:cubicBezTo>
                  <a:moveTo>
                    <a:pt x="3" y="56"/>
                  </a:moveTo>
                  <a:cubicBezTo>
                    <a:pt x="3" y="56"/>
                    <a:pt x="3" y="56"/>
                    <a:pt x="3" y="56"/>
                  </a:cubicBezTo>
                  <a:cubicBezTo>
                    <a:pt x="3" y="56"/>
                    <a:pt x="3" y="56"/>
                    <a:pt x="3" y="56"/>
                  </a:cubicBezTo>
                  <a:moveTo>
                    <a:pt x="3" y="56"/>
                  </a:moveTo>
                  <a:cubicBezTo>
                    <a:pt x="3" y="56"/>
                    <a:pt x="3" y="56"/>
                    <a:pt x="3" y="56"/>
                  </a:cubicBezTo>
                  <a:cubicBezTo>
                    <a:pt x="3" y="56"/>
                    <a:pt x="3" y="56"/>
                    <a:pt x="3" y="56"/>
                  </a:cubicBezTo>
                  <a:moveTo>
                    <a:pt x="3" y="54"/>
                  </a:moveTo>
                  <a:cubicBezTo>
                    <a:pt x="3" y="54"/>
                    <a:pt x="3" y="54"/>
                    <a:pt x="3" y="54"/>
                  </a:cubicBezTo>
                  <a:cubicBezTo>
                    <a:pt x="3" y="54"/>
                    <a:pt x="3" y="54"/>
                    <a:pt x="3" y="54"/>
                  </a:cubicBezTo>
                  <a:moveTo>
                    <a:pt x="3" y="53"/>
                  </a:moveTo>
                  <a:cubicBezTo>
                    <a:pt x="3" y="53"/>
                    <a:pt x="3" y="53"/>
                    <a:pt x="3" y="54"/>
                  </a:cubicBezTo>
                  <a:cubicBezTo>
                    <a:pt x="3" y="53"/>
                    <a:pt x="3" y="53"/>
                    <a:pt x="3" y="53"/>
                  </a:cubicBezTo>
                  <a:moveTo>
                    <a:pt x="3" y="53"/>
                  </a:moveTo>
                  <a:cubicBezTo>
                    <a:pt x="3" y="53"/>
                    <a:pt x="3" y="53"/>
                    <a:pt x="3" y="53"/>
                  </a:cubicBezTo>
                  <a:cubicBezTo>
                    <a:pt x="3" y="53"/>
                    <a:pt x="3" y="53"/>
                    <a:pt x="3" y="53"/>
                  </a:cubicBezTo>
                  <a:moveTo>
                    <a:pt x="3" y="52"/>
                  </a:moveTo>
                  <a:cubicBezTo>
                    <a:pt x="3" y="53"/>
                    <a:pt x="3" y="53"/>
                    <a:pt x="3" y="53"/>
                  </a:cubicBezTo>
                  <a:cubicBezTo>
                    <a:pt x="3" y="53"/>
                    <a:pt x="3" y="53"/>
                    <a:pt x="3" y="52"/>
                  </a:cubicBezTo>
                  <a:moveTo>
                    <a:pt x="3" y="52"/>
                  </a:moveTo>
                  <a:cubicBezTo>
                    <a:pt x="3" y="52"/>
                    <a:pt x="3" y="52"/>
                    <a:pt x="3" y="52"/>
                  </a:cubicBezTo>
                  <a:cubicBezTo>
                    <a:pt x="3" y="52"/>
                    <a:pt x="3" y="52"/>
                    <a:pt x="3" y="52"/>
                  </a:cubicBezTo>
                  <a:moveTo>
                    <a:pt x="3" y="52"/>
                  </a:moveTo>
                  <a:cubicBezTo>
                    <a:pt x="3" y="52"/>
                    <a:pt x="3" y="52"/>
                    <a:pt x="3" y="52"/>
                  </a:cubicBezTo>
                  <a:cubicBezTo>
                    <a:pt x="3" y="52"/>
                    <a:pt x="3" y="52"/>
                    <a:pt x="3" y="52"/>
                  </a:cubicBezTo>
                  <a:moveTo>
                    <a:pt x="3" y="51"/>
                  </a:moveTo>
                  <a:cubicBezTo>
                    <a:pt x="3" y="51"/>
                    <a:pt x="3" y="51"/>
                    <a:pt x="3" y="51"/>
                  </a:cubicBezTo>
                  <a:cubicBezTo>
                    <a:pt x="3" y="51"/>
                    <a:pt x="3" y="51"/>
                    <a:pt x="3" y="51"/>
                  </a:cubicBezTo>
                  <a:moveTo>
                    <a:pt x="3" y="51"/>
                  </a:moveTo>
                  <a:cubicBezTo>
                    <a:pt x="3" y="51"/>
                    <a:pt x="3" y="51"/>
                    <a:pt x="3" y="51"/>
                  </a:cubicBezTo>
                  <a:cubicBezTo>
                    <a:pt x="3" y="51"/>
                    <a:pt x="3" y="51"/>
                    <a:pt x="3" y="51"/>
                  </a:cubicBezTo>
                  <a:moveTo>
                    <a:pt x="3" y="50"/>
                  </a:moveTo>
                  <a:cubicBezTo>
                    <a:pt x="3" y="50"/>
                    <a:pt x="3" y="50"/>
                    <a:pt x="3" y="50"/>
                  </a:cubicBezTo>
                  <a:cubicBezTo>
                    <a:pt x="3" y="50"/>
                    <a:pt x="3" y="50"/>
                    <a:pt x="3" y="50"/>
                  </a:cubicBezTo>
                  <a:moveTo>
                    <a:pt x="3" y="50"/>
                  </a:moveTo>
                  <a:cubicBezTo>
                    <a:pt x="3" y="50"/>
                    <a:pt x="3" y="50"/>
                    <a:pt x="3" y="50"/>
                  </a:cubicBezTo>
                  <a:cubicBezTo>
                    <a:pt x="3" y="50"/>
                    <a:pt x="3" y="50"/>
                    <a:pt x="3" y="50"/>
                  </a:cubicBezTo>
                  <a:moveTo>
                    <a:pt x="3" y="49"/>
                  </a:moveTo>
                  <a:cubicBezTo>
                    <a:pt x="3" y="49"/>
                    <a:pt x="3" y="50"/>
                    <a:pt x="3" y="50"/>
                  </a:cubicBezTo>
                  <a:cubicBezTo>
                    <a:pt x="3" y="50"/>
                    <a:pt x="3" y="49"/>
                    <a:pt x="3" y="49"/>
                  </a:cubicBezTo>
                  <a:moveTo>
                    <a:pt x="3" y="49"/>
                  </a:moveTo>
                  <a:cubicBezTo>
                    <a:pt x="3" y="49"/>
                    <a:pt x="3" y="49"/>
                    <a:pt x="3" y="49"/>
                  </a:cubicBezTo>
                  <a:cubicBezTo>
                    <a:pt x="3" y="49"/>
                    <a:pt x="3" y="49"/>
                    <a:pt x="3" y="49"/>
                  </a:cubicBezTo>
                  <a:moveTo>
                    <a:pt x="3" y="48"/>
                  </a:moveTo>
                  <a:cubicBezTo>
                    <a:pt x="3" y="49"/>
                    <a:pt x="3" y="49"/>
                    <a:pt x="3" y="49"/>
                  </a:cubicBezTo>
                  <a:cubicBezTo>
                    <a:pt x="3" y="49"/>
                    <a:pt x="3" y="49"/>
                    <a:pt x="3" y="48"/>
                  </a:cubicBezTo>
                  <a:moveTo>
                    <a:pt x="3" y="48"/>
                  </a:moveTo>
                  <a:cubicBezTo>
                    <a:pt x="3" y="48"/>
                    <a:pt x="3" y="48"/>
                    <a:pt x="3" y="48"/>
                  </a:cubicBezTo>
                  <a:cubicBezTo>
                    <a:pt x="3" y="48"/>
                    <a:pt x="3" y="48"/>
                    <a:pt x="3" y="48"/>
                  </a:cubicBezTo>
                  <a:moveTo>
                    <a:pt x="3" y="48"/>
                  </a:moveTo>
                  <a:cubicBezTo>
                    <a:pt x="3" y="48"/>
                    <a:pt x="3" y="48"/>
                    <a:pt x="3" y="48"/>
                  </a:cubicBezTo>
                  <a:cubicBezTo>
                    <a:pt x="3" y="48"/>
                    <a:pt x="3" y="48"/>
                    <a:pt x="3" y="48"/>
                  </a:cubicBezTo>
                  <a:moveTo>
                    <a:pt x="3" y="47"/>
                  </a:moveTo>
                  <a:cubicBezTo>
                    <a:pt x="3" y="47"/>
                    <a:pt x="3" y="47"/>
                    <a:pt x="3" y="47"/>
                  </a:cubicBezTo>
                  <a:cubicBezTo>
                    <a:pt x="3" y="47"/>
                    <a:pt x="3" y="47"/>
                    <a:pt x="3" y="47"/>
                  </a:cubicBezTo>
                  <a:moveTo>
                    <a:pt x="3" y="46"/>
                  </a:moveTo>
                  <a:cubicBezTo>
                    <a:pt x="3" y="47"/>
                    <a:pt x="3" y="47"/>
                    <a:pt x="3" y="47"/>
                  </a:cubicBezTo>
                  <a:cubicBezTo>
                    <a:pt x="3" y="47"/>
                    <a:pt x="3" y="47"/>
                    <a:pt x="3" y="46"/>
                  </a:cubicBezTo>
                  <a:moveTo>
                    <a:pt x="3" y="46"/>
                  </a:moveTo>
                  <a:cubicBezTo>
                    <a:pt x="3" y="46"/>
                    <a:pt x="3" y="46"/>
                    <a:pt x="3" y="46"/>
                  </a:cubicBezTo>
                  <a:cubicBezTo>
                    <a:pt x="3" y="46"/>
                    <a:pt x="3" y="46"/>
                    <a:pt x="3" y="46"/>
                  </a:cubicBezTo>
                  <a:moveTo>
                    <a:pt x="3" y="46"/>
                  </a:moveTo>
                  <a:cubicBezTo>
                    <a:pt x="3" y="46"/>
                    <a:pt x="3" y="46"/>
                    <a:pt x="3" y="46"/>
                  </a:cubicBezTo>
                  <a:cubicBezTo>
                    <a:pt x="3" y="46"/>
                    <a:pt x="3" y="46"/>
                    <a:pt x="3" y="46"/>
                  </a:cubicBezTo>
                  <a:moveTo>
                    <a:pt x="3" y="45"/>
                  </a:moveTo>
                  <a:cubicBezTo>
                    <a:pt x="3" y="45"/>
                    <a:pt x="3" y="45"/>
                    <a:pt x="3" y="45"/>
                  </a:cubicBezTo>
                  <a:cubicBezTo>
                    <a:pt x="3" y="45"/>
                    <a:pt x="3" y="45"/>
                    <a:pt x="3" y="45"/>
                  </a:cubicBezTo>
                  <a:moveTo>
                    <a:pt x="3" y="45"/>
                  </a:moveTo>
                  <a:cubicBezTo>
                    <a:pt x="3" y="45"/>
                    <a:pt x="3" y="45"/>
                    <a:pt x="3" y="45"/>
                  </a:cubicBezTo>
                  <a:cubicBezTo>
                    <a:pt x="3" y="45"/>
                    <a:pt x="3" y="45"/>
                    <a:pt x="3" y="45"/>
                  </a:cubicBezTo>
                  <a:moveTo>
                    <a:pt x="3" y="44"/>
                  </a:moveTo>
                  <a:cubicBezTo>
                    <a:pt x="3" y="44"/>
                    <a:pt x="3" y="44"/>
                    <a:pt x="3" y="45"/>
                  </a:cubicBezTo>
                  <a:cubicBezTo>
                    <a:pt x="3" y="44"/>
                    <a:pt x="3" y="44"/>
                    <a:pt x="3" y="44"/>
                  </a:cubicBezTo>
                  <a:moveTo>
                    <a:pt x="3" y="44"/>
                  </a:moveTo>
                  <a:cubicBezTo>
                    <a:pt x="3" y="44"/>
                    <a:pt x="3" y="44"/>
                    <a:pt x="3" y="44"/>
                  </a:cubicBezTo>
                  <a:cubicBezTo>
                    <a:pt x="3" y="44"/>
                    <a:pt x="3" y="44"/>
                    <a:pt x="3" y="44"/>
                  </a:cubicBezTo>
                  <a:moveTo>
                    <a:pt x="3" y="39"/>
                  </a:moveTo>
                  <a:cubicBezTo>
                    <a:pt x="3" y="39"/>
                    <a:pt x="3" y="40"/>
                    <a:pt x="3" y="40"/>
                  </a:cubicBezTo>
                  <a:cubicBezTo>
                    <a:pt x="3" y="40"/>
                    <a:pt x="3" y="40"/>
                    <a:pt x="3" y="40"/>
                  </a:cubicBezTo>
                  <a:cubicBezTo>
                    <a:pt x="3" y="40"/>
                    <a:pt x="3" y="39"/>
                    <a:pt x="3" y="39"/>
                  </a:cubicBezTo>
                  <a:moveTo>
                    <a:pt x="3" y="39"/>
                  </a:moveTo>
                  <a:cubicBezTo>
                    <a:pt x="3" y="39"/>
                    <a:pt x="3" y="39"/>
                    <a:pt x="3" y="39"/>
                  </a:cubicBezTo>
                  <a:cubicBezTo>
                    <a:pt x="3" y="39"/>
                    <a:pt x="3" y="39"/>
                    <a:pt x="3" y="39"/>
                  </a:cubicBezTo>
                  <a:moveTo>
                    <a:pt x="3" y="38"/>
                  </a:moveTo>
                  <a:cubicBezTo>
                    <a:pt x="3" y="38"/>
                    <a:pt x="3" y="39"/>
                    <a:pt x="3" y="39"/>
                  </a:cubicBezTo>
                  <a:cubicBezTo>
                    <a:pt x="3" y="39"/>
                    <a:pt x="3" y="38"/>
                    <a:pt x="3" y="38"/>
                  </a:cubicBezTo>
                  <a:moveTo>
                    <a:pt x="3" y="38"/>
                  </a:moveTo>
                  <a:cubicBezTo>
                    <a:pt x="3" y="38"/>
                    <a:pt x="3" y="38"/>
                    <a:pt x="3" y="38"/>
                  </a:cubicBezTo>
                  <a:cubicBezTo>
                    <a:pt x="3" y="38"/>
                    <a:pt x="3" y="38"/>
                    <a:pt x="3" y="38"/>
                  </a:cubicBezTo>
                  <a:moveTo>
                    <a:pt x="3" y="37"/>
                  </a:moveTo>
                  <a:cubicBezTo>
                    <a:pt x="3" y="38"/>
                    <a:pt x="3" y="38"/>
                    <a:pt x="3" y="38"/>
                  </a:cubicBezTo>
                  <a:cubicBezTo>
                    <a:pt x="3" y="38"/>
                    <a:pt x="3" y="38"/>
                    <a:pt x="3" y="37"/>
                  </a:cubicBezTo>
                  <a:moveTo>
                    <a:pt x="3" y="37"/>
                  </a:moveTo>
                  <a:cubicBezTo>
                    <a:pt x="3" y="37"/>
                    <a:pt x="3" y="37"/>
                    <a:pt x="3" y="37"/>
                  </a:cubicBezTo>
                  <a:cubicBezTo>
                    <a:pt x="3" y="37"/>
                    <a:pt x="3" y="37"/>
                    <a:pt x="3" y="37"/>
                  </a:cubicBezTo>
                  <a:moveTo>
                    <a:pt x="3" y="37"/>
                  </a:moveTo>
                  <a:cubicBezTo>
                    <a:pt x="3" y="37"/>
                    <a:pt x="3" y="37"/>
                    <a:pt x="3" y="37"/>
                  </a:cubicBezTo>
                  <a:cubicBezTo>
                    <a:pt x="3" y="37"/>
                    <a:pt x="3" y="37"/>
                    <a:pt x="3" y="37"/>
                  </a:cubicBezTo>
                  <a:moveTo>
                    <a:pt x="3" y="36"/>
                  </a:moveTo>
                  <a:cubicBezTo>
                    <a:pt x="3" y="36"/>
                    <a:pt x="3" y="36"/>
                    <a:pt x="3" y="36"/>
                  </a:cubicBezTo>
                  <a:cubicBezTo>
                    <a:pt x="3" y="36"/>
                    <a:pt x="3" y="36"/>
                    <a:pt x="3" y="36"/>
                  </a:cubicBezTo>
                  <a:moveTo>
                    <a:pt x="3" y="36"/>
                  </a:moveTo>
                  <a:cubicBezTo>
                    <a:pt x="3" y="36"/>
                    <a:pt x="3" y="36"/>
                    <a:pt x="3" y="36"/>
                  </a:cubicBezTo>
                  <a:cubicBezTo>
                    <a:pt x="3" y="36"/>
                    <a:pt x="3" y="36"/>
                    <a:pt x="3" y="36"/>
                  </a:cubicBezTo>
                  <a:moveTo>
                    <a:pt x="3" y="35"/>
                  </a:moveTo>
                  <a:cubicBezTo>
                    <a:pt x="3" y="35"/>
                    <a:pt x="3" y="35"/>
                    <a:pt x="3" y="35"/>
                  </a:cubicBezTo>
                  <a:cubicBezTo>
                    <a:pt x="3" y="35"/>
                    <a:pt x="3" y="35"/>
                    <a:pt x="3" y="35"/>
                  </a:cubicBezTo>
                  <a:moveTo>
                    <a:pt x="3" y="35"/>
                  </a:moveTo>
                  <a:cubicBezTo>
                    <a:pt x="3" y="35"/>
                    <a:pt x="3" y="35"/>
                    <a:pt x="3" y="35"/>
                  </a:cubicBezTo>
                  <a:cubicBezTo>
                    <a:pt x="3" y="35"/>
                    <a:pt x="3" y="35"/>
                    <a:pt x="3" y="35"/>
                  </a:cubicBezTo>
                  <a:moveTo>
                    <a:pt x="3" y="34"/>
                  </a:moveTo>
                  <a:cubicBezTo>
                    <a:pt x="3" y="34"/>
                    <a:pt x="3" y="34"/>
                    <a:pt x="3" y="35"/>
                  </a:cubicBezTo>
                  <a:cubicBezTo>
                    <a:pt x="3" y="34"/>
                    <a:pt x="3" y="34"/>
                    <a:pt x="3" y="34"/>
                  </a:cubicBezTo>
                  <a:moveTo>
                    <a:pt x="3" y="34"/>
                  </a:moveTo>
                  <a:cubicBezTo>
                    <a:pt x="3" y="34"/>
                    <a:pt x="3" y="34"/>
                    <a:pt x="3" y="34"/>
                  </a:cubicBezTo>
                  <a:cubicBezTo>
                    <a:pt x="3" y="34"/>
                    <a:pt x="3" y="34"/>
                    <a:pt x="3" y="34"/>
                  </a:cubicBezTo>
                  <a:moveTo>
                    <a:pt x="3" y="33"/>
                  </a:moveTo>
                  <a:cubicBezTo>
                    <a:pt x="3" y="33"/>
                    <a:pt x="3" y="34"/>
                    <a:pt x="3" y="34"/>
                  </a:cubicBezTo>
                  <a:cubicBezTo>
                    <a:pt x="3" y="34"/>
                    <a:pt x="3" y="33"/>
                    <a:pt x="3" y="33"/>
                  </a:cubicBezTo>
                  <a:moveTo>
                    <a:pt x="3" y="33"/>
                  </a:moveTo>
                  <a:cubicBezTo>
                    <a:pt x="3" y="33"/>
                    <a:pt x="3" y="33"/>
                    <a:pt x="3" y="33"/>
                  </a:cubicBezTo>
                  <a:cubicBezTo>
                    <a:pt x="3" y="33"/>
                    <a:pt x="3" y="33"/>
                    <a:pt x="3" y="33"/>
                  </a:cubicBezTo>
                  <a:moveTo>
                    <a:pt x="3" y="32"/>
                  </a:moveTo>
                  <a:cubicBezTo>
                    <a:pt x="3" y="33"/>
                    <a:pt x="3" y="33"/>
                    <a:pt x="3" y="33"/>
                  </a:cubicBezTo>
                  <a:cubicBezTo>
                    <a:pt x="3" y="33"/>
                    <a:pt x="3" y="33"/>
                    <a:pt x="3" y="32"/>
                  </a:cubicBezTo>
                  <a:moveTo>
                    <a:pt x="3" y="32"/>
                  </a:moveTo>
                  <a:cubicBezTo>
                    <a:pt x="3" y="32"/>
                    <a:pt x="3" y="32"/>
                    <a:pt x="3" y="32"/>
                  </a:cubicBezTo>
                  <a:cubicBezTo>
                    <a:pt x="3" y="32"/>
                    <a:pt x="3" y="32"/>
                    <a:pt x="3" y="32"/>
                  </a:cubicBezTo>
                  <a:moveTo>
                    <a:pt x="3" y="31"/>
                  </a:moveTo>
                  <a:cubicBezTo>
                    <a:pt x="3" y="32"/>
                    <a:pt x="3" y="32"/>
                    <a:pt x="3" y="32"/>
                  </a:cubicBezTo>
                  <a:cubicBezTo>
                    <a:pt x="3" y="32"/>
                    <a:pt x="3" y="32"/>
                    <a:pt x="3" y="31"/>
                  </a:cubicBezTo>
                  <a:moveTo>
                    <a:pt x="3" y="31"/>
                  </a:moveTo>
                  <a:cubicBezTo>
                    <a:pt x="3" y="31"/>
                    <a:pt x="3" y="31"/>
                    <a:pt x="3" y="31"/>
                  </a:cubicBezTo>
                  <a:cubicBezTo>
                    <a:pt x="3" y="31"/>
                    <a:pt x="3" y="31"/>
                    <a:pt x="3" y="31"/>
                  </a:cubicBezTo>
                  <a:moveTo>
                    <a:pt x="3" y="31"/>
                  </a:moveTo>
                  <a:cubicBezTo>
                    <a:pt x="3" y="31"/>
                    <a:pt x="3" y="31"/>
                    <a:pt x="3" y="31"/>
                  </a:cubicBezTo>
                  <a:cubicBezTo>
                    <a:pt x="3" y="31"/>
                    <a:pt x="3" y="31"/>
                    <a:pt x="3" y="31"/>
                  </a:cubicBezTo>
                  <a:moveTo>
                    <a:pt x="3" y="30"/>
                  </a:moveTo>
                  <a:cubicBezTo>
                    <a:pt x="3" y="30"/>
                    <a:pt x="3" y="30"/>
                    <a:pt x="3" y="30"/>
                  </a:cubicBezTo>
                  <a:cubicBezTo>
                    <a:pt x="3" y="30"/>
                    <a:pt x="3" y="30"/>
                    <a:pt x="3" y="30"/>
                  </a:cubicBezTo>
                  <a:moveTo>
                    <a:pt x="3" y="30"/>
                  </a:moveTo>
                  <a:cubicBezTo>
                    <a:pt x="3" y="30"/>
                    <a:pt x="3" y="30"/>
                    <a:pt x="3" y="30"/>
                  </a:cubicBezTo>
                  <a:cubicBezTo>
                    <a:pt x="3" y="30"/>
                    <a:pt x="3" y="30"/>
                    <a:pt x="3" y="30"/>
                  </a:cubicBezTo>
                  <a:moveTo>
                    <a:pt x="3" y="29"/>
                  </a:moveTo>
                  <a:cubicBezTo>
                    <a:pt x="3" y="29"/>
                    <a:pt x="3" y="29"/>
                    <a:pt x="3" y="30"/>
                  </a:cubicBezTo>
                  <a:cubicBezTo>
                    <a:pt x="3" y="29"/>
                    <a:pt x="3" y="29"/>
                    <a:pt x="3" y="29"/>
                  </a:cubicBezTo>
                  <a:moveTo>
                    <a:pt x="3" y="29"/>
                  </a:moveTo>
                  <a:cubicBezTo>
                    <a:pt x="3" y="29"/>
                    <a:pt x="3" y="29"/>
                    <a:pt x="3" y="29"/>
                  </a:cubicBezTo>
                  <a:cubicBezTo>
                    <a:pt x="3" y="29"/>
                    <a:pt x="3" y="29"/>
                    <a:pt x="3" y="29"/>
                  </a:cubicBezTo>
                  <a:moveTo>
                    <a:pt x="3" y="28"/>
                  </a:moveTo>
                  <a:cubicBezTo>
                    <a:pt x="3" y="28"/>
                    <a:pt x="3" y="28"/>
                    <a:pt x="3" y="29"/>
                  </a:cubicBezTo>
                  <a:cubicBezTo>
                    <a:pt x="3" y="28"/>
                    <a:pt x="3" y="28"/>
                    <a:pt x="3" y="28"/>
                  </a:cubicBezTo>
                  <a:moveTo>
                    <a:pt x="3" y="27"/>
                  </a:moveTo>
                  <a:cubicBezTo>
                    <a:pt x="3" y="28"/>
                    <a:pt x="3" y="28"/>
                    <a:pt x="3" y="28"/>
                  </a:cubicBezTo>
                  <a:cubicBezTo>
                    <a:pt x="3" y="28"/>
                    <a:pt x="3" y="28"/>
                    <a:pt x="3" y="27"/>
                  </a:cubicBezTo>
                  <a:moveTo>
                    <a:pt x="3" y="27"/>
                  </a:moveTo>
                  <a:cubicBezTo>
                    <a:pt x="3" y="27"/>
                    <a:pt x="3" y="27"/>
                    <a:pt x="3" y="27"/>
                  </a:cubicBezTo>
                  <a:cubicBezTo>
                    <a:pt x="3" y="27"/>
                    <a:pt x="3" y="27"/>
                    <a:pt x="3" y="27"/>
                  </a:cubicBezTo>
                  <a:moveTo>
                    <a:pt x="3" y="27"/>
                  </a:moveTo>
                  <a:cubicBezTo>
                    <a:pt x="3" y="27"/>
                    <a:pt x="3" y="27"/>
                    <a:pt x="3" y="27"/>
                  </a:cubicBezTo>
                  <a:cubicBezTo>
                    <a:pt x="3" y="27"/>
                    <a:pt x="3" y="27"/>
                    <a:pt x="3" y="27"/>
                  </a:cubicBezTo>
                  <a:moveTo>
                    <a:pt x="3" y="26"/>
                  </a:moveTo>
                  <a:cubicBezTo>
                    <a:pt x="3" y="26"/>
                    <a:pt x="3" y="26"/>
                    <a:pt x="3" y="26"/>
                  </a:cubicBezTo>
                  <a:cubicBezTo>
                    <a:pt x="3" y="26"/>
                    <a:pt x="3" y="26"/>
                    <a:pt x="3" y="26"/>
                  </a:cubicBezTo>
                  <a:moveTo>
                    <a:pt x="3" y="26"/>
                  </a:moveTo>
                  <a:cubicBezTo>
                    <a:pt x="3" y="26"/>
                    <a:pt x="3" y="26"/>
                    <a:pt x="3" y="26"/>
                  </a:cubicBezTo>
                  <a:cubicBezTo>
                    <a:pt x="3" y="26"/>
                    <a:pt x="3" y="26"/>
                    <a:pt x="3" y="26"/>
                  </a:cubicBezTo>
                  <a:moveTo>
                    <a:pt x="3" y="25"/>
                  </a:moveTo>
                  <a:cubicBezTo>
                    <a:pt x="3" y="25"/>
                    <a:pt x="3" y="25"/>
                    <a:pt x="3" y="26"/>
                  </a:cubicBezTo>
                  <a:cubicBezTo>
                    <a:pt x="3" y="25"/>
                    <a:pt x="3" y="25"/>
                    <a:pt x="3" y="25"/>
                  </a:cubicBezTo>
                  <a:moveTo>
                    <a:pt x="3" y="25"/>
                  </a:moveTo>
                  <a:cubicBezTo>
                    <a:pt x="3" y="25"/>
                    <a:pt x="3" y="25"/>
                    <a:pt x="3" y="25"/>
                  </a:cubicBezTo>
                  <a:cubicBezTo>
                    <a:pt x="3" y="25"/>
                    <a:pt x="3" y="25"/>
                    <a:pt x="3" y="25"/>
                  </a:cubicBezTo>
                  <a:moveTo>
                    <a:pt x="3" y="24"/>
                  </a:moveTo>
                  <a:cubicBezTo>
                    <a:pt x="3" y="24"/>
                    <a:pt x="3" y="25"/>
                    <a:pt x="3" y="25"/>
                  </a:cubicBezTo>
                  <a:cubicBezTo>
                    <a:pt x="3" y="25"/>
                    <a:pt x="3" y="24"/>
                    <a:pt x="3" y="24"/>
                  </a:cubicBezTo>
                  <a:moveTo>
                    <a:pt x="3" y="24"/>
                  </a:moveTo>
                  <a:cubicBezTo>
                    <a:pt x="3" y="24"/>
                    <a:pt x="3" y="24"/>
                    <a:pt x="3" y="24"/>
                  </a:cubicBezTo>
                  <a:cubicBezTo>
                    <a:pt x="3" y="24"/>
                    <a:pt x="3" y="24"/>
                    <a:pt x="3" y="24"/>
                  </a:cubicBezTo>
                  <a:moveTo>
                    <a:pt x="3" y="23"/>
                  </a:moveTo>
                  <a:cubicBezTo>
                    <a:pt x="3" y="23"/>
                    <a:pt x="3" y="24"/>
                    <a:pt x="3" y="24"/>
                  </a:cubicBezTo>
                  <a:cubicBezTo>
                    <a:pt x="3" y="24"/>
                    <a:pt x="3" y="23"/>
                    <a:pt x="3" y="23"/>
                  </a:cubicBezTo>
                  <a:moveTo>
                    <a:pt x="3" y="23"/>
                  </a:moveTo>
                  <a:cubicBezTo>
                    <a:pt x="3" y="23"/>
                    <a:pt x="3" y="23"/>
                    <a:pt x="3" y="23"/>
                  </a:cubicBezTo>
                  <a:cubicBezTo>
                    <a:pt x="3" y="23"/>
                    <a:pt x="3" y="23"/>
                    <a:pt x="3" y="23"/>
                  </a:cubicBezTo>
                  <a:moveTo>
                    <a:pt x="3" y="23"/>
                  </a:moveTo>
                  <a:cubicBezTo>
                    <a:pt x="3" y="23"/>
                    <a:pt x="3" y="23"/>
                    <a:pt x="3" y="23"/>
                  </a:cubicBezTo>
                  <a:cubicBezTo>
                    <a:pt x="3" y="23"/>
                    <a:pt x="3" y="23"/>
                    <a:pt x="3" y="23"/>
                  </a:cubicBezTo>
                  <a:moveTo>
                    <a:pt x="3" y="22"/>
                  </a:moveTo>
                  <a:cubicBezTo>
                    <a:pt x="3" y="22"/>
                    <a:pt x="3" y="22"/>
                    <a:pt x="3" y="22"/>
                  </a:cubicBezTo>
                  <a:cubicBezTo>
                    <a:pt x="3" y="22"/>
                    <a:pt x="3" y="22"/>
                    <a:pt x="3" y="22"/>
                  </a:cubicBezTo>
                  <a:moveTo>
                    <a:pt x="2" y="22"/>
                  </a:moveTo>
                  <a:cubicBezTo>
                    <a:pt x="2" y="22"/>
                    <a:pt x="2" y="22"/>
                    <a:pt x="3" y="22"/>
                  </a:cubicBezTo>
                  <a:cubicBezTo>
                    <a:pt x="2" y="22"/>
                    <a:pt x="2" y="22"/>
                    <a:pt x="2" y="22"/>
                  </a:cubicBezTo>
                  <a:moveTo>
                    <a:pt x="2" y="21"/>
                  </a:moveTo>
                  <a:cubicBezTo>
                    <a:pt x="2" y="21"/>
                    <a:pt x="2" y="21"/>
                    <a:pt x="2" y="21"/>
                  </a:cubicBezTo>
                  <a:cubicBezTo>
                    <a:pt x="2" y="21"/>
                    <a:pt x="2" y="21"/>
                    <a:pt x="2" y="21"/>
                  </a:cubicBezTo>
                  <a:moveTo>
                    <a:pt x="2" y="21"/>
                  </a:moveTo>
                  <a:cubicBezTo>
                    <a:pt x="2" y="21"/>
                    <a:pt x="2" y="21"/>
                    <a:pt x="2" y="21"/>
                  </a:cubicBezTo>
                  <a:cubicBezTo>
                    <a:pt x="2" y="21"/>
                    <a:pt x="2" y="21"/>
                    <a:pt x="2" y="21"/>
                  </a:cubicBezTo>
                  <a:moveTo>
                    <a:pt x="2" y="20"/>
                  </a:moveTo>
                  <a:cubicBezTo>
                    <a:pt x="2" y="20"/>
                    <a:pt x="2" y="20"/>
                    <a:pt x="2" y="20"/>
                  </a:cubicBezTo>
                  <a:cubicBezTo>
                    <a:pt x="2" y="20"/>
                    <a:pt x="2" y="20"/>
                    <a:pt x="2" y="20"/>
                  </a:cubicBezTo>
                  <a:moveTo>
                    <a:pt x="2" y="20"/>
                  </a:moveTo>
                  <a:cubicBezTo>
                    <a:pt x="2" y="20"/>
                    <a:pt x="2" y="20"/>
                    <a:pt x="2" y="20"/>
                  </a:cubicBezTo>
                  <a:cubicBezTo>
                    <a:pt x="2" y="20"/>
                    <a:pt x="2" y="20"/>
                    <a:pt x="2" y="20"/>
                  </a:cubicBezTo>
                  <a:moveTo>
                    <a:pt x="2" y="19"/>
                  </a:moveTo>
                  <a:cubicBezTo>
                    <a:pt x="2" y="19"/>
                    <a:pt x="2" y="20"/>
                    <a:pt x="2" y="20"/>
                  </a:cubicBezTo>
                  <a:cubicBezTo>
                    <a:pt x="2" y="20"/>
                    <a:pt x="2" y="19"/>
                    <a:pt x="2" y="19"/>
                  </a:cubicBezTo>
                  <a:moveTo>
                    <a:pt x="2" y="19"/>
                  </a:moveTo>
                  <a:cubicBezTo>
                    <a:pt x="2" y="19"/>
                    <a:pt x="2" y="19"/>
                    <a:pt x="2" y="19"/>
                  </a:cubicBezTo>
                  <a:cubicBezTo>
                    <a:pt x="2" y="19"/>
                    <a:pt x="2" y="19"/>
                    <a:pt x="2" y="19"/>
                  </a:cubicBezTo>
                  <a:moveTo>
                    <a:pt x="2" y="19"/>
                  </a:moveTo>
                  <a:cubicBezTo>
                    <a:pt x="2" y="19"/>
                    <a:pt x="2" y="19"/>
                    <a:pt x="2" y="19"/>
                  </a:cubicBezTo>
                  <a:cubicBezTo>
                    <a:pt x="2" y="19"/>
                    <a:pt x="2" y="19"/>
                    <a:pt x="2" y="19"/>
                  </a:cubicBezTo>
                  <a:moveTo>
                    <a:pt x="2" y="18"/>
                  </a:moveTo>
                  <a:cubicBezTo>
                    <a:pt x="2" y="18"/>
                    <a:pt x="2" y="18"/>
                    <a:pt x="2" y="18"/>
                  </a:cubicBezTo>
                  <a:cubicBezTo>
                    <a:pt x="2" y="18"/>
                    <a:pt x="2" y="18"/>
                    <a:pt x="2" y="18"/>
                  </a:cubicBezTo>
                  <a:moveTo>
                    <a:pt x="2" y="18"/>
                  </a:moveTo>
                  <a:cubicBezTo>
                    <a:pt x="2" y="18"/>
                    <a:pt x="2" y="18"/>
                    <a:pt x="2" y="18"/>
                  </a:cubicBezTo>
                  <a:cubicBezTo>
                    <a:pt x="2" y="18"/>
                    <a:pt x="2" y="18"/>
                    <a:pt x="2" y="18"/>
                  </a:cubicBezTo>
                  <a:moveTo>
                    <a:pt x="2" y="17"/>
                  </a:moveTo>
                  <a:cubicBezTo>
                    <a:pt x="2" y="17"/>
                    <a:pt x="2" y="17"/>
                    <a:pt x="2" y="17"/>
                  </a:cubicBezTo>
                  <a:cubicBezTo>
                    <a:pt x="2" y="17"/>
                    <a:pt x="2" y="17"/>
                    <a:pt x="2" y="17"/>
                  </a:cubicBezTo>
                  <a:moveTo>
                    <a:pt x="2" y="17"/>
                  </a:moveTo>
                  <a:cubicBezTo>
                    <a:pt x="2" y="17"/>
                    <a:pt x="2" y="17"/>
                    <a:pt x="2" y="17"/>
                  </a:cubicBezTo>
                  <a:cubicBezTo>
                    <a:pt x="2" y="17"/>
                    <a:pt x="2" y="17"/>
                    <a:pt x="2" y="17"/>
                  </a:cubicBezTo>
                  <a:moveTo>
                    <a:pt x="2" y="16"/>
                  </a:moveTo>
                  <a:cubicBezTo>
                    <a:pt x="2" y="16"/>
                    <a:pt x="2" y="16"/>
                    <a:pt x="2" y="16"/>
                  </a:cubicBezTo>
                  <a:cubicBezTo>
                    <a:pt x="2" y="16"/>
                    <a:pt x="2" y="16"/>
                    <a:pt x="2" y="16"/>
                  </a:cubicBezTo>
                  <a:moveTo>
                    <a:pt x="2" y="16"/>
                  </a:moveTo>
                  <a:cubicBezTo>
                    <a:pt x="2" y="16"/>
                    <a:pt x="2" y="16"/>
                    <a:pt x="2" y="16"/>
                  </a:cubicBezTo>
                  <a:cubicBezTo>
                    <a:pt x="2" y="16"/>
                    <a:pt x="2" y="16"/>
                    <a:pt x="2" y="16"/>
                  </a:cubicBezTo>
                  <a:moveTo>
                    <a:pt x="2" y="15"/>
                  </a:moveTo>
                  <a:cubicBezTo>
                    <a:pt x="2" y="15"/>
                    <a:pt x="2" y="16"/>
                    <a:pt x="2" y="16"/>
                  </a:cubicBezTo>
                  <a:cubicBezTo>
                    <a:pt x="2" y="15"/>
                    <a:pt x="2" y="15"/>
                    <a:pt x="2" y="15"/>
                  </a:cubicBezTo>
                  <a:moveTo>
                    <a:pt x="2" y="15"/>
                  </a:moveTo>
                  <a:cubicBezTo>
                    <a:pt x="2" y="15"/>
                    <a:pt x="2" y="15"/>
                    <a:pt x="2" y="15"/>
                  </a:cubicBezTo>
                  <a:cubicBezTo>
                    <a:pt x="2" y="15"/>
                    <a:pt x="2" y="15"/>
                    <a:pt x="2" y="15"/>
                  </a:cubicBezTo>
                  <a:moveTo>
                    <a:pt x="2" y="15"/>
                  </a:moveTo>
                  <a:cubicBezTo>
                    <a:pt x="2" y="15"/>
                    <a:pt x="2" y="15"/>
                    <a:pt x="2" y="15"/>
                  </a:cubicBezTo>
                  <a:cubicBezTo>
                    <a:pt x="2" y="15"/>
                    <a:pt x="2" y="15"/>
                    <a:pt x="2" y="15"/>
                  </a:cubicBezTo>
                  <a:moveTo>
                    <a:pt x="2" y="14"/>
                  </a:moveTo>
                  <a:cubicBezTo>
                    <a:pt x="2" y="14"/>
                    <a:pt x="2" y="14"/>
                    <a:pt x="2" y="14"/>
                  </a:cubicBezTo>
                  <a:cubicBezTo>
                    <a:pt x="2" y="14"/>
                    <a:pt x="2" y="14"/>
                    <a:pt x="2" y="14"/>
                  </a:cubicBezTo>
                  <a:moveTo>
                    <a:pt x="2" y="14"/>
                  </a:moveTo>
                  <a:cubicBezTo>
                    <a:pt x="2" y="14"/>
                    <a:pt x="2" y="14"/>
                    <a:pt x="2" y="14"/>
                  </a:cubicBezTo>
                  <a:cubicBezTo>
                    <a:pt x="2" y="14"/>
                    <a:pt x="2" y="14"/>
                    <a:pt x="2" y="14"/>
                  </a:cubicBezTo>
                  <a:moveTo>
                    <a:pt x="2" y="13"/>
                  </a:moveTo>
                  <a:cubicBezTo>
                    <a:pt x="2" y="13"/>
                    <a:pt x="2" y="13"/>
                    <a:pt x="2" y="13"/>
                  </a:cubicBezTo>
                  <a:cubicBezTo>
                    <a:pt x="2" y="13"/>
                    <a:pt x="2" y="13"/>
                    <a:pt x="2" y="13"/>
                  </a:cubicBezTo>
                  <a:moveTo>
                    <a:pt x="2" y="13"/>
                  </a:moveTo>
                  <a:cubicBezTo>
                    <a:pt x="2" y="13"/>
                    <a:pt x="2" y="13"/>
                    <a:pt x="2" y="13"/>
                  </a:cubicBezTo>
                  <a:cubicBezTo>
                    <a:pt x="2" y="13"/>
                    <a:pt x="2" y="13"/>
                    <a:pt x="2" y="13"/>
                  </a:cubicBezTo>
                  <a:moveTo>
                    <a:pt x="2" y="12"/>
                  </a:moveTo>
                  <a:cubicBezTo>
                    <a:pt x="2" y="12"/>
                    <a:pt x="2" y="12"/>
                    <a:pt x="2" y="12"/>
                  </a:cubicBezTo>
                  <a:cubicBezTo>
                    <a:pt x="2" y="12"/>
                    <a:pt x="2" y="12"/>
                    <a:pt x="2" y="12"/>
                  </a:cubicBezTo>
                  <a:moveTo>
                    <a:pt x="2" y="12"/>
                  </a:moveTo>
                  <a:cubicBezTo>
                    <a:pt x="2" y="12"/>
                    <a:pt x="2" y="12"/>
                    <a:pt x="2" y="12"/>
                  </a:cubicBezTo>
                  <a:cubicBezTo>
                    <a:pt x="2" y="12"/>
                    <a:pt x="2" y="12"/>
                    <a:pt x="2" y="12"/>
                  </a:cubicBezTo>
                  <a:moveTo>
                    <a:pt x="2" y="11"/>
                  </a:moveTo>
                  <a:cubicBezTo>
                    <a:pt x="2" y="11"/>
                    <a:pt x="2" y="11"/>
                    <a:pt x="2" y="12"/>
                  </a:cubicBezTo>
                  <a:cubicBezTo>
                    <a:pt x="2" y="11"/>
                    <a:pt x="2" y="11"/>
                    <a:pt x="2" y="11"/>
                  </a:cubicBezTo>
                  <a:moveTo>
                    <a:pt x="2" y="11"/>
                  </a:moveTo>
                  <a:cubicBezTo>
                    <a:pt x="2" y="11"/>
                    <a:pt x="2" y="11"/>
                    <a:pt x="2" y="11"/>
                  </a:cubicBezTo>
                  <a:cubicBezTo>
                    <a:pt x="2" y="11"/>
                    <a:pt x="2" y="11"/>
                    <a:pt x="2" y="11"/>
                  </a:cubicBezTo>
                  <a:moveTo>
                    <a:pt x="2" y="11"/>
                  </a:moveTo>
                  <a:cubicBezTo>
                    <a:pt x="2" y="11"/>
                    <a:pt x="2" y="11"/>
                    <a:pt x="2" y="11"/>
                  </a:cubicBezTo>
                  <a:cubicBezTo>
                    <a:pt x="2" y="11"/>
                    <a:pt x="2" y="11"/>
                    <a:pt x="2" y="11"/>
                  </a:cubicBezTo>
                  <a:moveTo>
                    <a:pt x="2" y="10"/>
                  </a:moveTo>
                  <a:cubicBezTo>
                    <a:pt x="2" y="10"/>
                    <a:pt x="2" y="10"/>
                    <a:pt x="2" y="10"/>
                  </a:cubicBezTo>
                  <a:cubicBezTo>
                    <a:pt x="2" y="10"/>
                    <a:pt x="2" y="10"/>
                    <a:pt x="2" y="10"/>
                  </a:cubicBezTo>
                  <a:moveTo>
                    <a:pt x="1" y="9"/>
                  </a:moveTo>
                  <a:cubicBezTo>
                    <a:pt x="1" y="9"/>
                    <a:pt x="1" y="9"/>
                    <a:pt x="1" y="9"/>
                  </a:cubicBezTo>
                  <a:cubicBezTo>
                    <a:pt x="1" y="9"/>
                    <a:pt x="1" y="9"/>
                    <a:pt x="1" y="9"/>
                  </a:cubicBezTo>
                  <a:moveTo>
                    <a:pt x="1" y="9"/>
                  </a:moveTo>
                  <a:cubicBezTo>
                    <a:pt x="1" y="9"/>
                    <a:pt x="1" y="9"/>
                    <a:pt x="1" y="9"/>
                  </a:cubicBezTo>
                  <a:cubicBezTo>
                    <a:pt x="1" y="9"/>
                    <a:pt x="1" y="9"/>
                    <a:pt x="1" y="9"/>
                  </a:cubicBezTo>
                  <a:moveTo>
                    <a:pt x="1" y="8"/>
                  </a:moveTo>
                  <a:cubicBezTo>
                    <a:pt x="1" y="8"/>
                    <a:pt x="1" y="8"/>
                    <a:pt x="1" y="8"/>
                  </a:cubicBezTo>
                  <a:cubicBezTo>
                    <a:pt x="1" y="8"/>
                    <a:pt x="1" y="8"/>
                    <a:pt x="1" y="8"/>
                  </a:cubicBezTo>
                  <a:moveTo>
                    <a:pt x="1" y="8"/>
                  </a:moveTo>
                  <a:cubicBezTo>
                    <a:pt x="1" y="8"/>
                    <a:pt x="1" y="8"/>
                    <a:pt x="1" y="8"/>
                  </a:cubicBezTo>
                  <a:cubicBezTo>
                    <a:pt x="1" y="8"/>
                    <a:pt x="1" y="8"/>
                    <a:pt x="1" y="8"/>
                  </a:cubicBezTo>
                  <a:moveTo>
                    <a:pt x="1" y="7"/>
                  </a:moveTo>
                  <a:cubicBezTo>
                    <a:pt x="1" y="7"/>
                    <a:pt x="1" y="8"/>
                    <a:pt x="1" y="8"/>
                  </a:cubicBezTo>
                  <a:cubicBezTo>
                    <a:pt x="1" y="8"/>
                    <a:pt x="1" y="7"/>
                    <a:pt x="1" y="7"/>
                  </a:cubicBezTo>
                  <a:moveTo>
                    <a:pt x="1" y="7"/>
                  </a:moveTo>
                  <a:cubicBezTo>
                    <a:pt x="1" y="7"/>
                    <a:pt x="1" y="7"/>
                    <a:pt x="1" y="7"/>
                  </a:cubicBezTo>
                  <a:cubicBezTo>
                    <a:pt x="1" y="7"/>
                    <a:pt x="1" y="7"/>
                    <a:pt x="1" y="7"/>
                  </a:cubicBezTo>
                  <a:moveTo>
                    <a:pt x="1" y="7"/>
                  </a:moveTo>
                  <a:cubicBezTo>
                    <a:pt x="1" y="7"/>
                    <a:pt x="1" y="7"/>
                    <a:pt x="1" y="7"/>
                  </a:cubicBezTo>
                  <a:cubicBezTo>
                    <a:pt x="1" y="7"/>
                    <a:pt x="1" y="7"/>
                    <a:pt x="1" y="7"/>
                  </a:cubicBezTo>
                  <a:moveTo>
                    <a:pt x="1" y="5"/>
                  </a:moveTo>
                  <a:cubicBezTo>
                    <a:pt x="1" y="5"/>
                    <a:pt x="1" y="5"/>
                    <a:pt x="1" y="5"/>
                  </a:cubicBezTo>
                  <a:cubicBezTo>
                    <a:pt x="1" y="5"/>
                    <a:pt x="1" y="5"/>
                    <a:pt x="1" y="5"/>
                  </a:cubicBezTo>
                  <a:moveTo>
                    <a:pt x="1" y="5"/>
                  </a:moveTo>
                  <a:cubicBezTo>
                    <a:pt x="1" y="5"/>
                    <a:pt x="1" y="5"/>
                    <a:pt x="1" y="5"/>
                  </a:cubicBezTo>
                  <a:cubicBezTo>
                    <a:pt x="1" y="5"/>
                    <a:pt x="1" y="5"/>
                    <a:pt x="1" y="5"/>
                  </a:cubicBezTo>
                  <a:moveTo>
                    <a:pt x="1" y="4"/>
                  </a:moveTo>
                  <a:cubicBezTo>
                    <a:pt x="1" y="4"/>
                    <a:pt x="1" y="4"/>
                    <a:pt x="1" y="4"/>
                  </a:cubicBezTo>
                  <a:cubicBezTo>
                    <a:pt x="1" y="4"/>
                    <a:pt x="1" y="4"/>
                    <a:pt x="1" y="4"/>
                  </a:cubicBezTo>
                  <a:moveTo>
                    <a:pt x="1" y="4"/>
                  </a:moveTo>
                  <a:cubicBezTo>
                    <a:pt x="1" y="4"/>
                    <a:pt x="1" y="4"/>
                    <a:pt x="1" y="4"/>
                  </a:cubicBezTo>
                  <a:cubicBezTo>
                    <a:pt x="1" y="4"/>
                    <a:pt x="1" y="4"/>
                    <a:pt x="1" y="4"/>
                  </a:cubicBezTo>
                  <a:moveTo>
                    <a:pt x="1" y="4"/>
                  </a:moveTo>
                  <a:cubicBezTo>
                    <a:pt x="1" y="4"/>
                    <a:pt x="1" y="4"/>
                    <a:pt x="1" y="4"/>
                  </a:cubicBezTo>
                  <a:cubicBezTo>
                    <a:pt x="1" y="4"/>
                    <a:pt x="1" y="4"/>
                    <a:pt x="1" y="4"/>
                  </a:cubicBezTo>
                  <a:moveTo>
                    <a:pt x="0" y="1"/>
                  </a:moveTo>
                  <a:cubicBezTo>
                    <a:pt x="0" y="1"/>
                    <a:pt x="0" y="1"/>
                    <a:pt x="0" y="1"/>
                  </a:cubicBezTo>
                  <a:cubicBezTo>
                    <a:pt x="0" y="1"/>
                    <a:pt x="0" y="1"/>
                    <a:pt x="0" y="1"/>
                  </a:cubicBezTo>
                  <a:moveTo>
                    <a:pt x="0" y="1"/>
                  </a:moveTo>
                  <a:cubicBezTo>
                    <a:pt x="0" y="1"/>
                    <a:pt x="0" y="1"/>
                    <a:pt x="0" y="1"/>
                  </a:cubicBezTo>
                  <a:cubicBezTo>
                    <a:pt x="0" y="1"/>
                    <a:pt x="0" y="1"/>
                    <a:pt x="0" y="1"/>
                  </a:cubicBezTo>
                  <a:moveTo>
                    <a:pt x="0" y="0"/>
                  </a:moveTo>
                  <a:cubicBezTo>
                    <a:pt x="0" y="0"/>
                    <a:pt x="0" y="0"/>
                    <a:pt x="0" y="0"/>
                  </a:cubicBezTo>
                  <a:cubicBezTo>
                    <a:pt x="0" y="0"/>
                    <a:pt x="0" y="0"/>
                    <a:pt x="0" y="0"/>
                  </a:cubicBezTo>
                </a:path>
              </a:pathLst>
            </a:custGeom>
            <a:solidFill>
              <a:srgbClr val="265F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85" name="Freeform 3086">
              <a:extLst>
                <a:ext uri="{FF2B5EF4-FFF2-40B4-BE49-F238E27FC236}">
                  <a16:creationId xmlns:a16="http://schemas.microsoft.com/office/drawing/2014/main" id="{ABC6B7DB-03F9-D4C3-9B2B-7750822F547C}"/>
                </a:ext>
              </a:extLst>
            </p:cNvPr>
            <p:cNvSpPr>
              <a:spLocks noEditPoints="1"/>
            </p:cNvSpPr>
            <p:nvPr/>
          </p:nvSpPr>
          <p:spPr bwMode="auto">
            <a:xfrm>
              <a:off x="5510213" y="3244850"/>
              <a:ext cx="207963" cy="420688"/>
            </a:xfrm>
            <a:custGeom>
              <a:avLst/>
              <a:gdLst>
                <a:gd name="T0" fmla="*/ 127 w 256"/>
                <a:gd name="T1" fmla="*/ 0 h 518"/>
                <a:gd name="T2" fmla="*/ 154 w 256"/>
                <a:gd name="T3" fmla="*/ 62 h 518"/>
                <a:gd name="T4" fmla="*/ 139 w 256"/>
                <a:gd name="T5" fmla="*/ 62 h 518"/>
                <a:gd name="T6" fmla="*/ 23 w 256"/>
                <a:gd name="T7" fmla="*/ 512 h 518"/>
                <a:gd name="T8" fmla="*/ 255 w 256"/>
                <a:gd name="T9" fmla="*/ 257 h 518"/>
                <a:gd name="T10" fmla="*/ 255 w 256"/>
                <a:gd name="T11" fmla="*/ 256 h 518"/>
                <a:gd name="T12" fmla="*/ 255 w 256"/>
                <a:gd name="T13" fmla="*/ 255 h 518"/>
                <a:gd name="T14" fmla="*/ 256 w 256"/>
                <a:gd name="T15" fmla="*/ 254 h 518"/>
                <a:gd name="T16" fmla="*/ 256 w 256"/>
                <a:gd name="T17" fmla="*/ 251 h 518"/>
                <a:gd name="T18" fmla="*/ 256 w 256"/>
                <a:gd name="T19" fmla="*/ 250 h 518"/>
                <a:gd name="T20" fmla="*/ 256 w 256"/>
                <a:gd name="T21" fmla="*/ 249 h 518"/>
                <a:gd name="T22" fmla="*/ 256 w 256"/>
                <a:gd name="T23" fmla="*/ 248 h 518"/>
                <a:gd name="T24" fmla="*/ 256 w 256"/>
                <a:gd name="T25" fmla="*/ 247 h 518"/>
                <a:gd name="T26" fmla="*/ 256 w 256"/>
                <a:gd name="T27" fmla="*/ 245 h 518"/>
                <a:gd name="T28" fmla="*/ 256 w 256"/>
                <a:gd name="T29" fmla="*/ 244 h 518"/>
                <a:gd name="T30" fmla="*/ 256 w 256"/>
                <a:gd name="T31" fmla="*/ 243 h 518"/>
                <a:gd name="T32" fmla="*/ 256 w 256"/>
                <a:gd name="T33" fmla="*/ 242 h 518"/>
                <a:gd name="T34" fmla="*/ 256 w 256"/>
                <a:gd name="T35" fmla="*/ 241 h 518"/>
                <a:gd name="T36" fmla="*/ 219 w 256"/>
                <a:gd name="T37" fmla="*/ 324 h 518"/>
                <a:gd name="T38" fmla="*/ 221 w 256"/>
                <a:gd name="T39" fmla="*/ 209 h 518"/>
                <a:gd name="T40" fmla="*/ 256 w 256"/>
                <a:gd name="T41" fmla="*/ 236 h 518"/>
                <a:gd name="T42" fmla="*/ 256 w 256"/>
                <a:gd name="T43" fmla="*/ 235 h 518"/>
                <a:gd name="T44" fmla="*/ 256 w 256"/>
                <a:gd name="T45" fmla="*/ 234 h 518"/>
                <a:gd name="T46" fmla="*/ 256 w 256"/>
                <a:gd name="T47" fmla="*/ 233 h 518"/>
                <a:gd name="T48" fmla="*/ 256 w 256"/>
                <a:gd name="T49" fmla="*/ 232 h 518"/>
                <a:gd name="T50" fmla="*/ 256 w 256"/>
                <a:gd name="T51" fmla="*/ 231 h 518"/>
                <a:gd name="T52" fmla="*/ 256 w 256"/>
                <a:gd name="T53" fmla="*/ 229 h 518"/>
                <a:gd name="T54" fmla="*/ 256 w 256"/>
                <a:gd name="T55" fmla="*/ 228 h 518"/>
                <a:gd name="T56" fmla="*/ 256 w 256"/>
                <a:gd name="T57" fmla="*/ 227 h 518"/>
                <a:gd name="T58" fmla="*/ 256 w 256"/>
                <a:gd name="T59" fmla="*/ 226 h 518"/>
                <a:gd name="T60" fmla="*/ 256 w 256"/>
                <a:gd name="T61" fmla="*/ 224 h 518"/>
                <a:gd name="T62" fmla="*/ 256 w 256"/>
                <a:gd name="T63" fmla="*/ 223 h 518"/>
                <a:gd name="T64" fmla="*/ 256 w 256"/>
                <a:gd name="T65" fmla="*/ 222 h 518"/>
                <a:gd name="T66" fmla="*/ 256 w 256"/>
                <a:gd name="T67" fmla="*/ 221 h 518"/>
                <a:gd name="T68" fmla="*/ 256 w 256"/>
                <a:gd name="T69" fmla="*/ 220 h 518"/>
                <a:gd name="T70" fmla="*/ 256 w 256"/>
                <a:gd name="T71" fmla="*/ 219 h 518"/>
                <a:gd name="T72" fmla="*/ 255 w 256"/>
                <a:gd name="T73" fmla="*/ 218 h 518"/>
                <a:gd name="T74" fmla="*/ 255 w 256"/>
                <a:gd name="T75" fmla="*/ 217 h 518"/>
                <a:gd name="T76" fmla="*/ 255 w 256"/>
                <a:gd name="T77" fmla="*/ 216 h 518"/>
                <a:gd name="T78" fmla="*/ 255 w 256"/>
                <a:gd name="T79" fmla="*/ 214 h 518"/>
                <a:gd name="T80" fmla="*/ 255 w 256"/>
                <a:gd name="T81" fmla="*/ 213 h 518"/>
                <a:gd name="T82" fmla="*/ 255 w 256"/>
                <a:gd name="T83" fmla="*/ 212 h 518"/>
                <a:gd name="T84" fmla="*/ 255 w 256"/>
                <a:gd name="T85" fmla="*/ 211 h 518"/>
                <a:gd name="T86" fmla="*/ 255 w 256"/>
                <a:gd name="T87" fmla="*/ 210 h 518"/>
                <a:gd name="T88" fmla="*/ 255 w 256"/>
                <a:gd name="T89" fmla="*/ 209 h 518"/>
                <a:gd name="T90" fmla="*/ 255 w 256"/>
                <a:gd name="T91" fmla="*/ 208 h 518"/>
                <a:gd name="T92" fmla="*/ 254 w 256"/>
                <a:gd name="T93" fmla="*/ 206 h 518"/>
                <a:gd name="T94" fmla="*/ 254 w 256"/>
                <a:gd name="T95" fmla="*/ 205 h 518"/>
                <a:gd name="T96" fmla="*/ 254 w 256"/>
                <a:gd name="T97" fmla="*/ 204 h 518"/>
                <a:gd name="T98" fmla="*/ 254 w 256"/>
                <a:gd name="T99" fmla="*/ 202 h 518"/>
                <a:gd name="T100" fmla="*/ 254 w 256"/>
                <a:gd name="T101" fmla="*/ 201 h 518"/>
                <a:gd name="T102" fmla="*/ 253 w 256"/>
                <a:gd name="T103" fmla="*/ 198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56" h="518">
                  <a:moveTo>
                    <a:pt x="2" y="517"/>
                  </a:moveTo>
                  <a:cubicBezTo>
                    <a:pt x="2" y="517"/>
                    <a:pt x="1" y="517"/>
                    <a:pt x="0" y="518"/>
                  </a:cubicBezTo>
                  <a:cubicBezTo>
                    <a:pt x="1" y="518"/>
                    <a:pt x="2" y="517"/>
                    <a:pt x="3" y="517"/>
                  </a:cubicBezTo>
                  <a:cubicBezTo>
                    <a:pt x="2" y="517"/>
                    <a:pt x="2" y="517"/>
                    <a:pt x="2" y="517"/>
                  </a:cubicBezTo>
                  <a:moveTo>
                    <a:pt x="127" y="0"/>
                  </a:moveTo>
                  <a:cubicBezTo>
                    <a:pt x="139" y="8"/>
                    <a:pt x="151" y="16"/>
                    <a:pt x="161" y="26"/>
                  </a:cubicBezTo>
                  <a:cubicBezTo>
                    <a:pt x="162" y="28"/>
                    <a:pt x="163" y="30"/>
                    <a:pt x="163" y="31"/>
                  </a:cubicBezTo>
                  <a:cubicBezTo>
                    <a:pt x="163" y="34"/>
                    <a:pt x="158" y="42"/>
                    <a:pt x="158" y="42"/>
                  </a:cubicBezTo>
                  <a:cubicBezTo>
                    <a:pt x="158" y="42"/>
                    <a:pt x="166" y="51"/>
                    <a:pt x="166" y="56"/>
                  </a:cubicBezTo>
                  <a:cubicBezTo>
                    <a:pt x="165" y="61"/>
                    <a:pt x="158" y="62"/>
                    <a:pt x="154" y="62"/>
                  </a:cubicBezTo>
                  <a:cubicBezTo>
                    <a:pt x="153" y="62"/>
                    <a:pt x="152" y="62"/>
                    <a:pt x="151" y="62"/>
                  </a:cubicBezTo>
                  <a:cubicBezTo>
                    <a:pt x="151" y="62"/>
                    <a:pt x="150" y="61"/>
                    <a:pt x="149" y="61"/>
                  </a:cubicBezTo>
                  <a:cubicBezTo>
                    <a:pt x="148" y="61"/>
                    <a:pt x="147" y="62"/>
                    <a:pt x="146" y="62"/>
                  </a:cubicBezTo>
                  <a:cubicBezTo>
                    <a:pt x="144" y="62"/>
                    <a:pt x="143" y="62"/>
                    <a:pt x="142" y="62"/>
                  </a:cubicBezTo>
                  <a:cubicBezTo>
                    <a:pt x="141" y="62"/>
                    <a:pt x="140" y="62"/>
                    <a:pt x="139" y="62"/>
                  </a:cubicBezTo>
                  <a:cubicBezTo>
                    <a:pt x="139" y="62"/>
                    <a:pt x="138" y="61"/>
                    <a:pt x="137" y="61"/>
                  </a:cubicBezTo>
                  <a:cubicBezTo>
                    <a:pt x="134" y="61"/>
                    <a:pt x="132" y="63"/>
                    <a:pt x="132" y="69"/>
                  </a:cubicBezTo>
                  <a:cubicBezTo>
                    <a:pt x="132" y="70"/>
                    <a:pt x="132" y="71"/>
                    <a:pt x="132" y="71"/>
                  </a:cubicBezTo>
                  <a:cubicBezTo>
                    <a:pt x="202" y="211"/>
                    <a:pt x="197" y="429"/>
                    <a:pt x="24" y="508"/>
                  </a:cubicBezTo>
                  <a:cubicBezTo>
                    <a:pt x="25" y="511"/>
                    <a:pt x="25" y="512"/>
                    <a:pt x="23" y="512"/>
                  </a:cubicBezTo>
                  <a:cubicBezTo>
                    <a:pt x="22" y="513"/>
                    <a:pt x="21" y="514"/>
                    <a:pt x="20" y="515"/>
                  </a:cubicBezTo>
                  <a:cubicBezTo>
                    <a:pt x="19" y="515"/>
                    <a:pt x="18" y="515"/>
                    <a:pt x="17" y="516"/>
                  </a:cubicBezTo>
                  <a:cubicBezTo>
                    <a:pt x="146" y="496"/>
                    <a:pt x="246" y="389"/>
                    <a:pt x="255" y="257"/>
                  </a:cubicBezTo>
                  <a:cubicBezTo>
                    <a:pt x="255" y="257"/>
                    <a:pt x="255" y="257"/>
                    <a:pt x="255" y="257"/>
                  </a:cubicBezTo>
                  <a:cubicBezTo>
                    <a:pt x="255" y="257"/>
                    <a:pt x="255" y="257"/>
                    <a:pt x="255" y="257"/>
                  </a:cubicBezTo>
                  <a:cubicBezTo>
                    <a:pt x="255" y="257"/>
                    <a:pt x="255" y="257"/>
                    <a:pt x="255" y="257"/>
                  </a:cubicBezTo>
                  <a:cubicBezTo>
                    <a:pt x="255" y="257"/>
                    <a:pt x="255" y="256"/>
                    <a:pt x="255" y="256"/>
                  </a:cubicBezTo>
                  <a:cubicBezTo>
                    <a:pt x="255" y="256"/>
                    <a:pt x="255" y="256"/>
                    <a:pt x="255" y="256"/>
                  </a:cubicBezTo>
                  <a:cubicBezTo>
                    <a:pt x="255" y="256"/>
                    <a:pt x="255" y="256"/>
                    <a:pt x="255" y="256"/>
                  </a:cubicBezTo>
                  <a:cubicBezTo>
                    <a:pt x="255" y="256"/>
                    <a:pt x="255" y="256"/>
                    <a:pt x="255" y="256"/>
                  </a:cubicBezTo>
                  <a:cubicBezTo>
                    <a:pt x="255" y="256"/>
                    <a:pt x="255" y="256"/>
                    <a:pt x="255" y="256"/>
                  </a:cubicBezTo>
                  <a:cubicBezTo>
                    <a:pt x="255" y="255"/>
                    <a:pt x="255" y="255"/>
                    <a:pt x="255" y="255"/>
                  </a:cubicBezTo>
                  <a:cubicBezTo>
                    <a:pt x="255" y="255"/>
                    <a:pt x="255" y="255"/>
                    <a:pt x="255" y="255"/>
                  </a:cubicBezTo>
                  <a:cubicBezTo>
                    <a:pt x="255" y="255"/>
                    <a:pt x="255" y="255"/>
                    <a:pt x="255" y="255"/>
                  </a:cubicBezTo>
                  <a:cubicBezTo>
                    <a:pt x="255" y="255"/>
                    <a:pt x="255" y="255"/>
                    <a:pt x="255" y="255"/>
                  </a:cubicBezTo>
                  <a:cubicBezTo>
                    <a:pt x="255" y="255"/>
                    <a:pt x="255" y="255"/>
                    <a:pt x="255" y="255"/>
                  </a:cubicBezTo>
                  <a:cubicBezTo>
                    <a:pt x="255" y="254"/>
                    <a:pt x="256" y="254"/>
                    <a:pt x="256" y="254"/>
                  </a:cubicBezTo>
                  <a:cubicBezTo>
                    <a:pt x="256" y="254"/>
                    <a:pt x="256" y="254"/>
                    <a:pt x="256" y="254"/>
                  </a:cubicBezTo>
                  <a:cubicBezTo>
                    <a:pt x="256" y="254"/>
                    <a:pt x="256" y="254"/>
                    <a:pt x="256" y="254"/>
                  </a:cubicBezTo>
                  <a:cubicBezTo>
                    <a:pt x="256" y="254"/>
                    <a:pt x="256" y="254"/>
                    <a:pt x="256" y="254"/>
                  </a:cubicBezTo>
                  <a:cubicBezTo>
                    <a:pt x="256" y="254"/>
                    <a:pt x="256" y="253"/>
                    <a:pt x="256" y="253"/>
                  </a:cubicBezTo>
                  <a:cubicBezTo>
                    <a:pt x="256" y="253"/>
                    <a:pt x="256" y="253"/>
                    <a:pt x="256" y="253"/>
                  </a:cubicBezTo>
                  <a:cubicBezTo>
                    <a:pt x="256" y="253"/>
                    <a:pt x="256" y="253"/>
                    <a:pt x="256" y="253"/>
                  </a:cubicBezTo>
                  <a:cubicBezTo>
                    <a:pt x="256" y="253"/>
                    <a:pt x="256" y="253"/>
                    <a:pt x="256" y="253"/>
                  </a:cubicBezTo>
                  <a:cubicBezTo>
                    <a:pt x="256" y="252"/>
                    <a:pt x="256" y="252"/>
                    <a:pt x="256" y="251"/>
                  </a:cubicBezTo>
                  <a:cubicBezTo>
                    <a:pt x="256" y="251"/>
                    <a:pt x="256" y="251"/>
                    <a:pt x="256" y="251"/>
                  </a:cubicBezTo>
                  <a:cubicBezTo>
                    <a:pt x="256" y="251"/>
                    <a:pt x="256" y="251"/>
                    <a:pt x="256" y="251"/>
                  </a:cubicBezTo>
                  <a:cubicBezTo>
                    <a:pt x="256" y="250"/>
                    <a:pt x="256" y="250"/>
                    <a:pt x="256" y="250"/>
                  </a:cubicBezTo>
                  <a:cubicBezTo>
                    <a:pt x="256" y="250"/>
                    <a:pt x="256" y="250"/>
                    <a:pt x="256" y="250"/>
                  </a:cubicBezTo>
                  <a:cubicBezTo>
                    <a:pt x="256" y="250"/>
                    <a:pt x="256" y="250"/>
                    <a:pt x="256" y="250"/>
                  </a:cubicBezTo>
                  <a:cubicBezTo>
                    <a:pt x="256" y="250"/>
                    <a:pt x="256" y="250"/>
                    <a:pt x="256" y="250"/>
                  </a:cubicBezTo>
                  <a:cubicBezTo>
                    <a:pt x="256" y="250"/>
                    <a:pt x="256" y="250"/>
                    <a:pt x="256" y="249"/>
                  </a:cubicBezTo>
                  <a:cubicBezTo>
                    <a:pt x="256" y="249"/>
                    <a:pt x="256" y="249"/>
                    <a:pt x="256" y="249"/>
                  </a:cubicBezTo>
                  <a:cubicBezTo>
                    <a:pt x="256" y="249"/>
                    <a:pt x="256" y="249"/>
                    <a:pt x="256" y="249"/>
                  </a:cubicBezTo>
                  <a:cubicBezTo>
                    <a:pt x="256" y="249"/>
                    <a:pt x="256" y="249"/>
                    <a:pt x="256" y="249"/>
                  </a:cubicBezTo>
                  <a:cubicBezTo>
                    <a:pt x="256" y="249"/>
                    <a:pt x="256" y="249"/>
                    <a:pt x="256" y="249"/>
                  </a:cubicBezTo>
                  <a:cubicBezTo>
                    <a:pt x="256" y="248"/>
                    <a:pt x="256" y="248"/>
                    <a:pt x="256" y="248"/>
                  </a:cubicBezTo>
                  <a:cubicBezTo>
                    <a:pt x="256" y="248"/>
                    <a:pt x="256" y="248"/>
                    <a:pt x="256" y="248"/>
                  </a:cubicBezTo>
                  <a:cubicBezTo>
                    <a:pt x="256" y="248"/>
                    <a:pt x="256" y="248"/>
                    <a:pt x="256" y="248"/>
                  </a:cubicBezTo>
                  <a:cubicBezTo>
                    <a:pt x="256" y="248"/>
                    <a:pt x="256" y="248"/>
                    <a:pt x="256" y="248"/>
                  </a:cubicBezTo>
                  <a:cubicBezTo>
                    <a:pt x="256" y="248"/>
                    <a:pt x="256" y="248"/>
                    <a:pt x="256" y="247"/>
                  </a:cubicBezTo>
                  <a:cubicBezTo>
                    <a:pt x="256" y="247"/>
                    <a:pt x="256" y="247"/>
                    <a:pt x="256" y="247"/>
                  </a:cubicBezTo>
                  <a:cubicBezTo>
                    <a:pt x="256" y="247"/>
                    <a:pt x="256" y="247"/>
                    <a:pt x="256" y="247"/>
                  </a:cubicBezTo>
                  <a:cubicBezTo>
                    <a:pt x="256" y="247"/>
                    <a:pt x="256" y="247"/>
                    <a:pt x="256" y="247"/>
                  </a:cubicBezTo>
                  <a:cubicBezTo>
                    <a:pt x="256" y="247"/>
                    <a:pt x="256" y="247"/>
                    <a:pt x="256" y="247"/>
                  </a:cubicBezTo>
                  <a:cubicBezTo>
                    <a:pt x="256" y="247"/>
                    <a:pt x="256" y="246"/>
                    <a:pt x="256" y="246"/>
                  </a:cubicBezTo>
                  <a:cubicBezTo>
                    <a:pt x="256" y="246"/>
                    <a:pt x="256" y="246"/>
                    <a:pt x="256" y="246"/>
                  </a:cubicBezTo>
                  <a:cubicBezTo>
                    <a:pt x="256" y="246"/>
                    <a:pt x="256" y="246"/>
                    <a:pt x="256" y="246"/>
                  </a:cubicBezTo>
                  <a:cubicBezTo>
                    <a:pt x="256" y="246"/>
                    <a:pt x="256" y="246"/>
                    <a:pt x="256" y="246"/>
                  </a:cubicBezTo>
                  <a:cubicBezTo>
                    <a:pt x="256" y="246"/>
                    <a:pt x="256" y="246"/>
                    <a:pt x="256" y="245"/>
                  </a:cubicBezTo>
                  <a:cubicBezTo>
                    <a:pt x="256" y="245"/>
                    <a:pt x="256" y="245"/>
                    <a:pt x="256" y="245"/>
                  </a:cubicBezTo>
                  <a:cubicBezTo>
                    <a:pt x="256" y="245"/>
                    <a:pt x="256" y="245"/>
                    <a:pt x="256" y="245"/>
                  </a:cubicBezTo>
                  <a:cubicBezTo>
                    <a:pt x="256" y="245"/>
                    <a:pt x="256" y="245"/>
                    <a:pt x="256" y="245"/>
                  </a:cubicBezTo>
                  <a:cubicBezTo>
                    <a:pt x="256" y="245"/>
                    <a:pt x="256" y="245"/>
                    <a:pt x="256" y="245"/>
                  </a:cubicBezTo>
                  <a:cubicBezTo>
                    <a:pt x="256" y="244"/>
                    <a:pt x="256" y="244"/>
                    <a:pt x="256" y="244"/>
                  </a:cubicBezTo>
                  <a:cubicBezTo>
                    <a:pt x="256" y="244"/>
                    <a:pt x="256" y="244"/>
                    <a:pt x="256" y="244"/>
                  </a:cubicBezTo>
                  <a:cubicBezTo>
                    <a:pt x="256" y="244"/>
                    <a:pt x="256" y="244"/>
                    <a:pt x="256" y="244"/>
                  </a:cubicBezTo>
                  <a:cubicBezTo>
                    <a:pt x="256" y="244"/>
                    <a:pt x="256" y="244"/>
                    <a:pt x="256" y="243"/>
                  </a:cubicBezTo>
                  <a:cubicBezTo>
                    <a:pt x="256" y="243"/>
                    <a:pt x="256" y="243"/>
                    <a:pt x="256" y="243"/>
                  </a:cubicBezTo>
                  <a:cubicBezTo>
                    <a:pt x="256" y="243"/>
                    <a:pt x="256" y="243"/>
                    <a:pt x="256" y="243"/>
                  </a:cubicBezTo>
                  <a:cubicBezTo>
                    <a:pt x="256" y="243"/>
                    <a:pt x="256" y="243"/>
                    <a:pt x="256" y="243"/>
                  </a:cubicBezTo>
                  <a:cubicBezTo>
                    <a:pt x="256" y="243"/>
                    <a:pt x="256" y="243"/>
                    <a:pt x="256" y="243"/>
                  </a:cubicBezTo>
                  <a:cubicBezTo>
                    <a:pt x="256" y="243"/>
                    <a:pt x="256" y="242"/>
                    <a:pt x="256" y="242"/>
                  </a:cubicBezTo>
                  <a:cubicBezTo>
                    <a:pt x="256" y="242"/>
                    <a:pt x="256" y="242"/>
                    <a:pt x="256" y="242"/>
                  </a:cubicBezTo>
                  <a:cubicBezTo>
                    <a:pt x="256" y="242"/>
                    <a:pt x="256" y="242"/>
                    <a:pt x="256" y="242"/>
                  </a:cubicBezTo>
                  <a:cubicBezTo>
                    <a:pt x="256" y="242"/>
                    <a:pt x="256" y="242"/>
                    <a:pt x="256" y="242"/>
                  </a:cubicBezTo>
                  <a:cubicBezTo>
                    <a:pt x="256" y="242"/>
                    <a:pt x="256" y="242"/>
                    <a:pt x="256" y="242"/>
                  </a:cubicBezTo>
                  <a:cubicBezTo>
                    <a:pt x="256" y="241"/>
                    <a:pt x="256" y="241"/>
                    <a:pt x="256" y="241"/>
                  </a:cubicBezTo>
                  <a:cubicBezTo>
                    <a:pt x="256" y="241"/>
                    <a:pt x="256" y="241"/>
                    <a:pt x="256" y="241"/>
                  </a:cubicBezTo>
                  <a:cubicBezTo>
                    <a:pt x="256" y="241"/>
                    <a:pt x="256" y="241"/>
                    <a:pt x="256" y="241"/>
                  </a:cubicBezTo>
                  <a:cubicBezTo>
                    <a:pt x="256" y="241"/>
                    <a:pt x="256" y="241"/>
                    <a:pt x="256" y="241"/>
                  </a:cubicBezTo>
                  <a:cubicBezTo>
                    <a:pt x="255" y="278"/>
                    <a:pt x="248" y="313"/>
                    <a:pt x="235" y="345"/>
                  </a:cubicBezTo>
                  <a:cubicBezTo>
                    <a:pt x="235" y="342"/>
                    <a:pt x="237" y="324"/>
                    <a:pt x="226" y="324"/>
                  </a:cubicBezTo>
                  <a:cubicBezTo>
                    <a:pt x="225" y="324"/>
                    <a:pt x="225" y="324"/>
                    <a:pt x="225" y="324"/>
                  </a:cubicBezTo>
                  <a:cubicBezTo>
                    <a:pt x="223" y="324"/>
                    <a:pt x="221" y="324"/>
                    <a:pt x="219" y="324"/>
                  </a:cubicBezTo>
                  <a:cubicBezTo>
                    <a:pt x="213" y="324"/>
                    <a:pt x="213" y="323"/>
                    <a:pt x="200" y="314"/>
                  </a:cubicBezTo>
                  <a:cubicBezTo>
                    <a:pt x="183" y="302"/>
                    <a:pt x="205" y="291"/>
                    <a:pt x="201" y="278"/>
                  </a:cubicBezTo>
                  <a:cubicBezTo>
                    <a:pt x="196" y="265"/>
                    <a:pt x="205" y="259"/>
                    <a:pt x="216" y="243"/>
                  </a:cubicBezTo>
                  <a:cubicBezTo>
                    <a:pt x="228" y="227"/>
                    <a:pt x="215" y="214"/>
                    <a:pt x="216" y="211"/>
                  </a:cubicBezTo>
                  <a:cubicBezTo>
                    <a:pt x="217" y="210"/>
                    <a:pt x="218" y="209"/>
                    <a:pt x="221" y="209"/>
                  </a:cubicBezTo>
                  <a:cubicBezTo>
                    <a:pt x="226" y="209"/>
                    <a:pt x="234" y="212"/>
                    <a:pt x="245" y="221"/>
                  </a:cubicBezTo>
                  <a:cubicBezTo>
                    <a:pt x="251" y="226"/>
                    <a:pt x="254" y="230"/>
                    <a:pt x="256" y="233"/>
                  </a:cubicBezTo>
                  <a:cubicBezTo>
                    <a:pt x="256" y="234"/>
                    <a:pt x="256" y="235"/>
                    <a:pt x="256" y="237"/>
                  </a:cubicBezTo>
                  <a:cubicBezTo>
                    <a:pt x="256" y="237"/>
                    <a:pt x="256" y="237"/>
                    <a:pt x="256" y="237"/>
                  </a:cubicBezTo>
                  <a:cubicBezTo>
                    <a:pt x="256" y="237"/>
                    <a:pt x="256" y="236"/>
                    <a:pt x="256" y="236"/>
                  </a:cubicBezTo>
                  <a:cubicBezTo>
                    <a:pt x="256" y="236"/>
                    <a:pt x="256" y="236"/>
                    <a:pt x="256" y="236"/>
                  </a:cubicBezTo>
                  <a:cubicBezTo>
                    <a:pt x="256" y="236"/>
                    <a:pt x="256" y="236"/>
                    <a:pt x="256" y="236"/>
                  </a:cubicBezTo>
                  <a:cubicBezTo>
                    <a:pt x="256" y="236"/>
                    <a:pt x="256" y="236"/>
                    <a:pt x="256" y="236"/>
                  </a:cubicBezTo>
                  <a:cubicBezTo>
                    <a:pt x="256" y="236"/>
                    <a:pt x="256" y="235"/>
                    <a:pt x="256" y="235"/>
                  </a:cubicBezTo>
                  <a:cubicBezTo>
                    <a:pt x="256" y="235"/>
                    <a:pt x="256" y="235"/>
                    <a:pt x="256" y="235"/>
                  </a:cubicBezTo>
                  <a:cubicBezTo>
                    <a:pt x="256" y="235"/>
                    <a:pt x="256" y="235"/>
                    <a:pt x="256" y="235"/>
                  </a:cubicBezTo>
                  <a:cubicBezTo>
                    <a:pt x="256" y="235"/>
                    <a:pt x="256" y="235"/>
                    <a:pt x="256" y="235"/>
                  </a:cubicBezTo>
                  <a:cubicBezTo>
                    <a:pt x="256" y="235"/>
                    <a:pt x="256" y="235"/>
                    <a:pt x="256" y="234"/>
                  </a:cubicBezTo>
                  <a:cubicBezTo>
                    <a:pt x="256" y="234"/>
                    <a:pt x="256" y="234"/>
                    <a:pt x="256" y="234"/>
                  </a:cubicBezTo>
                  <a:cubicBezTo>
                    <a:pt x="256" y="234"/>
                    <a:pt x="256" y="234"/>
                    <a:pt x="256" y="234"/>
                  </a:cubicBezTo>
                  <a:cubicBezTo>
                    <a:pt x="256" y="234"/>
                    <a:pt x="256" y="234"/>
                    <a:pt x="256" y="234"/>
                  </a:cubicBezTo>
                  <a:cubicBezTo>
                    <a:pt x="256" y="234"/>
                    <a:pt x="256" y="234"/>
                    <a:pt x="256" y="234"/>
                  </a:cubicBezTo>
                  <a:cubicBezTo>
                    <a:pt x="256" y="234"/>
                    <a:pt x="256" y="233"/>
                    <a:pt x="256" y="233"/>
                  </a:cubicBezTo>
                  <a:cubicBezTo>
                    <a:pt x="256" y="233"/>
                    <a:pt x="256" y="233"/>
                    <a:pt x="256" y="233"/>
                  </a:cubicBezTo>
                  <a:cubicBezTo>
                    <a:pt x="256" y="233"/>
                    <a:pt x="256" y="233"/>
                    <a:pt x="256" y="233"/>
                  </a:cubicBezTo>
                  <a:cubicBezTo>
                    <a:pt x="256" y="233"/>
                    <a:pt x="256" y="233"/>
                    <a:pt x="256" y="233"/>
                  </a:cubicBezTo>
                  <a:cubicBezTo>
                    <a:pt x="256" y="233"/>
                    <a:pt x="256" y="232"/>
                    <a:pt x="256" y="232"/>
                  </a:cubicBezTo>
                  <a:cubicBezTo>
                    <a:pt x="256" y="232"/>
                    <a:pt x="256" y="232"/>
                    <a:pt x="256" y="232"/>
                  </a:cubicBezTo>
                  <a:cubicBezTo>
                    <a:pt x="256" y="232"/>
                    <a:pt x="256" y="232"/>
                    <a:pt x="256" y="232"/>
                  </a:cubicBezTo>
                  <a:cubicBezTo>
                    <a:pt x="256" y="232"/>
                    <a:pt x="256" y="232"/>
                    <a:pt x="256" y="232"/>
                  </a:cubicBezTo>
                  <a:cubicBezTo>
                    <a:pt x="256" y="232"/>
                    <a:pt x="256" y="232"/>
                    <a:pt x="256" y="232"/>
                  </a:cubicBezTo>
                  <a:cubicBezTo>
                    <a:pt x="256" y="231"/>
                    <a:pt x="256" y="231"/>
                    <a:pt x="256" y="231"/>
                  </a:cubicBezTo>
                  <a:cubicBezTo>
                    <a:pt x="256" y="231"/>
                    <a:pt x="256" y="231"/>
                    <a:pt x="256" y="231"/>
                  </a:cubicBezTo>
                  <a:cubicBezTo>
                    <a:pt x="256" y="231"/>
                    <a:pt x="256" y="231"/>
                    <a:pt x="256" y="231"/>
                  </a:cubicBezTo>
                  <a:cubicBezTo>
                    <a:pt x="256" y="231"/>
                    <a:pt x="256" y="231"/>
                    <a:pt x="256" y="231"/>
                  </a:cubicBezTo>
                  <a:cubicBezTo>
                    <a:pt x="256" y="231"/>
                    <a:pt x="256" y="230"/>
                    <a:pt x="256" y="230"/>
                  </a:cubicBezTo>
                  <a:cubicBezTo>
                    <a:pt x="256" y="230"/>
                    <a:pt x="256" y="230"/>
                    <a:pt x="256" y="230"/>
                  </a:cubicBezTo>
                  <a:cubicBezTo>
                    <a:pt x="256" y="230"/>
                    <a:pt x="256" y="230"/>
                    <a:pt x="256" y="230"/>
                  </a:cubicBezTo>
                  <a:cubicBezTo>
                    <a:pt x="256" y="230"/>
                    <a:pt x="256" y="230"/>
                    <a:pt x="256" y="230"/>
                  </a:cubicBezTo>
                  <a:cubicBezTo>
                    <a:pt x="256" y="230"/>
                    <a:pt x="256" y="230"/>
                    <a:pt x="256" y="229"/>
                  </a:cubicBezTo>
                  <a:cubicBezTo>
                    <a:pt x="256" y="229"/>
                    <a:pt x="256" y="229"/>
                    <a:pt x="256" y="229"/>
                  </a:cubicBezTo>
                  <a:cubicBezTo>
                    <a:pt x="256" y="229"/>
                    <a:pt x="256" y="229"/>
                    <a:pt x="256" y="229"/>
                  </a:cubicBezTo>
                  <a:cubicBezTo>
                    <a:pt x="256" y="229"/>
                    <a:pt x="256" y="229"/>
                    <a:pt x="256" y="229"/>
                  </a:cubicBezTo>
                  <a:cubicBezTo>
                    <a:pt x="256" y="229"/>
                    <a:pt x="256" y="229"/>
                    <a:pt x="256" y="228"/>
                  </a:cubicBezTo>
                  <a:cubicBezTo>
                    <a:pt x="256" y="228"/>
                    <a:pt x="256" y="228"/>
                    <a:pt x="256" y="228"/>
                  </a:cubicBezTo>
                  <a:cubicBezTo>
                    <a:pt x="256" y="228"/>
                    <a:pt x="256" y="228"/>
                    <a:pt x="256" y="228"/>
                  </a:cubicBezTo>
                  <a:cubicBezTo>
                    <a:pt x="256" y="228"/>
                    <a:pt x="256" y="228"/>
                    <a:pt x="256" y="228"/>
                  </a:cubicBezTo>
                  <a:cubicBezTo>
                    <a:pt x="256" y="228"/>
                    <a:pt x="256" y="228"/>
                    <a:pt x="256" y="228"/>
                  </a:cubicBezTo>
                  <a:cubicBezTo>
                    <a:pt x="256" y="228"/>
                    <a:pt x="256" y="228"/>
                    <a:pt x="256" y="227"/>
                  </a:cubicBezTo>
                  <a:cubicBezTo>
                    <a:pt x="256" y="227"/>
                    <a:pt x="256" y="227"/>
                    <a:pt x="256" y="227"/>
                  </a:cubicBezTo>
                  <a:cubicBezTo>
                    <a:pt x="256" y="227"/>
                    <a:pt x="256" y="227"/>
                    <a:pt x="256" y="227"/>
                  </a:cubicBezTo>
                  <a:cubicBezTo>
                    <a:pt x="256" y="227"/>
                    <a:pt x="256" y="227"/>
                    <a:pt x="256" y="227"/>
                  </a:cubicBezTo>
                  <a:cubicBezTo>
                    <a:pt x="256" y="227"/>
                    <a:pt x="256" y="227"/>
                    <a:pt x="256" y="227"/>
                  </a:cubicBezTo>
                  <a:cubicBezTo>
                    <a:pt x="256" y="226"/>
                    <a:pt x="256" y="226"/>
                    <a:pt x="256" y="226"/>
                  </a:cubicBezTo>
                  <a:cubicBezTo>
                    <a:pt x="256" y="226"/>
                    <a:pt x="256" y="226"/>
                    <a:pt x="256" y="226"/>
                  </a:cubicBezTo>
                  <a:cubicBezTo>
                    <a:pt x="256" y="226"/>
                    <a:pt x="256" y="226"/>
                    <a:pt x="256" y="226"/>
                  </a:cubicBezTo>
                  <a:cubicBezTo>
                    <a:pt x="256" y="226"/>
                    <a:pt x="256" y="226"/>
                    <a:pt x="256" y="226"/>
                  </a:cubicBezTo>
                  <a:cubicBezTo>
                    <a:pt x="256" y="225"/>
                    <a:pt x="256" y="225"/>
                    <a:pt x="256" y="225"/>
                  </a:cubicBezTo>
                  <a:cubicBezTo>
                    <a:pt x="256" y="225"/>
                    <a:pt x="256" y="225"/>
                    <a:pt x="256" y="225"/>
                  </a:cubicBezTo>
                  <a:cubicBezTo>
                    <a:pt x="256" y="225"/>
                    <a:pt x="256" y="225"/>
                    <a:pt x="256" y="224"/>
                  </a:cubicBezTo>
                  <a:cubicBezTo>
                    <a:pt x="256" y="224"/>
                    <a:pt x="256" y="224"/>
                    <a:pt x="256" y="224"/>
                  </a:cubicBezTo>
                  <a:cubicBezTo>
                    <a:pt x="256" y="224"/>
                    <a:pt x="256" y="224"/>
                    <a:pt x="256" y="224"/>
                  </a:cubicBezTo>
                  <a:cubicBezTo>
                    <a:pt x="256" y="224"/>
                    <a:pt x="256" y="224"/>
                    <a:pt x="256" y="224"/>
                  </a:cubicBezTo>
                  <a:cubicBezTo>
                    <a:pt x="256" y="224"/>
                    <a:pt x="256" y="224"/>
                    <a:pt x="256" y="224"/>
                  </a:cubicBezTo>
                  <a:cubicBezTo>
                    <a:pt x="256" y="224"/>
                    <a:pt x="256" y="223"/>
                    <a:pt x="256" y="223"/>
                  </a:cubicBezTo>
                  <a:cubicBezTo>
                    <a:pt x="256" y="223"/>
                    <a:pt x="256" y="223"/>
                    <a:pt x="256" y="223"/>
                  </a:cubicBezTo>
                  <a:cubicBezTo>
                    <a:pt x="256" y="223"/>
                    <a:pt x="256" y="223"/>
                    <a:pt x="256" y="223"/>
                  </a:cubicBezTo>
                  <a:cubicBezTo>
                    <a:pt x="256" y="223"/>
                    <a:pt x="256" y="223"/>
                    <a:pt x="256" y="223"/>
                  </a:cubicBezTo>
                  <a:cubicBezTo>
                    <a:pt x="256" y="223"/>
                    <a:pt x="256" y="223"/>
                    <a:pt x="256" y="223"/>
                  </a:cubicBezTo>
                  <a:cubicBezTo>
                    <a:pt x="256" y="222"/>
                    <a:pt x="256" y="222"/>
                    <a:pt x="256" y="222"/>
                  </a:cubicBezTo>
                  <a:cubicBezTo>
                    <a:pt x="256" y="222"/>
                    <a:pt x="256" y="222"/>
                    <a:pt x="256" y="222"/>
                  </a:cubicBezTo>
                  <a:cubicBezTo>
                    <a:pt x="256" y="222"/>
                    <a:pt x="256" y="222"/>
                    <a:pt x="256" y="222"/>
                  </a:cubicBezTo>
                  <a:cubicBezTo>
                    <a:pt x="256" y="222"/>
                    <a:pt x="256" y="222"/>
                    <a:pt x="256" y="222"/>
                  </a:cubicBezTo>
                  <a:cubicBezTo>
                    <a:pt x="256" y="222"/>
                    <a:pt x="256" y="221"/>
                    <a:pt x="256" y="221"/>
                  </a:cubicBezTo>
                  <a:cubicBezTo>
                    <a:pt x="256" y="221"/>
                    <a:pt x="256" y="221"/>
                    <a:pt x="256" y="221"/>
                  </a:cubicBezTo>
                  <a:cubicBezTo>
                    <a:pt x="256" y="221"/>
                    <a:pt x="256" y="221"/>
                    <a:pt x="256" y="221"/>
                  </a:cubicBezTo>
                  <a:cubicBezTo>
                    <a:pt x="256" y="221"/>
                    <a:pt x="256" y="221"/>
                    <a:pt x="256" y="221"/>
                  </a:cubicBezTo>
                  <a:cubicBezTo>
                    <a:pt x="256" y="221"/>
                    <a:pt x="256" y="220"/>
                    <a:pt x="256" y="220"/>
                  </a:cubicBezTo>
                  <a:cubicBezTo>
                    <a:pt x="256" y="220"/>
                    <a:pt x="256" y="220"/>
                    <a:pt x="256" y="220"/>
                  </a:cubicBezTo>
                  <a:cubicBezTo>
                    <a:pt x="256" y="220"/>
                    <a:pt x="256" y="220"/>
                    <a:pt x="256" y="220"/>
                  </a:cubicBezTo>
                  <a:cubicBezTo>
                    <a:pt x="256" y="220"/>
                    <a:pt x="256" y="220"/>
                    <a:pt x="256" y="220"/>
                  </a:cubicBezTo>
                  <a:cubicBezTo>
                    <a:pt x="256" y="220"/>
                    <a:pt x="256" y="220"/>
                    <a:pt x="256" y="220"/>
                  </a:cubicBezTo>
                  <a:cubicBezTo>
                    <a:pt x="256" y="219"/>
                    <a:pt x="256" y="219"/>
                    <a:pt x="256" y="219"/>
                  </a:cubicBezTo>
                  <a:cubicBezTo>
                    <a:pt x="256" y="219"/>
                    <a:pt x="256" y="219"/>
                    <a:pt x="256" y="219"/>
                  </a:cubicBezTo>
                  <a:cubicBezTo>
                    <a:pt x="256" y="219"/>
                    <a:pt x="256" y="219"/>
                    <a:pt x="256" y="219"/>
                  </a:cubicBezTo>
                  <a:cubicBezTo>
                    <a:pt x="255" y="219"/>
                    <a:pt x="255" y="219"/>
                    <a:pt x="255" y="219"/>
                  </a:cubicBezTo>
                  <a:cubicBezTo>
                    <a:pt x="255" y="219"/>
                    <a:pt x="255" y="219"/>
                    <a:pt x="255" y="218"/>
                  </a:cubicBezTo>
                  <a:cubicBezTo>
                    <a:pt x="255" y="218"/>
                    <a:pt x="255" y="218"/>
                    <a:pt x="255" y="218"/>
                  </a:cubicBezTo>
                  <a:cubicBezTo>
                    <a:pt x="255" y="218"/>
                    <a:pt x="255" y="218"/>
                    <a:pt x="255" y="218"/>
                  </a:cubicBezTo>
                  <a:cubicBezTo>
                    <a:pt x="255" y="218"/>
                    <a:pt x="255" y="218"/>
                    <a:pt x="255" y="218"/>
                  </a:cubicBezTo>
                  <a:cubicBezTo>
                    <a:pt x="255" y="218"/>
                    <a:pt x="255" y="218"/>
                    <a:pt x="255" y="217"/>
                  </a:cubicBezTo>
                  <a:cubicBezTo>
                    <a:pt x="255" y="217"/>
                    <a:pt x="255" y="217"/>
                    <a:pt x="255" y="217"/>
                  </a:cubicBezTo>
                  <a:cubicBezTo>
                    <a:pt x="255" y="217"/>
                    <a:pt x="255" y="217"/>
                    <a:pt x="255" y="217"/>
                  </a:cubicBezTo>
                  <a:cubicBezTo>
                    <a:pt x="255" y="217"/>
                    <a:pt x="255" y="217"/>
                    <a:pt x="255" y="217"/>
                  </a:cubicBezTo>
                  <a:cubicBezTo>
                    <a:pt x="255" y="217"/>
                    <a:pt x="255" y="217"/>
                    <a:pt x="255" y="217"/>
                  </a:cubicBezTo>
                  <a:cubicBezTo>
                    <a:pt x="255" y="217"/>
                    <a:pt x="255" y="216"/>
                    <a:pt x="255" y="216"/>
                  </a:cubicBezTo>
                  <a:cubicBezTo>
                    <a:pt x="255" y="216"/>
                    <a:pt x="255" y="216"/>
                    <a:pt x="255" y="216"/>
                  </a:cubicBezTo>
                  <a:cubicBezTo>
                    <a:pt x="255" y="216"/>
                    <a:pt x="255" y="216"/>
                    <a:pt x="255" y="216"/>
                  </a:cubicBezTo>
                  <a:cubicBezTo>
                    <a:pt x="255" y="216"/>
                    <a:pt x="255" y="216"/>
                    <a:pt x="255" y="216"/>
                  </a:cubicBezTo>
                  <a:cubicBezTo>
                    <a:pt x="255" y="216"/>
                    <a:pt x="255" y="216"/>
                    <a:pt x="255" y="216"/>
                  </a:cubicBezTo>
                  <a:cubicBezTo>
                    <a:pt x="255" y="215"/>
                    <a:pt x="255" y="215"/>
                    <a:pt x="255" y="215"/>
                  </a:cubicBezTo>
                  <a:cubicBezTo>
                    <a:pt x="255" y="215"/>
                    <a:pt x="255" y="215"/>
                    <a:pt x="255" y="215"/>
                  </a:cubicBezTo>
                  <a:cubicBezTo>
                    <a:pt x="255" y="215"/>
                    <a:pt x="255" y="215"/>
                    <a:pt x="255" y="215"/>
                  </a:cubicBezTo>
                  <a:cubicBezTo>
                    <a:pt x="255" y="215"/>
                    <a:pt x="255" y="215"/>
                    <a:pt x="255" y="215"/>
                  </a:cubicBezTo>
                  <a:cubicBezTo>
                    <a:pt x="255" y="215"/>
                    <a:pt x="255" y="215"/>
                    <a:pt x="255" y="214"/>
                  </a:cubicBezTo>
                  <a:cubicBezTo>
                    <a:pt x="255" y="214"/>
                    <a:pt x="255" y="214"/>
                    <a:pt x="255" y="214"/>
                  </a:cubicBezTo>
                  <a:cubicBezTo>
                    <a:pt x="255" y="214"/>
                    <a:pt x="255" y="214"/>
                    <a:pt x="255" y="214"/>
                  </a:cubicBezTo>
                  <a:cubicBezTo>
                    <a:pt x="255" y="214"/>
                    <a:pt x="255" y="214"/>
                    <a:pt x="255" y="214"/>
                  </a:cubicBezTo>
                  <a:cubicBezTo>
                    <a:pt x="255" y="214"/>
                    <a:pt x="255" y="213"/>
                    <a:pt x="255" y="213"/>
                  </a:cubicBezTo>
                  <a:cubicBezTo>
                    <a:pt x="255" y="213"/>
                    <a:pt x="255" y="213"/>
                    <a:pt x="255" y="213"/>
                  </a:cubicBezTo>
                  <a:cubicBezTo>
                    <a:pt x="255" y="213"/>
                    <a:pt x="255" y="213"/>
                    <a:pt x="255" y="213"/>
                  </a:cubicBezTo>
                  <a:cubicBezTo>
                    <a:pt x="255" y="213"/>
                    <a:pt x="255" y="213"/>
                    <a:pt x="255" y="213"/>
                  </a:cubicBezTo>
                  <a:cubicBezTo>
                    <a:pt x="255" y="213"/>
                    <a:pt x="255" y="213"/>
                    <a:pt x="255" y="213"/>
                  </a:cubicBezTo>
                  <a:cubicBezTo>
                    <a:pt x="255" y="213"/>
                    <a:pt x="255" y="212"/>
                    <a:pt x="255" y="212"/>
                  </a:cubicBezTo>
                  <a:cubicBezTo>
                    <a:pt x="255" y="212"/>
                    <a:pt x="255" y="212"/>
                    <a:pt x="255" y="212"/>
                  </a:cubicBezTo>
                  <a:cubicBezTo>
                    <a:pt x="255" y="212"/>
                    <a:pt x="255" y="212"/>
                    <a:pt x="255" y="212"/>
                  </a:cubicBezTo>
                  <a:cubicBezTo>
                    <a:pt x="255" y="212"/>
                    <a:pt x="255" y="212"/>
                    <a:pt x="255" y="212"/>
                  </a:cubicBezTo>
                  <a:cubicBezTo>
                    <a:pt x="255" y="212"/>
                    <a:pt x="255" y="212"/>
                    <a:pt x="255" y="212"/>
                  </a:cubicBezTo>
                  <a:cubicBezTo>
                    <a:pt x="255" y="211"/>
                    <a:pt x="255" y="211"/>
                    <a:pt x="255" y="211"/>
                  </a:cubicBezTo>
                  <a:cubicBezTo>
                    <a:pt x="255" y="211"/>
                    <a:pt x="255" y="211"/>
                    <a:pt x="255" y="211"/>
                  </a:cubicBezTo>
                  <a:cubicBezTo>
                    <a:pt x="255" y="211"/>
                    <a:pt x="255" y="211"/>
                    <a:pt x="255" y="211"/>
                  </a:cubicBezTo>
                  <a:cubicBezTo>
                    <a:pt x="255" y="211"/>
                    <a:pt x="255" y="211"/>
                    <a:pt x="255" y="211"/>
                  </a:cubicBezTo>
                  <a:cubicBezTo>
                    <a:pt x="255" y="211"/>
                    <a:pt x="255" y="210"/>
                    <a:pt x="255" y="210"/>
                  </a:cubicBezTo>
                  <a:cubicBezTo>
                    <a:pt x="255" y="210"/>
                    <a:pt x="255" y="210"/>
                    <a:pt x="255" y="210"/>
                  </a:cubicBezTo>
                  <a:cubicBezTo>
                    <a:pt x="255" y="210"/>
                    <a:pt x="255" y="210"/>
                    <a:pt x="255" y="210"/>
                  </a:cubicBezTo>
                  <a:cubicBezTo>
                    <a:pt x="255" y="210"/>
                    <a:pt x="255" y="210"/>
                    <a:pt x="255" y="210"/>
                  </a:cubicBezTo>
                  <a:cubicBezTo>
                    <a:pt x="255" y="210"/>
                    <a:pt x="255" y="209"/>
                    <a:pt x="255" y="209"/>
                  </a:cubicBezTo>
                  <a:cubicBezTo>
                    <a:pt x="255" y="209"/>
                    <a:pt x="255" y="209"/>
                    <a:pt x="255" y="209"/>
                  </a:cubicBezTo>
                  <a:cubicBezTo>
                    <a:pt x="255" y="209"/>
                    <a:pt x="255" y="209"/>
                    <a:pt x="255" y="209"/>
                  </a:cubicBezTo>
                  <a:cubicBezTo>
                    <a:pt x="255" y="209"/>
                    <a:pt x="255" y="209"/>
                    <a:pt x="255" y="209"/>
                  </a:cubicBezTo>
                  <a:cubicBezTo>
                    <a:pt x="255" y="209"/>
                    <a:pt x="255" y="209"/>
                    <a:pt x="255" y="209"/>
                  </a:cubicBezTo>
                  <a:cubicBezTo>
                    <a:pt x="255" y="208"/>
                    <a:pt x="255" y="208"/>
                    <a:pt x="255" y="208"/>
                  </a:cubicBezTo>
                  <a:cubicBezTo>
                    <a:pt x="255" y="208"/>
                    <a:pt x="255" y="208"/>
                    <a:pt x="255" y="208"/>
                  </a:cubicBezTo>
                  <a:cubicBezTo>
                    <a:pt x="255" y="208"/>
                    <a:pt x="255" y="208"/>
                    <a:pt x="255" y="208"/>
                  </a:cubicBezTo>
                  <a:cubicBezTo>
                    <a:pt x="255" y="208"/>
                    <a:pt x="255" y="208"/>
                    <a:pt x="255" y="208"/>
                  </a:cubicBezTo>
                  <a:cubicBezTo>
                    <a:pt x="255" y="208"/>
                    <a:pt x="255" y="208"/>
                    <a:pt x="255" y="208"/>
                  </a:cubicBezTo>
                  <a:cubicBezTo>
                    <a:pt x="255" y="207"/>
                    <a:pt x="255" y="207"/>
                    <a:pt x="255" y="207"/>
                  </a:cubicBezTo>
                  <a:cubicBezTo>
                    <a:pt x="255" y="207"/>
                    <a:pt x="255" y="207"/>
                    <a:pt x="255" y="207"/>
                  </a:cubicBezTo>
                  <a:cubicBezTo>
                    <a:pt x="254" y="207"/>
                    <a:pt x="254" y="206"/>
                    <a:pt x="254" y="206"/>
                  </a:cubicBezTo>
                  <a:cubicBezTo>
                    <a:pt x="254" y="206"/>
                    <a:pt x="254" y="206"/>
                    <a:pt x="254" y="206"/>
                  </a:cubicBezTo>
                  <a:cubicBezTo>
                    <a:pt x="254" y="206"/>
                    <a:pt x="254" y="206"/>
                    <a:pt x="254" y="206"/>
                  </a:cubicBezTo>
                  <a:cubicBezTo>
                    <a:pt x="254" y="206"/>
                    <a:pt x="254" y="206"/>
                    <a:pt x="254" y="206"/>
                  </a:cubicBezTo>
                  <a:cubicBezTo>
                    <a:pt x="254" y="206"/>
                    <a:pt x="254" y="205"/>
                    <a:pt x="254" y="205"/>
                  </a:cubicBezTo>
                  <a:cubicBezTo>
                    <a:pt x="254" y="205"/>
                    <a:pt x="254" y="205"/>
                    <a:pt x="254" y="205"/>
                  </a:cubicBezTo>
                  <a:cubicBezTo>
                    <a:pt x="254" y="205"/>
                    <a:pt x="254" y="205"/>
                    <a:pt x="254" y="205"/>
                  </a:cubicBezTo>
                  <a:cubicBezTo>
                    <a:pt x="254" y="205"/>
                    <a:pt x="254" y="205"/>
                    <a:pt x="254" y="205"/>
                  </a:cubicBezTo>
                  <a:cubicBezTo>
                    <a:pt x="254" y="205"/>
                    <a:pt x="254" y="205"/>
                    <a:pt x="254" y="205"/>
                  </a:cubicBezTo>
                  <a:cubicBezTo>
                    <a:pt x="254" y="205"/>
                    <a:pt x="254" y="204"/>
                    <a:pt x="254" y="204"/>
                  </a:cubicBezTo>
                  <a:cubicBezTo>
                    <a:pt x="254" y="204"/>
                    <a:pt x="254" y="204"/>
                    <a:pt x="254" y="204"/>
                  </a:cubicBezTo>
                  <a:cubicBezTo>
                    <a:pt x="254" y="204"/>
                    <a:pt x="254" y="204"/>
                    <a:pt x="254" y="204"/>
                  </a:cubicBezTo>
                  <a:cubicBezTo>
                    <a:pt x="254" y="204"/>
                    <a:pt x="254" y="204"/>
                    <a:pt x="254" y="204"/>
                  </a:cubicBezTo>
                  <a:cubicBezTo>
                    <a:pt x="254" y="204"/>
                    <a:pt x="254" y="204"/>
                    <a:pt x="254" y="204"/>
                  </a:cubicBezTo>
                  <a:cubicBezTo>
                    <a:pt x="254" y="203"/>
                    <a:pt x="254" y="203"/>
                    <a:pt x="254" y="202"/>
                  </a:cubicBezTo>
                  <a:cubicBezTo>
                    <a:pt x="254" y="202"/>
                    <a:pt x="254" y="202"/>
                    <a:pt x="254" y="202"/>
                  </a:cubicBezTo>
                  <a:cubicBezTo>
                    <a:pt x="254" y="202"/>
                    <a:pt x="254" y="202"/>
                    <a:pt x="254" y="202"/>
                  </a:cubicBezTo>
                  <a:cubicBezTo>
                    <a:pt x="254" y="202"/>
                    <a:pt x="254" y="202"/>
                    <a:pt x="254" y="202"/>
                  </a:cubicBezTo>
                  <a:cubicBezTo>
                    <a:pt x="254" y="202"/>
                    <a:pt x="254" y="201"/>
                    <a:pt x="254" y="201"/>
                  </a:cubicBezTo>
                  <a:cubicBezTo>
                    <a:pt x="254" y="201"/>
                    <a:pt x="254" y="201"/>
                    <a:pt x="254" y="201"/>
                  </a:cubicBezTo>
                  <a:cubicBezTo>
                    <a:pt x="254" y="201"/>
                    <a:pt x="254" y="201"/>
                    <a:pt x="254" y="201"/>
                  </a:cubicBezTo>
                  <a:cubicBezTo>
                    <a:pt x="254" y="201"/>
                    <a:pt x="254" y="201"/>
                    <a:pt x="254" y="201"/>
                  </a:cubicBezTo>
                  <a:cubicBezTo>
                    <a:pt x="254" y="201"/>
                    <a:pt x="254" y="201"/>
                    <a:pt x="254" y="201"/>
                  </a:cubicBezTo>
                  <a:cubicBezTo>
                    <a:pt x="254" y="201"/>
                    <a:pt x="254" y="201"/>
                    <a:pt x="254" y="201"/>
                  </a:cubicBezTo>
                  <a:cubicBezTo>
                    <a:pt x="254" y="200"/>
                    <a:pt x="254" y="199"/>
                    <a:pt x="253" y="198"/>
                  </a:cubicBezTo>
                  <a:cubicBezTo>
                    <a:pt x="253" y="198"/>
                    <a:pt x="253" y="198"/>
                    <a:pt x="253" y="198"/>
                  </a:cubicBezTo>
                  <a:cubicBezTo>
                    <a:pt x="253" y="198"/>
                    <a:pt x="253" y="198"/>
                    <a:pt x="253" y="198"/>
                  </a:cubicBezTo>
                  <a:cubicBezTo>
                    <a:pt x="253" y="198"/>
                    <a:pt x="253" y="198"/>
                    <a:pt x="253" y="198"/>
                  </a:cubicBezTo>
                  <a:cubicBezTo>
                    <a:pt x="253" y="198"/>
                    <a:pt x="253" y="198"/>
                    <a:pt x="253" y="197"/>
                  </a:cubicBezTo>
                  <a:cubicBezTo>
                    <a:pt x="253" y="197"/>
                    <a:pt x="253" y="197"/>
                    <a:pt x="253" y="197"/>
                  </a:cubicBezTo>
                  <a:cubicBezTo>
                    <a:pt x="242" y="115"/>
                    <a:pt x="194" y="43"/>
                    <a:pt x="127" y="0"/>
                  </a:cubicBezTo>
                </a:path>
              </a:pathLst>
            </a:custGeom>
            <a:solidFill>
              <a:srgbClr val="25B0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86" name="Freeform 3087">
              <a:extLst>
                <a:ext uri="{FF2B5EF4-FFF2-40B4-BE49-F238E27FC236}">
                  <a16:creationId xmlns:a16="http://schemas.microsoft.com/office/drawing/2014/main" id="{EC6A8852-EE83-B6AD-4423-9CAA7E0B9179}"/>
                </a:ext>
              </a:extLst>
            </p:cNvPr>
            <p:cNvSpPr>
              <a:spLocks/>
            </p:cNvSpPr>
            <p:nvPr/>
          </p:nvSpPr>
          <p:spPr bwMode="auto">
            <a:xfrm>
              <a:off x="5511800" y="3657600"/>
              <a:ext cx="19050" cy="6350"/>
            </a:xfrm>
            <a:custGeom>
              <a:avLst/>
              <a:gdLst>
                <a:gd name="T0" fmla="*/ 22 w 23"/>
                <a:gd name="T1" fmla="*/ 0 h 9"/>
                <a:gd name="T2" fmla="*/ 0 w 23"/>
                <a:gd name="T3" fmla="*/ 9 h 9"/>
                <a:gd name="T4" fmla="*/ 1 w 23"/>
                <a:gd name="T5" fmla="*/ 9 h 9"/>
                <a:gd name="T6" fmla="*/ 15 w 23"/>
                <a:gd name="T7" fmla="*/ 8 h 9"/>
                <a:gd name="T8" fmla="*/ 18 w 23"/>
                <a:gd name="T9" fmla="*/ 7 h 9"/>
                <a:gd name="T10" fmla="*/ 21 w 23"/>
                <a:gd name="T11" fmla="*/ 4 h 9"/>
                <a:gd name="T12" fmla="*/ 22 w 23"/>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23" h="9">
                  <a:moveTo>
                    <a:pt x="22" y="0"/>
                  </a:moveTo>
                  <a:cubicBezTo>
                    <a:pt x="15" y="3"/>
                    <a:pt x="8" y="6"/>
                    <a:pt x="0" y="9"/>
                  </a:cubicBezTo>
                  <a:cubicBezTo>
                    <a:pt x="1" y="9"/>
                    <a:pt x="1" y="9"/>
                    <a:pt x="1" y="9"/>
                  </a:cubicBezTo>
                  <a:cubicBezTo>
                    <a:pt x="5" y="9"/>
                    <a:pt x="10" y="8"/>
                    <a:pt x="15" y="8"/>
                  </a:cubicBezTo>
                  <a:cubicBezTo>
                    <a:pt x="16" y="7"/>
                    <a:pt x="17" y="7"/>
                    <a:pt x="18" y="7"/>
                  </a:cubicBezTo>
                  <a:cubicBezTo>
                    <a:pt x="19" y="6"/>
                    <a:pt x="20" y="5"/>
                    <a:pt x="21" y="4"/>
                  </a:cubicBezTo>
                  <a:cubicBezTo>
                    <a:pt x="23" y="4"/>
                    <a:pt x="23" y="3"/>
                    <a:pt x="22" y="0"/>
                  </a:cubicBezTo>
                </a:path>
              </a:pathLst>
            </a:custGeom>
            <a:solidFill>
              <a:srgbClr val="CF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87" name="Freeform 3088">
              <a:extLst>
                <a:ext uri="{FF2B5EF4-FFF2-40B4-BE49-F238E27FC236}">
                  <a16:creationId xmlns:a16="http://schemas.microsoft.com/office/drawing/2014/main" id="{CD40D225-0431-A8E3-1D1D-D32028E57FC7}"/>
                </a:ext>
              </a:extLst>
            </p:cNvPr>
            <p:cNvSpPr>
              <a:spLocks/>
            </p:cNvSpPr>
            <p:nvPr/>
          </p:nvSpPr>
          <p:spPr bwMode="auto">
            <a:xfrm>
              <a:off x="5576888" y="3244850"/>
              <a:ext cx="15875" cy="17463"/>
            </a:xfrm>
            <a:custGeom>
              <a:avLst/>
              <a:gdLst>
                <a:gd name="T0" fmla="*/ 0 w 20"/>
                <a:gd name="T1" fmla="*/ 0 h 21"/>
                <a:gd name="T2" fmla="*/ 18 w 20"/>
                <a:gd name="T3" fmla="*/ 21 h 21"/>
                <a:gd name="T4" fmla="*/ 19 w 20"/>
                <a:gd name="T5" fmla="*/ 12 h 21"/>
                <a:gd name="T6" fmla="*/ 0 w 20"/>
                <a:gd name="T7" fmla="*/ 0 h 21"/>
              </a:gdLst>
              <a:ahLst/>
              <a:cxnLst>
                <a:cxn ang="0">
                  <a:pos x="T0" y="T1"/>
                </a:cxn>
                <a:cxn ang="0">
                  <a:pos x="T2" y="T3"/>
                </a:cxn>
                <a:cxn ang="0">
                  <a:pos x="T4" y="T5"/>
                </a:cxn>
                <a:cxn ang="0">
                  <a:pos x="T6" y="T7"/>
                </a:cxn>
              </a:cxnLst>
              <a:rect l="0" t="0" r="r" b="b"/>
              <a:pathLst>
                <a:path w="20" h="21">
                  <a:moveTo>
                    <a:pt x="0" y="0"/>
                  </a:moveTo>
                  <a:cubicBezTo>
                    <a:pt x="6" y="7"/>
                    <a:pt x="13" y="14"/>
                    <a:pt x="18" y="21"/>
                  </a:cubicBezTo>
                  <a:cubicBezTo>
                    <a:pt x="19" y="19"/>
                    <a:pt x="20" y="16"/>
                    <a:pt x="19" y="12"/>
                  </a:cubicBezTo>
                  <a:cubicBezTo>
                    <a:pt x="17" y="4"/>
                    <a:pt x="8" y="1"/>
                    <a:pt x="0" y="0"/>
                  </a:cubicBezTo>
                </a:path>
              </a:pathLst>
            </a:custGeom>
            <a:solidFill>
              <a:srgbClr val="25B0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88" name="Freeform 3089">
              <a:extLst>
                <a:ext uri="{FF2B5EF4-FFF2-40B4-BE49-F238E27FC236}">
                  <a16:creationId xmlns:a16="http://schemas.microsoft.com/office/drawing/2014/main" id="{B28C6C61-BEEB-628E-4375-4B5B0C85F6DB}"/>
                </a:ext>
              </a:extLst>
            </p:cNvPr>
            <p:cNvSpPr>
              <a:spLocks noEditPoints="1"/>
            </p:cNvSpPr>
            <p:nvPr/>
          </p:nvSpPr>
          <p:spPr bwMode="auto">
            <a:xfrm>
              <a:off x="5718175" y="3436938"/>
              <a:ext cx="0" cy="1588"/>
            </a:xfrm>
            <a:custGeom>
              <a:avLst/>
              <a:gdLst>
                <a:gd name="T0" fmla="*/ 0 h 1"/>
                <a:gd name="T1" fmla="*/ 0 h 1"/>
                <a:gd name="T2" fmla="*/ 1 h 1"/>
                <a:gd name="T3" fmla="*/ 0 h 1"/>
                <a:gd name="T4" fmla="*/ 0 h 1"/>
                <a:gd name="T5" fmla="*/ 0 h 1"/>
                <a:gd name="T6" fmla="*/ 0 h 1"/>
              </a:gdLst>
              <a:ahLst/>
              <a:cxnLst>
                <a:cxn ang="0">
                  <a:pos x="0" y="T0"/>
                </a:cxn>
                <a:cxn ang="0">
                  <a:pos x="0" y="T1"/>
                </a:cxn>
                <a:cxn ang="0">
                  <a:pos x="0" y="T2"/>
                </a:cxn>
                <a:cxn ang="0">
                  <a:pos x="0" y="T3"/>
                </a:cxn>
                <a:cxn ang="0">
                  <a:pos x="0" y="T4"/>
                </a:cxn>
                <a:cxn ang="0">
                  <a:pos x="0" y="T5"/>
                </a:cxn>
                <a:cxn ang="0">
                  <a:pos x="0" y="T6"/>
                </a:cxn>
              </a:cxnLst>
              <a:rect l="0" t="0" r="r" b="b"/>
              <a:pathLst>
                <a:path h="1">
                  <a:moveTo>
                    <a:pt x="0" y="0"/>
                  </a:moveTo>
                  <a:cubicBezTo>
                    <a:pt x="0" y="0"/>
                    <a:pt x="0" y="0"/>
                    <a:pt x="0" y="0"/>
                  </a:cubicBezTo>
                  <a:cubicBezTo>
                    <a:pt x="0" y="0"/>
                    <a:pt x="0" y="0"/>
                    <a:pt x="0" y="1"/>
                  </a:cubicBezTo>
                  <a:cubicBezTo>
                    <a:pt x="0" y="0"/>
                    <a:pt x="0" y="0"/>
                    <a:pt x="0" y="0"/>
                  </a:cubicBezTo>
                  <a:moveTo>
                    <a:pt x="0" y="0"/>
                  </a:moveTo>
                  <a:cubicBezTo>
                    <a:pt x="0" y="0"/>
                    <a:pt x="0" y="0"/>
                    <a:pt x="0" y="0"/>
                  </a:cubicBezTo>
                  <a:cubicBezTo>
                    <a:pt x="0" y="0"/>
                    <a:pt x="0" y="0"/>
                    <a:pt x="0" y="0"/>
                  </a:cubicBezTo>
                </a:path>
              </a:pathLst>
            </a:custGeom>
            <a:solidFill>
              <a:srgbClr val="265F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89" name="Freeform 3090">
              <a:extLst>
                <a:ext uri="{FF2B5EF4-FFF2-40B4-BE49-F238E27FC236}">
                  <a16:creationId xmlns:a16="http://schemas.microsoft.com/office/drawing/2014/main" id="{5602627C-3947-69A9-8B79-F3282CCDE4CE}"/>
                </a:ext>
              </a:extLst>
            </p:cNvPr>
            <p:cNvSpPr>
              <a:spLocks/>
            </p:cNvSpPr>
            <p:nvPr/>
          </p:nvSpPr>
          <p:spPr bwMode="auto">
            <a:xfrm>
              <a:off x="5718175" y="3436938"/>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solidFill>
              <a:srgbClr val="25B0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90" name="Freeform 3091">
              <a:extLst>
                <a:ext uri="{FF2B5EF4-FFF2-40B4-BE49-F238E27FC236}">
                  <a16:creationId xmlns:a16="http://schemas.microsoft.com/office/drawing/2014/main" id="{C0729A36-84B7-5EDD-CDBD-2365AC921AA1}"/>
                </a:ext>
              </a:extLst>
            </p:cNvPr>
            <p:cNvSpPr>
              <a:spLocks/>
            </p:cNvSpPr>
            <p:nvPr/>
          </p:nvSpPr>
          <p:spPr bwMode="auto">
            <a:xfrm>
              <a:off x="5718175" y="3438525"/>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solidFill>
              <a:srgbClr val="265F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91" name="Freeform 3092">
              <a:extLst>
                <a:ext uri="{FF2B5EF4-FFF2-40B4-BE49-F238E27FC236}">
                  <a16:creationId xmlns:a16="http://schemas.microsoft.com/office/drawing/2014/main" id="{8E7D1BC1-35A6-4E5E-F9CB-F9486B1E0E69}"/>
                </a:ext>
              </a:extLst>
            </p:cNvPr>
            <p:cNvSpPr>
              <a:spLocks/>
            </p:cNvSpPr>
            <p:nvPr/>
          </p:nvSpPr>
          <p:spPr bwMode="auto">
            <a:xfrm>
              <a:off x="5718175" y="3438525"/>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solidFill>
              <a:srgbClr val="25B0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92" name="Freeform 3093">
              <a:extLst>
                <a:ext uri="{FF2B5EF4-FFF2-40B4-BE49-F238E27FC236}">
                  <a16:creationId xmlns:a16="http://schemas.microsoft.com/office/drawing/2014/main" id="{0080DE30-0EAA-FEDA-1AEF-D86DDC14BC95}"/>
                </a:ext>
              </a:extLst>
            </p:cNvPr>
            <p:cNvSpPr>
              <a:spLocks/>
            </p:cNvSpPr>
            <p:nvPr/>
          </p:nvSpPr>
          <p:spPr bwMode="auto">
            <a:xfrm>
              <a:off x="5718175" y="3438525"/>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solidFill>
              <a:srgbClr val="265F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93" name="Freeform 3094">
              <a:extLst>
                <a:ext uri="{FF2B5EF4-FFF2-40B4-BE49-F238E27FC236}">
                  <a16:creationId xmlns:a16="http://schemas.microsoft.com/office/drawing/2014/main" id="{3AA476EC-F75F-E65F-A563-132E82B22622}"/>
                </a:ext>
              </a:extLst>
            </p:cNvPr>
            <p:cNvSpPr>
              <a:spLocks/>
            </p:cNvSpPr>
            <p:nvPr/>
          </p:nvSpPr>
          <p:spPr bwMode="auto">
            <a:xfrm>
              <a:off x="5718175" y="3438525"/>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solidFill>
              <a:srgbClr val="25B0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94" name="Freeform 3095">
              <a:extLst>
                <a:ext uri="{FF2B5EF4-FFF2-40B4-BE49-F238E27FC236}">
                  <a16:creationId xmlns:a16="http://schemas.microsoft.com/office/drawing/2014/main" id="{CCDF210A-1404-8E30-BC47-92DC15A4F2DE}"/>
                </a:ext>
              </a:extLst>
            </p:cNvPr>
            <p:cNvSpPr>
              <a:spLocks/>
            </p:cNvSpPr>
            <p:nvPr/>
          </p:nvSpPr>
          <p:spPr bwMode="auto">
            <a:xfrm>
              <a:off x="5718175" y="343852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path>
              </a:pathLst>
            </a:custGeom>
            <a:solidFill>
              <a:srgbClr val="265F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95" name="Oval 3096">
              <a:extLst>
                <a:ext uri="{FF2B5EF4-FFF2-40B4-BE49-F238E27FC236}">
                  <a16:creationId xmlns:a16="http://schemas.microsoft.com/office/drawing/2014/main" id="{59C7D5B0-CED7-1477-4E72-2DAA8C1CAA6C}"/>
                </a:ext>
              </a:extLst>
            </p:cNvPr>
            <p:cNvSpPr>
              <a:spLocks noChangeArrowheads="1"/>
            </p:cNvSpPr>
            <p:nvPr/>
          </p:nvSpPr>
          <p:spPr bwMode="auto">
            <a:xfrm>
              <a:off x="5718175" y="3438525"/>
              <a:ext cx="1588" cy="1588"/>
            </a:xfrm>
            <a:prstGeom prst="ellipse">
              <a:avLst/>
            </a:prstGeom>
            <a:solidFill>
              <a:srgbClr val="25B0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96" name="Freeform 3097">
              <a:extLst>
                <a:ext uri="{FF2B5EF4-FFF2-40B4-BE49-F238E27FC236}">
                  <a16:creationId xmlns:a16="http://schemas.microsoft.com/office/drawing/2014/main" id="{9EFC30C8-E6CD-8377-819E-1C262954C238}"/>
                </a:ext>
              </a:extLst>
            </p:cNvPr>
            <p:cNvSpPr>
              <a:spLocks/>
            </p:cNvSpPr>
            <p:nvPr/>
          </p:nvSpPr>
          <p:spPr bwMode="auto">
            <a:xfrm>
              <a:off x="5718175" y="343852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path>
              </a:pathLst>
            </a:custGeom>
            <a:solidFill>
              <a:srgbClr val="265F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97" name="Oval 3098">
              <a:extLst>
                <a:ext uri="{FF2B5EF4-FFF2-40B4-BE49-F238E27FC236}">
                  <a16:creationId xmlns:a16="http://schemas.microsoft.com/office/drawing/2014/main" id="{405D73A5-9230-DBFE-9643-2FCE9B27BF34}"/>
                </a:ext>
              </a:extLst>
            </p:cNvPr>
            <p:cNvSpPr>
              <a:spLocks noChangeArrowheads="1"/>
            </p:cNvSpPr>
            <p:nvPr/>
          </p:nvSpPr>
          <p:spPr bwMode="auto">
            <a:xfrm>
              <a:off x="5718175" y="3438525"/>
              <a:ext cx="1588" cy="1588"/>
            </a:xfrm>
            <a:prstGeom prst="ellipse">
              <a:avLst/>
            </a:prstGeom>
            <a:solidFill>
              <a:srgbClr val="25B0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98" name="Freeform 3099">
              <a:extLst>
                <a:ext uri="{FF2B5EF4-FFF2-40B4-BE49-F238E27FC236}">
                  <a16:creationId xmlns:a16="http://schemas.microsoft.com/office/drawing/2014/main" id="{05247103-0AD0-4FE0-6966-D950520F1E05}"/>
                </a:ext>
              </a:extLst>
            </p:cNvPr>
            <p:cNvSpPr>
              <a:spLocks/>
            </p:cNvSpPr>
            <p:nvPr/>
          </p:nvSpPr>
          <p:spPr bwMode="auto">
            <a:xfrm>
              <a:off x="5718175" y="344011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path>
              </a:pathLst>
            </a:custGeom>
            <a:solidFill>
              <a:srgbClr val="265F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99" name="Freeform 3100">
              <a:extLst>
                <a:ext uri="{FF2B5EF4-FFF2-40B4-BE49-F238E27FC236}">
                  <a16:creationId xmlns:a16="http://schemas.microsoft.com/office/drawing/2014/main" id="{9C4EDFA0-E61F-A46B-11DD-F05942FB7E49}"/>
                </a:ext>
              </a:extLst>
            </p:cNvPr>
            <p:cNvSpPr>
              <a:spLocks/>
            </p:cNvSpPr>
            <p:nvPr/>
          </p:nvSpPr>
          <p:spPr bwMode="auto">
            <a:xfrm>
              <a:off x="5718175" y="3438525"/>
              <a:ext cx="0" cy="1588"/>
            </a:xfrm>
            <a:custGeom>
              <a:avLst/>
              <a:gdLst>
                <a:gd name="T0" fmla="*/ 0 h 1"/>
                <a:gd name="T1" fmla="*/ 1 h 1"/>
                <a:gd name="T2" fmla="*/ 1 h 1"/>
                <a:gd name="T3" fmla="*/ 1 h 1"/>
                <a:gd name="T4" fmla="*/ 0 h 1"/>
              </a:gdLst>
              <a:ahLst/>
              <a:cxnLst>
                <a:cxn ang="0">
                  <a:pos x="0" y="T0"/>
                </a:cxn>
                <a:cxn ang="0">
                  <a:pos x="0" y="T1"/>
                </a:cxn>
                <a:cxn ang="0">
                  <a:pos x="0" y="T2"/>
                </a:cxn>
                <a:cxn ang="0">
                  <a:pos x="0" y="T3"/>
                </a:cxn>
                <a:cxn ang="0">
                  <a:pos x="0" y="T4"/>
                </a:cxn>
              </a:cxnLst>
              <a:rect l="0" t="0" r="r" b="b"/>
              <a:pathLst>
                <a:path h="1">
                  <a:moveTo>
                    <a:pt x="0" y="0"/>
                  </a:moveTo>
                  <a:cubicBezTo>
                    <a:pt x="0" y="1"/>
                    <a:pt x="0" y="1"/>
                    <a:pt x="0" y="1"/>
                  </a:cubicBezTo>
                  <a:cubicBezTo>
                    <a:pt x="0" y="1"/>
                    <a:pt x="0" y="1"/>
                    <a:pt x="0" y="1"/>
                  </a:cubicBezTo>
                  <a:cubicBezTo>
                    <a:pt x="0" y="1"/>
                    <a:pt x="0" y="1"/>
                    <a:pt x="0" y="1"/>
                  </a:cubicBezTo>
                  <a:cubicBezTo>
                    <a:pt x="0" y="0"/>
                    <a:pt x="0" y="0"/>
                    <a:pt x="0" y="0"/>
                  </a:cubicBezTo>
                </a:path>
              </a:pathLst>
            </a:custGeom>
            <a:solidFill>
              <a:srgbClr val="25B0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00" name="Freeform 3101">
              <a:extLst>
                <a:ext uri="{FF2B5EF4-FFF2-40B4-BE49-F238E27FC236}">
                  <a16:creationId xmlns:a16="http://schemas.microsoft.com/office/drawing/2014/main" id="{BF4C1711-600D-766D-E8DD-54720F9478B6}"/>
                </a:ext>
              </a:extLst>
            </p:cNvPr>
            <p:cNvSpPr>
              <a:spLocks/>
            </p:cNvSpPr>
            <p:nvPr/>
          </p:nvSpPr>
          <p:spPr bwMode="auto">
            <a:xfrm>
              <a:off x="5718175" y="344011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path>
              </a:pathLst>
            </a:custGeom>
            <a:solidFill>
              <a:srgbClr val="265F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01" name="Oval 3102">
              <a:extLst>
                <a:ext uri="{FF2B5EF4-FFF2-40B4-BE49-F238E27FC236}">
                  <a16:creationId xmlns:a16="http://schemas.microsoft.com/office/drawing/2014/main" id="{C2F6746D-EF3B-2E0F-37E4-E22152EF4377}"/>
                </a:ext>
              </a:extLst>
            </p:cNvPr>
            <p:cNvSpPr>
              <a:spLocks noChangeArrowheads="1"/>
            </p:cNvSpPr>
            <p:nvPr/>
          </p:nvSpPr>
          <p:spPr bwMode="auto">
            <a:xfrm>
              <a:off x="5718175" y="3440113"/>
              <a:ext cx="1588" cy="1588"/>
            </a:xfrm>
            <a:prstGeom prst="ellipse">
              <a:avLst/>
            </a:prstGeom>
            <a:solidFill>
              <a:srgbClr val="25B0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02" name="Freeform 3103">
              <a:extLst>
                <a:ext uri="{FF2B5EF4-FFF2-40B4-BE49-F238E27FC236}">
                  <a16:creationId xmlns:a16="http://schemas.microsoft.com/office/drawing/2014/main" id="{D3AD8403-59F3-BFCC-EC4F-F8C4D1D280A6}"/>
                </a:ext>
              </a:extLst>
            </p:cNvPr>
            <p:cNvSpPr>
              <a:spLocks/>
            </p:cNvSpPr>
            <p:nvPr/>
          </p:nvSpPr>
          <p:spPr bwMode="auto">
            <a:xfrm>
              <a:off x="5718175" y="3440113"/>
              <a:ext cx="0" cy="0"/>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path>
              </a:pathLst>
            </a:custGeom>
            <a:solidFill>
              <a:srgbClr val="265F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03" name="Freeform 3104">
              <a:extLst>
                <a:ext uri="{FF2B5EF4-FFF2-40B4-BE49-F238E27FC236}">
                  <a16:creationId xmlns:a16="http://schemas.microsoft.com/office/drawing/2014/main" id="{BCDBAABC-5EE9-2ED3-692F-760BF9408607}"/>
                </a:ext>
              </a:extLst>
            </p:cNvPr>
            <p:cNvSpPr>
              <a:spLocks/>
            </p:cNvSpPr>
            <p:nvPr/>
          </p:nvSpPr>
          <p:spPr bwMode="auto">
            <a:xfrm>
              <a:off x="5718175" y="3440113"/>
              <a:ext cx="0" cy="0"/>
            </a:xfrm>
            <a:custGeom>
              <a:avLst/>
              <a:gdLst>
                <a:gd name="T0" fmla="*/ 0 h 1"/>
                <a:gd name="T1" fmla="*/ 1 h 1"/>
                <a:gd name="T2" fmla="*/ 1 h 1"/>
                <a:gd name="T3" fmla="*/ 0 h 1"/>
                <a:gd name="T4" fmla="*/ 0 h 1"/>
              </a:gdLst>
              <a:ahLst/>
              <a:cxnLst>
                <a:cxn ang="0">
                  <a:pos x="0" y="T0"/>
                </a:cxn>
                <a:cxn ang="0">
                  <a:pos x="0" y="T1"/>
                </a:cxn>
                <a:cxn ang="0">
                  <a:pos x="0" y="T2"/>
                </a:cxn>
                <a:cxn ang="0">
                  <a:pos x="0" y="T3"/>
                </a:cxn>
                <a:cxn ang="0">
                  <a:pos x="0" y="T4"/>
                </a:cxn>
              </a:cxnLst>
              <a:rect l="0" t="0" r="r" b="b"/>
              <a:pathLst>
                <a:path h="1">
                  <a:moveTo>
                    <a:pt x="0" y="0"/>
                  </a:moveTo>
                  <a:cubicBezTo>
                    <a:pt x="0" y="0"/>
                    <a:pt x="0" y="1"/>
                    <a:pt x="0" y="1"/>
                  </a:cubicBezTo>
                  <a:cubicBezTo>
                    <a:pt x="0" y="1"/>
                    <a:pt x="0" y="1"/>
                    <a:pt x="0" y="1"/>
                  </a:cubicBezTo>
                  <a:cubicBezTo>
                    <a:pt x="0" y="1"/>
                    <a:pt x="0" y="0"/>
                    <a:pt x="0" y="0"/>
                  </a:cubicBezTo>
                  <a:cubicBezTo>
                    <a:pt x="0" y="0"/>
                    <a:pt x="0" y="0"/>
                    <a:pt x="0" y="0"/>
                  </a:cubicBezTo>
                </a:path>
              </a:pathLst>
            </a:custGeom>
            <a:solidFill>
              <a:srgbClr val="25B0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04" name="Freeform 3105">
              <a:extLst>
                <a:ext uri="{FF2B5EF4-FFF2-40B4-BE49-F238E27FC236}">
                  <a16:creationId xmlns:a16="http://schemas.microsoft.com/office/drawing/2014/main" id="{353443AB-DDE8-AAC2-7C89-4C762E7FA98E}"/>
                </a:ext>
              </a:extLst>
            </p:cNvPr>
            <p:cNvSpPr>
              <a:spLocks/>
            </p:cNvSpPr>
            <p:nvPr/>
          </p:nvSpPr>
          <p:spPr bwMode="auto">
            <a:xfrm>
              <a:off x="5567363" y="3225800"/>
              <a:ext cx="77788" cy="76200"/>
            </a:xfrm>
            <a:custGeom>
              <a:avLst/>
              <a:gdLst>
                <a:gd name="T0" fmla="*/ 12 w 95"/>
                <a:gd name="T1" fmla="*/ 0 h 94"/>
                <a:gd name="T2" fmla="*/ 5 w 95"/>
                <a:gd name="T3" fmla="*/ 11 h 94"/>
                <a:gd name="T4" fmla="*/ 0 w 95"/>
                <a:gd name="T5" fmla="*/ 13 h 94"/>
                <a:gd name="T6" fmla="*/ 11 w 95"/>
                <a:gd name="T7" fmla="*/ 23 h 94"/>
                <a:gd name="T8" fmla="*/ 30 w 95"/>
                <a:gd name="T9" fmla="*/ 35 h 94"/>
                <a:gd name="T10" fmla="*/ 29 w 95"/>
                <a:gd name="T11" fmla="*/ 44 h 94"/>
                <a:gd name="T12" fmla="*/ 61 w 95"/>
                <a:gd name="T13" fmla="*/ 94 h 94"/>
                <a:gd name="T14" fmla="*/ 61 w 95"/>
                <a:gd name="T15" fmla="*/ 92 h 94"/>
                <a:gd name="T16" fmla="*/ 66 w 95"/>
                <a:gd name="T17" fmla="*/ 84 h 94"/>
                <a:gd name="T18" fmla="*/ 68 w 95"/>
                <a:gd name="T19" fmla="*/ 85 h 94"/>
                <a:gd name="T20" fmla="*/ 71 w 95"/>
                <a:gd name="T21" fmla="*/ 85 h 94"/>
                <a:gd name="T22" fmla="*/ 75 w 95"/>
                <a:gd name="T23" fmla="*/ 85 h 94"/>
                <a:gd name="T24" fmla="*/ 78 w 95"/>
                <a:gd name="T25" fmla="*/ 84 h 94"/>
                <a:gd name="T26" fmla="*/ 80 w 95"/>
                <a:gd name="T27" fmla="*/ 85 h 94"/>
                <a:gd name="T28" fmla="*/ 83 w 95"/>
                <a:gd name="T29" fmla="*/ 85 h 94"/>
                <a:gd name="T30" fmla="*/ 95 w 95"/>
                <a:gd name="T31" fmla="*/ 79 h 94"/>
                <a:gd name="T32" fmla="*/ 87 w 95"/>
                <a:gd name="T33" fmla="*/ 65 h 94"/>
                <a:gd name="T34" fmla="*/ 92 w 95"/>
                <a:gd name="T35" fmla="*/ 54 h 94"/>
                <a:gd name="T36" fmla="*/ 90 w 95"/>
                <a:gd name="T37" fmla="*/ 49 h 94"/>
                <a:gd name="T38" fmla="*/ 56 w 95"/>
                <a:gd name="T39" fmla="*/ 23 h 94"/>
                <a:gd name="T40" fmla="*/ 56 w 95"/>
                <a:gd name="T41" fmla="*/ 23 h 94"/>
                <a:gd name="T42" fmla="*/ 56 w 95"/>
                <a:gd name="T43" fmla="*/ 23 h 94"/>
                <a:gd name="T44" fmla="*/ 12 w 95"/>
                <a:gd name="T45"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5" h="94">
                  <a:moveTo>
                    <a:pt x="12" y="0"/>
                  </a:moveTo>
                  <a:cubicBezTo>
                    <a:pt x="12" y="4"/>
                    <a:pt x="11" y="11"/>
                    <a:pt x="5" y="11"/>
                  </a:cubicBezTo>
                  <a:cubicBezTo>
                    <a:pt x="3" y="11"/>
                    <a:pt x="1" y="12"/>
                    <a:pt x="0" y="13"/>
                  </a:cubicBezTo>
                  <a:cubicBezTo>
                    <a:pt x="4" y="16"/>
                    <a:pt x="8" y="19"/>
                    <a:pt x="11" y="23"/>
                  </a:cubicBezTo>
                  <a:cubicBezTo>
                    <a:pt x="19" y="24"/>
                    <a:pt x="28" y="27"/>
                    <a:pt x="30" y="35"/>
                  </a:cubicBezTo>
                  <a:cubicBezTo>
                    <a:pt x="31" y="39"/>
                    <a:pt x="30" y="42"/>
                    <a:pt x="29" y="44"/>
                  </a:cubicBezTo>
                  <a:cubicBezTo>
                    <a:pt x="41" y="59"/>
                    <a:pt x="51" y="76"/>
                    <a:pt x="61" y="94"/>
                  </a:cubicBezTo>
                  <a:cubicBezTo>
                    <a:pt x="61" y="94"/>
                    <a:pt x="61" y="93"/>
                    <a:pt x="61" y="92"/>
                  </a:cubicBezTo>
                  <a:cubicBezTo>
                    <a:pt x="61" y="86"/>
                    <a:pt x="63" y="84"/>
                    <a:pt x="66" y="84"/>
                  </a:cubicBezTo>
                  <a:cubicBezTo>
                    <a:pt x="67" y="84"/>
                    <a:pt x="68" y="85"/>
                    <a:pt x="68" y="85"/>
                  </a:cubicBezTo>
                  <a:cubicBezTo>
                    <a:pt x="69" y="85"/>
                    <a:pt x="70" y="85"/>
                    <a:pt x="71" y="85"/>
                  </a:cubicBezTo>
                  <a:cubicBezTo>
                    <a:pt x="72" y="85"/>
                    <a:pt x="73" y="85"/>
                    <a:pt x="75" y="85"/>
                  </a:cubicBezTo>
                  <a:cubicBezTo>
                    <a:pt x="76" y="85"/>
                    <a:pt x="77" y="84"/>
                    <a:pt x="78" y="84"/>
                  </a:cubicBezTo>
                  <a:cubicBezTo>
                    <a:pt x="79" y="84"/>
                    <a:pt x="80" y="85"/>
                    <a:pt x="80" y="85"/>
                  </a:cubicBezTo>
                  <a:cubicBezTo>
                    <a:pt x="81" y="85"/>
                    <a:pt x="82" y="85"/>
                    <a:pt x="83" y="85"/>
                  </a:cubicBezTo>
                  <a:cubicBezTo>
                    <a:pt x="87" y="85"/>
                    <a:pt x="94" y="84"/>
                    <a:pt x="95" y="79"/>
                  </a:cubicBezTo>
                  <a:cubicBezTo>
                    <a:pt x="95" y="74"/>
                    <a:pt x="87" y="65"/>
                    <a:pt x="87" y="65"/>
                  </a:cubicBezTo>
                  <a:cubicBezTo>
                    <a:pt x="87" y="65"/>
                    <a:pt x="92" y="57"/>
                    <a:pt x="92" y="54"/>
                  </a:cubicBezTo>
                  <a:cubicBezTo>
                    <a:pt x="92" y="53"/>
                    <a:pt x="91" y="51"/>
                    <a:pt x="90" y="49"/>
                  </a:cubicBezTo>
                  <a:cubicBezTo>
                    <a:pt x="80" y="39"/>
                    <a:pt x="68" y="31"/>
                    <a:pt x="56" y="23"/>
                  </a:cubicBezTo>
                  <a:cubicBezTo>
                    <a:pt x="56" y="23"/>
                    <a:pt x="56" y="23"/>
                    <a:pt x="56" y="23"/>
                  </a:cubicBezTo>
                  <a:cubicBezTo>
                    <a:pt x="56" y="23"/>
                    <a:pt x="56" y="23"/>
                    <a:pt x="56" y="23"/>
                  </a:cubicBezTo>
                  <a:cubicBezTo>
                    <a:pt x="42" y="14"/>
                    <a:pt x="28" y="6"/>
                    <a:pt x="12" y="0"/>
                  </a:cubicBezTo>
                </a:path>
              </a:pathLst>
            </a:custGeom>
            <a:solidFill>
              <a:srgbClr val="CF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05" name="Freeform 3106">
              <a:extLst>
                <a:ext uri="{FF2B5EF4-FFF2-40B4-BE49-F238E27FC236}">
                  <a16:creationId xmlns:a16="http://schemas.microsoft.com/office/drawing/2014/main" id="{883ED2B8-A5CF-EA09-4C05-C18F94666B91}"/>
                </a:ext>
              </a:extLst>
            </p:cNvPr>
            <p:cNvSpPr>
              <a:spLocks/>
            </p:cNvSpPr>
            <p:nvPr/>
          </p:nvSpPr>
          <p:spPr bwMode="auto">
            <a:xfrm>
              <a:off x="5657850" y="3414713"/>
              <a:ext cx="60325" cy="109538"/>
            </a:xfrm>
            <a:custGeom>
              <a:avLst/>
              <a:gdLst>
                <a:gd name="T0" fmla="*/ 38 w 73"/>
                <a:gd name="T1" fmla="*/ 0 h 136"/>
                <a:gd name="T2" fmla="*/ 33 w 73"/>
                <a:gd name="T3" fmla="*/ 2 h 136"/>
                <a:gd name="T4" fmla="*/ 33 w 73"/>
                <a:gd name="T5" fmla="*/ 34 h 136"/>
                <a:gd name="T6" fmla="*/ 18 w 73"/>
                <a:gd name="T7" fmla="*/ 69 h 136"/>
                <a:gd name="T8" fmla="*/ 17 w 73"/>
                <a:gd name="T9" fmla="*/ 105 h 136"/>
                <a:gd name="T10" fmla="*/ 36 w 73"/>
                <a:gd name="T11" fmla="*/ 115 h 136"/>
                <a:gd name="T12" fmla="*/ 42 w 73"/>
                <a:gd name="T13" fmla="*/ 115 h 136"/>
                <a:gd name="T14" fmla="*/ 43 w 73"/>
                <a:gd name="T15" fmla="*/ 115 h 136"/>
                <a:gd name="T16" fmla="*/ 52 w 73"/>
                <a:gd name="T17" fmla="*/ 136 h 136"/>
                <a:gd name="T18" fmla="*/ 73 w 73"/>
                <a:gd name="T19" fmla="*/ 32 h 136"/>
                <a:gd name="T20" fmla="*/ 73 w 73"/>
                <a:gd name="T21" fmla="*/ 32 h 136"/>
                <a:gd name="T22" fmla="*/ 73 w 73"/>
                <a:gd name="T23" fmla="*/ 31 h 136"/>
                <a:gd name="T24" fmla="*/ 73 w 73"/>
                <a:gd name="T25" fmla="*/ 31 h 136"/>
                <a:gd name="T26" fmla="*/ 73 w 73"/>
                <a:gd name="T27" fmla="*/ 31 h 136"/>
                <a:gd name="T28" fmla="*/ 73 w 73"/>
                <a:gd name="T29" fmla="*/ 31 h 136"/>
                <a:gd name="T30" fmla="*/ 73 w 73"/>
                <a:gd name="T31" fmla="*/ 30 h 136"/>
                <a:gd name="T32" fmla="*/ 73 w 73"/>
                <a:gd name="T33" fmla="*/ 30 h 136"/>
                <a:gd name="T34" fmla="*/ 73 w 73"/>
                <a:gd name="T35" fmla="*/ 30 h 136"/>
                <a:gd name="T36" fmla="*/ 73 w 73"/>
                <a:gd name="T37" fmla="*/ 30 h 136"/>
                <a:gd name="T38" fmla="*/ 73 w 73"/>
                <a:gd name="T39" fmla="*/ 30 h 136"/>
                <a:gd name="T40" fmla="*/ 73 w 73"/>
                <a:gd name="T41" fmla="*/ 29 h 136"/>
                <a:gd name="T42" fmla="*/ 73 w 73"/>
                <a:gd name="T43" fmla="*/ 29 h 136"/>
                <a:gd name="T44" fmla="*/ 73 w 73"/>
                <a:gd name="T45" fmla="*/ 29 h 136"/>
                <a:gd name="T46" fmla="*/ 73 w 73"/>
                <a:gd name="T47" fmla="*/ 29 h 136"/>
                <a:gd name="T48" fmla="*/ 73 w 73"/>
                <a:gd name="T49" fmla="*/ 29 h 136"/>
                <a:gd name="T50" fmla="*/ 73 w 73"/>
                <a:gd name="T51" fmla="*/ 29 h 136"/>
                <a:gd name="T52" fmla="*/ 73 w 73"/>
                <a:gd name="T53" fmla="*/ 29 h 136"/>
                <a:gd name="T54" fmla="*/ 73 w 73"/>
                <a:gd name="T55" fmla="*/ 28 h 136"/>
                <a:gd name="T56" fmla="*/ 73 w 73"/>
                <a:gd name="T57" fmla="*/ 28 h 136"/>
                <a:gd name="T58" fmla="*/ 73 w 73"/>
                <a:gd name="T59" fmla="*/ 28 h 136"/>
                <a:gd name="T60" fmla="*/ 73 w 73"/>
                <a:gd name="T61" fmla="*/ 28 h 136"/>
                <a:gd name="T62" fmla="*/ 73 w 73"/>
                <a:gd name="T63" fmla="*/ 28 h 136"/>
                <a:gd name="T64" fmla="*/ 73 w 73"/>
                <a:gd name="T65" fmla="*/ 24 h 136"/>
                <a:gd name="T66" fmla="*/ 62 w 73"/>
                <a:gd name="T67" fmla="*/ 12 h 136"/>
                <a:gd name="T68" fmla="*/ 38 w 73"/>
                <a:gd name="T69" fmla="*/ 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3" h="136">
                  <a:moveTo>
                    <a:pt x="38" y="0"/>
                  </a:moveTo>
                  <a:cubicBezTo>
                    <a:pt x="35" y="0"/>
                    <a:pt x="34" y="1"/>
                    <a:pt x="33" y="2"/>
                  </a:cubicBezTo>
                  <a:cubicBezTo>
                    <a:pt x="32" y="5"/>
                    <a:pt x="45" y="18"/>
                    <a:pt x="33" y="34"/>
                  </a:cubicBezTo>
                  <a:cubicBezTo>
                    <a:pt x="22" y="50"/>
                    <a:pt x="13" y="56"/>
                    <a:pt x="18" y="69"/>
                  </a:cubicBezTo>
                  <a:cubicBezTo>
                    <a:pt x="22" y="82"/>
                    <a:pt x="0" y="93"/>
                    <a:pt x="17" y="105"/>
                  </a:cubicBezTo>
                  <a:cubicBezTo>
                    <a:pt x="30" y="114"/>
                    <a:pt x="30" y="115"/>
                    <a:pt x="36" y="115"/>
                  </a:cubicBezTo>
                  <a:cubicBezTo>
                    <a:pt x="38" y="115"/>
                    <a:pt x="40" y="115"/>
                    <a:pt x="42" y="115"/>
                  </a:cubicBezTo>
                  <a:cubicBezTo>
                    <a:pt x="42" y="115"/>
                    <a:pt x="42" y="115"/>
                    <a:pt x="43" y="115"/>
                  </a:cubicBezTo>
                  <a:cubicBezTo>
                    <a:pt x="54" y="115"/>
                    <a:pt x="52" y="133"/>
                    <a:pt x="52" y="136"/>
                  </a:cubicBezTo>
                  <a:cubicBezTo>
                    <a:pt x="65" y="104"/>
                    <a:pt x="72" y="69"/>
                    <a:pt x="73" y="32"/>
                  </a:cubicBezTo>
                  <a:cubicBezTo>
                    <a:pt x="73" y="32"/>
                    <a:pt x="73" y="32"/>
                    <a:pt x="73" y="32"/>
                  </a:cubicBezTo>
                  <a:cubicBezTo>
                    <a:pt x="73" y="32"/>
                    <a:pt x="73" y="31"/>
                    <a:pt x="73" y="31"/>
                  </a:cubicBezTo>
                  <a:cubicBezTo>
                    <a:pt x="73" y="31"/>
                    <a:pt x="73" y="31"/>
                    <a:pt x="73" y="31"/>
                  </a:cubicBezTo>
                  <a:cubicBezTo>
                    <a:pt x="73" y="31"/>
                    <a:pt x="73" y="31"/>
                    <a:pt x="73" y="31"/>
                  </a:cubicBezTo>
                  <a:cubicBezTo>
                    <a:pt x="73" y="31"/>
                    <a:pt x="73" y="31"/>
                    <a:pt x="73" y="31"/>
                  </a:cubicBezTo>
                  <a:cubicBezTo>
                    <a:pt x="73" y="31"/>
                    <a:pt x="73" y="31"/>
                    <a:pt x="73" y="30"/>
                  </a:cubicBezTo>
                  <a:cubicBezTo>
                    <a:pt x="73" y="30"/>
                    <a:pt x="73" y="30"/>
                    <a:pt x="73" y="30"/>
                  </a:cubicBezTo>
                  <a:cubicBezTo>
                    <a:pt x="73" y="30"/>
                    <a:pt x="73" y="30"/>
                    <a:pt x="73" y="30"/>
                  </a:cubicBezTo>
                  <a:cubicBezTo>
                    <a:pt x="73" y="30"/>
                    <a:pt x="73" y="30"/>
                    <a:pt x="73" y="30"/>
                  </a:cubicBezTo>
                  <a:cubicBezTo>
                    <a:pt x="73" y="30"/>
                    <a:pt x="73" y="30"/>
                    <a:pt x="73" y="30"/>
                  </a:cubicBezTo>
                  <a:cubicBezTo>
                    <a:pt x="73" y="30"/>
                    <a:pt x="73" y="29"/>
                    <a:pt x="73" y="29"/>
                  </a:cubicBezTo>
                  <a:cubicBezTo>
                    <a:pt x="73" y="29"/>
                    <a:pt x="73" y="29"/>
                    <a:pt x="73" y="29"/>
                  </a:cubicBezTo>
                  <a:cubicBezTo>
                    <a:pt x="73" y="29"/>
                    <a:pt x="73" y="29"/>
                    <a:pt x="73" y="29"/>
                  </a:cubicBezTo>
                  <a:cubicBezTo>
                    <a:pt x="73" y="29"/>
                    <a:pt x="73" y="29"/>
                    <a:pt x="73" y="29"/>
                  </a:cubicBezTo>
                  <a:cubicBezTo>
                    <a:pt x="73" y="29"/>
                    <a:pt x="73" y="29"/>
                    <a:pt x="73" y="29"/>
                  </a:cubicBezTo>
                  <a:cubicBezTo>
                    <a:pt x="73" y="29"/>
                    <a:pt x="73" y="29"/>
                    <a:pt x="73" y="29"/>
                  </a:cubicBezTo>
                  <a:cubicBezTo>
                    <a:pt x="73" y="29"/>
                    <a:pt x="73" y="29"/>
                    <a:pt x="73" y="29"/>
                  </a:cubicBezTo>
                  <a:cubicBezTo>
                    <a:pt x="73" y="28"/>
                    <a:pt x="73" y="28"/>
                    <a:pt x="73" y="28"/>
                  </a:cubicBezTo>
                  <a:cubicBezTo>
                    <a:pt x="73" y="28"/>
                    <a:pt x="73" y="28"/>
                    <a:pt x="73" y="28"/>
                  </a:cubicBezTo>
                  <a:cubicBezTo>
                    <a:pt x="73" y="28"/>
                    <a:pt x="73" y="28"/>
                    <a:pt x="73" y="28"/>
                  </a:cubicBezTo>
                  <a:cubicBezTo>
                    <a:pt x="73" y="28"/>
                    <a:pt x="73" y="28"/>
                    <a:pt x="73" y="28"/>
                  </a:cubicBezTo>
                  <a:cubicBezTo>
                    <a:pt x="73" y="28"/>
                    <a:pt x="73" y="28"/>
                    <a:pt x="73" y="28"/>
                  </a:cubicBezTo>
                  <a:cubicBezTo>
                    <a:pt x="73" y="26"/>
                    <a:pt x="73" y="25"/>
                    <a:pt x="73" y="24"/>
                  </a:cubicBezTo>
                  <a:cubicBezTo>
                    <a:pt x="71" y="21"/>
                    <a:pt x="68" y="17"/>
                    <a:pt x="62" y="12"/>
                  </a:cubicBezTo>
                  <a:cubicBezTo>
                    <a:pt x="51" y="3"/>
                    <a:pt x="43" y="0"/>
                    <a:pt x="38" y="0"/>
                  </a:cubicBezTo>
                </a:path>
              </a:pathLst>
            </a:custGeom>
            <a:solidFill>
              <a:srgbClr val="CFCE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grpSp>
      <p:pic>
        <p:nvPicPr>
          <p:cNvPr id="106" name="صورة 105" descr="صورة تحتوي على لقطة شاشة, الخط, نص, الرسومات&#10;&#10;تم إنشاء الوصف تلقائياً">
            <a:extLst>
              <a:ext uri="{FF2B5EF4-FFF2-40B4-BE49-F238E27FC236}">
                <a16:creationId xmlns:a16="http://schemas.microsoft.com/office/drawing/2014/main" id="{3CD4BBBC-0805-486F-C667-CB0DC64270B6}"/>
              </a:ext>
            </a:extLst>
          </p:cNvPr>
          <p:cNvPicPr>
            <a:picLocks noChangeAspect="1"/>
          </p:cNvPicPr>
          <p:nvPr/>
        </p:nvPicPr>
        <p:blipFill>
          <a:blip r:embed="rId3"/>
          <a:stretch>
            <a:fillRect/>
          </a:stretch>
        </p:blipFill>
        <p:spPr>
          <a:xfrm>
            <a:off x="59388" y="131758"/>
            <a:ext cx="1713833" cy="917972"/>
          </a:xfrm>
          <a:prstGeom prst="rect">
            <a:avLst/>
          </a:prstGeom>
        </p:spPr>
      </p:pic>
      <p:grpSp>
        <p:nvGrpSpPr>
          <p:cNvPr id="107" name="مجموعة 106">
            <a:extLst>
              <a:ext uri="{FF2B5EF4-FFF2-40B4-BE49-F238E27FC236}">
                <a16:creationId xmlns:a16="http://schemas.microsoft.com/office/drawing/2014/main" id="{012561AC-F4BA-26C8-1958-07BE1B0C5842}"/>
              </a:ext>
            </a:extLst>
          </p:cNvPr>
          <p:cNvGrpSpPr/>
          <p:nvPr/>
        </p:nvGrpSpPr>
        <p:grpSpPr>
          <a:xfrm>
            <a:off x="110568" y="5942850"/>
            <a:ext cx="12081432" cy="826402"/>
            <a:chOff x="103011" y="5950741"/>
            <a:chExt cx="10852403" cy="826402"/>
          </a:xfrm>
        </p:grpSpPr>
        <p:sp>
          <p:nvSpPr>
            <p:cNvPr id="108" name="مستطيل 107">
              <a:extLst>
                <a:ext uri="{FF2B5EF4-FFF2-40B4-BE49-F238E27FC236}">
                  <a16:creationId xmlns:a16="http://schemas.microsoft.com/office/drawing/2014/main" id="{5CDCF004-6B33-F862-742E-A6F67908E714}"/>
                </a:ext>
              </a:extLst>
            </p:cNvPr>
            <p:cNvSpPr/>
            <p:nvPr/>
          </p:nvSpPr>
          <p:spPr>
            <a:xfrm>
              <a:off x="928457" y="6575789"/>
              <a:ext cx="10026957" cy="201354"/>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ar-SA" sz="1800" b="0" i="0" u="none" strike="noStrike" kern="1200" cap="none" spc="0" normalizeH="0" baseline="0" noProof="0" dirty="0">
                <a:ln>
                  <a:noFill/>
                </a:ln>
                <a:solidFill>
                  <a:prstClr val="white"/>
                </a:solidFill>
                <a:effectLst/>
                <a:uLnTx/>
                <a:uFillTx/>
                <a:latin typeface="Century Gothic" panose="020B0502020202020204"/>
                <a:ea typeface="+mn-ea"/>
                <a:cs typeface="Arial" panose="020B0604020202020204" pitchFamily="34" charset="0"/>
              </a:endParaRPr>
            </a:p>
          </p:txBody>
        </p:sp>
        <p:sp>
          <p:nvSpPr>
            <p:cNvPr id="109" name="مثلث قائم الزاوية 108">
              <a:extLst>
                <a:ext uri="{FF2B5EF4-FFF2-40B4-BE49-F238E27FC236}">
                  <a16:creationId xmlns:a16="http://schemas.microsoft.com/office/drawing/2014/main" id="{2C097E75-BB1E-ACF8-56F7-9AB5FC11DB50}"/>
                </a:ext>
              </a:extLst>
            </p:cNvPr>
            <p:cNvSpPr/>
            <p:nvPr/>
          </p:nvSpPr>
          <p:spPr>
            <a:xfrm>
              <a:off x="103011" y="5950741"/>
              <a:ext cx="1141988" cy="826402"/>
            </a:xfrm>
            <a:prstGeom prst="r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ar-SA" sz="1800" b="0" i="0" u="none" strike="noStrike" kern="1200" cap="none" spc="0" normalizeH="0" baseline="0" noProof="0">
                <a:ln>
                  <a:noFill/>
                </a:ln>
                <a:solidFill>
                  <a:prstClr val="white"/>
                </a:solidFill>
                <a:effectLst/>
                <a:uLnTx/>
                <a:uFillTx/>
                <a:latin typeface="Century Gothic" panose="020B0502020202020204"/>
                <a:ea typeface="+mn-ea"/>
                <a:cs typeface="Arial" panose="020B0604020202020204" pitchFamily="34" charset="0"/>
              </a:endParaRPr>
            </a:p>
          </p:txBody>
        </p:sp>
      </p:grpSp>
      <p:pic>
        <p:nvPicPr>
          <p:cNvPr id="3" name="صورة 2" descr="صورة تحتوي على الخط, الرسومات, نص, شعار&#10;&#10;تم إنشاء الوصف تلقائياً">
            <a:hlinkClick r:id="rId4"/>
            <a:extLst>
              <a:ext uri="{FF2B5EF4-FFF2-40B4-BE49-F238E27FC236}">
                <a16:creationId xmlns:a16="http://schemas.microsoft.com/office/drawing/2014/main" id="{22CCA0F9-2C0B-6ADD-271C-1D34BE75B733}"/>
              </a:ext>
            </a:extLst>
          </p:cNvPr>
          <p:cNvPicPr>
            <a:picLocks noChangeAspect="1"/>
          </p:cNvPicPr>
          <p:nvPr/>
        </p:nvPicPr>
        <p:blipFill>
          <a:blip r:embed="rId5"/>
          <a:stretch>
            <a:fillRect/>
          </a:stretch>
        </p:blipFill>
        <p:spPr>
          <a:xfrm>
            <a:off x="2390367" y="5260062"/>
            <a:ext cx="1307014" cy="1221435"/>
          </a:xfrm>
          <a:prstGeom prst="rect">
            <a:avLst/>
          </a:prstGeom>
        </p:spPr>
      </p:pic>
    </p:spTree>
    <p:extLst>
      <p:ext uri="{BB962C8B-B14F-4D97-AF65-F5344CB8AC3E}">
        <p14:creationId xmlns:p14="http://schemas.microsoft.com/office/powerpoint/2010/main" val="4083600111"/>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عنوان 1">
            <a:extLst>
              <a:ext uri="{FF2B5EF4-FFF2-40B4-BE49-F238E27FC236}">
                <a16:creationId xmlns:a16="http://schemas.microsoft.com/office/drawing/2014/main" id="{555AFAFD-58AF-897E-4C62-96BD7BD04FFB}"/>
              </a:ext>
            </a:extLst>
          </p:cNvPr>
          <p:cNvSpPr>
            <a:spLocks noGrp="1"/>
          </p:cNvSpPr>
          <p:nvPr>
            <p:ph type="title"/>
          </p:nvPr>
        </p:nvSpPr>
        <p:spPr>
          <a:xfrm>
            <a:off x="1766080" y="2286000"/>
            <a:ext cx="3269262" cy="2286000"/>
          </a:xfrm>
        </p:spPr>
        <p:txBody>
          <a:bodyPr/>
          <a:lstStyle/>
          <a:p>
            <a:pPr algn="ctr"/>
            <a:r>
              <a:rPr lang="ar-SA"/>
              <a:t>مدرسة ( ص )</a:t>
            </a:r>
            <a:endParaRPr lang="ar-SA" dirty="0"/>
          </a:p>
        </p:txBody>
      </p:sp>
      <p:pic>
        <p:nvPicPr>
          <p:cNvPr id="5" name="صورة 4">
            <a:extLst>
              <a:ext uri="{FF2B5EF4-FFF2-40B4-BE49-F238E27FC236}">
                <a16:creationId xmlns:a16="http://schemas.microsoft.com/office/drawing/2014/main" id="{E2CAB71A-6AA0-FE3F-CD09-0EB5220021C2}"/>
              </a:ext>
            </a:extLst>
          </p:cNvPr>
          <p:cNvPicPr>
            <a:picLocks noChangeAspect="1"/>
          </p:cNvPicPr>
          <p:nvPr/>
        </p:nvPicPr>
        <p:blipFill>
          <a:blip r:embed="rId2"/>
          <a:stretch>
            <a:fillRect/>
          </a:stretch>
        </p:blipFill>
        <p:spPr>
          <a:xfrm>
            <a:off x="6951053" y="193836"/>
            <a:ext cx="3851385" cy="6470327"/>
          </a:xfrm>
          <a:prstGeom prst="rect">
            <a:avLst/>
          </a:prstGeom>
        </p:spPr>
      </p:pic>
    </p:spTree>
    <p:extLst>
      <p:ext uri="{BB962C8B-B14F-4D97-AF65-F5344CB8AC3E}">
        <p14:creationId xmlns:p14="http://schemas.microsoft.com/office/powerpoint/2010/main" val="4224725716"/>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جدول 1">
            <a:extLst>
              <a:ext uri="{FF2B5EF4-FFF2-40B4-BE49-F238E27FC236}">
                <a16:creationId xmlns:a16="http://schemas.microsoft.com/office/drawing/2014/main" id="{CBB241E5-12FE-1250-3069-58706D966070}"/>
              </a:ext>
            </a:extLst>
          </p:cNvPr>
          <p:cNvGraphicFramePr>
            <a:graphicFrameLocks noGrp="1"/>
          </p:cNvGraphicFramePr>
          <p:nvPr/>
        </p:nvGraphicFramePr>
        <p:xfrm>
          <a:off x="1241933" y="2499358"/>
          <a:ext cx="8631350" cy="2269376"/>
        </p:xfrm>
        <a:graphic>
          <a:graphicData uri="http://schemas.openxmlformats.org/drawingml/2006/table">
            <a:tbl>
              <a:tblPr rtl="1" firstRow="1" bandRow="1">
                <a:tableStyleId>{5C22544A-7EE6-4342-B048-85BDC9FD1C3A}</a:tableStyleId>
              </a:tblPr>
              <a:tblGrid>
                <a:gridCol w="1726270">
                  <a:extLst>
                    <a:ext uri="{9D8B030D-6E8A-4147-A177-3AD203B41FA5}">
                      <a16:colId xmlns:a16="http://schemas.microsoft.com/office/drawing/2014/main" val="2005169847"/>
                    </a:ext>
                  </a:extLst>
                </a:gridCol>
                <a:gridCol w="1726270">
                  <a:extLst>
                    <a:ext uri="{9D8B030D-6E8A-4147-A177-3AD203B41FA5}">
                      <a16:colId xmlns:a16="http://schemas.microsoft.com/office/drawing/2014/main" val="3444463062"/>
                    </a:ext>
                  </a:extLst>
                </a:gridCol>
                <a:gridCol w="1726270">
                  <a:extLst>
                    <a:ext uri="{9D8B030D-6E8A-4147-A177-3AD203B41FA5}">
                      <a16:colId xmlns:a16="http://schemas.microsoft.com/office/drawing/2014/main" val="841097406"/>
                    </a:ext>
                  </a:extLst>
                </a:gridCol>
                <a:gridCol w="1726270">
                  <a:extLst>
                    <a:ext uri="{9D8B030D-6E8A-4147-A177-3AD203B41FA5}">
                      <a16:colId xmlns:a16="http://schemas.microsoft.com/office/drawing/2014/main" val="300281718"/>
                    </a:ext>
                  </a:extLst>
                </a:gridCol>
                <a:gridCol w="1726270">
                  <a:extLst>
                    <a:ext uri="{9D8B030D-6E8A-4147-A177-3AD203B41FA5}">
                      <a16:colId xmlns:a16="http://schemas.microsoft.com/office/drawing/2014/main" val="124665721"/>
                    </a:ext>
                  </a:extLst>
                </a:gridCol>
              </a:tblGrid>
              <a:tr h="432262">
                <a:tc>
                  <a:txBody>
                    <a:bodyPr/>
                    <a:lstStyle/>
                    <a:p>
                      <a:pPr algn="ctr" rtl="1"/>
                      <a:r>
                        <a:rPr lang="ar-SA" dirty="0"/>
                        <a:t>تعليم جازان</a:t>
                      </a:r>
                    </a:p>
                  </a:txBody>
                  <a:tcPr>
                    <a:solidFill>
                      <a:srgbClr val="57AFB1"/>
                    </a:solidFill>
                  </a:tcPr>
                </a:tc>
                <a:tc gridSpan="2">
                  <a:txBody>
                    <a:bodyPr/>
                    <a:lstStyle/>
                    <a:p>
                      <a:pPr algn="ctr" rtl="1"/>
                      <a:r>
                        <a:rPr lang="ar-SA" dirty="0"/>
                        <a:t>التحصيلي  علمي (بنين)</a:t>
                      </a:r>
                    </a:p>
                  </a:txBody>
                  <a:tcPr>
                    <a:solidFill>
                      <a:srgbClr val="57AFB1"/>
                    </a:solidFill>
                  </a:tcPr>
                </a:tc>
                <a:tc hMerge="1">
                  <a:txBody>
                    <a:bodyPr/>
                    <a:lstStyle/>
                    <a:p>
                      <a:pPr rtl="1"/>
                      <a:endParaRPr lang="ar-SA" dirty="0"/>
                    </a:p>
                  </a:txBody>
                  <a:tcPr>
                    <a:solidFill>
                      <a:srgbClr val="57AFB1"/>
                    </a:solidFill>
                  </a:tcPr>
                </a:tc>
                <a:tc gridSpan="2">
                  <a:txBody>
                    <a:bodyPr/>
                    <a:lstStyle/>
                    <a:p>
                      <a:pPr algn="ctr" rtl="1"/>
                      <a:r>
                        <a:rPr lang="ar-SA" dirty="0"/>
                        <a:t>ـــــــــ</a:t>
                      </a:r>
                    </a:p>
                  </a:txBody>
                  <a:tcPr>
                    <a:solidFill>
                      <a:srgbClr val="57AFB1"/>
                    </a:solidFill>
                  </a:tcPr>
                </a:tc>
                <a:tc hMerge="1">
                  <a:txBody>
                    <a:bodyPr/>
                    <a:lstStyle/>
                    <a:p>
                      <a:pPr rtl="1"/>
                      <a:endParaRPr lang="ar-SA" dirty="0"/>
                    </a:p>
                  </a:txBody>
                  <a:tcPr>
                    <a:solidFill>
                      <a:srgbClr val="57AFB1"/>
                    </a:solidFill>
                  </a:tcPr>
                </a:tc>
                <a:extLst>
                  <a:ext uri="{0D108BD9-81ED-4DB2-BD59-A6C34878D82A}">
                    <a16:rowId xmlns:a16="http://schemas.microsoft.com/office/drawing/2014/main" val="1780255635"/>
                  </a:ext>
                </a:extLst>
              </a:tr>
              <a:tr h="432262">
                <a:tc>
                  <a:txBody>
                    <a:bodyPr/>
                    <a:lstStyle/>
                    <a:p>
                      <a:pPr algn="ctr" rtl="1"/>
                      <a:r>
                        <a:rPr lang="ar-SA" b="1" dirty="0">
                          <a:solidFill>
                            <a:schemeClr val="bg1"/>
                          </a:solidFill>
                        </a:rPr>
                        <a:t>العام</a:t>
                      </a:r>
                      <a:r>
                        <a:rPr lang="ar-SA" b="1" baseline="0" dirty="0">
                          <a:solidFill>
                            <a:schemeClr val="bg1"/>
                          </a:solidFill>
                        </a:rPr>
                        <a:t> </a:t>
                      </a:r>
                      <a:endParaRPr lang="ar-SA" b="1" dirty="0">
                        <a:solidFill>
                          <a:schemeClr val="bg1"/>
                        </a:solidFill>
                      </a:endParaRPr>
                    </a:p>
                  </a:txBody>
                  <a:tcPr>
                    <a:solidFill>
                      <a:srgbClr val="57AFB1"/>
                    </a:solidFill>
                  </a:tcPr>
                </a:tc>
                <a:tc>
                  <a:txBody>
                    <a:bodyPr/>
                    <a:lstStyle/>
                    <a:p>
                      <a:pPr algn="ctr" rtl="1"/>
                      <a:r>
                        <a:rPr lang="ar-SA" b="1" dirty="0">
                          <a:solidFill>
                            <a:schemeClr val="bg1"/>
                          </a:solidFill>
                        </a:rPr>
                        <a:t>المعدل </a:t>
                      </a:r>
                    </a:p>
                  </a:txBody>
                  <a:tcPr>
                    <a:solidFill>
                      <a:srgbClr val="57AFB1"/>
                    </a:solidFill>
                  </a:tcPr>
                </a:tc>
                <a:tc>
                  <a:txBody>
                    <a:bodyPr/>
                    <a:lstStyle/>
                    <a:p>
                      <a:pPr algn="ctr" rtl="1"/>
                      <a:r>
                        <a:rPr lang="ar-SA" b="1" dirty="0">
                          <a:solidFill>
                            <a:schemeClr val="bg1"/>
                          </a:solidFill>
                        </a:rPr>
                        <a:t>الترتيب </a:t>
                      </a:r>
                    </a:p>
                  </a:txBody>
                  <a:tcPr>
                    <a:solidFill>
                      <a:srgbClr val="57AFB1"/>
                    </a:solidFill>
                  </a:tcPr>
                </a:tc>
                <a:tc>
                  <a:txBody>
                    <a:bodyPr/>
                    <a:lstStyle/>
                    <a:p>
                      <a:pPr algn="ctr" rtl="1"/>
                      <a:r>
                        <a:rPr lang="ar-SA" b="1" dirty="0">
                          <a:solidFill>
                            <a:schemeClr val="bg1"/>
                          </a:solidFill>
                        </a:rPr>
                        <a:t>ــــ</a:t>
                      </a:r>
                    </a:p>
                  </a:txBody>
                  <a:tcPr>
                    <a:solidFill>
                      <a:srgbClr val="57AFB1"/>
                    </a:solidFill>
                  </a:tcPr>
                </a:tc>
                <a:tc>
                  <a:txBody>
                    <a:bodyPr/>
                    <a:lstStyle/>
                    <a:p>
                      <a:pPr algn="ctr" rtl="1"/>
                      <a:r>
                        <a:rPr lang="ar-SA" b="1" dirty="0">
                          <a:solidFill>
                            <a:schemeClr val="bg1"/>
                          </a:solidFill>
                        </a:rPr>
                        <a:t>ــــــ</a:t>
                      </a:r>
                    </a:p>
                  </a:txBody>
                  <a:tcPr>
                    <a:solidFill>
                      <a:srgbClr val="57AFB1"/>
                    </a:solidFill>
                  </a:tcPr>
                </a:tc>
                <a:extLst>
                  <a:ext uri="{0D108BD9-81ED-4DB2-BD59-A6C34878D82A}">
                    <a16:rowId xmlns:a16="http://schemas.microsoft.com/office/drawing/2014/main" val="2375427731"/>
                  </a:ext>
                </a:extLst>
              </a:tr>
              <a:tr h="468284">
                <a:tc>
                  <a:txBody>
                    <a:bodyPr/>
                    <a:lstStyle/>
                    <a:p>
                      <a:pPr algn="ctr" rtl="1"/>
                      <a:r>
                        <a:rPr lang="ar-SA" sz="2000" b="1" dirty="0">
                          <a:solidFill>
                            <a:schemeClr val="bg1"/>
                          </a:solidFill>
                        </a:rPr>
                        <a:t>1442هـ</a:t>
                      </a:r>
                    </a:p>
                  </a:txBody>
                  <a:tcPr>
                    <a:solidFill>
                      <a:srgbClr val="57AFB1"/>
                    </a:solidFill>
                  </a:tcPr>
                </a:tc>
                <a:tc>
                  <a:txBody>
                    <a:bodyPr/>
                    <a:lstStyle/>
                    <a:p>
                      <a:pPr algn="ctr" rtl="1"/>
                      <a:r>
                        <a:rPr lang="ar-SA" b="1" dirty="0"/>
                        <a:t>59.971</a:t>
                      </a:r>
                    </a:p>
                  </a:txBody>
                  <a:tcPr/>
                </a:tc>
                <a:tc>
                  <a:txBody>
                    <a:bodyPr/>
                    <a:lstStyle/>
                    <a:p>
                      <a:pPr algn="ctr" rtl="1"/>
                      <a:r>
                        <a:rPr lang="ar-SA" b="1" dirty="0"/>
                        <a:t>30 من 47</a:t>
                      </a:r>
                    </a:p>
                  </a:txBody>
                  <a:tcPr/>
                </a:tc>
                <a:tc>
                  <a:txBody>
                    <a:bodyPr/>
                    <a:lstStyle/>
                    <a:p>
                      <a:pPr algn="ctr" rtl="1"/>
                      <a:r>
                        <a:rPr lang="ar-SA" b="1" dirty="0"/>
                        <a:t>.....</a:t>
                      </a:r>
                    </a:p>
                  </a:txBody>
                  <a:tcPr/>
                </a:tc>
                <a:tc>
                  <a:txBody>
                    <a:bodyPr/>
                    <a:lstStyle/>
                    <a:p>
                      <a:pPr algn="ctr" rtl="1"/>
                      <a:r>
                        <a:rPr lang="ar-SA" b="1" dirty="0"/>
                        <a:t>.....</a:t>
                      </a:r>
                    </a:p>
                  </a:txBody>
                  <a:tcPr/>
                </a:tc>
                <a:extLst>
                  <a:ext uri="{0D108BD9-81ED-4DB2-BD59-A6C34878D82A}">
                    <a16:rowId xmlns:a16="http://schemas.microsoft.com/office/drawing/2014/main" val="1165302730"/>
                  </a:ext>
                </a:extLst>
              </a:tr>
              <a:tr h="468284">
                <a:tc>
                  <a:txBody>
                    <a:bodyPr/>
                    <a:lstStyle/>
                    <a:p>
                      <a:pPr algn="ctr" rtl="1"/>
                      <a:r>
                        <a:rPr lang="ar-SA" sz="2000" b="1" dirty="0">
                          <a:solidFill>
                            <a:schemeClr val="bg1"/>
                          </a:solidFill>
                        </a:rPr>
                        <a:t>1443هـ</a:t>
                      </a:r>
                    </a:p>
                  </a:txBody>
                  <a:tcPr>
                    <a:solidFill>
                      <a:srgbClr val="57AFB1"/>
                    </a:solidFill>
                  </a:tcPr>
                </a:tc>
                <a:tc>
                  <a:txBody>
                    <a:bodyPr/>
                    <a:lstStyle/>
                    <a:p>
                      <a:pPr algn="ctr" rtl="1"/>
                      <a:r>
                        <a:rPr lang="ar-SA" b="1" dirty="0"/>
                        <a:t>58.791</a:t>
                      </a:r>
                    </a:p>
                  </a:txBody>
                  <a:tcPr/>
                </a:tc>
                <a:tc>
                  <a:txBody>
                    <a:bodyPr/>
                    <a:lstStyle/>
                    <a:p>
                      <a:pPr algn="ctr" rtl="1"/>
                      <a:r>
                        <a:rPr lang="ar-SA" b="1" dirty="0"/>
                        <a:t>31 من 49</a:t>
                      </a:r>
                    </a:p>
                  </a:txBody>
                  <a:tcPr/>
                </a:tc>
                <a:tc>
                  <a:txBody>
                    <a:bodyPr/>
                    <a:lstStyle/>
                    <a:p>
                      <a:pPr algn="ctr" rtl="1"/>
                      <a:r>
                        <a:rPr lang="ar-SA" b="1" dirty="0"/>
                        <a:t>.....</a:t>
                      </a:r>
                    </a:p>
                  </a:txBody>
                  <a:tcPr/>
                </a:tc>
                <a:tc>
                  <a:txBody>
                    <a:bodyPr/>
                    <a:lstStyle/>
                    <a:p>
                      <a:pPr algn="ctr" rtl="1"/>
                      <a:r>
                        <a:rPr lang="ar-SA" b="1" dirty="0"/>
                        <a:t>.....</a:t>
                      </a:r>
                    </a:p>
                  </a:txBody>
                  <a:tcPr/>
                </a:tc>
                <a:extLst>
                  <a:ext uri="{0D108BD9-81ED-4DB2-BD59-A6C34878D82A}">
                    <a16:rowId xmlns:a16="http://schemas.microsoft.com/office/drawing/2014/main" val="1538066907"/>
                  </a:ext>
                </a:extLst>
              </a:tr>
              <a:tr h="468284">
                <a:tc>
                  <a:txBody>
                    <a:bodyPr/>
                    <a:lstStyle/>
                    <a:p>
                      <a:pPr algn="ctr" rtl="1"/>
                      <a:r>
                        <a:rPr lang="ar-SA" sz="2000" b="1" dirty="0">
                          <a:solidFill>
                            <a:schemeClr val="bg1"/>
                          </a:solidFill>
                        </a:rPr>
                        <a:t>1444هـ</a:t>
                      </a:r>
                    </a:p>
                  </a:txBody>
                  <a:tcPr>
                    <a:solidFill>
                      <a:srgbClr val="57AFB1"/>
                    </a:solidFill>
                  </a:tcPr>
                </a:tc>
                <a:tc>
                  <a:txBody>
                    <a:bodyPr/>
                    <a:lstStyle/>
                    <a:p>
                      <a:pPr algn="ctr" rtl="1"/>
                      <a:r>
                        <a:rPr lang="ar-SA" b="1" dirty="0"/>
                        <a:t>58.383</a:t>
                      </a:r>
                    </a:p>
                  </a:txBody>
                  <a:tcPr/>
                </a:tc>
                <a:tc>
                  <a:txBody>
                    <a:bodyPr/>
                    <a:lstStyle/>
                    <a:p>
                      <a:pPr algn="ctr" rtl="1"/>
                      <a:r>
                        <a:rPr lang="ar-SA" b="1" dirty="0"/>
                        <a:t>31 من 49 </a:t>
                      </a:r>
                    </a:p>
                  </a:txBody>
                  <a:tcPr>
                    <a:solidFill>
                      <a:schemeClr val="accent6">
                        <a:lumMod val="20000"/>
                        <a:lumOff val="80000"/>
                      </a:schemeClr>
                    </a:solidFill>
                  </a:tcPr>
                </a:tc>
                <a:tc>
                  <a:txBody>
                    <a:bodyPr/>
                    <a:lstStyle/>
                    <a:p>
                      <a:pPr algn="ctr" rtl="1"/>
                      <a:r>
                        <a:rPr lang="ar-SA" b="1" dirty="0"/>
                        <a:t>.....</a:t>
                      </a:r>
                    </a:p>
                  </a:txBody>
                  <a:tcPr/>
                </a:tc>
                <a:tc>
                  <a:txBody>
                    <a:bodyPr/>
                    <a:lstStyle/>
                    <a:p>
                      <a:pPr algn="ctr" rtl="1"/>
                      <a:r>
                        <a:rPr lang="ar-SA" b="1" dirty="0"/>
                        <a:t>.....</a:t>
                      </a:r>
                    </a:p>
                  </a:txBody>
                  <a:tcPr/>
                </a:tc>
                <a:extLst>
                  <a:ext uri="{0D108BD9-81ED-4DB2-BD59-A6C34878D82A}">
                    <a16:rowId xmlns:a16="http://schemas.microsoft.com/office/drawing/2014/main" val="3170590409"/>
                  </a:ext>
                </a:extLst>
              </a:tr>
            </a:tbl>
          </a:graphicData>
        </a:graphic>
      </p:graphicFrame>
      <p:sp>
        <p:nvSpPr>
          <p:cNvPr id="4" name="مربع نص 3">
            <a:extLst>
              <a:ext uri="{FF2B5EF4-FFF2-40B4-BE49-F238E27FC236}">
                <a16:creationId xmlns:a16="http://schemas.microsoft.com/office/drawing/2014/main" id="{7623B845-DA5E-40F2-5D4B-51F8230CEFB2}"/>
              </a:ext>
            </a:extLst>
          </p:cNvPr>
          <p:cNvSpPr txBox="1"/>
          <p:nvPr/>
        </p:nvSpPr>
        <p:spPr>
          <a:xfrm>
            <a:off x="2678546" y="1325479"/>
            <a:ext cx="6096000" cy="523220"/>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ar-SA" sz="2800" b="1" i="0" u="none" strike="noStrike" kern="1200" cap="none" spc="0" normalizeH="0" baseline="0" noProof="0" dirty="0">
                <a:ln>
                  <a:noFill/>
                </a:ln>
                <a:solidFill>
                  <a:prstClr val="black"/>
                </a:solidFill>
                <a:effectLst/>
                <a:uLnTx/>
                <a:uFillTx/>
                <a:latin typeface="29LT Azer Black" panose="00000600000000000000" pitchFamily="2" charset="-78"/>
                <a:ea typeface="+mn-ea"/>
                <a:cs typeface="Times New Roman" panose="02020603050405020304" pitchFamily="18" charset="0"/>
              </a:rPr>
              <a:t>ترتيب إدارة تعليم  جازان  في الاختبار التحصيلي </a:t>
            </a:r>
          </a:p>
        </p:txBody>
      </p:sp>
      <p:grpSp>
        <p:nvGrpSpPr>
          <p:cNvPr id="5" name="مجموعة 4">
            <a:extLst>
              <a:ext uri="{FF2B5EF4-FFF2-40B4-BE49-F238E27FC236}">
                <a16:creationId xmlns:a16="http://schemas.microsoft.com/office/drawing/2014/main" id="{51C2D204-F3C0-F773-1B53-6715136FCA5C}"/>
              </a:ext>
            </a:extLst>
          </p:cNvPr>
          <p:cNvGrpSpPr/>
          <p:nvPr/>
        </p:nvGrpSpPr>
        <p:grpSpPr>
          <a:xfrm>
            <a:off x="110568" y="5942850"/>
            <a:ext cx="12081432" cy="826402"/>
            <a:chOff x="103011" y="5950741"/>
            <a:chExt cx="10852403" cy="826402"/>
          </a:xfrm>
        </p:grpSpPr>
        <p:sp>
          <p:nvSpPr>
            <p:cNvPr id="6" name="مستطيل 5">
              <a:extLst>
                <a:ext uri="{FF2B5EF4-FFF2-40B4-BE49-F238E27FC236}">
                  <a16:creationId xmlns:a16="http://schemas.microsoft.com/office/drawing/2014/main" id="{F483C070-B54A-C1D7-09FF-6CC518AF1FA9}"/>
                </a:ext>
              </a:extLst>
            </p:cNvPr>
            <p:cNvSpPr/>
            <p:nvPr/>
          </p:nvSpPr>
          <p:spPr>
            <a:xfrm>
              <a:off x="928457" y="6575789"/>
              <a:ext cx="10026957" cy="201354"/>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ar-SA" sz="1800" b="0" i="0" u="none" strike="noStrike" kern="1200" cap="none" spc="0" normalizeH="0" baseline="0" noProof="0" dirty="0">
                <a:ln>
                  <a:noFill/>
                </a:ln>
                <a:solidFill>
                  <a:prstClr val="white"/>
                </a:solidFill>
                <a:effectLst/>
                <a:uLnTx/>
                <a:uFillTx/>
                <a:latin typeface="Century Gothic" panose="020B0502020202020204"/>
                <a:ea typeface="+mn-ea"/>
                <a:cs typeface="Arial" panose="020B0604020202020204" pitchFamily="34" charset="0"/>
              </a:endParaRPr>
            </a:p>
          </p:txBody>
        </p:sp>
        <p:sp>
          <p:nvSpPr>
            <p:cNvPr id="7" name="مثلث قائم الزاوية 6">
              <a:extLst>
                <a:ext uri="{FF2B5EF4-FFF2-40B4-BE49-F238E27FC236}">
                  <a16:creationId xmlns:a16="http://schemas.microsoft.com/office/drawing/2014/main" id="{27A80E24-5E3D-F1F9-0A77-88A88A7809F0}"/>
                </a:ext>
              </a:extLst>
            </p:cNvPr>
            <p:cNvSpPr/>
            <p:nvPr/>
          </p:nvSpPr>
          <p:spPr>
            <a:xfrm>
              <a:off x="103011" y="5950741"/>
              <a:ext cx="1141988" cy="826402"/>
            </a:xfrm>
            <a:prstGeom prst="r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ar-SA" sz="1800" b="0" i="0" u="none" strike="noStrike" kern="1200" cap="none" spc="0" normalizeH="0" baseline="0" noProof="0">
                <a:ln>
                  <a:noFill/>
                </a:ln>
                <a:solidFill>
                  <a:prstClr val="white"/>
                </a:solidFill>
                <a:effectLst/>
                <a:uLnTx/>
                <a:uFillTx/>
                <a:latin typeface="Century Gothic" panose="020B0502020202020204"/>
                <a:ea typeface="+mn-ea"/>
                <a:cs typeface="Arial" panose="020B0604020202020204" pitchFamily="34" charset="0"/>
              </a:endParaRPr>
            </a:p>
          </p:txBody>
        </p:sp>
      </p:grpSp>
      <p:pic>
        <p:nvPicPr>
          <p:cNvPr id="8" name="صورة 7" descr="صورة تحتوي على لقطة شاشة, الخط, نص, الرسومات&#10;&#10;تم إنشاء الوصف تلقائياً">
            <a:extLst>
              <a:ext uri="{FF2B5EF4-FFF2-40B4-BE49-F238E27FC236}">
                <a16:creationId xmlns:a16="http://schemas.microsoft.com/office/drawing/2014/main" id="{F7A8CDEF-9228-9257-0D18-792342CAE630}"/>
              </a:ext>
            </a:extLst>
          </p:cNvPr>
          <p:cNvPicPr>
            <a:picLocks noChangeAspect="1"/>
          </p:cNvPicPr>
          <p:nvPr/>
        </p:nvPicPr>
        <p:blipFill>
          <a:blip r:embed="rId2"/>
          <a:stretch>
            <a:fillRect/>
          </a:stretch>
        </p:blipFill>
        <p:spPr>
          <a:xfrm>
            <a:off x="746227" y="241208"/>
            <a:ext cx="1713833" cy="917972"/>
          </a:xfrm>
          <a:prstGeom prst="rect">
            <a:avLst/>
          </a:prstGeom>
        </p:spPr>
      </p:pic>
    </p:spTree>
    <p:extLst>
      <p:ext uri="{BB962C8B-B14F-4D97-AF65-F5344CB8AC3E}">
        <p14:creationId xmlns:p14="http://schemas.microsoft.com/office/powerpoint/2010/main" val="2495151439"/>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مجموعة 13">
            <a:extLst>
              <a:ext uri="{FF2B5EF4-FFF2-40B4-BE49-F238E27FC236}">
                <a16:creationId xmlns:a16="http://schemas.microsoft.com/office/drawing/2014/main" id="{1D880DBA-1692-1F13-9FB7-8DF88F0B7F3C}"/>
              </a:ext>
            </a:extLst>
          </p:cNvPr>
          <p:cNvGrpSpPr/>
          <p:nvPr/>
        </p:nvGrpSpPr>
        <p:grpSpPr>
          <a:xfrm>
            <a:off x="110568" y="5942850"/>
            <a:ext cx="12081432" cy="826402"/>
            <a:chOff x="103011" y="5950741"/>
            <a:chExt cx="10852403" cy="826402"/>
          </a:xfrm>
        </p:grpSpPr>
        <p:sp>
          <p:nvSpPr>
            <p:cNvPr id="15" name="مستطيل 14">
              <a:extLst>
                <a:ext uri="{FF2B5EF4-FFF2-40B4-BE49-F238E27FC236}">
                  <a16:creationId xmlns:a16="http://schemas.microsoft.com/office/drawing/2014/main" id="{99BB56B7-C04C-1540-32C2-141BA495F647}"/>
                </a:ext>
              </a:extLst>
            </p:cNvPr>
            <p:cNvSpPr/>
            <p:nvPr/>
          </p:nvSpPr>
          <p:spPr>
            <a:xfrm>
              <a:off x="928457" y="6575789"/>
              <a:ext cx="10026957" cy="201354"/>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ar-SA" sz="1800" b="0" i="0" u="none" strike="noStrike" kern="1200" cap="none" spc="0" normalizeH="0" baseline="0" noProof="0" dirty="0">
                <a:ln>
                  <a:noFill/>
                </a:ln>
                <a:solidFill>
                  <a:prstClr val="white"/>
                </a:solidFill>
                <a:effectLst/>
                <a:uLnTx/>
                <a:uFillTx/>
                <a:latin typeface="Century Gothic" panose="020B0502020202020204"/>
                <a:ea typeface="+mn-ea"/>
                <a:cs typeface="Arial" panose="020B0604020202020204" pitchFamily="34" charset="0"/>
              </a:endParaRPr>
            </a:p>
          </p:txBody>
        </p:sp>
        <p:sp>
          <p:nvSpPr>
            <p:cNvPr id="16" name="مثلث قائم الزاوية 15">
              <a:extLst>
                <a:ext uri="{FF2B5EF4-FFF2-40B4-BE49-F238E27FC236}">
                  <a16:creationId xmlns:a16="http://schemas.microsoft.com/office/drawing/2014/main" id="{2D417B27-4F5B-86D6-A7D2-4FB8CE380C6E}"/>
                </a:ext>
              </a:extLst>
            </p:cNvPr>
            <p:cNvSpPr/>
            <p:nvPr/>
          </p:nvSpPr>
          <p:spPr>
            <a:xfrm>
              <a:off x="103011" y="5950741"/>
              <a:ext cx="1141988" cy="826402"/>
            </a:xfrm>
            <a:prstGeom prst="r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ar-SA" sz="1800" b="0" i="0" u="none" strike="noStrike" kern="1200" cap="none" spc="0" normalizeH="0" baseline="0" noProof="0">
                <a:ln>
                  <a:noFill/>
                </a:ln>
                <a:solidFill>
                  <a:prstClr val="white"/>
                </a:solidFill>
                <a:effectLst/>
                <a:uLnTx/>
                <a:uFillTx/>
                <a:latin typeface="Century Gothic" panose="020B0502020202020204"/>
                <a:ea typeface="+mn-ea"/>
                <a:cs typeface="Arial" panose="020B0604020202020204" pitchFamily="34" charset="0"/>
              </a:endParaRPr>
            </a:p>
          </p:txBody>
        </p:sp>
      </p:grpSp>
      <p:pic>
        <p:nvPicPr>
          <p:cNvPr id="3" name="صورة 2">
            <a:extLst>
              <a:ext uri="{FF2B5EF4-FFF2-40B4-BE49-F238E27FC236}">
                <a16:creationId xmlns:a16="http://schemas.microsoft.com/office/drawing/2014/main" id="{96FE1433-0D4D-4B4C-B5BD-8D6130B97EB4}"/>
              </a:ext>
            </a:extLst>
          </p:cNvPr>
          <p:cNvPicPr>
            <a:picLocks noChangeAspect="1"/>
          </p:cNvPicPr>
          <p:nvPr/>
        </p:nvPicPr>
        <p:blipFill>
          <a:blip r:embed="rId2"/>
          <a:stretch>
            <a:fillRect/>
          </a:stretch>
        </p:blipFill>
        <p:spPr>
          <a:xfrm>
            <a:off x="0" y="294665"/>
            <a:ext cx="12192000" cy="6051385"/>
          </a:xfrm>
          <a:prstGeom prst="rect">
            <a:avLst/>
          </a:prstGeom>
        </p:spPr>
      </p:pic>
      <p:sp>
        <p:nvSpPr>
          <p:cNvPr id="4" name="مستطيل 3">
            <a:extLst>
              <a:ext uri="{FF2B5EF4-FFF2-40B4-BE49-F238E27FC236}">
                <a16:creationId xmlns:a16="http://schemas.microsoft.com/office/drawing/2014/main" id="{82BC4934-06C7-4E1A-5AF8-D706D9EBB5C7}"/>
              </a:ext>
            </a:extLst>
          </p:cNvPr>
          <p:cNvSpPr/>
          <p:nvPr/>
        </p:nvSpPr>
        <p:spPr>
          <a:xfrm>
            <a:off x="117695" y="3585171"/>
            <a:ext cx="10619715" cy="2733717"/>
          </a:xfrm>
          <a:prstGeom prst="rect">
            <a:avLst/>
          </a:prstGeom>
          <a:solidFill>
            <a:srgbClr val="BAE4DE"/>
          </a:solidFill>
          <a:ln>
            <a:solidFill>
              <a:srgbClr val="F0F6F6"/>
            </a:solid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ar-SA" sz="1800" b="0" i="0" u="none" strike="noStrike" kern="1200" cap="none" spc="0" normalizeH="0" baseline="0" noProof="0" dirty="0">
              <a:ln>
                <a:noFill/>
              </a:ln>
              <a:solidFill>
                <a:prstClr val="white"/>
              </a:solidFill>
              <a:effectLst/>
              <a:uLnTx/>
              <a:uFillTx/>
              <a:latin typeface="Century Gothic" panose="020B0502020202020204"/>
              <a:ea typeface="+mn-ea"/>
              <a:cs typeface="Arial" panose="020B0604020202020204" pitchFamily="34" charset="0"/>
            </a:endParaRPr>
          </a:p>
        </p:txBody>
      </p:sp>
      <p:sp>
        <p:nvSpPr>
          <p:cNvPr id="6" name="سهم: لليسار 5">
            <a:extLst>
              <a:ext uri="{FF2B5EF4-FFF2-40B4-BE49-F238E27FC236}">
                <a16:creationId xmlns:a16="http://schemas.microsoft.com/office/drawing/2014/main" id="{D888312D-54CE-0BBE-D40A-56C4661C157A}"/>
              </a:ext>
            </a:extLst>
          </p:cNvPr>
          <p:cNvSpPr/>
          <p:nvPr/>
        </p:nvSpPr>
        <p:spPr>
          <a:xfrm>
            <a:off x="3856776" y="4065006"/>
            <a:ext cx="5977356" cy="2152279"/>
          </a:xfrm>
          <a:prstGeom prst="leftArrow">
            <a:avLst>
              <a:gd name="adj1" fmla="val 79442"/>
              <a:gd name="adj2" fmla="val 69973"/>
            </a:avLst>
          </a:prstGeom>
          <a:solidFill>
            <a:srgbClr val="1D545B"/>
          </a:solidFill>
        </p:spPr>
        <p:style>
          <a:lnRef idx="0">
            <a:schemeClr val="accent6"/>
          </a:lnRef>
          <a:fillRef idx="3">
            <a:schemeClr val="accent6"/>
          </a:fillRef>
          <a:effectRef idx="3">
            <a:schemeClr val="accent6"/>
          </a:effectRef>
          <a:fontRef idx="minor">
            <a:schemeClr val="lt1"/>
          </a:fontRef>
        </p:style>
        <p:txBody>
          <a:bodyPr rtlCol="1"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ar-SA" sz="1800" b="1" i="0" u="none" strike="noStrike" kern="1200" cap="none" spc="0" normalizeH="0" baseline="0" noProof="0" dirty="0">
                <a:ln>
                  <a:noFill/>
                </a:ln>
                <a:solidFill>
                  <a:prstClr val="white"/>
                </a:solidFill>
                <a:effectLst/>
                <a:uLnTx/>
                <a:uFillTx/>
                <a:latin typeface="Century Gothic" panose="020B0502020202020204"/>
                <a:ea typeface="+mn-ea"/>
                <a:cs typeface="Arial" panose="020B0604020202020204" pitchFamily="34" charset="0"/>
              </a:rPr>
              <a:t>ملف تفاعلي مساند للمعلم والمدرسة  في مجال اختبارات</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ar-SA" sz="1800" b="1" i="0" u="none" strike="noStrike" kern="1200" cap="none" spc="0" normalizeH="0" baseline="0" noProof="0" dirty="0">
                <a:ln>
                  <a:noFill/>
                </a:ln>
                <a:solidFill>
                  <a:prstClr val="white"/>
                </a:solidFill>
                <a:effectLst/>
                <a:uLnTx/>
                <a:uFillTx/>
                <a:latin typeface="Century Gothic" panose="020B0502020202020204"/>
                <a:ea typeface="+mn-ea"/>
                <a:cs typeface="Arial" panose="020B0604020202020204" pitchFamily="34" charset="0"/>
              </a:rPr>
              <a:t>(نافس – مهاراتي – القدرات – التحصيلي) </a:t>
            </a:r>
          </a:p>
        </p:txBody>
      </p:sp>
      <p:pic>
        <p:nvPicPr>
          <p:cNvPr id="12" name="صورة 11">
            <a:hlinkClick r:id="rId3"/>
            <a:extLst>
              <a:ext uri="{FF2B5EF4-FFF2-40B4-BE49-F238E27FC236}">
                <a16:creationId xmlns:a16="http://schemas.microsoft.com/office/drawing/2014/main" id="{49C11DC4-58FC-415E-84EB-754CF54B3853}"/>
              </a:ext>
            </a:extLst>
          </p:cNvPr>
          <p:cNvPicPr>
            <a:picLocks noChangeAspect="1"/>
          </p:cNvPicPr>
          <p:nvPr/>
        </p:nvPicPr>
        <p:blipFill>
          <a:blip r:embed="rId4"/>
          <a:stretch>
            <a:fillRect/>
          </a:stretch>
        </p:blipFill>
        <p:spPr>
          <a:xfrm>
            <a:off x="1206368" y="3883936"/>
            <a:ext cx="2333349" cy="2333349"/>
          </a:xfrm>
          <a:prstGeom prst="rect">
            <a:avLst/>
          </a:prstGeom>
        </p:spPr>
      </p:pic>
      <p:pic>
        <p:nvPicPr>
          <p:cNvPr id="13" name="صورة 12" descr="صورة تحتوي على لقطة شاشة, الخط, نص, الرسومات&#10;&#10;تم إنشاء الوصف تلقائياً">
            <a:extLst>
              <a:ext uri="{FF2B5EF4-FFF2-40B4-BE49-F238E27FC236}">
                <a16:creationId xmlns:a16="http://schemas.microsoft.com/office/drawing/2014/main" id="{5C4EDFFB-0478-BE3F-CD8D-46121CBD3AF4}"/>
              </a:ext>
            </a:extLst>
          </p:cNvPr>
          <p:cNvPicPr>
            <a:picLocks noChangeAspect="1"/>
          </p:cNvPicPr>
          <p:nvPr/>
        </p:nvPicPr>
        <p:blipFill>
          <a:blip r:embed="rId5"/>
          <a:stretch>
            <a:fillRect/>
          </a:stretch>
        </p:blipFill>
        <p:spPr>
          <a:xfrm>
            <a:off x="59388" y="131758"/>
            <a:ext cx="1713833" cy="917972"/>
          </a:xfrm>
          <a:prstGeom prst="rect">
            <a:avLst/>
          </a:prstGeom>
        </p:spPr>
      </p:pic>
    </p:spTree>
    <p:extLst>
      <p:ext uri="{BB962C8B-B14F-4D97-AF65-F5344CB8AC3E}">
        <p14:creationId xmlns:p14="http://schemas.microsoft.com/office/powerpoint/2010/main" val="1590660624"/>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77DCF0B6-805F-0644-985E-59A61ECE224D}"/>
              </a:ext>
            </a:extLst>
          </p:cNvPr>
          <p:cNvGrpSpPr/>
          <p:nvPr/>
        </p:nvGrpSpPr>
        <p:grpSpPr>
          <a:xfrm>
            <a:off x="10815933" y="5175053"/>
            <a:ext cx="1393654" cy="1665587"/>
            <a:chOff x="4342847" y="1997765"/>
            <a:chExt cx="3250576" cy="4860235"/>
          </a:xfrm>
        </p:grpSpPr>
        <p:sp>
          <p:nvSpPr>
            <p:cNvPr id="5" name="Freeform 4">
              <a:extLst>
                <a:ext uri="{FF2B5EF4-FFF2-40B4-BE49-F238E27FC236}">
                  <a16:creationId xmlns:a16="http://schemas.microsoft.com/office/drawing/2014/main" id="{51F69DA5-387D-7647-8082-E4F80958133B}"/>
                </a:ext>
              </a:extLst>
            </p:cNvPr>
            <p:cNvSpPr>
              <a:spLocks/>
            </p:cNvSpPr>
            <p:nvPr/>
          </p:nvSpPr>
          <p:spPr bwMode="auto">
            <a:xfrm>
              <a:off x="5139863" y="4167620"/>
              <a:ext cx="2169856" cy="2690380"/>
            </a:xfrm>
            <a:custGeom>
              <a:avLst/>
              <a:gdLst>
                <a:gd name="T0" fmla="*/ 166 w 1528"/>
                <a:gd name="T1" fmla="*/ 474 h 1898"/>
                <a:gd name="T2" fmla="*/ 33 w 1528"/>
                <a:gd name="T3" fmla="*/ 318 h 1898"/>
                <a:gd name="T4" fmla="*/ 201 w 1528"/>
                <a:gd name="T5" fmla="*/ 279 h 1898"/>
                <a:gd name="T6" fmla="*/ 1139 w 1528"/>
                <a:gd name="T7" fmla="*/ 246 h 1898"/>
                <a:gd name="T8" fmla="*/ 1269 w 1528"/>
                <a:gd name="T9" fmla="*/ 1129 h 1898"/>
                <a:gd name="T10" fmla="*/ 1123 w 1528"/>
                <a:gd name="T11" fmla="*/ 1583 h 1898"/>
                <a:gd name="T12" fmla="*/ 1223 w 1528"/>
                <a:gd name="T13" fmla="*/ 1898 h 1898"/>
                <a:gd name="T14" fmla="*/ 510 w 1528"/>
                <a:gd name="T15" fmla="*/ 1898 h 1898"/>
                <a:gd name="T16" fmla="*/ 370 w 1528"/>
                <a:gd name="T17" fmla="*/ 1554 h 1898"/>
                <a:gd name="T18" fmla="*/ 147 w 1528"/>
                <a:gd name="T19" fmla="*/ 1420 h 1898"/>
                <a:gd name="T20" fmla="*/ 111 w 1528"/>
                <a:gd name="T21" fmla="*/ 1400 h 1898"/>
                <a:gd name="T22" fmla="*/ 116 w 1528"/>
                <a:gd name="T23" fmla="*/ 1326 h 1898"/>
                <a:gd name="T24" fmla="*/ 72 w 1528"/>
                <a:gd name="T25" fmla="*/ 1293 h 1898"/>
                <a:gd name="T26" fmla="*/ 105 w 1528"/>
                <a:gd name="T27" fmla="*/ 1203 h 1898"/>
                <a:gd name="T28" fmla="*/ 12 w 1528"/>
                <a:gd name="T29" fmla="*/ 1114 h 1898"/>
                <a:gd name="T30" fmla="*/ 139 w 1528"/>
                <a:gd name="T31" fmla="*/ 931 h 1898"/>
                <a:gd name="T32" fmla="*/ 166 w 1528"/>
                <a:gd name="T33" fmla="*/ 474 h 18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28" h="1898">
                  <a:moveTo>
                    <a:pt x="166" y="474"/>
                  </a:moveTo>
                  <a:cubicBezTo>
                    <a:pt x="166" y="474"/>
                    <a:pt x="0" y="470"/>
                    <a:pt x="33" y="318"/>
                  </a:cubicBezTo>
                  <a:cubicBezTo>
                    <a:pt x="33" y="318"/>
                    <a:pt x="78" y="376"/>
                    <a:pt x="201" y="279"/>
                  </a:cubicBezTo>
                  <a:cubicBezTo>
                    <a:pt x="325" y="182"/>
                    <a:pt x="750" y="0"/>
                    <a:pt x="1139" y="246"/>
                  </a:cubicBezTo>
                  <a:cubicBezTo>
                    <a:pt x="1528" y="493"/>
                    <a:pt x="1437" y="928"/>
                    <a:pt x="1269" y="1129"/>
                  </a:cubicBezTo>
                  <a:cubicBezTo>
                    <a:pt x="1100" y="1330"/>
                    <a:pt x="1048" y="1327"/>
                    <a:pt x="1123" y="1583"/>
                  </a:cubicBezTo>
                  <a:cubicBezTo>
                    <a:pt x="1197" y="1839"/>
                    <a:pt x="1223" y="1898"/>
                    <a:pt x="1223" y="1898"/>
                  </a:cubicBezTo>
                  <a:cubicBezTo>
                    <a:pt x="510" y="1898"/>
                    <a:pt x="510" y="1898"/>
                    <a:pt x="510" y="1898"/>
                  </a:cubicBezTo>
                  <a:cubicBezTo>
                    <a:pt x="510" y="1898"/>
                    <a:pt x="519" y="1551"/>
                    <a:pt x="370" y="1554"/>
                  </a:cubicBezTo>
                  <a:cubicBezTo>
                    <a:pt x="221" y="1557"/>
                    <a:pt x="103" y="1597"/>
                    <a:pt x="147" y="1420"/>
                  </a:cubicBezTo>
                  <a:cubicBezTo>
                    <a:pt x="147" y="1420"/>
                    <a:pt x="144" y="1396"/>
                    <a:pt x="111" y="1400"/>
                  </a:cubicBezTo>
                  <a:cubicBezTo>
                    <a:pt x="90" y="1402"/>
                    <a:pt x="65" y="1334"/>
                    <a:pt x="116" y="1326"/>
                  </a:cubicBezTo>
                  <a:cubicBezTo>
                    <a:pt x="116" y="1326"/>
                    <a:pt x="60" y="1327"/>
                    <a:pt x="72" y="1293"/>
                  </a:cubicBezTo>
                  <a:cubicBezTo>
                    <a:pt x="83" y="1259"/>
                    <a:pt x="126" y="1233"/>
                    <a:pt x="105" y="1203"/>
                  </a:cubicBezTo>
                  <a:cubicBezTo>
                    <a:pt x="84" y="1173"/>
                    <a:pt x="5" y="1167"/>
                    <a:pt x="12" y="1114"/>
                  </a:cubicBezTo>
                  <a:cubicBezTo>
                    <a:pt x="20" y="1061"/>
                    <a:pt x="141" y="1004"/>
                    <a:pt x="139" y="931"/>
                  </a:cubicBezTo>
                  <a:cubicBezTo>
                    <a:pt x="137" y="857"/>
                    <a:pt x="30" y="583"/>
                    <a:pt x="166" y="474"/>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6" name="Oval 5">
              <a:extLst>
                <a:ext uri="{FF2B5EF4-FFF2-40B4-BE49-F238E27FC236}">
                  <a16:creationId xmlns:a16="http://schemas.microsoft.com/office/drawing/2014/main" id="{C87F8653-5059-8448-BFBF-5B535E98170B}"/>
                </a:ext>
              </a:extLst>
            </p:cNvPr>
            <p:cNvSpPr>
              <a:spLocks noChangeArrowheads="1"/>
            </p:cNvSpPr>
            <p:nvPr/>
          </p:nvSpPr>
          <p:spPr bwMode="auto">
            <a:xfrm>
              <a:off x="5855134" y="4527059"/>
              <a:ext cx="1121593" cy="1120390"/>
            </a:xfrm>
            <a:prstGeom prst="ellipse">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7" name="Oval 6">
              <a:extLst>
                <a:ext uri="{FF2B5EF4-FFF2-40B4-BE49-F238E27FC236}">
                  <a16:creationId xmlns:a16="http://schemas.microsoft.com/office/drawing/2014/main" id="{A2D2B18E-17FE-F84F-8168-05D82B1CF270}"/>
                </a:ext>
              </a:extLst>
            </p:cNvPr>
            <p:cNvSpPr>
              <a:spLocks noChangeArrowheads="1"/>
            </p:cNvSpPr>
            <p:nvPr/>
          </p:nvSpPr>
          <p:spPr bwMode="auto">
            <a:xfrm>
              <a:off x="5933273" y="4605198"/>
              <a:ext cx="966517" cy="964113"/>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8" name="Freeform 7">
              <a:extLst>
                <a:ext uri="{FF2B5EF4-FFF2-40B4-BE49-F238E27FC236}">
                  <a16:creationId xmlns:a16="http://schemas.microsoft.com/office/drawing/2014/main" id="{1E830FF8-FA26-8D41-81EE-F14D6C1548B5}"/>
                </a:ext>
              </a:extLst>
            </p:cNvPr>
            <p:cNvSpPr>
              <a:spLocks/>
            </p:cNvSpPr>
            <p:nvPr/>
          </p:nvSpPr>
          <p:spPr bwMode="auto">
            <a:xfrm>
              <a:off x="6054688" y="4813167"/>
              <a:ext cx="377471" cy="518121"/>
            </a:xfrm>
            <a:custGeom>
              <a:avLst/>
              <a:gdLst>
                <a:gd name="T0" fmla="*/ 266 w 266"/>
                <a:gd name="T1" fmla="*/ 362 h 365"/>
                <a:gd name="T2" fmla="*/ 53 w 266"/>
                <a:gd name="T3" fmla="*/ 365 h 365"/>
                <a:gd name="T4" fmla="*/ 0 w 266"/>
                <a:gd name="T5" fmla="*/ 68 h 365"/>
                <a:gd name="T6" fmla="*/ 211 w 266"/>
                <a:gd name="T7" fmla="*/ 52 h 365"/>
                <a:gd name="T8" fmla="*/ 266 w 266"/>
                <a:gd name="T9" fmla="*/ 362 h 365"/>
              </a:gdLst>
              <a:ahLst/>
              <a:cxnLst>
                <a:cxn ang="0">
                  <a:pos x="T0" y="T1"/>
                </a:cxn>
                <a:cxn ang="0">
                  <a:pos x="T2" y="T3"/>
                </a:cxn>
                <a:cxn ang="0">
                  <a:pos x="T4" y="T5"/>
                </a:cxn>
                <a:cxn ang="0">
                  <a:pos x="T6" y="T7"/>
                </a:cxn>
                <a:cxn ang="0">
                  <a:pos x="T8" y="T9"/>
                </a:cxn>
              </a:cxnLst>
              <a:rect l="0" t="0" r="r" b="b"/>
              <a:pathLst>
                <a:path w="266" h="365">
                  <a:moveTo>
                    <a:pt x="266" y="362"/>
                  </a:moveTo>
                  <a:cubicBezTo>
                    <a:pt x="266" y="362"/>
                    <a:pt x="187" y="299"/>
                    <a:pt x="53" y="365"/>
                  </a:cubicBezTo>
                  <a:cubicBezTo>
                    <a:pt x="0" y="68"/>
                    <a:pt x="0" y="68"/>
                    <a:pt x="0" y="68"/>
                  </a:cubicBezTo>
                  <a:cubicBezTo>
                    <a:pt x="0" y="68"/>
                    <a:pt x="90" y="0"/>
                    <a:pt x="211" y="52"/>
                  </a:cubicBezTo>
                  <a:lnTo>
                    <a:pt x="266" y="36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9" name="Freeform 8">
              <a:extLst>
                <a:ext uri="{FF2B5EF4-FFF2-40B4-BE49-F238E27FC236}">
                  <a16:creationId xmlns:a16="http://schemas.microsoft.com/office/drawing/2014/main" id="{0AA08E14-4596-4B4E-A929-9485F470C62B}"/>
                </a:ext>
              </a:extLst>
            </p:cNvPr>
            <p:cNvSpPr>
              <a:spLocks/>
            </p:cNvSpPr>
            <p:nvPr/>
          </p:nvSpPr>
          <p:spPr bwMode="auto">
            <a:xfrm>
              <a:off x="6354021" y="4831199"/>
              <a:ext cx="393099" cy="495280"/>
            </a:xfrm>
            <a:custGeom>
              <a:avLst/>
              <a:gdLst>
                <a:gd name="T0" fmla="*/ 327 w 327"/>
                <a:gd name="T1" fmla="*/ 366 h 412"/>
                <a:gd name="T2" fmla="*/ 65 w 327"/>
                <a:gd name="T3" fmla="*/ 412 h 412"/>
                <a:gd name="T4" fmla="*/ 0 w 327"/>
                <a:gd name="T5" fmla="*/ 47 h 412"/>
                <a:gd name="T6" fmla="*/ 262 w 327"/>
                <a:gd name="T7" fmla="*/ 0 h 412"/>
                <a:gd name="T8" fmla="*/ 327 w 327"/>
                <a:gd name="T9" fmla="*/ 366 h 412"/>
              </a:gdLst>
              <a:ahLst/>
              <a:cxnLst>
                <a:cxn ang="0">
                  <a:pos x="T0" y="T1"/>
                </a:cxn>
                <a:cxn ang="0">
                  <a:pos x="T2" y="T3"/>
                </a:cxn>
                <a:cxn ang="0">
                  <a:pos x="T4" y="T5"/>
                </a:cxn>
                <a:cxn ang="0">
                  <a:pos x="T6" y="T7"/>
                </a:cxn>
                <a:cxn ang="0">
                  <a:pos x="T8" y="T9"/>
                </a:cxn>
              </a:cxnLst>
              <a:rect l="0" t="0" r="r" b="b"/>
              <a:pathLst>
                <a:path w="327" h="412">
                  <a:moveTo>
                    <a:pt x="327" y="366"/>
                  </a:moveTo>
                  <a:lnTo>
                    <a:pt x="65" y="412"/>
                  </a:lnTo>
                  <a:lnTo>
                    <a:pt x="0" y="47"/>
                  </a:lnTo>
                  <a:lnTo>
                    <a:pt x="262" y="0"/>
                  </a:lnTo>
                  <a:lnTo>
                    <a:pt x="327" y="366"/>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0" name="Oval 9">
              <a:extLst>
                <a:ext uri="{FF2B5EF4-FFF2-40B4-BE49-F238E27FC236}">
                  <a16:creationId xmlns:a16="http://schemas.microsoft.com/office/drawing/2014/main" id="{F01B7D68-7F52-5A4F-9044-F54B7F591964}"/>
                </a:ext>
              </a:extLst>
            </p:cNvPr>
            <p:cNvSpPr>
              <a:spLocks noChangeArrowheads="1"/>
            </p:cNvSpPr>
            <p:nvPr/>
          </p:nvSpPr>
          <p:spPr bwMode="auto">
            <a:xfrm>
              <a:off x="5234832" y="1997765"/>
              <a:ext cx="1574798" cy="1572393"/>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1" name="Oval 10">
              <a:extLst>
                <a:ext uri="{FF2B5EF4-FFF2-40B4-BE49-F238E27FC236}">
                  <a16:creationId xmlns:a16="http://schemas.microsoft.com/office/drawing/2014/main" id="{FA3D6D37-BF60-AC45-822E-286441DC92C5}"/>
                </a:ext>
              </a:extLst>
            </p:cNvPr>
            <p:cNvSpPr>
              <a:spLocks noChangeArrowheads="1"/>
            </p:cNvSpPr>
            <p:nvPr/>
          </p:nvSpPr>
          <p:spPr bwMode="auto">
            <a:xfrm>
              <a:off x="5321386" y="2083117"/>
              <a:ext cx="1402893" cy="1400488"/>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2" name="Oval 11">
              <a:extLst>
                <a:ext uri="{FF2B5EF4-FFF2-40B4-BE49-F238E27FC236}">
                  <a16:creationId xmlns:a16="http://schemas.microsoft.com/office/drawing/2014/main" id="{DC4B35BF-7A75-374E-845F-305A7EA87C1C}"/>
                </a:ext>
              </a:extLst>
            </p:cNvPr>
            <p:cNvSpPr>
              <a:spLocks noChangeArrowheads="1"/>
            </p:cNvSpPr>
            <p:nvPr/>
          </p:nvSpPr>
          <p:spPr bwMode="auto">
            <a:xfrm>
              <a:off x="6721874" y="2993133"/>
              <a:ext cx="871549" cy="870346"/>
            </a:xfrm>
            <a:prstGeom prst="ellipse">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3" name="Oval 12">
              <a:extLst>
                <a:ext uri="{FF2B5EF4-FFF2-40B4-BE49-F238E27FC236}">
                  <a16:creationId xmlns:a16="http://schemas.microsoft.com/office/drawing/2014/main" id="{C79B6C14-3D58-5442-8EC4-122688D986AF}"/>
                </a:ext>
              </a:extLst>
            </p:cNvPr>
            <p:cNvSpPr>
              <a:spLocks noChangeArrowheads="1"/>
            </p:cNvSpPr>
            <p:nvPr/>
          </p:nvSpPr>
          <p:spPr bwMode="auto">
            <a:xfrm>
              <a:off x="6783183" y="3053240"/>
              <a:ext cx="748931" cy="750133"/>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4" name="Oval 13">
              <a:extLst>
                <a:ext uri="{FF2B5EF4-FFF2-40B4-BE49-F238E27FC236}">
                  <a16:creationId xmlns:a16="http://schemas.microsoft.com/office/drawing/2014/main" id="{A61CE12A-ED3A-5847-8A58-EAD413A9A6A2}"/>
                </a:ext>
              </a:extLst>
            </p:cNvPr>
            <p:cNvSpPr>
              <a:spLocks noChangeArrowheads="1"/>
            </p:cNvSpPr>
            <p:nvPr/>
          </p:nvSpPr>
          <p:spPr bwMode="auto">
            <a:xfrm>
              <a:off x="5801038" y="3232359"/>
              <a:ext cx="1211753" cy="1209349"/>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5" name="Oval 14">
              <a:extLst>
                <a:ext uri="{FF2B5EF4-FFF2-40B4-BE49-F238E27FC236}">
                  <a16:creationId xmlns:a16="http://schemas.microsoft.com/office/drawing/2014/main" id="{7E1F28C4-62F9-9D4F-A793-78BF0FAD8CB8}"/>
                </a:ext>
              </a:extLst>
            </p:cNvPr>
            <p:cNvSpPr>
              <a:spLocks noChangeArrowheads="1"/>
            </p:cNvSpPr>
            <p:nvPr/>
          </p:nvSpPr>
          <p:spPr bwMode="auto">
            <a:xfrm>
              <a:off x="5885188" y="3316508"/>
              <a:ext cx="1043454" cy="1042252"/>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6" name="Oval 15">
              <a:extLst>
                <a:ext uri="{FF2B5EF4-FFF2-40B4-BE49-F238E27FC236}">
                  <a16:creationId xmlns:a16="http://schemas.microsoft.com/office/drawing/2014/main" id="{B08346B6-0060-1D4E-B0B1-FC32AE059F30}"/>
                </a:ext>
              </a:extLst>
            </p:cNvPr>
            <p:cNvSpPr>
              <a:spLocks noChangeArrowheads="1"/>
            </p:cNvSpPr>
            <p:nvPr/>
          </p:nvSpPr>
          <p:spPr bwMode="auto">
            <a:xfrm>
              <a:off x="6447787" y="4127949"/>
              <a:ext cx="720080" cy="720080"/>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7" name="Oval 16">
              <a:extLst>
                <a:ext uri="{FF2B5EF4-FFF2-40B4-BE49-F238E27FC236}">
                  <a16:creationId xmlns:a16="http://schemas.microsoft.com/office/drawing/2014/main" id="{B67CDC56-CD19-F247-BC93-89FD028005D4}"/>
                </a:ext>
              </a:extLst>
            </p:cNvPr>
            <p:cNvSpPr>
              <a:spLocks noChangeArrowheads="1"/>
            </p:cNvSpPr>
            <p:nvPr/>
          </p:nvSpPr>
          <p:spPr bwMode="auto">
            <a:xfrm>
              <a:off x="6497074" y="4177237"/>
              <a:ext cx="620302" cy="620302"/>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8" name="Oval 17">
              <a:extLst>
                <a:ext uri="{FF2B5EF4-FFF2-40B4-BE49-F238E27FC236}">
                  <a16:creationId xmlns:a16="http://schemas.microsoft.com/office/drawing/2014/main" id="{1131CE38-A298-A049-BC74-DBE27922D846}"/>
                </a:ext>
              </a:extLst>
            </p:cNvPr>
            <p:cNvSpPr>
              <a:spLocks noChangeArrowheads="1"/>
            </p:cNvSpPr>
            <p:nvPr/>
          </p:nvSpPr>
          <p:spPr bwMode="auto">
            <a:xfrm>
              <a:off x="5285321" y="3623052"/>
              <a:ext cx="720080" cy="720080"/>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9" name="Oval 18">
              <a:extLst>
                <a:ext uri="{FF2B5EF4-FFF2-40B4-BE49-F238E27FC236}">
                  <a16:creationId xmlns:a16="http://schemas.microsoft.com/office/drawing/2014/main" id="{CFB0D769-951B-8244-8921-B3E0D1039199}"/>
                </a:ext>
              </a:extLst>
            </p:cNvPr>
            <p:cNvSpPr>
              <a:spLocks noChangeArrowheads="1"/>
            </p:cNvSpPr>
            <p:nvPr/>
          </p:nvSpPr>
          <p:spPr bwMode="auto">
            <a:xfrm>
              <a:off x="5335811" y="3672340"/>
              <a:ext cx="620302" cy="621505"/>
            </a:xfrm>
            <a:prstGeom prst="ellipse">
              <a:avLst/>
            </a:pr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0" name="Oval 19">
              <a:extLst>
                <a:ext uri="{FF2B5EF4-FFF2-40B4-BE49-F238E27FC236}">
                  <a16:creationId xmlns:a16="http://schemas.microsoft.com/office/drawing/2014/main" id="{7D2C8744-70EA-EF49-972A-9BBE77CD88FB}"/>
                </a:ext>
              </a:extLst>
            </p:cNvPr>
            <p:cNvSpPr>
              <a:spLocks noChangeArrowheads="1"/>
            </p:cNvSpPr>
            <p:nvPr/>
          </p:nvSpPr>
          <p:spPr bwMode="auto">
            <a:xfrm>
              <a:off x="4342847" y="2931825"/>
              <a:ext cx="1263445" cy="1261041"/>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1" name="Oval 20">
              <a:extLst>
                <a:ext uri="{FF2B5EF4-FFF2-40B4-BE49-F238E27FC236}">
                  <a16:creationId xmlns:a16="http://schemas.microsoft.com/office/drawing/2014/main" id="{40843580-CB7B-4942-91DB-644A33573019}"/>
                </a:ext>
              </a:extLst>
            </p:cNvPr>
            <p:cNvSpPr>
              <a:spLocks noChangeArrowheads="1"/>
            </p:cNvSpPr>
            <p:nvPr/>
          </p:nvSpPr>
          <p:spPr bwMode="auto">
            <a:xfrm>
              <a:off x="4430603" y="3018379"/>
              <a:ext cx="1087933" cy="1086731"/>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2" name="Freeform 21">
              <a:extLst>
                <a:ext uri="{FF2B5EF4-FFF2-40B4-BE49-F238E27FC236}">
                  <a16:creationId xmlns:a16="http://schemas.microsoft.com/office/drawing/2014/main" id="{279485DB-E5BA-2C43-8DF5-7E82B9124F6F}"/>
                </a:ext>
              </a:extLst>
            </p:cNvPr>
            <p:cNvSpPr>
              <a:spLocks noEditPoints="1"/>
            </p:cNvSpPr>
            <p:nvPr/>
          </p:nvSpPr>
          <p:spPr bwMode="auto">
            <a:xfrm>
              <a:off x="4537593" y="3153018"/>
              <a:ext cx="794612" cy="825868"/>
            </a:xfrm>
            <a:custGeom>
              <a:avLst/>
              <a:gdLst>
                <a:gd name="T0" fmla="*/ 12 w 560"/>
                <a:gd name="T1" fmla="*/ 225 h 582"/>
                <a:gd name="T2" fmla="*/ 287 w 560"/>
                <a:gd name="T3" fmla="*/ 1 h 582"/>
                <a:gd name="T4" fmla="*/ 451 w 560"/>
                <a:gd name="T5" fmla="*/ 565 h 582"/>
                <a:gd name="T6" fmla="*/ 500 w 560"/>
                <a:gd name="T7" fmla="*/ 552 h 582"/>
                <a:gd name="T8" fmla="*/ 504 w 560"/>
                <a:gd name="T9" fmla="*/ 515 h 582"/>
                <a:gd name="T10" fmla="*/ 431 w 560"/>
                <a:gd name="T11" fmla="*/ 481 h 582"/>
                <a:gd name="T12" fmla="*/ 497 w 560"/>
                <a:gd name="T13" fmla="*/ 526 h 582"/>
                <a:gd name="T14" fmla="*/ 545 w 560"/>
                <a:gd name="T15" fmla="*/ 426 h 582"/>
                <a:gd name="T16" fmla="*/ 519 w 560"/>
                <a:gd name="T17" fmla="*/ 421 h 582"/>
                <a:gd name="T18" fmla="*/ 455 w 560"/>
                <a:gd name="T19" fmla="*/ 415 h 582"/>
                <a:gd name="T20" fmla="*/ 474 w 560"/>
                <a:gd name="T21" fmla="*/ 408 h 582"/>
                <a:gd name="T22" fmla="*/ 462 w 560"/>
                <a:gd name="T23" fmla="*/ 409 h 582"/>
                <a:gd name="T24" fmla="*/ 455 w 560"/>
                <a:gd name="T25" fmla="*/ 402 h 582"/>
                <a:gd name="T26" fmla="*/ 444 w 560"/>
                <a:gd name="T27" fmla="*/ 445 h 582"/>
                <a:gd name="T28" fmla="*/ 401 w 560"/>
                <a:gd name="T29" fmla="*/ 440 h 582"/>
                <a:gd name="T30" fmla="*/ 407 w 560"/>
                <a:gd name="T31" fmla="*/ 427 h 582"/>
                <a:gd name="T32" fmla="*/ 325 w 560"/>
                <a:gd name="T33" fmla="*/ 399 h 582"/>
                <a:gd name="T34" fmla="*/ 463 w 560"/>
                <a:gd name="T35" fmla="*/ 365 h 582"/>
                <a:gd name="T36" fmla="*/ 450 w 560"/>
                <a:gd name="T37" fmla="*/ 363 h 582"/>
                <a:gd name="T38" fmla="*/ 447 w 560"/>
                <a:gd name="T39" fmla="*/ 320 h 582"/>
                <a:gd name="T40" fmla="*/ 437 w 560"/>
                <a:gd name="T41" fmla="*/ 290 h 582"/>
                <a:gd name="T42" fmla="*/ 477 w 560"/>
                <a:gd name="T43" fmla="*/ 244 h 582"/>
                <a:gd name="T44" fmla="*/ 526 w 560"/>
                <a:gd name="T45" fmla="*/ 169 h 582"/>
                <a:gd name="T46" fmla="*/ 508 w 560"/>
                <a:gd name="T47" fmla="*/ 70 h 582"/>
                <a:gd name="T48" fmla="*/ 402 w 560"/>
                <a:gd name="T49" fmla="*/ 25 h 582"/>
                <a:gd name="T50" fmla="*/ 384 w 560"/>
                <a:gd name="T51" fmla="*/ 26 h 582"/>
                <a:gd name="T52" fmla="*/ 331 w 560"/>
                <a:gd name="T53" fmla="*/ 16 h 582"/>
                <a:gd name="T54" fmla="*/ 317 w 560"/>
                <a:gd name="T55" fmla="*/ 10 h 582"/>
                <a:gd name="T56" fmla="*/ 312 w 560"/>
                <a:gd name="T57" fmla="*/ 10 h 582"/>
                <a:gd name="T58" fmla="*/ 239 w 560"/>
                <a:gd name="T59" fmla="*/ 32 h 582"/>
                <a:gd name="T60" fmla="*/ 290 w 560"/>
                <a:gd name="T61" fmla="*/ 7 h 582"/>
                <a:gd name="T62" fmla="*/ 286 w 560"/>
                <a:gd name="T63" fmla="*/ 6 h 582"/>
                <a:gd name="T64" fmla="*/ 279 w 560"/>
                <a:gd name="T65" fmla="*/ 7 h 582"/>
                <a:gd name="T66" fmla="*/ 251 w 560"/>
                <a:gd name="T67" fmla="*/ 8 h 582"/>
                <a:gd name="T68" fmla="*/ 64 w 560"/>
                <a:gd name="T69" fmla="*/ 243 h 582"/>
                <a:gd name="T70" fmla="*/ 126 w 560"/>
                <a:gd name="T71" fmla="*/ 285 h 582"/>
                <a:gd name="T72" fmla="*/ 443 w 560"/>
                <a:gd name="T73" fmla="*/ 204 h 582"/>
                <a:gd name="T74" fmla="*/ 190 w 560"/>
                <a:gd name="T75" fmla="*/ 59 h 582"/>
                <a:gd name="T76" fmla="*/ 184 w 560"/>
                <a:gd name="T77" fmla="*/ 45 h 582"/>
                <a:gd name="T78" fmla="*/ 122 w 560"/>
                <a:gd name="T79" fmla="*/ 70 h 582"/>
                <a:gd name="T80" fmla="*/ 131 w 560"/>
                <a:gd name="T81" fmla="*/ 91 h 582"/>
                <a:gd name="T82" fmla="*/ 430 w 560"/>
                <a:gd name="T83" fmla="*/ 41 h 582"/>
                <a:gd name="T84" fmla="*/ 476 w 560"/>
                <a:gd name="T85" fmla="*/ 98 h 582"/>
                <a:gd name="T86" fmla="*/ 496 w 560"/>
                <a:gd name="T87" fmla="*/ 67 h 582"/>
                <a:gd name="T88" fmla="*/ 97 w 560"/>
                <a:gd name="T89" fmla="*/ 103 h 582"/>
                <a:gd name="T90" fmla="*/ 77 w 560"/>
                <a:gd name="T91" fmla="*/ 116 h 582"/>
                <a:gd name="T92" fmla="*/ 38 w 560"/>
                <a:gd name="T93" fmla="*/ 175 h 582"/>
                <a:gd name="T94" fmla="*/ 54 w 560"/>
                <a:gd name="T95" fmla="*/ 192 h 582"/>
                <a:gd name="T96" fmla="*/ 74 w 560"/>
                <a:gd name="T97" fmla="*/ 215 h 582"/>
                <a:gd name="T98" fmla="*/ 463 w 560"/>
                <a:gd name="T99" fmla="*/ 124 h 582"/>
                <a:gd name="T100" fmla="*/ 485 w 560"/>
                <a:gd name="T101" fmla="*/ 138 h 582"/>
                <a:gd name="T102" fmla="*/ 371 w 560"/>
                <a:gd name="T103" fmla="*/ 34 h 582"/>
                <a:gd name="T104" fmla="*/ 331 w 560"/>
                <a:gd name="T105" fmla="*/ 19 h 582"/>
                <a:gd name="T106" fmla="*/ 277 w 560"/>
                <a:gd name="T107" fmla="*/ 41 h 582"/>
                <a:gd name="T108" fmla="*/ 252 w 560"/>
                <a:gd name="T109" fmla="*/ 51 h 582"/>
                <a:gd name="T110" fmla="*/ 164 w 560"/>
                <a:gd name="T111" fmla="*/ 279 h 582"/>
                <a:gd name="T112" fmla="*/ 362 w 560"/>
                <a:gd name="T113" fmla="*/ 404 h 582"/>
                <a:gd name="T114" fmla="*/ 90 w 560"/>
                <a:gd name="T115" fmla="*/ 93 h 582"/>
                <a:gd name="T116" fmla="*/ 71 w 560"/>
                <a:gd name="T117" fmla="*/ 113 h 582"/>
                <a:gd name="T118" fmla="*/ 85 w 560"/>
                <a:gd name="T119" fmla="*/ 338 h 582"/>
                <a:gd name="T120" fmla="*/ 100 w 560"/>
                <a:gd name="T121" fmla="*/ 448 h 582"/>
                <a:gd name="T122" fmla="*/ 289 w 560"/>
                <a:gd name="T123" fmla="*/ 1 h 582"/>
                <a:gd name="T124" fmla="*/ 275 w 560"/>
                <a:gd name="T125" fmla="*/ 2 h 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0" h="582">
                  <a:moveTo>
                    <a:pt x="20" y="202"/>
                  </a:moveTo>
                  <a:cubicBezTo>
                    <a:pt x="19" y="202"/>
                    <a:pt x="19" y="202"/>
                    <a:pt x="19" y="202"/>
                  </a:cubicBezTo>
                  <a:cubicBezTo>
                    <a:pt x="19" y="202"/>
                    <a:pt x="19" y="202"/>
                    <a:pt x="19" y="202"/>
                  </a:cubicBezTo>
                  <a:cubicBezTo>
                    <a:pt x="19" y="202"/>
                    <a:pt x="19" y="203"/>
                    <a:pt x="19" y="203"/>
                  </a:cubicBezTo>
                  <a:cubicBezTo>
                    <a:pt x="19" y="203"/>
                    <a:pt x="19" y="202"/>
                    <a:pt x="20" y="202"/>
                  </a:cubicBezTo>
                  <a:moveTo>
                    <a:pt x="20" y="201"/>
                  </a:moveTo>
                  <a:cubicBezTo>
                    <a:pt x="20" y="201"/>
                    <a:pt x="20" y="201"/>
                    <a:pt x="19" y="202"/>
                  </a:cubicBezTo>
                  <a:cubicBezTo>
                    <a:pt x="19" y="202"/>
                    <a:pt x="19" y="202"/>
                    <a:pt x="19" y="202"/>
                  </a:cubicBezTo>
                  <a:cubicBezTo>
                    <a:pt x="20" y="201"/>
                    <a:pt x="20" y="201"/>
                    <a:pt x="20" y="201"/>
                  </a:cubicBezTo>
                  <a:moveTo>
                    <a:pt x="20" y="201"/>
                  </a:moveTo>
                  <a:cubicBezTo>
                    <a:pt x="20" y="201"/>
                    <a:pt x="20" y="201"/>
                    <a:pt x="20" y="201"/>
                  </a:cubicBezTo>
                  <a:cubicBezTo>
                    <a:pt x="20" y="201"/>
                    <a:pt x="20" y="201"/>
                    <a:pt x="20" y="202"/>
                  </a:cubicBezTo>
                  <a:cubicBezTo>
                    <a:pt x="19" y="202"/>
                    <a:pt x="19" y="202"/>
                    <a:pt x="19" y="202"/>
                  </a:cubicBezTo>
                  <a:cubicBezTo>
                    <a:pt x="20" y="201"/>
                    <a:pt x="20" y="201"/>
                    <a:pt x="20" y="201"/>
                  </a:cubicBezTo>
                  <a:moveTo>
                    <a:pt x="20" y="200"/>
                  </a:moveTo>
                  <a:cubicBezTo>
                    <a:pt x="22" y="196"/>
                    <a:pt x="23" y="192"/>
                    <a:pt x="25" y="189"/>
                  </a:cubicBezTo>
                  <a:cubicBezTo>
                    <a:pt x="23" y="192"/>
                    <a:pt x="23" y="192"/>
                    <a:pt x="23" y="192"/>
                  </a:cubicBezTo>
                  <a:cubicBezTo>
                    <a:pt x="22" y="194"/>
                    <a:pt x="22" y="196"/>
                    <a:pt x="21" y="198"/>
                  </a:cubicBezTo>
                  <a:cubicBezTo>
                    <a:pt x="21" y="199"/>
                    <a:pt x="20" y="200"/>
                    <a:pt x="20" y="201"/>
                  </a:cubicBezTo>
                  <a:cubicBezTo>
                    <a:pt x="20" y="201"/>
                    <a:pt x="20" y="200"/>
                    <a:pt x="20" y="200"/>
                  </a:cubicBezTo>
                  <a:moveTo>
                    <a:pt x="21" y="197"/>
                  </a:moveTo>
                  <a:cubicBezTo>
                    <a:pt x="21" y="197"/>
                    <a:pt x="22" y="196"/>
                    <a:pt x="22" y="196"/>
                  </a:cubicBezTo>
                  <a:cubicBezTo>
                    <a:pt x="22" y="196"/>
                    <a:pt x="22" y="195"/>
                    <a:pt x="22" y="195"/>
                  </a:cubicBezTo>
                  <a:cubicBezTo>
                    <a:pt x="22" y="195"/>
                    <a:pt x="22" y="194"/>
                    <a:pt x="23" y="194"/>
                  </a:cubicBezTo>
                  <a:cubicBezTo>
                    <a:pt x="23" y="192"/>
                    <a:pt x="24" y="190"/>
                    <a:pt x="25" y="189"/>
                  </a:cubicBezTo>
                  <a:cubicBezTo>
                    <a:pt x="25" y="189"/>
                    <a:pt x="25" y="189"/>
                    <a:pt x="25" y="189"/>
                  </a:cubicBezTo>
                  <a:cubicBezTo>
                    <a:pt x="23" y="192"/>
                    <a:pt x="22" y="196"/>
                    <a:pt x="20" y="200"/>
                  </a:cubicBezTo>
                  <a:cubicBezTo>
                    <a:pt x="20" y="199"/>
                    <a:pt x="21" y="198"/>
                    <a:pt x="21" y="197"/>
                  </a:cubicBezTo>
                  <a:moveTo>
                    <a:pt x="28" y="180"/>
                  </a:moveTo>
                  <a:cubicBezTo>
                    <a:pt x="31" y="174"/>
                    <a:pt x="32" y="172"/>
                    <a:pt x="33" y="170"/>
                  </a:cubicBezTo>
                  <a:cubicBezTo>
                    <a:pt x="34" y="169"/>
                    <a:pt x="34" y="169"/>
                    <a:pt x="34" y="169"/>
                  </a:cubicBezTo>
                  <a:cubicBezTo>
                    <a:pt x="33" y="170"/>
                    <a:pt x="33" y="170"/>
                    <a:pt x="33" y="170"/>
                  </a:cubicBezTo>
                  <a:cubicBezTo>
                    <a:pt x="34" y="169"/>
                    <a:pt x="34" y="168"/>
                    <a:pt x="34" y="168"/>
                  </a:cubicBezTo>
                  <a:cubicBezTo>
                    <a:pt x="34" y="168"/>
                    <a:pt x="34" y="168"/>
                    <a:pt x="34" y="169"/>
                  </a:cubicBezTo>
                  <a:cubicBezTo>
                    <a:pt x="33" y="170"/>
                    <a:pt x="33" y="171"/>
                    <a:pt x="32" y="172"/>
                  </a:cubicBezTo>
                  <a:cubicBezTo>
                    <a:pt x="31" y="176"/>
                    <a:pt x="29" y="179"/>
                    <a:pt x="28" y="182"/>
                  </a:cubicBezTo>
                  <a:cubicBezTo>
                    <a:pt x="27" y="183"/>
                    <a:pt x="27" y="184"/>
                    <a:pt x="26" y="186"/>
                  </a:cubicBezTo>
                  <a:cubicBezTo>
                    <a:pt x="27" y="184"/>
                    <a:pt x="27" y="182"/>
                    <a:pt x="28" y="180"/>
                  </a:cubicBezTo>
                  <a:moveTo>
                    <a:pt x="6" y="368"/>
                  </a:moveTo>
                  <a:cubicBezTo>
                    <a:pt x="6" y="368"/>
                    <a:pt x="6" y="368"/>
                    <a:pt x="6" y="368"/>
                  </a:cubicBezTo>
                  <a:cubicBezTo>
                    <a:pt x="6" y="367"/>
                    <a:pt x="6" y="366"/>
                    <a:pt x="6" y="365"/>
                  </a:cubicBezTo>
                  <a:cubicBezTo>
                    <a:pt x="6" y="366"/>
                    <a:pt x="6" y="367"/>
                    <a:pt x="7" y="369"/>
                  </a:cubicBezTo>
                  <a:cubicBezTo>
                    <a:pt x="6" y="369"/>
                    <a:pt x="6" y="368"/>
                    <a:pt x="6" y="368"/>
                  </a:cubicBezTo>
                  <a:moveTo>
                    <a:pt x="1" y="326"/>
                  </a:moveTo>
                  <a:cubicBezTo>
                    <a:pt x="1" y="328"/>
                    <a:pt x="1" y="330"/>
                    <a:pt x="1" y="332"/>
                  </a:cubicBezTo>
                  <a:cubicBezTo>
                    <a:pt x="2" y="334"/>
                    <a:pt x="2" y="334"/>
                    <a:pt x="2" y="334"/>
                  </a:cubicBezTo>
                  <a:cubicBezTo>
                    <a:pt x="1" y="332"/>
                    <a:pt x="1" y="329"/>
                    <a:pt x="1" y="326"/>
                  </a:cubicBezTo>
                  <a:moveTo>
                    <a:pt x="1" y="285"/>
                  </a:moveTo>
                  <a:cubicBezTo>
                    <a:pt x="1" y="290"/>
                    <a:pt x="1" y="295"/>
                    <a:pt x="1" y="301"/>
                  </a:cubicBezTo>
                  <a:cubicBezTo>
                    <a:pt x="1" y="303"/>
                    <a:pt x="1" y="305"/>
                    <a:pt x="0" y="306"/>
                  </a:cubicBezTo>
                  <a:cubicBezTo>
                    <a:pt x="0" y="306"/>
                    <a:pt x="0" y="306"/>
                    <a:pt x="0" y="306"/>
                  </a:cubicBezTo>
                  <a:cubicBezTo>
                    <a:pt x="1" y="297"/>
                    <a:pt x="1" y="293"/>
                    <a:pt x="1" y="285"/>
                  </a:cubicBezTo>
                  <a:moveTo>
                    <a:pt x="1" y="301"/>
                  </a:moveTo>
                  <a:cubicBezTo>
                    <a:pt x="1" y="302"/>
                    <a:pt x="1" y="303"/>
                    <a:pt x="1" y="305"/>
                  </a:cubicBezTo>
                  <a:cubicBezTo>
                    <a:pt x="0" y="306"/>
                    <a:pt x="0" y="306"/>
                    <a:pt x="0" y="306"/>
                  </a:cubicBezTo>
                  <a:cubicBezTo>
                    <a:pt x="1" y="305"/>
                    <a:pt x="1" y="303"/>
                    <a:pt x="1" y="301"/>
                  </a:cubicBezTo>
                  <a:moveTo>
                    <a:pt x="14" y="218"/>
                  </a:moveTo>
                  <a:cubicBezTo>
                    <a:pt x="14" y="219"/>
                    <a:pt x="13" y="220"/>
                    <a:pt x="13" y="221"/>
                  </a:cubicBezTo>
                  <a:cubicBezTo>
                    <a:pt x="13" y="222"/>
                    <a:pt x="13" y="223"/>
                    <a:pt x="13" y="223"/>
                  </a:cubicBezTo>
                  <a:cubicBezTo>
                    <a:pt x="12" y="224"/>
                    <a:pt x="12" y="225"/>
                    <a:pt x="12" y="225"/>
                  </a:cubicBezTo>
                  <a:cubicBezTo>
                    <a:pt x="12" y="225"/>
                    <a:pt x="12" y="225"/>
                    <a:pt x="12" y="225"/>
                  </a:cubicBezTo>
                  <a:cubicBezTo>
                    <a:pt x="12" y="223"/>
                    <a:pt x="13" y="221"/>
                    <a:pt x="14" y="218"/>
                  </a:cubicBezTo>
                  <a:moveTo>
                    <a:pt x="14" y="218"/>
                  </a:moveTo>
                  <a:cubicBezTo>
                    <a:pt x="14" y="217"/>
                    <a:pt x="14" y="217"/>
                    <a:pt x="14" y="217"/>
                  </a:cubicBezTo>
                  <a:cubicBezTo>
                    <a:pt x="14" y="218"/>
                    <a:pt x="14" y="218"/>
                    <a:pt x="14" y="218"/>
                  </a:cubicBezTo>
                  <a:cubicBezTo>
                    <a:pt x="14" y="218"/>
                    <a:pt x="14" y="218"/>
                    <a:pt x="14" y="218"/>
                  </a:cubicBezTo>
                  <a:moveTo>
                    <a:pt x="280" y="1"/>
                  </a:moveTo>
                  <a:cubicBezTo>
                    <a:pt x="281" y="1"/>
                    <a:pt x="281" y="1"/>
                    <a:pt x="281" y="1"/>
                  </a:cubicBezTo>
                  <a:cubicBezTo>
                    <a:pt x="281" y="1"/>
                    <a:pt x="281" y="1"/>
                    <a:pt x="281" y="1"/>
                  </a:cubicBezTo>
                  <a:cubicBezTo>
                    <a:pt x="281" y="1"/>
                    <a:pt x="281" y="1"/>
                    <a:pt x="281" y="1"/>
                  </a:cubicBezTo>
                  <a:cubicBezTo>
                    <a:pt x="281" y="1"/>
                    <a:pt x="281" y="1"/>
                    <a:pt x="281" y="1"/>
                  </a:cubicBezTo>
                  <a:cubicBezTo>
                    <a:pt x="282" y="1"/>
                    <a:pt x="282" y="1"/>
                    <a:pt x="282" y="1"/>
                  </a:cubicBezTo>
                  <a:cubicBezTo>
                    <a:pt x="282" y="1"/>
                    <a:pt x="283" y="1"/>
                    <a:pt x="283" y="1"/>
                  </a:cubicBezTo>
                  <a:cubicBezTo>
                    <a:pt x="283" y="1"/>
                    <a:pt x="283" y="1"/>
                    <a:pt x="283" y="1"/>
                  </a:cubicBezTo>
                  <a:cubicBezTo>
                    <a:pt x="284" y="1"/>
                    <a:pt x="284" y="1"/>
                    <a:pt x="284" y="1"/>
                  </a:cubicBezTo>
                  <a:cubicBezTo>
                    <a:pt x="284" y="1"/>
                    <a:pt x="284" y="1"/>
                    <a:pt x="284" y="1"/>
                  </a:cubicBezTo>
                  <a:cubicBezTo>
                    <a:pt x="283" y="1"/>
                    <a:pt x="283" y="1"/>
                    <a:pt x="282" y="1"/>
                  </a:cubicBezTo>
                  <a:cubicBezTo>
                    <a:pt x="281" y="1"/>
                    <a:pt x="280" y="1"/>
                    <a:pt x="279" y="2"/>
                  </a:cubicBezTo>
                  <a:cubicBezTo>
                    <a:pt x="280" y="2"/>
                    <a:pt x="280" y="1"/>
                    <a:pt x="280" y="1"/>
                  </a:cubicBezTo>
                  <a:moveTo>
                    <a:pt x="281" y="1"/>
                  </a:moveTo>
                  <a:cubicBezTo>
                    <a:pt x="281" y="1"/>
                    <a:pt x="281" y="1"/>
                    <a:pt x="281" y="1"/>
                  </a:cubicBezTo>
                  <a:cubicBezTo>
                    <a:pt x="281" y="1"/>
                    <a:pt x="281" y="1"/>
                    <a:pt x="281" y="1"/>
                  </a:cubicBezTo>
                  <a:cubicBezTo>
                    <a:pt x="281" y="1"/>
                    <a:pt x="281" y="1"/>
                    <a:pt x="281" y="1"/>
                  </a:cubicBezTo>
                  <a:moveTo>
                    <a:pt x="284" y="1"/>
                  </a:moveTo>
                  <a:cubicBezTo>
                    <a:pt x="284" y="1"/>
                    <a:pt x="284" y="1"/>
                    <a:pt x="284" y="1"/>
                  </a:cubicBezTo>
                  <a:cubicBezTo>
                    <a:pt x="284" y="1"/>
                    <a:pt x="284" y="1"/>
                    <a:pt x="284" y="1"/>
                  </a:cubicBezTo>
                  <a:cubicBezTo>
                    <a:pt x="286" y="1"/>
                    <a:pt x="286" y="1"/>
                    <a:pt x="286" y="1"/>
                  </a:cubicBezTo>
                  <a:cubicBezTo>
                    <a:pt x="286" y="1"/>
                    <a:pt x="286" y="1"/>
                    <a:pt x="286" y="1"/>
                  </a:cubicBezTo>
                  <a:cubicBezTo>
                    <a:pt x="286" y="1"/>
                    <a:pt x="286" y="1"/>
                    <a:pt x="286" y="1"/>
                  </a:cubicBezTo>
                  <a:cubicBezTo>
                    <a:pt x="285" y="1"/>
                    <a:pt x="285" y="1"/>
                    <a:pt x="285" y="1"/>
                  </a:cubicBezTo>
                  <a:cubicBezTo>
                    <a:pt x="285" y="1"/>
                    <a:pt x="285" y="1"/>
                    <a:pt x="284" y="1"/>
                  </a:cubicBezTo>
                  <a:cubicBezTo>
                    <a:pt x="284" y="1"/>
                    <a:pt x="284" y="1"/>
                    <a:pt x="284" y="1"/>
                  </a:cubicBezTo>
                  <a:cubicBezTo>
                    <a:pt x="283" y="1"/>
                    <a:pt x="283" y="1"/>
                    <a:pt x="283" y="1"/>
                  </a:cubicBezTo>
                  <a:cubicBezTo>
                    <a:pt x="283" y="1"/>
                    <a:pt x="283" y="1"/>
                    <a:pt x="283" y="1"/>
                  </a:cubicBezTo>
                  <a:cubicBezTo>
                    <a:pt x="282" y="1"/>
                    <a:pt x="282" y="1"/>
                    <a:pt x="282" y="1"/>
                  </a:cubicBezTo>
                  <a:cubicBezTo>
                    <a:pt x="283" y="1"/>
                    <a:pt x="283" y="1"/>
                    <a:pt x="284" y="1"/>
                  </a:cubicBezTo>
                  <a:moveTo>
                    <a:pt x="285" y="1"/>
                  </a:moveTo>
                  <a:cubicBezTo>
                    <a:pt x="285" y="1"/>
                    <a:pt x="285" y="1"/>
                    <a:pt x="285" y="1"/>
                  </a:cubicBezTo>
                  <a:cubicBezTo>
                    <a:pt x="286" y="1"/>
                    <a:pt x="286" y="1"/>
                    <a:pt x="286" y="1"/>
                  </a:cubicBezTo>
                  <a:cubicBezTo>
                    <a:pt x="286" y="1"/>
                    <a:pt x="286" y="1"/>
                    <a:pt x="286" y="1"/>
                  </a:cubicBezTo>
                  <a:cubicBezTo>
                    <a:pt x="286" y="1"/>
                    <a:pt x="286" y="1"/>
                    <a:pt x="286" y="1"/>
                  </a:cubicBezTo>
                  <a:cubicBezTo>
                    <a:pt x="286" y="1"/>
                    <a:pt x="286" y="1"/>
                    <a:pt x="286" y="1"/>
                  </a:cubicBezTo>
                  <a:cubicBezTo>
                    <a:pt x="287" y="1"/>
                    <a:pt x="287" y="1"/>
                    <a:pt x="287" y="1"/>
                  </a:cubicBezTo>
                  <a:cubicBezTo>
                    <a:pt x="287" y="1"/>
                    <a:pt x="287" y="1"/>
                    <a:pt x="287" y="1"/>
                  </a:cubicBezTo>
                  <a:cubicBezTo>
                    <a:pt x="287" y="1"/>
                    <a:pt x="287" y="1"/>
                    <a:pt x="288" y="1"/>
                  </a:cubicBezTo>
                  <a:cubicBezTo>
                    <a:pt x="287" y="1"/>
                    <a:pt x="287" y="1"/>
                    <a:pt x="286" y="1"/>
                  </a:cubicBezTo>
                  <a:cubicBezTo>
                    <a:pt x="284" y="1"/>
                    <a:pt x="284" y="1"/>
                    <a:pt x="284" y="1"/>
                  </a:cubicBezTo>
                  <a:cubicBezTo>
                    <a:pt x="285" y="1"/>
                    <a:pt x="285" y="1"/>
                    <a:pt x="285" y="1"/>
                  </a:cubicBezTo>
                  <a:moveTo>
                    <a:pt x="285" y="1"/>
                  </a:moveTo>
                  <a:cubicBezTo>
                    <a:pt x="285" y="1"/>
                    <a:pt x="285" y="1"/>
                    <a:pt x="286" y="1"/>
                  </a:cubicBezTo>
                  <a:cubicBezTo>
                    <a:pt x="286" y="1"/>
                    <a:pt x="285" y="1"/>
                    <a:pt x="285" y="1"/>
                  </a:cubicBezTo>
                  <a:cubicBezTo>
                    <a:pt x="285" y="1"/>
                    <a:pt x="285" y="1"/>
                    <a:pt x="285" y="1"/>
                  </a:cubicBezTo>
                  <a:moveTo>
                    <a:pt x="287" y="1"/>
                  </a:moveTo>
                  <a:cubicBezTo>
                    <a:pt x="288" y="1"/>
                    <a:pt x="288" y="1"/>
                    <a:pt x="288" y="1"/>
                  </a:cubicBezTo>
                  <a:cubicBezTo>
                    <a:pt x="288" y="1"/>
                    <a:pt x="288" y="1"/>
                    <a:pt x="288" y="1"/>
                  </a:cubicBezTo>
                  <a:cubicBezTo>
                    <a:pt x="287" y="1"/>
                    <a:pt x="287" y="1"/>
                    <a:pt x="287" y="1"/>
                  </a:cubicBezTo>
                  <a:cubicBezTo>
                    <a:pt x="287" y="1"/>
                    <a:pt x="287" y="1"/>
                    <a:pt x="287" y="1"/>
                  </a:cubicBezTo>
                  <a:moveTo>
                    <a:pt x="287" y="1"/>
                  </a:moveTo>
                  <a:cubicBezTo>
                    <a:pt x="288" y="1"/>
                    <a:pt x="288" y="1"/>
                    <a:pt x="288" y="1"/>
                  </a:cubicBezTo>
                  <a:cubicBezTo>
                    <a:pt x="288" y="1"/>
                    <a:pt x="288" y="1"/>
                    <a:pt x="288" y="1"/>
                  </a:cubicBezTo>
                  <a:cubicBezTo>
                    <a:pt x="288" y="1"/>
                    <a:pt x="288" y="1"/>
                    <a:pt x="288" y="1"/>
                  </a:cubicBezTo>
                  <a:cubicBezTo>
                    <a:pt x="287" y="1"/>
                    <a:pt x="287" y="1"/>
                    <a:pt x="287" y="1"/>
                  </a:cubicBezTo>
                  <a:cubicBezTo>
                    <a:pt x="287" y="1"/>
                    <a:pt x="287" y="1"/>
                    <a:pt x="287" y="1"/>
                  </a:cubicBezTo>
                  <a:moveTo>
                    <a:pt x="288" y="1"/>
                  </a:moveTo>
                  <a:cubicBezTo>
                    <a:pt x="288" y="1"/>
                    <a:pt x="288" y="1"/>
                    <a:pt x="288" y="1"/>
                  </a:cubicBezTo>
                  <a:cubicBezTo>
                    <a:pt x="288" y="1"/>
                    <a:pt x="288" y="1"/>
                    <a:pt x="288" y="1"/>
                  </a:cubicBezTo>
                  <a:cubicBezTo>
                    <a:pt x="288" y="1"/>
                    <a:pt x="288" y="1"/>
                    <a:pt x="288" y="1"/>
                  </a:cubicBezTo>
                  <a:cubicBezTo>
                    <a:pt x="288" y="1"/>
                    <a:pt x="288" y="1"/>
                    <a:pt x="288" y="1"/>
                  </a:cubicBezTo>
                  <a:moveTo>
                    <a:pt x="290" y="1"/>
                  </a:moveTo>
                  <a:cubicBezTo>
                    <a:pt x="290" y="1"/>
                    <a:pt x="290" y="1"/>
                    <a:pt x="290" y="1"/>
                  </a:cubicBezTo>
                  <a:cubicBezTo>
                    <a:pt x="290" y="1"/>
                    <a:pt x="290" y="1"/>
                    <a:pt x="290" y="1"/>
                  </a:cubicBezTo>
                  <a:cubicBezTo>
                    <a:pt x="290" y="1"/>
                    <a:pt x="290" y="1"/>
                    <a:pt x="290" y="1"/>
                  </a:cubicBezTo>
                  <a:moveTo>
                    <a:pt x="256" y="376"/>
                  </a:moveTo>
                  <a:cubicBezTo>
                    <a:pt x="256" y="375"/>
                    <a:pt x="256" y="374"/>
                    <a:pt x="256" y="374"/>
                  </a:cubicBezTo>
                  <a:cubicBezTo>
                    <a:pt x="256" y="373"/>
                    <a:pt x="256" y="373"/>
                    <a:pt x="256" y="373"/>
                  </a:cubicBezTo>
                  <a:cubicBezTo>
                    <a:pt x="256" y="372"/>
                    <a:pt x="256" y="372"/>
                    <a:pt x="256" y="372"/>
                  </a:cubicBezTo>
                  <a:cubicBezTo>
                    <a:pt x="255" y="371"/>
                    <a:pt x="255" y="371"/>
                    <a:pt x="255" y="371"/>
                  </a:cubicBezTo>
                  <a:cubicBezTo>
                    <a:pt x="253" y="368"/>
                    <a:pt x="253" y="368"/>
                    <a:pt x="253" y="368"/>
                  </a:cubicBezTo>
                  <a:cubicBezTo>
                    <a:pt x="253" y="368"/>
                    <a:pt x="253" y="368"/>
                    <a:pt x="252" y="368"/>
                  </a:cubicBezTo>
                  <a:cubicBezTo>
                    <a:pt x="252" y="367"/>
                    <a:pt x="252" y="367"/>
                    <a:pt x="252" y="367"/>
                  </a:cubicBezTo>
                  <a:cubicBezTo>
                    <a:pt x="251" y="366"/>
                    <a:pt x="251" y="366"/>
                    <a:pt x="251" y="363"/>
                  </a:cubicBezTo>
                  <a:cubicBezTo>
                    <a:pt x="249" y="363"/>
                    <a:pt x="249" y="363"/>
                    <a:pt x="249" y="363"/>
                  </a:cubicBezTo>
                  <a:cubicBezTo>
                    <a:pt x="249" y="363"/>
                    <a:pt x="249" y="363"/>
                    <a:pt x="249" y="363"/>
                  </a:cubicBezTo>
                  <a:cubicBezTo>
                    <a:pt x="248" y="364"/>
                    <a:pt x="248" y="364"/>
                    <a:pt x="248" y="365"/>
                  </a:cubicBezTo>
                  <a:cubicBezTo>
                    <a:pt x="248" y="365"/>
                    <a:pt x="248" y="366"/>
                    <a:pt x="248" y="366"/>
                  </a:cubicBezTo>
                  <a:cubicBezTo>
                    <a:pt x="248" y="366"/>
                    <a:pt x="248" y="367"/>
                    <a:pt x="248" y="367"/>
                  </a:cubicBezTo>
                  <a:cubicBezTo>
                    <a:pt x="248" y="367"/>
                    <a:pt x="248" y="367"/>
                    <a:pt x="248" y="367"/>
                  </a:cubicBezTo>
                  <a:cubicBezTo>
                    <a:pt x="248" y="367"/>
                    <a:pt x="249" y="368"/>
                    <a:pt x="249" y="368"/>
                  </a:cubicBezTo>
                  <a:cubicBezTo>
                    <a:pt x="249" y="368"/>
                    <a:pt x="248" y="369"/>
                    <a:pt x="248" y="369"/>
                  </a:cubicBezTo>
                  <a:cubicBezTo>
                    <a:pt x="248" y="369"/>
                    <a:pt x="249" y="370"/>
                    <a:pt x="249" y="370"/>
                  </a:cubicBezTo>
                  <a:cubicBezTo>
                    <a:pt x="249" y="370"/>
                    <a:pt x="249" y="370"/>
                    <a:pt x="248" y="371"/>
                  </a:cubicBezTo>
                  <a:cubicBezTo>
                    <a:pt x="248" y="372"/>
                    <a:pt x="248" y="377"/>
                    <a:pt x="249" y="378"/>
                  </a:cubicBezTo>
                  <a:cubicBezTo>
                    <a:pt x="249" y="378"/>
                    <a:pt x="251" y="380"/>
                    <a:pt x="252" y="380"/>
                  </a:cubicBezTo>
                  <a:cubicBezTo>
                    <a:pt x="252" y="380"/>
                    <a:pt x="252" y="380"/>
                    <a:pt x="256" y="380"/>
                  </a:cubicBezTo>
                  <a:cubicBezTo>
                    <a:pt x="256" y="377"/>
                    <a:pt x="256" y="377"/>
                    <a:pt x="256" y="376"/>
                  </a:cubicBezTo>
                  <a:moveTo>
                    <a:pt x="446" y="568"/>
                  </a:moveTo>
                  <a:cubicBezTo>
                    <a:pt x="447" y="568"/>
                    <a:pt x="448" y="567"/>
                    <a:pt x="448" y="566"/>
                  </a:cubicBezTo>
                  <a:cubicBezTo>
                    <a:pt x="448" y="566"/>
                    <a:pt x="447" y="566"/>
                    <a:pt x="446" y="566"/>
                  </a:cubicBezTo>
                  <a:cubicBezTo>
                    <a:pt x="446" y="566"/>
                    <a:pt x="445" y="567"/>
                    <a:pt x="444" y="567"/>
                  </a:cubicBezTo>
                  <a:cubicBezTo>
                    <a:pt x="444" y="567"/>
                    <a:pt x="444" y="567"/>
                    <a:pt x="444" y="567"/>
                  </a:cubicBezTo>
                  <a:cubicBezTo>
                    <a:pt x="444" y="566"/>
                    <a:pt x="444" y="566"/>
                    <a:pt x="444" y="566"/>
                  </a:cubicBezTo>
                  <a:cubicBezTo>
                    <a:pt x="444" y="566"/>
                    <a:pt x="444" y="566"/>
                    <a:pt x="444" y="566"/>
                  </a:cubicBezTo>
                  <a:cubicBezTo>
                    <a:pt x="444" y="566"/>
                    <a:pt x="445" y="565"/>
                    <a:pt x="445" y="565"/>
                  </a:cubicBezTo>
                  <a:cubicBezTo>
                    <a:pt x="445" y="565"/>
                    <a:pt x="445" y="565"/>
                    <a:pt x="445" y="565"/>
                  </a:cubicBezTo>
                  <a:cubicBezTo>
                    <a:pt x="444" y="565"/>
                    <a:pt x="443" y="565"/>
                    <a:pt x="443" y="565"/>
                  </a:cubicBezTo>
                  <a:cubicBezTo>
                    <a:pt x="441" y="567"/>
                    <a:pt x="441" y="567"/>
                    <a:pt x="441" y="567"/>
                  </a:cubicBezTo>
                  <a:cubicBezTo>
                    <a:pt x="440" y="568"/>
                    <a:pt x="440" y="568"/>
                    <a:pt x="440" y="568"/>
                  </a:cubicBezTo>
                  <a:cubicBezTo>
                    <a:pt x="439" y="569"/>
                    <a:pt x="439" y="569"/>
                    <a:pt x="439" y="569"/>
                  </a:cubicBezTo>
                  <a:cubicBezTo>
                    <a:pt x="439" y="570"/>
                    <a:pt x="439" y="570"/>
                    <a:pt x="439" y="570"/>
                  </a:cubicBezTo>
                  <a:cubicBezTo>
                    <a:pt x="439" y="570"/>
                    <a:pt x="439" y="570"/>
                    <a:pt x="439" y="570"/>
                  </a:cubicBezTo>
                  <a:cubicBezTo>
                    <a:pt x="439" y="571"/>
                    <a:pt x="438" y="571"/>
                    <a:pt x="438" y="572"/>
                  </a:cubicBezTo>
                  <a:cubicBezTo>
                    <a:pt x="438" y="572"/>
                    <a:pt x="437" y="572"/>
                    <a:pt x="437" y="573"/>
                  </a:cubicBezTo>
                  <a:cubicBezTo>
                    <a:pt x="437" y="573"/>
                    <a:pt x="436" y="573"/>
                    <a:pt x="436" y="574"/>
                  </a:cubicBezTo>
                  <a:cubicBezTo>
                    <a:pt x="436" y="574"/>
                    <a:pt x="436" y="574"/>
                    <a:pt x="436" y="574"/>
                  </a:cubicBezTo>
                  <a:cubicBezTo>
                    <a:pt x="437" y="574"/>
                    <a:pt x="437" y="574"/>
                    <a:pt x="437" y="574"/>
                  </a:cubicBezTo>
                  <a:cubicBezTo>
                    <a:pt x="437" y="574"/>
                    <a:pt x="437" y="574"/>
                    <a:pt x="437" y="574"/>
                  </a:cubicBezTo>
                  <a:cubicBezTo>
                    <a:pt x="438" y="573"/>
                    <a:pt x="439" y="573"/>
                    <a:pt x="439" y="572"/>
                  </a:cubicBezTo>
                  <a:cubicBezTo>
                    <a:pt x="439" y="572"/>
                    <a:pt x="439" y="572"/>
                    <a:pt x="439" y="572"/>
                  </a:cubicBezTo>
                  <a:cubicBezTo>
                    <a:pt x="440" y="572"/>
                    <a:pt x="440" y="572"/>
                    <a:pt x="441" y="572"/>
                  </a:cubicBezTo>
                  <a:cubicBezTo>
                    <a:pt x="442" y="572"/>
                    <a:pt x="442" y="571"/>
                    <a:pt x="443" y="571"/>
                  </a:cubicBezTo>
                  <a:cubicBezTo>
                    <a:pt x="443" y="570"/>
                    <a:pt x="444" y="570"/>
                    <a:pt x="444" y="569"/>
                  </a:cubicBezTo>
                  <a:cubicBezTo>
                    <a:pt x="445" y="569"/>
                    <a:pt x="445" y="569"/>
                    <a:pt x="446" y="568"/>
                  </a:cubicBezTo>
                  <a:moveTo>
                    <a:pt x="451" y="565"/>
                  </a:moveTo>
                  <a:cubicBezTo>
                    <a:pt x="452" y="564"/>
                    <a:pt x="452" y="564"/>
                    <a:pt x="452" y="564"/>
                  </a:cubicBezTo>
                  <a:cubicBezTo>
                    <a:pt x="452" y="563"/>
                    <a:pt x="453" y="563"/>
                    <a:pt x="453" y="563"/>
                  </a:cubicBezTo>
                  <a:cubicBezTo>
                    <a:pt x="453" y="563"/>
                    <a:pt x="453" y="563"/>
                    <a:pt x="453" y="563"/>
                  </a:cubicBezTo>
                  <a:cubicBezTo>
                    <a:pt x="453" y="562"/>
                    <a:pt x="453" y="562"/>
                    <a:pt x="453" y="562"/>
                  </a:cubicBezTo>
                  <a:cubicBezTo>
                    <a:pt x="453" y="562"/>
                    <a:pt x="453" y="562"/>
                    <a:pt x="453" y="562"/>
                  </a:cubicBezTo>
                  <a:cubicBezTo>
                    <a:pt x="453" y="562"/>
                    <a:pt x="453" y="562"/>
                    <a:pt x="453" y="562"/>
                  </a:cubicBezTo>
                  <a:cubicBezTo>
                    <a:pt x="453" y="562"/>
                    <a:pt x="453" y="562"/>
                    <a:pt x="453" y="562"/>
                  </a:cubicBezTo>
                  <a:cubicBezTo>
                    <a:pt x="453" y="562"/>
                    <a:pt x="453" y="562"/>
                    <a:pt x="453" y="562"/>
                  </a:cubicBezTo>
                  <a:cubicBezTo>
                    <a:pt x="453" y="562"/>
                    <a:pt x="453" y="562"/>
                    <a:pt x="453" y="562"/>
                  </a:cubicBezTo>
                  <a:cubicBezTo>
                    <a:pt x="453" y="562"/>
                    <a:pt x="453" y="562"/>
                    <a:pt x="453" y="562"/>
                  </a:cubicBezTo>
                  <a:cubicBezTo>
                    <a:pt x="453" y="562"/>
                    <a:pt x="453" y="562"/>
                    <a:pt x="453" y="562"/>
                  </a:cubicBezTo>
                  <a:cubicBezTo>
                    <a:pt x="453" y="562"/>
                    <a:pt x="453" y="562"/>
                    <a:pt x="452" y="562"/>
                  </a:cubicBezTo>
                  <a:cubicBezTo>
                    <a:pt x="452" y="562"/>
                    <a:pt x="452" y="562"/>
                    <a:pt x="452" y="562"/>
                  </a:cubicBezTo>
                  <a:cubicBezTo>
                    <a:pt x="452" y="563"/>
                    <a:pt x="452" y="563"/>
                    <a:pt x="452" y="563"/>
                  </a:cubicBezTo>
                  <a:cubicBezTo>
                    <a:pt x="451" y="563"/>
                    <a:pt x="451" y="563"/>
                    <a:pt x="451" y="564"/>
                  </a:cubicBezTo>
                  <a:cubicBezTo>
                    <a:pt x="451" y="564"/>
                    <a:pt x="451" y="564"/>
                    <a:pt x="451" y="564"/>
                  </a:cubicBezTo>
                  <a:cubicBezTo>
                    <a:pt x="451" y="564"/>
                    <a:pt x="451" y="564"/>
                    <a:pt x="451" y="564"/>
                  </a:cubicBezTo>
                  <a:cubicBezTo>
                    <a:pt x="450" y="565"/>
                    <a:pt x="450" y="565"/>
                    <a:pt x="450" y="565"/>
                  </a:cubicBezTo>
                  <a:cubicBezTo>
                    <a:pt x="451" y="565"/>
                    <a:pt x="451" y="565"/>
                    <a:pt x="451" y="565"/>
                  </a:cubicBezTo>
                  <a:moveTo>
                    <a:pt x="443" y="564"/>
                  </a:moveTo>
                  <a:cubicBezTo>
                    <a:pt x="444" y="564"/>
                    <a:pt x="444" y="563"/>
                    <a:pt x="445" y="562"/>
                  </a:cubicBezTo>
                  <a:cubicBezTo>
                    <a:pt x="445" y="562"/>
                    <a:pt x="445" y="562"/>
                    <a:pt x="445" y="562"/>
                  </a:cubicBezTo>
                  <a:cubicBezTo>
                    <a:pt x="445" y="562"/>
                    <a:pt x="444" y="562"/>
                    <a:pt x="443" y="563"/>
                  </a:cubicBezTo>
                  <a:cubicBezTo>
                    <a:pt x="443" y="563"/>
                    <a:pt x="443" y="563"/>
                    <a:pt x="442" y="564"/>
                  </a:cubicBezTo>
                  <a:cubicBezTo>
                    <a:pt x="443" y="564"/>
                    <a:pt x="443" y="564"/>
                    <a:pt x="443" y="564"/>
                  </a:cubicBezTo>
                  <a:moveTo>
                    <a:pt x="481" y="565"/>
                  </a:moveTo>
                  <a:cubicBezTo>
                    <a:pt x="481" y="564"/>
                    <a:pt x="482" y="564"/>
                    <a:pt x="483" y="563"/>
                  </a:cubicBezTo>
                  <a:cubicBezTo>
                    <a:pt x="483" y="563"/>
                    <a:pt x="483" y="563"/>
                    <a:pt x="482" y="563"/>
                  </a:cubicBezTo>
                  <a:cubicBezTo>
                    <a:pt x="484" y="562"/>
                    <a:pt x="484" y="562"/>
                    <a:pt x="484" y="562"/>
                  </a:cubicBezTo>
                  <a:cubicBezTo>
                    <a:pt x="484" y="562"/>
                    <a:pt x="484" y="562"/>
                    <a:pt x="484" y="562"/>
                  </a:cubicBezTo>
                  <a:cubicBezTo>
                    <a:pt x="483" y="563"/>
                    <a:pt x="481" y="564"/>
                    <a:pt x="480" y="564"/>
                  </a:cubicBezTo>
                  <a:cubicBezTo>
                    <a:pt x="476" y="567"/>
                    <a:pt x="472" y="569"/>
                    <a:pt x="468" y="571"/>
                  </a:cubicBezTo>
                  <a:cubicBezTo>
                    <a:pt x="464" y="574"/>
                    <a:pt x="464" y="574"/>
                    <a:pt x="463" y="574"/>
                  </a:cubicBezTo>
                  <a:cubicBezTo>
                    <a:pt x="459" y="576"/>
                    <a:pt x="459" y="576"/>
                    <a:pt x="458" y="577"/>
                  </a:cubicBezTo>
                  <a:cubicBezTo>
                    <a:pt x="458" y="577"/>
                    <a:pt x="458" y="577"/>
                    <a:pt x="458" y="577"/>
                  </a:cubicBezTo>
                  <a:cubicBezTo>
                    <a:pt x="458" y="577"/>
                    <a:pt x="458" y="577"/>
                    <a:pt x="458" y="577"/>
                  </a:cubicBezTo>
                  <a:cubicBezTo>
                    <a:pt x="458" y="577"/>
                    <a:pt x="458" y="577"/>
                    <a:pt x="458" y="577"/>
                  </a:cubicBezTo>
                  <a:cubicBezTo>
                    <a:pt x="458" y="577"/>
                    <a:pt x="458" y="577"/>
                    <a:pt x="458" y="577"/>
                  </a:cubicBezTo>
                  <a:cubicBezTo>
                    <a:pt x="458" y="577"/>
                    <a:pt x="458" y="577"/>
                    <a:pt x="458" y="577"/>
                  </a:cubicBezTo>
                  <a:cubicBezTo>
                    <a:pt x="458" y="577"/>
                    <a:pt x="458" y="577"/>
                    <a:pt x="458" y="577"/>
                  </a:cubicBezTo>
                  <a:cubicBezTo>
                    <a:pt x="458" y="577"/>
                    <a:pt x="458" y="577"/>
                    <a:pt x="458" y="577"/>
                  </a:cubicBezTo>
                  <a:cubicBezTo>
                    <a:pt x="458" y="577"/>
                    <a:pt x="458" y="577"/>
                    <a:pt x="458" y="577"/>
                  </a:cubicBezTo>
                  <a:cubicBezTo>
                    <a:pt x="457" y="577"/>
                    <a:pt x="455" y="578"/>
                    <a:pt x="454" y="579"/>
                  </a:cubicBezTo>
                  <a:cubicBezTo>
                    <a:pt x="454" y="579"/>
                    <a:pt x="454" y="579"/>
                    <a:pt x="454" y="579"/>
                  </a:cubicBezTo>
                  <a:cubicBezTo>
                    <a:pt x="454" y="579"/>
                    <a:pt x="454" y="579"/>
                    <a:pt x="454" y="579"/>
                  </a:cubicBezTo>
                  <a:cubicBezTo>
                    <a:pt x="454" y="580"/>
                    <a:pt x="453" y="580"/>
                    <a:pt x="453" y="580"/>
                  </a:cubicBezTo>
                  <a:cubicBezTo>
                    <a:pt x="453" y="580"/>
                    <a:pt x="453" y="580"/>
                    <a:pt x="453" y="580"/>
                  </a:cubicBezTo>
                  <a:cubicBezTo>
                    <a:pt x="470" y="572"/>
                    <a:pt x="480" y="566"/>
                    <a:pt x="481" y="565"/>
                  </a:cubicBezTo>
                  <a:moveTo>
                    <a:pt x="449" y="582"/>
                  </a:moveTo>
                  <a:cubicBezTo>
                    <a:pt x="449" y="582"/>
                    <a:pt x="450" y="582"/>
                    <a:pt x="450" y="582"/>
                  </a:cubicBezTo>
                  <a:cubicBezTo>
                    <a:pt x="450" y="582"/>
                    <a:pt x="450" y="581"/>
                    <a:pt x="451" y="581"/>
                  </a:cubicBezTo>
                  <a:cubicBezTo>
                    <a:pt x="450" y="581"/>
                    <a:pt x="450" y="581"/>
                    <a:pt x="450" y="581"/>
                  </a:cubicBezTo>
                  <a:cubicBezTo>
                    <a:pt x="450" y="581"/>
                    <a:pt x="450" y="581"/>
                    <a:pt x="450" y="582"/>
                  </a:cubicBezTo>
                  <a:cubicBezTo>
                    <a:pt x="449" y="582"/>
                    <a:pt x="449" y="582"/>
                    <a:pt x="449" y="582"/>
                  </a:cubicBezTo>
                  <a:cubicBezTo>
                    <a:pt x="449" y="582"/>
                    <a:pt x="449" y="582"/>
                    <a:pt x="449" y="582"/>
                  </a:cubicBezTo>
                  <a:cubicBezTo>
                    <a:pt x="448" y="582"/>
                    <a:pt x="448" y="582"/>
                    <a:pt x="448" y="582"/>
                  </a:cubicBezTo>
                  <a:cubicBezTo>
                    <a:pt x="449" y="582"/>
                    <a:pt x="449" y="582"/>
                    <a:pt x="449" y="582"/>
                  </a:cubicBezTo>
                  <a:moveTo>
                    <a:pt x="499" y="553"/>
                  </a:moveTo>
                  <a:cubicBezTo>
                    <a:pt x="500" y="553"/>
                    <a:pt x="501" y="551"/>
                    <a:pt x="501" y="551"/>
                  </a:cubicBezTo>
                  <a:cubicBezTo>
                    <a:pt x="501" y="551"/>
                    <a:pt x="501" y="551"/>
                    <a:pt x="501" y="551"/>
                  </a:cubicBezTo>
                  <a:cubicBezTo>
                    <a:pt x="501" y="552"/>
                    <a:pt x="500" y="552"/>
                    <a:pt x="500" y="552"/>
                  </a:cubicBezTo>
                  <a:cubicBezTo>
                    <a:pt x="500" y="552"/>
                    <a:pt x="500" y="552"/>
                    <a:pt x="499" y="552"/>
                  </a:cubicBezTo>
                  <a:cubicBezTo>
                    <a:pt x="499" y="552"/>
                    <a:pt x="499" y="552"/>
                    <a:pt x="499" y="552"/>
                  </a:cubicBezTo>
                  <a:cubicBezTo>
                    <a:pt x="499" y="552"/>
                    <a:pt x="499" y="552"/>
                    <a:pt x="499" y="552"/>
                  </a:cubicBezTo>
                  <a:cubicBezTo>
                    <a:pt x="504" y="548"/>
                    <a:pt x="504" y="548"/>
                    <a:pt x="504" y="548"/>
                  </a:cubicBezTo>
                  <a:cubicBezTo>
                    <a:pt x="503" y="548"/>
                    <a:pt x="502" y="549"/>
                    <a:pt x="501" y="550"/>
                  </a:cubicBezTo>
                  <a:cubicBezTo>
                    <a:pt x="502" y="548"/>
                    <a:pt x="504" y="547"/>
                    <a:pt x="506" y="546"/>
                  </a:cubicBezTo>
                  <a:cubicBezTo>
                    <a:pt x="506" y="546"/>
                    <a:pt x="506" y="546"/>
                    <a:pt x="506" y="546"/>
                  </a:cubicBezTo>
                  <a:cubicBezTo>
                    <a:pt x="510" y="542"/>
                    <a:pt x="510" y="542"/>
                    <a:pt x="510" y="542"/>
                  </a:cubicBezTo>
                  <a:cubicBezTo>
                    <a:pt x="509" y="542"/>
                    <a:pt x="509" y="542"/>
                    <a:pt x="509" y="542"/>
                  </a:cubicBezTo>
                  <a:cubicBezTo>
                    <a:pt x="509" y="542"/>
                    <a:pt x="508" y="543"/>
                    <a:pt x="508" y="543"/>
                  </a:cubicBezTo>
                  <a:cubicBezTo>
                    <a:pt x="501" y="550"/>
                    <a:pt x="501" y="550"/>
                    <a:pt x="498" y="552"/>
                  </a:cubicBezTo>
                  <a:cubicBezTo>
                    <a:pt x="496" y="554"/>
                    <a:pt x="495" y="555"/>
                    <a:pt x="493" y="556"/>
                  </a:cubicBezTo>
                  <a:cubicBezTo>
                    <a:pt x="493" y="556"/>
                    <a:pt x="493" y="556"/>
                    <a:pt x="492" y="556"/>
                  </a:cubicBezTo>
                  <a:cubicBezTo>
                    <a:pt x="491" y="557"/>
                    <a:pt x="490" y="558"/>
                    <a:pt x="489" y="558"/>
                  </a:cubicBezTo>
                  <a:cubicBezTo>
                    <a:pt x="489" y="559"/>
                    <a:pt x="489" y="559"/>
                    <a:pt x="489" y="559"/>
                  </a:cubicBezTo>
                  <a:cubicBezTo>
                    <a:pt x="489" y="559"/>
                    <a:pt x="489" y="559"/>
                    <a:pt x="490" y="559"/>
                  </a:cubicBezTo>
                  <a:cubicBezTo>
                    <a:pt x="488" y="560"/>
                    <a:pt x="485" y="562"/>
                    <a:pt x="483" y="564"/>
                  </a:cubicBezTo>
                  <a:cubicBezTo>
                    <a:pt x="484" y="563"/>
                    <a:pt x="484" y="563"/>
                    <a:pt x="484" y="563"/>
                  </a:cubicBezTo>
                  <a:cubicBezTo>
                    <a:pt x="487" y="561"/>
                    <a:pt x="490" y="559"/>
                    <a:pt x="493" y="557"/>
                  </a:cubicBezTo>
                  <a:cubicBezTo>
                    <a:pt x="494" y="557"/>
                    <a:pt x="494" y="557"/>
                    <a:pt x="494" y="557"/>
                  </a:cubicBezTo>
                  <a:cubicBezTo>
                    <a:pt x="494" y="557"/>
                    <a:pt x="494" y="557"/>
                    <a:pt x="494" y="557"/>
                  </a:cubicBezTo>
                  <a:cubicBezTo>
                    <a:pt x="494" y="557"/>
                    <a:pt x="494" y="557"/>
                    <a:pt x="494" y="557"/>
                  </a:cubicBezTo>
                  <a:cubicBezTo>
                    <a:pt x="496" y="556"/>
                    <a:pt x="498" y="554"/>
                    <a:pt x="498" y="554"/>
                  </a:cubicBezTo>
                  <a:cubicBezTo>
                    <a:pt x="499" y="553"/>
                    <a:pt x="499" y="553"/>
                    <a:pt x="499" y="553"/>
                  </a:cubicBezTo>
                  <a:cubicBezTo>
                    <a:pt x="499" y="553"/>
                    <a:pt x="499" y="553"/>
                    <a:pt x="499" y="553"/>
                  </a:cubicBezTo>
                  <a:moveTo>
                    <a:pt x="542" y="497"/>
                  </a:moveTo>
                  <a:cubicBezTo>
                    <a:pt x="543" y="497"/>
                    <a:pt x="543" y="495"/>
                    <a:pt x="543" y="495"/>
                  </a:cubicBezTo>
                  <a:cubicBezTo>
                    <a:pt x="543" y="495"/>
                    <a:pt x="543" y="495"/>
                    <a:pt x="543" y="495"/>
                  </a:cubicBezTo>
                  <a:cubicBezTo>
                    <a:pt x="543" y="495"/>
                    <a:pt x="543" y="494"/>
                    <a:pt x="543" y="494"/>
                  </a:cubicBezTo>
                  <a:cubicBezTo>
                    <a:pt x="543" y="494"/>
                    <a:pt x="543" y="494"/>
                    <a:pt x="543" y="494"/>
                  </a:cubicBezTo>
                  <a:cubicBezTo>
                    <a:pt x="543" y="494"/>
                    <a:pt x="543" y="493"/>
                    <a:pt x="543" y="493"/>
                  </a:cubicBezTo>
                  <a:cubicBezTo>
                    <a:pt x="544" y="491"/>
                    <a:pt x="544" y="489"/>
                    <a:pt x="544" y="489"/>
                  </a:cubicBezTo>
                  <a:cubicBezTo>
                    <a:pt x="544" y="489"/>
                    <a:pt x="544" y="489"/>
                    <a:pt x="544" y="489"/>
                  </a:cubicBezTo>
                  <a:cubicBezTo>
                    <a:pt x="543" y="489"/>
                    <a:pt x="543" y="489"/>
                    <a:pt x="543" y="489"/>
                  </a:cubicBezTo>
                  <a:cubicBezTo>
                    <a:pt x="543" y="490"/>
                    <a:pt x="542" y="490"/>
                    <a:pt x="542" y="491"/>
                  </a:cubicBezTo>
                  <a:cubicBezTo>
                    <a:pt x="542" y="491"/>
                    <a:pt x="542" y="491"/>
                    <a:pt x="542" y="491"/>
                  </a:cubicBezTo>
                  <a:cubicBezTo>
                    <a:pt x="542" y="491"/>
                    <a:pt x="542" y="491"/>
                    <a:pt x="542" y="491"/>
                  </a:cubicBezTo>
                  <a:cubicBezTo>
                    <a:pt x="542" y="492"/>
                    <a:pt x="542" y="492"/>
                    <a:pt x="542" y="493"/>
                  </a:cubicBezTo>
                  <a:cubicBezTo>
                    <a:pt x="541" y="493"/>
                    <a:pt x="541" y="494"/>
                    <a:pt x="541" y="495"/>
                  </a:cubicBezTo>
                  <a:cubicBezTo>
                    <a:pt x="541" y="496"/>
                    <a:pt x="541" y="496"/>
                    <a:pt x="541" y="497"/>
                  </a:cubicBezTo>
                  <a:cubicBezTo>
                    <a:pt x="541" y="497"/>
                    <a:pt x="541" y="497"/>
                    <a:pt x="541" y="498"/>
                  </a:cubicBezTo>
                  <a:cubicBezTo>
                    <a:pt x="541" y="498"/>
                    <a:pt x="541" y="498"/>
                    <a:pt x="541" y="498"/>
                  </a:cubicBezTo>
                  <a:cubicBezTo>
                    <a:pt x="542" y="498"/>
                    <a:pt x="542" y="498"/>
                    <a:pt x="542" y="498"/>
                  </a:cubicBezTo>
                  <a:cubicBezTo>
                    <a:pt x="542" y="497"/>
                    <a:pt x="542" y="497"/>
                    <a:pt x="542" y="497"/>
                  </a:cubicBezTo>
                  <a:moveTo>
                    <a:pt x="467" y="459"/>
                  </a:moveTo>
                  <a:cubicBezTo>
                    <a:pt x="467" y="459"/>
                    <a:pt x="468" y="458"/>
                    <a:pt x="468" y="457"/>
                  </a:cubicBezTo>
                  <a:cubicBezTo>
                    <a:pt x="466" y="457"/>
                    <a:pt x="466" y="457"/>
                    <a:pt x="466" y="457"/>
                  </a:cubicBezTo>
                  <a:cubicBezTo>
                    <a:pt x="465" y="458"/>
                    <a:pt x="465" y="458"/>
                    <a:pt x="463" y="458"/>
                  </a:cubicBezTo>
                  <a:cubicBezTo>
                    <a:pt x="463" y="458"/>
                    <a:pt x="463" y="457"/>
                    <a:pt x="464" y="457"/>
                  </a:cubicBezTo>
                  <a:cubicBezTo>
                    <a:pt x="463" y="458"/>
                    <a:pt x="462" y="458"/>
                    <a:pt x="462" y="458"/>
                  </a:cubicBezTo>
                  <a:cubicBezTo>
                    <a:pt x="462" y="458"/>
                    <a:pt x="461" y="460"/>
                    <a:pt x="462" y="460"/>
                  </a:cubicBezTo>
                  <a:cubicBezTo>
                    <a:pt x="462" y="460"/>
                    <a:pt x="463" y="460"/>
                    <a:pt x="463" y="460"/>
                  </a:cubicBezTo>
                  <a:cubicBezTo>
                    <a:pt x="463" y="460"/>
                    <a:pt x="463" y="460"/>
                    <a:pt x="465" y="460"/>
                  </a:cubicBezTo>
                  <a:cubicBezTo>
                    <a:pt x="465" y="460"/>
                    <a:pt x="465" y="460"/>
                    <a:pt x="466" y="460"/>
                  </a:cubicBezTo>
                  <a:cubicBezTo>
                    <a:pt x="466" y="459"/>
                    <a:pt x="467" y="459"/>
                    <a:pt x="467" y="459"/>
                  </a:cubicBezTo>
                  <a:moveTo>
                    <a:pt x="497" y="526"/>
                  </a:moveTo>
                  <a:cubicBezTo>
                    <a:pt x="498" y="525"/>
                    <a:pt x="499" y="524"/>
                    <a:pt x="500" y="523"/>
                  </a:cubicBezTo>
                  <a:cubicBezTo>
                    <a:pt x="500" y="522"/>
                    <a:pt x="501" y="521"/>
                    <a:pt x="501" y="520"/>
                  </a:cubicBezTo>
                  <a:cubicBezTo>
                    <a:pt x="501" y="520"/>
                    <a:pt x="501" y="520"/>
                    <a:pt x="502" y="519"/>
                  </a:cubicBezTo>
                  <a:cubicBezTo>
                    <a:pt x="502" y="518"/>
                    <a:pt x="504" y="517"/>
                    <a:pt x="505" y="516"/>
                  </a:cubicBezTo>
                  <a:cubicBezTo>
                    <a:pt x="504" y="515"/>
                    <a:pt x="504" y="515"/>
                    <a:pt x="504" y="515"/>
                  </a:cubicBezTo>
                  <a:cubicBezTo>
                    <a:pt x="505" y="515"/>
                    <a:pt x="505" y="514"/>
                    <a:pt x="506" y="513"/>
                  </a:cubicBezTo>
                  <a:cubicBezTo>
                    <a:pt x="506" y="513"/>
                    <a:pt x="510" y="507"/>
                    <a:pt x="507" y="504"/>
                  </a:cubicBezTo>
                  <a:cubicBezTo>
                    <a:pt x="508" y="504"/>
                    <a:pt x="508" y="504"/>
                    <a:pt x="508" y="504"/>
                  </a:cubicBezTo>
                  <a:cubicBezTo>
                    <a:pt x="508" y="502"/>
                    <a:pt x="509" y="501"/>
                    <a:pt x="510" y="500"/>
                  </a:cubicBezTo>
                  <a:cubicBezTo>
                    <a:pt x="506" y="499"/>
                    <a:pt x="506" y="499"/>
                    <a:pt x="507" y="498"/>
                  </a:cubicBezTo>
                  <a:cubicBezTo>
                    <a:pt x="507" y="497"/>
                    <a:pt x="507" y="497"/>
                    <a:pt x="507" y="497"/>
                  </a:cubicBezTo>
                  <a:cubicBezTo>
                    <a:pt x="508" y="496"/>
                    <a:pt x="508" y="496"/>
                    <a:pt x="509" y="494"/>
                  </a:cubicBezTo>
                  <a:cubicBezTo>
                    <a:pt x="508" y="494"/>
                    <a:pt x="508" y="494"/>
                    <a:pt x="508" y="494"/>
                  </a:cubicBezTo>
                  <a:cubicBezTo>
                    <a:pt x="508" y="494"/>
                    <a:pt x="508" y="493"/>
                    <a:pt x="508" y="492"/>
                  </a:cubicBezTo>
                  <a:cubicBezTo>
                    <a:pt x="507" y="491"/>
                    <a:pt x="507" y="491"/>
                    <a:pt x="507" y="489"/>
                  </a:cubicBezTo>
                  <a:cubicBezTo>
                    <a:pt x="504" y="486"/>
                    <a:pt x="504" y="486"/>
                    <a:pt x="506" y="483"/>
                  </a:cubicBezTo>
                  <a:cubicBezTo>
                    <a:pt x="506" y="483"/>
                    <a:pt x="506" y="483"/>
                    <a:pt x="506" y="482"/>
                  </a:cubicBezTo>
                  <a:cubicBezTo>
                    <a:pt x="506" y="480"/>
                    <a:pt x="506" y="480"/>
                    <a:pt x="506" y="480"/>
                  </a:cubicBezTo>
                  <a:cubicBezTo>
                    <a:pt x="507" y="480"/>
                    <a:pt x="507" y="479"/>
                    <a:pt x="507" y="479"/>
                  </a:cubicBezTo>
                  <a:cubicBezTo>
                    <a:pt x="507" y="479"/>
                    <a:pt x="509" y="472"/>
                    <a:pt x="508" y="470"/>
                  </a:cubicBezTo>
                  <a:cubicBezTo>
                    <a:pt x="507" y="470"/>
                    <a:pt x="506" y="470"/>
                    <a:pt x="505" y="469"/>
                  </a:cubicBezTo>
                  <a:cubicBezTo>
                    <a:pt x="505" y="468"/>
                    <a:pt x="505" y="467"/>
                    <a:pt x="505" y="466"/>
                  </a:cubicBezTo>
                  <a:cubicBezTo>
                    <a:pt x="505" y="466"/>
                    <a:pt x="505" y="466"/>
                    <a:pt x="506" y="465"/>
                  </a:cubicBezTo>
                  <a:cubicBezTo>
                    <a:pt x="507" y="461"/>
                    <a:pt x="507" y="456"/>
                    <a:pt x="506" y="455"/>
                  </a:cubicBezTo>
                  <a:cubicBezTo>
                    <a:pt x="506" y="455"/>
                    <a:pt x="506" y="455"/>
                    <a:pt x="506" y="455"/>
                  </a:cubicBezTo>
                  <a:cubicBezTo>
                    <a:pt x="505" y="456"/>
                    <a:pt x="505" y="457"/>
                    <a:pt x="504" y="458"/>
                  </a:cubicBezTo>
                  <a:cubicBezTo>
                    <a:pt x="504" y="458"/>
                    <a:pt x="504" y="459"/>
                    <a:pt x="504" y="459"/>
                  </a:cubicBezTo>
                  <a:cubicBezTo>
                    <a:pt x="501" y="461"/>
                    <a:pt x="501" y="461"/>
                    <a:pt x="498" y="468"/>
                  </a:cubicBezTo>
                  <a:cubicBezTo>
                    <a:pt x="498" y="469"/>
                    <a:pt x="498" y="470"/>
                    <a:pt x="498" y="471"/>
                  </a:cubicBezTo>
                  <a:cubicBezTo>
                    <a:pt x="497" y="472"/>
                    <a:pt x="497" y="472"/>
                    <a:pt x="495" y="473"/>
                  </a:cubicBezTo>
                  <a:cubicBezTo>
                    <a:pt x="495" y="476"/>
                    <a:pt x="493" y="478"/>
                    <a:pt x="492" y="480"/>
                  </a:cubicBezTo>
                  <a:cubicBezTo>
                    <a:pt x="491" y="483"/>
                    <a:pt x="489" y="483"/>
                    <a:pt x="486" y="483"/>
                  </a:cubicBezTo>
                  <a:cubicBezTo>
                    <a:pt x="486" y="482"/>
                    <a:pt x="486" y="482"/>
                    <a:pt x="486" y="481"/>
                  </a:cubicBezTo>
                  <a:cubicBezTo>
                    <a:pt x="485" y="479"/>
                    <a:pt x="483" y="477"/>
                    <a:pt x="481" y="474"/>
                  </a:cubicBezTo>
                  <a:cubicBezTo>
                    <a:pt x="479" y="474"/>
                    <a:pt x="479" y="474"/>
                    <a:pt x="478" y="473"/>
                  </a:cubicBezTo>
                  <a:cubicBezTo>
                    <a:pt x="479" y="472"/>
                    <a:pt x="480" y="471"/>
                    <a:pt x="480" y="469"/>
                  </a:cubicBezTo>
                  <a:cubicBezTo>
                    <a:pt x="480" y="469"/>
                    <a:pt x="480" y="469"/>
                    <a:pt x="480" y="469"/>
                  </a:cubicBezTo>
                  <a:cubicBezTo>
                    <a:pt x="480" y="464"/>
                    <a:pt x="485" y="464"/>
                    <a:pt x="486" y="461"/>
                  </a:cubicBezTo>
                  <a:cubicBezTo>
                    <a:pt x="486" y="461"/>
                    <a:pt x="486" y="461"/>
                    <a:pt x="486" y="461"/>
                  </a:cubicBezTo>
                  <a:cubicBezTo>
                    <a:pt x="484" y="460"/>
                    <a:pt x="484" y="460"/>
                    <a:pt x="483" y="460"/>
                  </a:cubicBezTo>
                  <a:cubicBezTo>
                    <a:pt x="483" y="460"/>
                    <a:pt x="482" y="460"/>
                    <a:pt x="482" y="460"/>
                  </a:cubicBezTo>
                  <a:cubicBezTo>
                    <a:pt x="480" y="460"/>
                    <a:pt x="479" y="459"/>
                    <a:pt x="477" y="459"/>
                  </a:cubicBezTo>
                  <a:cubicBezTo>
                    <a:pt x="477" y="459"/>
                    <a:pt x="474" y="457"/>
                    <a:pt x="472" y="456"/>
                  </a:cubicBezTo>
                  <a:cubicBezTo>
                    <a:pt x="472" y="456"/>
                    <a:pt x="472" y="456"/>
                    <a:pt x="472" y="456"/>
                  </a:cubicBezTo>
                  <a:cubicBezTo>
                    <a:pt x="471" y="456"/>
                    <a:pt x="471" y="456"/>
                    <a:pt x="471" y="457"/>
                  </a:cubicBezTo>
                  <a:cubicBezTo>
                    <a:pt x="470" y="457"/>
                    <a:pt x="470" y="457"/>
                    <a:pt x="469" y="457"/>
                  </a:cubicBezTo>
                  <a:cubicBezTo>
                    <a:pt x="469" y="457"/>
                    <a:pt x="469" y="458"/>
                    <a:pt x="469" y="458"/>
                  </a:cubicBezTo>
                  <a:cubicBezTo>
                    <a:pt x="469" y="459"/>
                    <a:pt x="469" y="459"/>
                    <a:pt x="469" y="459"/>
                  </a:cubicBezTo>
                  <a:cubicBezTo>
                    <a:pt x="470" y="460"/>
                    <a:pt x="470" y="460"/>
                    <a:pt x="472" y="460"/>
                  </a:cubicBezTo>
                  <a:cubicBezTo>
                    <a:pt x="471" y="463"/>
                    <a:pt x="468" y="461"/>
                    <a:pt x="467" y="462"/>
                  </a:cubicBezTo>
                  <a:cubicBezTo>
                    <a:pt x="465" y="463"/>
                    <a:pt x="464" y="464"/>
                    <a:pt x="462" y="465"/>
                  </a:cubicBezTo>
                  <a:cubicBezTo>
                    <a:pt x="460" y="466"/>
                    <a:pt x="460" y="466"/>
                    <a:pt x="459" y="467"/>
                  </a:cubicBezTo>
                  <a:cubicBezTo>
                    <a:pt x="459" y="467"/>
                    <a:pt x="459" y="467"/>
                    <a:pt x="459" y="468"/>
                  </a:cubicBezTo>
                  <a:cubicBezTo>
                    <a:pt x="459" y="470"/>
                    <a:pt x="458" y="472"/>
                    <a:pt x="458" y="472"/>
                  </a:cubicBezTo>
                  <a:cubicBezTo>
                    <a:pt x="457" y="473"/>
                    <a:pt x="453" y="473"/>
                    <a:pt x="453" y="471"/>
                  </a:cubicBezTo>
                  <a:cubicBezTo>
                    <a:pt x="452" y="471"/>
                    <a:pt x="451" y="471"/>
                    <a:pt x="451" y="471"/>
                  </a:cubicBezTo>
                  <a:cubicBezTo>
                    <a:pt x="450" y="471"/>
                    <a:pt x="450" y="471"/>
                    <a:pt x="450" y="471"/>
                  </a:cubicBezTo>
                  <a:cubicBezTo>
                    <a:pt x="450" y="471"/>
                    <a:pt x="450" y="470"/>
                    <a:pt x="450" y="470"/>
                  </a:cubicBezTo>
                  <a:cubicBezTo>
                    <a:pt x="450" y="470"/>
                    <a:pt x="449" y="470"/>
                    <a:pt x="448" y="470"/>
                  </a:cubicBezTo>
                  <a:cubicBezTo>
                    <a:pt x="446" y="471"/>
                    <a:pt x="444" y="472"/>
                    <a:pt x="441" y="474"/>
                  </a:cubicBezTo>
                  <a:cubicBezTo>
                    <a:pt x="439" y="475"/>
                    <a:pt x="437" y="478"/>
                    <a:pt x="434" y="478"/>
                  </a:cubicBezTo>
                  <a:cubicBezTo>
                    <a:pt x="434" y="478"/>
                    <a:pt x="433" y="479"/>
                    <a:pt x="433" y="480"/>
                  </a:cubicBezTo>
                  <a:cubicBezTo>
                    <a:pt x="434" y="481"/>
                    <a:pt x="434" y="481"/>
                    <a:pt x="434" y="482"/>
                  </a:cubicBezTo>
                  <a:cubicBezTo>
                    <a:pt x="434" y="482"/>
                    <a:pt x="434" y="483"/>
                    <a:pt x="434" y="483"/>
                  </a:cubicBezTo>
                  <a:cubicBezTo>
                    <a:pt x="433" y="483"/>
                    <a:pt x="431" y="483"/>
                    <a:pt x="430" y="483"/>
                  </a:cubicBezTo>
                  <a:cubicBezTo>
                    <a:pt x="431" y="483"/>
                    <a:pt x="431" y="482"/>
                    <a:pt x="431" y="481"/>
                  </a:cubicBezTo>
                  <a:cubicBezTo>
                    <a:pt x="430" y="481"/>
                    <a:pt x="430" y="481"/>
                    <a:pt x="429" y="481"/>
                  </a:cubicBezTo>
                  <a:cubicBezTo>
                    <a:pt x="428" y="481"/>
                    <a:pt x="418" y="493"/>
                    <a:pt x="418" y="493"/>
                  </a:cubicBezTo>
                  <a:cubicBezTo>
                    <a:pt x="418" y="493"/>
                    <a:pt x="418" y="494"/>
                    <a:pt x="415" y="495"/>
                  </a:cubicBezTo>
                  <a:cubicBezTo>
                    <a:pt x="411" y="496"/>
                    <a:pt x="406" y="495"/>
                    <a:pt x="402" y="498"/>
                  </a:cubicBezTo>
                  <a:cubicBezTo>
                    <a:pt x="400" y="499"/>
                    <a:pt x="398" y="499"/>
                    <a:pt x="396" y="501"/>
                  </a:cubicBezTo>
                  <a:cubicBezTo>
                    <a:pt x="394" y="501"/>
                    <a:pt x="395" y="503"/>
                    <a:pt x="394" y="504"/>
                  </a:cubicBezTo>
                  <a:cubicBezTo>
                    <a:pt x="393" y="504"/>
                    <a:pt x="393" y="504"/>
                    <a:pt x="391" y="503"/>
                  </a:cubicBezTo>
                  <a:cubicBezTo>
                    <a:pt x="391" y="503"/>
                    <a:pt x="391" y="502"/>
                    <a:pt x="390" y="502"/>
                  </a:cubicBezTo>
                  <a:cubicBezTo>
                    <a:pt x="390" y="503"/>
                    <a:pt x="390" y="503"/>
                    <a:pt x="389" y="504"/>
                  </a:cubicBezTo>
                  <a:cubicBezTo>
                    <a:pt x="388" y="505"/>
                    <a:pt x="388" y="505"/>
                    <a:pt x="388" y="505"/>
                  </a:cubicBezTo>
                  <a:cubicBezTo>
                    <a:pt x="388" y="505"/>
                    <a:pt x="388" y="505"/>
                    <a:pt x="388" y="506"/>
                  </a:cubicBezTo>
                  <a:cubicBezTo>
                    <a:pt x="388" y="507"/>
                    <a:pt x="388" y="507"/>
                    <a:pt x="388" y="508"/>
                  </a:cubicBezTo>
                  <a:cubicBezTo>
                    <a:pt x="388" y="508"/>
                    <a:pt x="388" y="508"/>
                    <a:pt x="387" y="509"/>
                  </a:cubicBezTo>
                  <a:cubicBezTo>
                    <a:pt x="386" y="510"/>
                    <a:pt x="385" y="511"/>
                    <a:pt x="387" y="517"/>
                  </a:cubicBezTo>
                  <a:cubicBezTo>
                    <a:pt x="386" y="518"/>
                    <a:pt x="385" y="517"/>
                    <a:pt x="383" y="517"/>
                  </a:cubicBezTo>
                  <a:cubicBezTo>
                    <a:pt x="383" y="518"/>
                    <a:pt x="383" y="518"/>
                    <a:pt x="383" y="519"/>
                  </a:cubicBezTo>
                  <a:cubicBezTo>
                    <a:pt x="386" y="524"/>
                    <a:pt x="388" y="530"/>
                    <a:pt x="385" y="541"/>
                  </a:cubicBezTo>
                  <a:cubicBezTo>
                    <a:pt x="385" y="542"/>
                    <a:pt x="385" y="543"/>
                    <a:pt x="384" y="544"/>
                  </a:cubicBezTo>
                  <a:cubicBezTo>
                    <a:pt x="382" y="544"/>
                    <a:pt x="380" y="546"/>
                    <a:pt x="380" y="546"/>
                  </a:cubicBezTo>
                  <a:cubicBezTo>
                    <a:pt x="380" y="547"/>
                    <a:pt x="380" y="547"/>
                    <a:pt x="380" y="547"/>
                  </a:cubicBezTo>
                  <a:cubicBezTo>
                    <a:pt x="380" y="547"/>
                    <a:pt x="381" y="547"/>
                    <a:pt x="381" y="547"/>
                  </a:cubicBezTo>
                  <a:cubicBezTo>
                    <a:pt x="381" y="547"/>
                    <a:pt x="382" y="548"/>
                    <a:pt x="382" y="548"/>
                  </a:cubicBezTo>
                  <a:cubicBezTo>
                    <a:pt x="383" y="549"/>
                    <a:pt x="387" y="552"/>
                    <a:pt x="392" y="548"/>
                  </a:cubicBezTo>
                  <a:cubicBezTo>
                    <a:pt x="395" y="545"/>
                    <a:pt x="396" y="545"/>
                    <a:pt x="404" y="546"/>
                  </a:cubicBezTo>
                  <a:cubicBezTo>
                    <a:pt x="405" y="547"/>
                    <a:pt x="405" y="547"/>
                    <a:pt x="408" y="544"/>
                  </a:cubicBezTo>
                  <a:cubicBezTo>
                    <a:pt x="411" y="541"/>
                    <a:pt x="415" y="540"/>
                    <a:pt x="416" y="540"/>
                  </a:cubicBezTo>
                  <a:cubicBezTo>
                    <a:pt x="417" y="539"/>
                    <a:pt x="418" y="540"/>
                    <a:pt x="418" y="540"/>
                  </a:cubicBezTo>
                  <a:cubicBezTo>
                    <a:pt x="423" y="540"/>
                    <a:pt x="427" y="533"/>
                    <a:pt x="433" y="537"/>
                  </a:cubicBezTo>
                  <a:cubicBezTo>
                    <a:pt x="434" y="538"/>
                    <a:pt x="434" y="538"/>
                    <a:pt x="436" y="538"/>
                  </a:cubicBezTo>
                  <a:cubicBezTo>
                    <a:pt x="436" y="538"/>
                    <a:pt x="437" y="538"/>
                    <a:pt x="437" y="538"/>
                  </a:cubicBezTo>
                  <a:cubicBezTo>
                    <a:pt x="439" y="538"/>
                    <a:pt x="439" y="538"/>
                    <a:pt x="439" y="538"/>
                  </a:cubicBezTo>
                  <a:cubicBezTo>
                    <a:pt x="440" y="540"/>
                    <a:pt x="439" y="541"/>
                    <a:pt x="438" y="542"/>
                  </a:cubicBezTo>
                  <a:cubicBezTo>
                    <a:pt x="439" y="542"/>
                    <a:pt x="439" y="542"/>
                    <a:pt x="440" y="542"/>
                  </a:cubicBezTo>
                  <a:cubicBezTo>
                    <a:pt x="440" y="542"/>
                    <a:pt x="440" y="542"/>
                    <a:pt x="437" y="547"/>
                  </a:cubicBezTo>
                  <a:cubicBezTo>
                    <a:pt x="438" y="548"/>
                    <a:pt x="438" y="548"/>
                    <a:pt x="438" y="548"/>
                  </a:cubicBezTo>
                  <a:cubicBezTo>
                    <a:pt x="441" y="547"/>
                    <a:pt x="447" y="541"/>
                    <a:pt x="447" y="541"/>
                  </a:cubicBezTo>
                  <a:cubicBezTo>
                    <a:pt x="448" y="541"/>
                    <a:pt x="448" y="541"/>
                    <a:pt x="448" y="541"/>
                  </a:cubicBezTo>
                  <a:cubicBezTo>
                    <a:pt x="448" y="542"/>
                    <a:pt x="448" y="542"/>
                    <a:pt x="448" y="542"/>
                  </a:cubicBezTo>
                  <a:cubicBezTo>
                    <a:pt x="447" y="544"/>
                    <a:pt x="445" y="545"/>
                    <a:pt x="443" y="547"/>
                  </a:cubicBezTo>
                  <a:cubicBezTo>
                    <a:pt x="444" y="547"/>
                    <a:pt x="444" y="547"/>
                    <a:pt x="444" y="547"/>
                  </a:cubicBezTo>
                  <a:cubicBezTo>
                    <a:pt x="445" y="546"/>
                    <a:pt x="445" y="546"/>
                    <a:pt x="447" y="546"/>
                  </a:cubicBezTo>
                  <a:cubicBezTo>
                    <a:pt x="446" y="546"/>
                    <a:pt x="446" y="547"/>
                    <a:pt x="445" y="548"/>
                  </a:cubicBezTo>
                  <a:cubicBezTo>
                    <a:pt x="444" y="549"/>
                    <a:pt x="444" y="549"/>
                    <a:pt x="444" y="549"/>
                  </a:cubicBezTo>
                  <a:cubicBezTo>
                    <a:pt x="444" y="549"/>
                    <a:pt x="444" y="549"/>
                    <a:pt x="444" y="549"/>
                  </a:cubicBezTo>
                  <a:cubicBezTo>
                    <a:pt x="443" y="550"/>
                    <a:pt x="443" y="550"/>
                    <a:pt x="442" y="551"/>
                  </a:cubicBezTo>
                  <a:cubicBezTo>
                    <a:pt x="443" y="551"/>
                    <a:pt x="444" y="549"/>
                    <a:pt x="445" y="550"/>
                  </a:cubicBezTo>
                  <a:cubicBezTo>
                    <a:pt x="445" y="550"/>
                    <a:pt x="445" y="551"/>
                    <a:pt x="444" y="552"/>
                  </a:cubicBezTo>
                  <a:cubicBezTo>
                    <a:pt x="444" y="552"/>
                    <a:pt x="444" y="552"/>
                    <a:pt x="444" y="552"/>
                  </a:cubicBezTo>
                  <a:cubicBezTo>
                    <a:pt x="445" y="553"/>
                    <a:pt x="445" y="553"/>
                    <a:pt x="445" y="553"/>
                  </a:cubicBezTo>
                  <a:cubicBezTo>
                    <a:pt x="444" y="553"/>
                    <a:pt x="444" y="553"/>
                    <a:pt x="444" y="553"/>
                  </a:cubicBezTo>
                  <a:cubicBezTo>
                    <a:pt x="444" y="553"/>
                    <a:pt x="444" y="554"/>
                    <a:pt x="443" y="554"/>
                  </a:cubicBezTo>
                  <a:cubicBezTo>
                    <a:pt x="441" y="557"/>
                    <a:pt x="441" y="557"/>
                    <a:pt x="442" y="558"/>
                  </a:cubicBezTo>
                  <a:cubicBezTo>
                    <a:pt x="444" y="558"/>
                    <a:pt x="444" y="558"/>
                    <a:pt x="444" y="558"/>
                  </a:cubicBezTo>
                  <a:cubicBezTo>
                    <a:pt x="444" y="559"/>
                    <a:pt x="444" y="559"/>
                    <a:pt x="444" y="560"/>
                  </a:cubicBezTo>
                  <a:cubicBezTo>
                    <a:pt x="447" y="561"/>
                    <a:pt x="449" y="558"/>
                    <a:pt x="450" y="557"/>
                  </a:cubicBezTo>
                  <a:cubicBezTo>
                    <a:pt x="451" y="557"/>
                    <a:pt x="451" y="557"/>
                    <a:pt x="452" y="557"/>
                  </a:cubicBezTo>
                  <a:cubicBezTo>
                    <a:pt x="451" y="558"/>
                    <a:pt x="451" y="559"/>
                    <a:pt x="450" y="560"/>
                  </a:cubicBezTo>
                  <a:cubicBezTo>
                    <a:pt x="451" y="560"/>
                    <a:pt x="451" y="560"/>
                    <a:pt x="451" y="560"/>
                  </a:cubicBezTo>
                  <a:cubicBezTo>
                    <a:pt x="463" y="556"/>
                    <a:pt x="463" y="556"/>
                    <a:pt x="470" y="550"/>
                  </a:cubicBezTo>
                  <a:cubicBezTo>
                    <a:pt x="470" y="550"/>
                    <a:pt x="470" y="550"/>
                    <a:pt x="471" y="549"/>
                  </a:cubicBezTo>
                  <a:cubicBezTo>
                    <a:pt x="478" y="540"/>
                    <a:pt x="489" y="535"/>
                    <a:pt x="497" y="526"/>
                  </a:cubicBezTo>
                  <a:moveTo>
                    <a:pt x="559" y="447"/>
                  </a:moveTo>
                  <a:cubicBezTo>
                    <a:pt x="559" y="446"/>
                    <a:pt x="559" y="446"/>
                    <a:pt x="559" y="446"/>
                  </a:cubicBezTo>
                  <a:cubicBezTo>
                    <a:pt x="559" y="446"/>
                    <a:pt x="559" y="446"/>
                    <a:pt x="559" y="446"/>
                  </a:cubicBezTo>
                  <a:cubicBezTo>
                    <a:pt x="559" y="446"/>
                    <a:pt x="559" y="446"/>
                    <a:pt x="559" y="446"/>
                  </a:cubicBezTo>
                  <a:cubicBezTo>
                    <a:pt x="559" y="445"/>
                    <a:pt x="559" y="445"/>
                    <a:pt x="559" y="445"/>
                  </a:cubicBezTo>
                  <a:cubicBezTo>
                    <a:pt x="560" y="445"/>
                    <a:pt x="560" y="445"/>
                    <a:pt x="560" y="445"/>
                  </a:cubicBezTo>
                  <a:cubicBezTo>
                    <a:pt x="559" y="445"/>
                    <a:pt x="559" y="445"/>
                    <a:pt x="559" y="445"/>
                  </a:cubicBezTo>
                  <a:cubicBezTo>
                    <a:pt x="559" y="445"/>
                    <a:pt x="559" y="445"/>
                    <a:pt x="559" y="445"/>
                  </a:cubicBezTo>
                  <a:cubicBezTo>
                    <a:pt x="559" y="444"/>
                    <a:pt x="559" y="444"/>
                    <a:pt x="559" y="444"/>
                  </a:cubicBezTo>
                  <a:cubicBezTo>
                    <a:pt x="559" y="444"/>
                    <a:pt x="559" y="444"/>
                    <a:pt x="559" y="444"/>
                  </a:cubicBezTo>
                  <a:cubicBezTo>
                    <a:pt x="558" y="444"/>
                    <a:pt x="558" y="444"/>
                    <a:pt x="558" y="444"/>
                  </a:cubicBezTo>
                  <a:cubicBezTo>
                    <a:pt x="558" y="445"/>
                    <a:pt x="557" y="445"/>
                    <a:pt x="557" y="446"/>
                  </a:cubicBezTo>
                  <a:cubicBezTo>
                    <a:pt x="557" y="446"/>
                    <a:pt x="557" y="447"/>
                    <a:pt x="557" y="447"/>
                  </a:cubicBezTo>
                  <a:cubicBezTo>
                    <a:pt x="557" y="447"/>
                    <a:pt x="558" y="447"/>
                    <a:pt x="558" y="447"/>
                  </a:cubicBezTo>
                  <a:cubicBezTo>
                    <a:pt x="558" y="447"/>
                    <a:pt x="558" y="447"/>
                    <a:pt x="558" y="447"/>
                  </a:cubicBezTo>
                  <a:cubicBezTo>
                    <a:pt x="559" y="447"/>
                    <a:pt x="559" y="447"/>
                    <a:pt x="559" y="447"/>
                  </a:cubicBezTo>
                  <a:moveTo>
                    <a:pt x="552" y="436"/>
                  </a:moveTo>
                  <a:cubicBezTo>
                    <a:pt x="552" y="436"/>
                    <a:pt x="552" y="436"/>
                    <a:pt x="552" y="436"/>
                  </a:cubicBezTo>
                  <a:cubicBezTo>
                    <a:pt x="552" y="435"/>
                    <a:pt x="553" y="435"/>
                    <a:pt x="553" y="435"/>
                  </a:cubicBezTo>
                  <a:cubicBezTo>
                    <a:pt x="553" y="435"/>
                    <a:pt x="552" y="434"/>
                    <a:pt x="553" y="434"/>
                  </a:cubicBezTo>
                  <a:cubicBezTo>
                    <a:pt x="553" y="434"/>
                    <a:pt x="553" y="433"/>
                    <a:pt x="553" y="433"/>
                  </a:cubicBezTo>
                  <a:cubicBezTo>
                    <a:pt x="553" y="433"/>
                    <a:pt x="553" y="433"/>
                    <a:pt x="553" y="433"/>
                  </a:cubicBezTo>
                  <a:cubicBezTo>
                    <a:pt x="553" y="432"/>
                    <a:pt x="553" y="432"/>
                    <a:pt x="553" y="432"/>
                  </a:cubicBezTo>
                  <a:cubicBezTo>
                    <a:pt x="553" y="432"/>
                    <a:pt x="552" y="431"/>
                    <a:pt x="552" y="431"/>
                  </a:cubicBezTo>
                  <a:cubicBezTo>
                    <a:pt x="552" y="430"/>
                    <a:pt x="552" y="430"/>
                    <a:pt x="552" y="430"/>
                  </a:cubicBezTo>
                  <a:cubicBezTo>
                    <a:pt x="552" y="429"/>
                    <a:pt x="552" y="429"/>
                    <a:pt x="552" y="428"/>
                  </a:cubicBezTo>
                  <a:cubicBezTo>
                    <a:pt x="552" y="429"/>
                    <a:pt x="552" y="429"/>
                    <a:pt x="552" y="429"/>
                  </a:cubicBezTo>
                  <a:cubicBezTo>
                    <a:pt x="551" y="429"/>
                    <a:pt x="551" y="429"/>
                    <a:pt x="551" y="429"/>
                  </a:cubicBezTo>
                  <a:cubicBezTo>
                    <a:pt x="551" y="430"/>
                    <a:pt x="551" y="430"/>
                    <a:pt x="551" y="431"/>
                  </a:cubicBezTo>
                  <a:cubicBezTo>
                    <a:pt x="551" y="431"/>
                    <a:pt x="550" y="431"/>
                    <a:pt x="550" y="432"/>
                  </a:cubicBezTo>
                  <a:cubicBezTo>
                    <a:pt x="551" y="433"/>
                    <a:pt x="551" y="433"/>
                    <a:pt x="551" y="433"/>
                  </a:cubicBezTo>
                  <a:cubicBezTo>
                    <a:pt x="551" y="433"/>
                    <a:pt x="551" y="433"/>
                    <a:pt x="551" y="434"/>
                  </a:cubicBezTo>
                  <a:cubicBezTo>
                    <a:pt x="551" y="434"/>
                    <a:pt x="551" y="435"/>
                    <a:pt x="551" y="436"/>
                  </a:cubicBezTo>
                  <a:cubicBezTo>
                    <a:pt x="551" y="436"/>
                    <a:pt x="551" y="436"/>
                    <a:pt x="551" y="436"/>
                  </a:cubicBezTo>
                  <a:cubicBezTo>
                    <a:pt x="552" y="436"/>
                    <a:pt x="552" y="436"/>
                    <a:pt x="552" y="436"/>
                  </a:cubicBezTo>
                  <a:cubicBezTo>
                    <a:pt x="552" y="436"/>
                    <a:pt x="552" y="436"/>
                    <a:pt x="552" y="436"/>
                  </a:cubicBezTo>
                  <a:moveTo>
                    <a:pt x="547" y="424"/>
                  </a:moveTo>
                  <a:cubicBezTo>
                    <a:pt x="547" y="424"/>
                    <a:pt x="547" y="424"/>
                    <a:pt x="547" y="423"/>
                  </a:cubicBezTo>
                  <a:cubicBezTo>
                    <a:pt x="546" y="423"/>
                    <a:pt x="546" y="423"/>
                    <a:pt x="545" y="424"/>
                  </a:cubicBezTo>
                  <a:cubicBezTo>
                    <a:pt x="544" y="424"/>
                    <a:pt x="544" y="424"/>
                    <a:pt x="544" y="424"/>
                  </a:cubicBezTo>
                  <a:cubicBezTo>
                    <a:pt x="543" y="425"/>
                    <a:pt x="544" y="426"/>
                    <a:pt x="543" y="426"/>
                  </a:cubicBezTo>
                  <a:cubicBezTo>
                    <a:pt x="542" y="428"/>
                    <a:pt x="542" y="428"/>
                    <a:pt x="542" y="428"/>
                  </a:cubicBezTo>
                  <a:cubicBezTo>
                    <a:pt x="542" y="428"/>
                    <a:pt x="542" y="428"/>
                    <a:pt x="542" y="428"/>
                  </a:cubicBezTo>
                  <a:cubicBezTo>
                    <a:pt x="542" y="428"/>
                    <a:pt x="542" y="428"/>
                    <a:pt x="539" y="429"/>
                  </a:cubicBezTo>
                  <a:cubicBezTo>
                    <a:pt x="538" y="429"/>
                    <a:pt x="538" y="429"/>
                    <a:pt x="538" y="429"/>
                  </a:cubicBezTo>
                  <a:cubicBezTo>
                    <a:pt x="538" y="429"/>
                    <a:pt x="538" y="429"/>
                    <a:pt x="538" y="429"/>
                  </a:cubicBezTo>
                  <a:cubicBezTo>
                    <a:pt x="537" y="429"/>
                    <a:pt x="536" y="429"/>
                    <a:pt x="535" y="429"/>
                  </a:cubicBezTo>
                  <a:cubicBezTo>
                    <a:pt x="535" y="429"/>
                    <a:pt x="535" y="429"/>
                    <a:pt x="535" y="429"/>
                  </a:cubicBezTo>
                  <a:cubicBezTo>
                    <a:pt x="535" y="429"/>
                    <a:pt x="534" y="430"/>
                    <a:pt x="534" y="430"/>
                  </a:cubicBezTo>
                  <a:cubicBezTo>
                    <a:pt x="534" y="431"/>
                    <a:pt x="534" y="431"/>
                    <a:pt x="534" y="432"/>
                  </a:cubicBezTo>
                  <a:cubicBezTo>
                    <a:pt x="533" y="432"/>
                    <a:pt x="533" y="432"/>
                    <a:pt x="533" y="432"/>
                  </a:cubicBezTo>
                  <a:cubicBezTo>
                    <a:pt x="534" y="432"/>
                    <a:pt x="535" y="432"/>
                    <a:pt x="536" y="432"/>
                  </a:cubicBezTo>
                  <a:cubicBezTo>
                    <a:pt x="536" y="432"/>
                    <a:pt x="537" y="433"/>
                    <a:pt x="537" y="433"/>
                  </a:cubicBezTo>
                  <a:cubicBezTo>
                    <a:pt x="540" y="432"/>
                    <a:pt x="540" y="432"/>
                    <a:pt x="540" y="432"/>
                  </a:cubicBezTo>
                  <a:cubicBezTo>
                    <a:pt x="541" y="432"/>
                    <a:pt x="541" y="432"/>
                    <a:pt x="541" y="432"/>
                  </a:cubicBezTo>
                  <a:cubicBezTo>
                    <a:pt x="541" y="431"/>
                    <a:pt x="541" y="431"/>
                    <a:pt x="542" y="431"/>
                  </a:cubicBezTo>
                  <a:cubicBezTo>
                    <a:pt x="542" y="431"/>
                    <a:pt x="542" y="431"/>
                    <a:pt x="543" y="431"/>
                  </a:cubicBezTo>
                  <a:cubicBezTo>
                    <a:pt x="543" y="431"/>
                    <a:pt x="543" y="431"/>
                    <a:pt x="543" y="431"/>
                  </a:cubicBezTo>
                  <a:cubicBezTo>
                    <a:pt x="543" y="430"/>
                    <a:pt x="543" y="430"/>
                    <a:pt x="543" y="430"/>
                  </a:cubicBezTo>
                  <a:cubicBezTo>
                    <a:pt x="543" y="430"/>
                    <a:pt x="544" y="429"/>
                    <a:pt x="545" y="428"/>
                  </a:cubicBezTo>
                  <a:cubicBezTo>
                    <a:pt x="545" y="428"/>
                    <a:pt x="545" y="427"/>
                    <a:pt x="545" y="426"/>
                  </a:cubicBezTo>
                  <a:cubicBezTo>
                    <a:pt x="546" y="426"/>
                    <a:pt x="546" y="425"/>
                    <a:pt x="546" y="425"/>
                  </a:cubicBezTo>
                  <a:cubicBezTo>
                    <a:pt x="546" y="425"/>
                    <a:pt x="547" y="425"/>
                    <a:pt x="547" y="424"/>
                  </a:cubicBezTo>
                  <a:moveTo>
                    <a:pt x="474" y="443"/>
                  </a:moveTo>
                  <a:cubicBezTo>
                    <a:pt x="474" y="443"/>
                    <a:pt x="474" y="441"/>
                    <a:pt x="474" y="441"/>
                  </a:cubicBezTo>
                  <a:cubicBezTo>
                    <a:pt x="474" y="441"/>
                    <a:pt x="474" y="440"/>
                    <a:pt x="474" y="440"/>
                  </a:cubicBezTo>
                  <a:cubicBezTo>
                    <a:pt x="472" y="441"/>
                    <a:pt x="471" y="442"/>
                    <a:pt x="471" y="442"/>
                  </a:cubicBezTo>
                  <a:cubicBezTo>
                    <a:pt x="471" y="442"/>
                    <a:pt x="470" y="444"/>
                    <a:pt x="470" y="444"/>
                  </a:cubicBezTo>
                  <a:cubicBezTo>
                    <a:pt x="470" y="445"/>
                    <a:pt x="470" y="445"/>
                    <a:pt x="470" y="445"/>
                  </a:cubicBezTo>
                  <a:cubicBezTo>
                    <a:pt x="471" y="445"/>
                    <a:pt x="471" y="445"/>
                    <a:pt x="472" y="445"/>
                  </a:cubicBezTo>
                  <a:cubicBezTo>
                    <a:pt x="473" y="445"/>
                    <a:pt x="474" y="444"/>
                    <a:pt x="474" y="443"/>
                  </a:cubicBezTo>
                  <a:moveTo>
                    <a:pt x="454" y="443"/>
                  </a:moveTo>
                  <a:cubicBezTo>
                    <a:pt x="454" y="443"/>
                    <a:pt x="454" y="443"/>
                    <a:pt x="454" y="443"/>
                  </a:cubicBezTo>
                  <a:cubicBezTo>
                    <a:pt x="454" y="442"/>
                    <a:pt x="454" y="442"/>
                    <a:pt x="454" y="442"/>
                  </a:cubicBezTo>
                  <a:cubicBezTo>
                    <a:pt x="452" y="442"/>
                    <a:pt x="451" y="442"/>
                    <a:pt x="450" y="442"/>
                  </a:cubicBezTo>
                  <a:cubicBezTo>
                    <a:pt x="450" y="443"/>
                    <a:pt x="449" y="443"/>
                    <a:pt x="449" y="443"/>
                  </a:cubicBezTo>
                  <a:cubicBezTo>
                    <a:pt x="449" y="444"/>
                    <a:pt x="450" y="444"/>
                    <a:pt x="450" y="444"/>
                  </a:cubicBezTo>
                  <a:cubicBezTo>
                    <a:pt x="450" y="444"/>
                    <a:pt x="450" y="444"/>
                    <a:pt x="450" y="444"/>
                  </a:cubicBezTo>
                  <a:cubicBezTo>
                    <a:pt x="450" y="444"/>
                    <a:pt x="450" y="444"/>
                    <a:pt x="450" y="444"/>
                  </a:cubicBezTo>
                  <a:cubicBezTo>
                    <a:pt x="451" y="444"/>
                    <a:pt x="451" y="444"/>
                    <a:pt x="451" y="444"/>
                  </a:cubicBezTo>
                  <a:cubicBezTo>
                    <a:pt x="452" y="443"/>
                    <a:pt x="452" y="444"/>
                    <a:pt x="453" y="444"/>
                  </a:cubicBezTo>
                  <a:cubicBezTo>
                    <a:pt x="453" y="444"/>
                    <a:pt x="453" y="444"/>
                    <a:pt x="453" y="444"/>
                  </a:cubicBezTo>
                  <a:cubicBezTo>
                    <a:pt x="453" y="444"/>
                    <a:pt x="454" y="443"/>
                    <a:pt x="454" y="443"/>
                  </a:cubicBezTo>
                  <a:moveTo>
                    <a:pt x="487" y="432"/>
                  </a:moveTo>
                  <a:cubicBezTo>
                    <a:pt x="487" y="432"/>
                    <a:pt x="487" y="432"/>
                    <a:pt x="487" y="432"/>
                  </a:cubicBezTo>
                  <a:cubicBezTo>
                    <a:pt x="487" y="432"/>
                    <a:pt x="487" y="432"/>
                    <a:pt x="487" y="431"/>
                  </a:cubicBezTo>
                  <a:cubicBezTo>
                    <a:pt x="486" y="432"/>
                    <a:pt x="486" y="432"/>
                    <a:pt x="485" y="432"/>
                  </a:cubicBezTo>
                  <a:cubicBezTo>
                    <a:pt x="485" y="433"/>
                    <a:pt x="485" y="433"/>
                    <a:pt x="485" y="433"/>
                  </a:cubicBezTo>
                  <a:cubicBezTo>
                    <a:pt x="484" y="433"/>
                    <a:pt x="484" y="433"/>
                    <a:pt x="484" y="433"/>
                  </a:cubicBezTo>
                  <a:cubicBezTo>
                    <a:pt x="484" y="433"/>
                    <a:pt x="484" y="433"/>
                    <a:pt x="484" y="433"/>
                  </a:cubicBezTo>
                  <a:cubicBezTo>
                    <a:pt x="484" y="434"/>
                    <a:pt x="484" y="434"/>
                    <a:pt x="484" y="434"/>
                  </a:cubicBezTo>
                  <a:cubicBezTo>
                    <a:pt x="484" y="435"/>
                    <a:pt x="483" y="435"/>
                    <a:pt x="483" y="435"/>
                  </a:cubicBezTo>
                  <a:cubicBezTo>
                    <a:pt x="483" y="436"/>
                    <a:pt x="483" y="436"/>
                    <a:pt x="483" y="436"/>
                  </a:cubicBezTo>
                  <a:cubicBezTo>
                    <a:pt x="483" y="437"/>
                    <a:pt x="482" y="437"/>
                    <a:pt x="482" y="437"/>
                  </a:cubicBezTo>
                  <a:cubicBezTo>
                    <a:pt x="482" y="437"/>
                    <a:pt x="482" y="437"/>
                    <a:pt x="482" y="437"/>
                  </a:cubicBezTo>
                  <a:cubicBezTo>
                    <a:pt x="482" y="438"/>
                    <a:pt x="482" y="438"/>
                    <a:pt x="482" y="438"/>
                  </a:cubicBezTo>
                  <a:cubicBezTo>
                    <a:pt x="483" y="438"/>
                    <a:pt x="483" y="437"/>
                    <a:pt x="484" y="437"/>
                  </a:cubicBezTo>
                  <a:cubicBezTo>
                    <a:pt x="484" y="437"/>
                    <a:pt x="484" y="437"/>
                    <a:pt x="484" y="437"/>
                  </a:cubicBezTo>
                  <a:cubicBezTo>
                    <a:pt x="484" y="437"/>
                    <a:pt x="484" y="437"/>
                    <a:pt x="485" y="437"/>
                  </a:cubicBezTo>
                  <a:cubicBezTo>
                    <a:pt x="485" y="437"/>
                    <a:pt x="485" y="436"/>
                    <a:pt x="485" y="436"/>
                  </a:cubicBezTo>
                  <a:cubicBezTo>
                    <a:pt x="486" y="435"/>
                    <a:pt x="486" y="435"/>
                    <a:pt x="486" y="434"/>
                  </a:cubicBezTo>
                  <a:cubicBezTo>
                    <a:pt x="487" y="434"/>
                    <a:pt x="487" y="434"/>
                    <a:pt x="487" y="434"/>
                  </a:cubicBezTo>
                  <a:cubicBezTo>
                    <a:pt x="487" y="433"/>
                    <a:pt x="487" y="433"/>
                    <a:pt x="487" y="432"/>
                  </a:cubicBezTo>
                  <a:moveTo>
                    <a:pt x="532" y="452"/>
                  </a:moveTo>
                  <a:cubicBezTo>
                    <a:pt x="533" y="452"/>
                    <a:pt x="533" y="451"/>
                    <a:pt x="533" y="450"/>
                  </a:cubicBezTo>
                  <a:cubicBezTo>
                    <a:pt x="533" y="449"/>
                    <a:pt x="533" y="448"/>
                    <a:pt x="532" y="448"/>
                  </a:cubicBezTo>
                  <a:cubicBezTo>
                    <a:pt x="532" y="447"/>
                    <a:pt x="532" y="446"/>
                    <a:pt x="531" y="446"/>
                  </a:cubicBezTo>
                  <a:cubicBezTo>
                    <a:pt x="527" y="445"/>
                    <a:pt x="527" y="445"/>
                    <a:pt x="527" y="445"/>
                  </a:cubicBezTo>
                  <a:cubicBezTo>
                    <a:pt x="528" y="443"/>
                    <a:pt x="529" y="441"/>
                    <a:pt x="529" y="439"/>
                  </a:cubicBezTo>
                  <a:cubicBezTo>
                    <a:pt x="528" y="439"/>
                    <a:pt x="528" y="439"/>
                    <a:pt x="526" y="439"/>
                  </a:cubicBezTo>
                  <a:cubicBezTo>
                    <a:pt x="527" y="438"/>
                    <a:pt x="527" y="436"/>
                    <a:pt x="528" y="435"/>
                  </a:cubicBezTo>
                  <a:cubicBezTo>
                    <a:pt x="529" y="435"/>
                    <a:pt x="529" y="435"/>
                    <a:pt x="530" y="435"/>
                  </a:cubicBezTo>
                  <a:cubicBezTo>
                    <a:pt x="531" y="434"/>
                    <a:pt x="531" y="434"/>
                    <a:pt x="531" y="433"/>
                  </a:cubicBezTo>
                  <a:cubicBezTo>
                    <a:pt x="530" y="433"/>
                    <a:pt x="530" y="432"/>
                    <a:pt x="530" y="431"/>
                  </a:cubicBezTo>
                  <a:cubicBezTo>
                    <a:pt x="529" y="431"/>
                    <a:pt x="529" y="431"/>
                    <a:pt x="528" y="431"/>
                  </a:cubicBezTo>
                  <a:cubicBezTo>
                    <a:pt x="528" y="431"/>
                    <a:pt x="527" y="432"/>
                    <a:pt x="526" y="431"/>
                  </a:cubicBezTo>
                  <a:cubicBezTo>
                    <a:pt x="526" y="430"/>
                    <a:pt x="526" y="429"/>
                    <a:pt x="526" y="427"/>
                  </a:cubicBezTo>
                  <a:cubicBezTo>
                    <a:pt x="526" y="427"/>
                    <a:pt x="526" y="427"/>
                    <a:pt x="526" y="427"/>
                  </a:cubicBezTo>
                  <a:cubicBezTo>
                    <a:pt x="525" y="427"/>
                    <a:pt x="525" y="427"/>
                    <a:pt x="525" y="427"/>
                  </a:cubicBezTo>
                  <a:cubicBezTo>
                    <a:pt x="525" y="426"/>
                    <a:pt x="525" y="426"/>
                    <a:pt x="523" y="423"/>
                  </a:cubicBezTo>
                  <a:cubicBezTo>
                    <a:pt x="523" y="422"/>
                    <a:pt x="521" y="423"/>
                    <a:pt x="520" y="422"/>
                  </a:cubicBezTo>
                  <a:cubicBezTo>
                    <a:pt x="519" y="422"/>
                    <a:pt x="519" y="422"/>
                    <a:pt x="519" y="421"/>
                  </a:cubicBezTo>
                  <a:cubicBezTo>
                    <a:pt x="519" y="421"/>
                    <a:pt x="519" y="421"/>
                    <a:pt x="519" y="421"/>
                  </a:cubicBezTo>
                  <a:cubicBezTo>
                    <a:pt x="519" y="421"/>
                    <a:pt x="519" y="421"/>
                    <a:pt x="517" y="420"/>
                  </a:cubicBezTo>
                  <a:cubicBezTo>
                    <a:pt x="516" y="420"/>
                    <a:pt x="516" y="419"/>
                    <a:pt x="515" y="418"/>
                  </a:cubicBezTo>
                  <a:cubicBezTo>
                    <a:pt x="513" y="418"/>
                    <a:pt x="512" y="419"/>
                    <a:pt x="511" y="418"/>
                  </a:cubicBezTo>
                  <a:cubicBezTo>
                    <a:pt x="511" y="418"/>
                    <a:pt x="511" y="418"/>
                    <a:pt x="511" y="418"/>
                  </a:cubicBezTo>
                  <a:cubicBezTo>
                    <a:pt x="511" y="418"/>
                    <a:pt x="511" y="418"/>
                    <a:pt x="511" y="418"/>
                  </a:cubicBezTo>
                  <a:cubicBezTo>
                    <a:pt x="511" y="418"/>
                    <a:pt x="511" y="418"/>
                    <a:pt x="511" y="418"/>
                  </a:cubicBezTo>
                  <a:cubicBezTo>
                    <a:pt x="510" y="418"/>
                    <a:pt x="510" y="418"/>
                    <a:pt x="510" y="418"/>
                  </a:cubicBezTo>
                  <a:cubicBezTo>
                    <a:pt x="510" y="418"/>
                    <a:pt x="510" y="418"/>
                    <a:pt x="510" y="418"/>
                  </a:cubicBezTo>
                  <a:cubicBezTo>
                    <a:pt x="510" y="418"/>
                    <a:pt x="510" y="418"/>
                    <a:pt x="510" y="418"/>
                  </a:cubicBezTo>
                  <a:cubicBezTo>
                    <a:pt x="510" y="418"/>
                    <a:pt x="510" y="418"/>
                    <a:pt x="510" y="418"/>
                  </a:cubicBezTo>
                  <a:cubicBezTo>
                    <a:pt x="510" y="418"/>
                    <a:pt x="510" y="418"/>
                    <a:pt x="510" y="418"/>
                  </a:cubicBezTo>
                  <a:cubicBezTo>
                    <a:pt x="510" y="418"/>
                    <a:pt x="510" y="418"/>
                    <a:pt x="510" y="418"/>
                  </a:cubicBezTo>
                  <a:cubicBezTo>
                    <a:pt x="510" y="418"/>
                    <a:pt x="510" y="418"/>
                    <a:pt x="510" y="418"/>
                  </a:cubicBezTo>
                  <a:cubicBezTo>
                    <a:pt x="510" y="418"/>
                    <a:pt x="510" y="418"/>
                    <a:pt x="510" y="418"/>
                  </a:cubicBezTo>
                  <a:cubicBezTo>
                    <a:pt x="510" y="418"/>
                    <a:pt x="510" y="418"/>
                    <a:pt x="510" y="418"/>
                  </a:cubicBezTo>
                  <a:cubicBezTo>
                    <a:pt x="510" y="418"/>
                    <a:pt x="510" y="418"/>
                    <a:pt x="510" y="418"/>
                  </a:cubicBezTo>
                  <a:cubicBezTo>
                    <a:pt x="510" y="418"/>
                    <a:pt x="510" y="418"/>
                    <a:pt x="510" y="418"/>
                  </a:cubicBezTo>
                  <a:cubicBezTo>
                    <a:pt x="510" y="418"/>
                    <a:pt x="510" y="418"/>
                    <a:pt x="510" y="418"/>
                  </a:cubicBezTo>
                  <a:cubicBezTo>
                    <a:pt x="510" y="418"/>
                    <a:pt x="510" y="418"/>
                    <a:pt x="510" y="418"/>
                  </a:cubicBezTo>
                  <a:cubicBezTo>
                    <a:pt x="510" y="418"/>
                    <a:pt x="510" y="418"/>
                    <a:pt x="510" y="418"/>
                  </a:cubicBezTo>
                  <a:cubicBezTo>
                    <a:pt x="507" y="418"/>
                    <a:pt x="506" y="415"/>
                    <a:pt x="503" y="414"/>
                  </a:cubicBezTo>
                  <a:cubicBezTo>
                    <a:pt x="503" y="414"/>
                    <a:pt x="503" y="414"/>
                    <a:pt x="501" y="416"/>
                  </a:cubicBezTo>
                  <a:cubicBezTo>
                    <a:pt x="500" y="417"/>
                    <a:pt x="499" y="416"/>
                    <a:pt x="498" y="417"/>
                  </a:cubicBezTo>
                  <a:cubicBezTo>
                    <a:pt x="496" y="418"/>
                    <a:pt x="496" y="418"/>
                    <a:pt x="496" y="419"/>
                  </a:cubicBezTo>
                  <a:cubicBezTo>
                    <a:pt x="496" y="422"/>
                    <a:pt x="493" y="422"/>
                    <a:pt x="490" y="422"/>
                  </a:cubicBezTo>
                  <a:cubicBezTo>
                    <a:pt x="489" y="422"/>
                    <a:pt x="490" y="419"/>
                    <a:pt x="488" y="419"/>
                  </a:cubicBezTo>
                  <a:cubicBezTo>
                    <a:pt x="487" y="419"/>
                    <a:pt x="486" y="420"/>
                    <a:pt x="485" y="420"/>
                  </a:cubicBezTo>
                  <a:cubicBezTo>
                    <a:pt x="483" y="420"/>
                    <a:pt x="482" y="420"/>
                    <a:pt x="480" y="420"/>
                  </a:cubicBezTo>
                  <a:cubicBezTo>
                    <a:pt x="480" y="421"/>
                    <a:pt x="480" y="421"/>
                    <a:pt x="480" y="422"/>
                  </a:cubicBezTo>
                  <a:cubicBezTo>
                    <a:pt x="481" y="423"/>
                    <a:pt x="481" y="423"/>
                    <a:pt x="481" y="426"/>
                  </a:cubicBezTo>
                  <a:cubicBezTo>
                    <a:pt x="481" y="426"/>
                    <a:pt x="481" y="426"/>
                    <a:pt x="482" y="425"/>
                  </a:cubicBezTo>
                  <a:cubicBezTo>
                    <a:pt x="482" y="425"/>
                    <a:pt x="482" y="425"/>
                    <a:pt x="482" y="425"/>
                  </a:cubicBezTo>
                  <a:cubicBezTo>
                    <a:pt x="482" y="425"/>
                    <a:pt x="483" y="424"/>
                    <a:pt x="484" y="424"/>
                  </a:cubicBezTo>
                  <a:cubicBezTo>
                    <a:pt x="485" y="425"/>
                    <a:pt x="487" y="424"/>
                    <a:pt x="489" y="426"/>
                  </a:cubicBezTo>
                  <a:cubicBezTo>
                    <a:pt x="490" y="428"/>
                    <a:pt x="490" y="428"/>
                    <a:pt x="491" y="428"/>
                  </a:cubicBezTo>
                  <a:cubicBezTo>
                    <a:pt x="494" y="427"/>
                    <a:pt x="497" y="428"/>
                    <a:pt x="498" y="431"/>
                  </a:cubicBezTo>
                  <a:cubicBezTo>
                    <a:pt x="500" y="434"/>
                    <a:pt x="500" y="436"/>
                    <a:pt x="500" y="436"/>
                  </a:cubicBezTo>
                  <a:cubicBezTo>
                    <a:pt x="499" y="439"/>
                    <a:pt x="499" y="439"/>
                    <a:pt x="498" y="440"/>
                  </a:cubicBezTo>
                  <a:cubicBezTo>
                    <a:pt x="497" y="441"/>
                    <a:pt x="495" y="441"/>
                    <a:pt x="494" y="442"/>
                  </a:cubicBezTo>
                  <a:cubicBezTo>
                    <a:pt x="493" y="443"/>
                    <a:pt x="493" y="443"/>
                    <a:pt x="493" y="444"/>
                  </a:cubicBezTo>
                  <a:cubicBezTo>
                    <a:pt x="493" y="444"/>
                    <a:pt x="493" y="447"/>
                    <a:pt x="497" y="444"/>
                  </a:cubicBezTo>
                  <a:cubicBezTo>
                    <a:pt x="498" y="443"/>
                    <a:pt x="499" y="441"/>
                    <a:pt x="500" y="442"/>
                  </a:cubicBezTo>
                  <a:cubicBezTo>
                    <a:pt x="501" y="442"/>
                    <a:pt x="501" y="443"/>
                    <a:pt x="501" y="443"/>
                  </a:cubicBezTo>
                  <a:cubicBezTo>
                    <a:pt x="502" y="445"/>
                    <a:pt x="502" y="445"/>
                    <a:pt x="503" y="445"/>
                  </a:cubicBezTo>
                  <a:cubicBezTo>
                    <a:pt x="504" y="446"/>
                    <a:pt x="505" y="446"/>
                    <a:pt x="505" y="447"/>
                  </a:cubicBezTo>
                  <a:cubicBezTo>
                    <a:pt x="507" y="447"/>
                    <a:pt x="509" y="448"/>
                    <a:pt x="510" y="447"/>
                  </a:cubicBezTo>
                  <a:cubicBezTo>
                    <a:pt x="512" y="446"/>
                    <a:pt x="512" y="446"/>
                    <a:pt x="512" y="446"/>
                  </a:cubicBezTo>
                  <a:cubicBezTo>
                    <a:pt x="513" y="445"/>
                    <a:pt x="513" y="444"/>
                    <a:pt x="513" y="443"/>
                  </a:cubicBezTo>
                  <a:cubicBezTo>
                    <a:pt x="516" y="443"/>
                    <a:pt x="516" y="440"/>
                    <a:pt x="519" y="440"/>
                  </a:cubicBezTo>
                  <a:cubicBezTo>
                    <a:pt x="519" y="440"/>
                    <a:pt x="519" y="440"/>
                    <a:pt x="519" y="440"/>
                  </a:cubicBezTo>
                  <a:cubicBezTo>
                    <a:pt x="519" y="440"/>
                    <a:pt x="522" y="441"/>
                    <a:pt x="522" y="442"/>
                  </a:cubicBezTo>
                  <a:cubicBezTo>
                    <a:pt x="524" y="445"/>
                    <a:pt x="523" y="448"/>
                    <a:pt x="524" y="450"/>
                  </a:cubicBezTo>
                  <a:cubicBezTo>
                    <a:pt x="524" y="450"/>
                    <a:pt x="524" y="450"/>
                    <a:pt x="524" y="450"/>
                  </a:cubicBezTo>
                  <a:cubicBezTo>
                    <a:pt x="525" y="451"/>
                    <a:pt x="527" y="450"/>
                    <a:pt x="528" y="450"/>
                  </a:cubicBezTo>
                  <a:cubicBezTo>
                    <a:pt x="529" y="450"/>
                    <a:pt x="529" y="450"/>
                    <a:pt x="530" y="452"/>
                  </a:cubicBezTo>
                  <a:cubicBezTo>
                    <a:pt x="530" y="453"/>
                    <a:pt x="531" y="453"/>
                    <a:pt x="532" y="452"/>
                  </a:cubicBezTo>
                  <a:moveTo>
                    <a:pt x="455" y="417"/>
                  </a:moveTo>
                  <a:cubicBezTo>
                    <a:pt x="455" y="417"/>
                    <a:pt x="455" y="417"/>
                    <a:pt x="455" y="417"/>
                  </a:cubicBezTo>
                  <a:cubicBezTo>
                    <a:pt x="455" y="417"/>
                    <a:pt x="455" y="417"/>
                    <a:pt x="455" y="417"/>
                  </a:cubicBezTo>
                  <a:cubicBezTo>
                    <a:pt x="455" y="417"/>
                    <a:pt x="455" y="417"/>
                    <a:pt x="455" y="415"/>
                  </a:cubicBezTo>
                  <a:cubicBezTo>
                    <a:pt x="455" y="415"/>
                    <a:pt x="454" y="415"/>
                    <a:pt x="454" y="415"/>
                  </a:cubicBezTo>
                  <a:cubicBezTo>
                    <a:pt x="453" y="415"/>
                    <a:pt x="452" y="415"/>
                    <a:pt x="451" y="415"/>
                  </a:cubicBezTo>
                  <a:cubicBezTo>
                    <a:pt x="451" y="415"/>
                    <a:pt x="451" y="415"/>
                    <a:pt x="451" y="415"/>
                  </a:cubicBezTo>
                  <a:cubicBezTo>
                    <a:pt x="451" y="416"/>
                    <a:pt x="451" y="416"/>
                    <a:pt x="450" y="416"/>
                  </a:cubicBezTo>
                  <a:cubicBezTo>
                    <a:pt x="450" y="416"/>
                    <a:pt x="450" y="416"/>
                    <a:pt x="450" y="416"/>
                  </a:cubicBezTo>
                  <a:cubicBezTo>
                    <a:pt x="450" y="416"/>
                    <a:pt x="450" y="416"/>
                    <a:pt x="450" y="416"/>
                  </a:cubicBezTo>
                  <a:cubicBezTo>
                    <a:pt x="449" y="416"/>
                    <a:pt x="449" y="416"/>
                    <a:pt x="449" y="417"/>
                  </a:cubicBezTo>
                  <a:cubicBezTo>
                    <a:pt x="450" y="417"/>
                    <a:pt x="450" y="417"/>
                    <a:pt x="450" y="417"/>
                  </a:cubicBezTo>
                  <a:cubicBezTo>
                    <a:pt x="450" y="417"/>
                    <a:pt x="451" y="417"/>
                    <a:pt x="451" y="417"/>
                  </a:cubicBezTo>
                  <a:cubicBezTo>
                    <a:pt x="451" y="417"/>
                    <a:pt x="451" y="417"/>
                    <a:pt x="452" y="417"/>
                  </a:cubicBezTo>
                  <a:cubicBezTo>
                    <a:pt x="452" y="417"/>
                    <a:pt x="453" y="417"/>
                    <a:pt x="453" y="417"/>
                  </a:cubicBezTo>
                  <a:cubicBezTo>
                    <a:pt x="454" y="417"/>
                    <a:pt x="454" y="417"/>
                    <a:pt x="455" y="417"/>
                  </a:cubicBezTo>
                  <a:moveTo>
                    <a:pt x="498" y="416"/>
                  </a:moveTo>
                  <a:cubicBezTo>
                    <a:pt x="498" y="415"/>
                    <a:pt x="498" y="415"/>
                    <a:pt x="498" y="414"/>
                  </a:cubicBezTo>
                  <a:cubicBezTo>
                    <a:pt x="497" y="414"/>
                    <a:pt x="497" y="414"/>
                    <a:pt x="496" y="414"/>
                  </a:cubicBezTo>
                  <a:cubicBezTo>
                    <a:pt x="497" y="412"/>
                    <a:pt x="497" y="412"/>
                    <a:pt x="497" y="412"/>
                  </a:cubicBezTo>
                  <a:cubicBezTo>
                    <a:pt x="497" y="411"/>
                    <a:pt x="497" y="411"/>
                    <a:pt x="497" y="411"/>
                  </a:cubicBezTo>
                  <a:cubicBezTo>
                    <a:pt x="497" y="411"/>
                    <a:pt x="497" y="411"/>
                    <a:pt x="497" y="410"/>
                  </a:cubicBezTo>
                  <a:cubicBezTo>
                    <a:pt x="496" y="410"/>
                    <a:pt x="496" y="410"/>
                    <a:pt x="495" y="410"/>
                  </a:cubicBezTo>
                  <a:cubicBezTo>
                    <a:pt x="495" y="410"/>
                    <a:pt x="495" y="410"/>
                    <a:pt x="494" y="411"/>
                  </a:cubicBezTo>
                  <a:cubicBezTo>
                    <a:pt x="494" y="411"/>
                    <a:pt x="494" y="412"/>
                    <a:pt x="494" y="412"/>
                  </a:cubicBezTo>
                  <a:cubicBezTo>
                    <a:pt x="494" y="413"/>
                    <a:pt x="494" y="413"/>
                    <a:pt x="494" y="413"/>
                  </a:cubicBezTo>
                  <a:cubicBezTo>
                    <a:pt x="494" y="414"/>
                    <a:pt x="494" y="415"/>
                    <a:pt x="494" y="416"/>
                  </a:cubicBezTo>
                  <a:cubicBezTo>
                    <a:pt x="495" y="416"/>
                    <a:pt x="496" y="416"/>
                    <a:pt x="498" y="416"/>
                  </a:cubicBezTo>
                  <a:moveTo>
                    <a:pt x="476" y="413"/>
                  </a:moveTo>
                  <a:cubicBezTo>
                    <a:pt x="476" y="413"/>
                    <a:pt x="476" y="413"/>
                    <a:pt x="476" y="413"/>
                  </a:cubicBezTo>
                  <a:cubicBezTo>
                    <a:pt x="476" y="413"/>
                    <a:pt x="476" y="413"/>
                    <a:pt x="476" y="413"/>
                  </a:cubicBezTo>
                  <a:cubicBezTo>
                    <a:pt x="476" y="413"/>
                    <a:pt x="476" y="413"/>
                    <a:pt x="476" y="413"/>
                  </a:cubicBezTo>
                  <a:moveTo>
                    <a:pt x="488" y="416"/>
                  </a:moveTo>
                  <a:cubicBezTo>
                    <a:pt x="488" y="416"/>
                    <a:pt x="488" y="416"/>
                    <a:pt x="488" y="416"/>
                  </a:cubicBezTo>
                  <a:cubicBezTo>
                    <a:pt x="488" y="416"/>
                    <a:pt x="488" y="415"/>
                    <a:pt x="488" y="415"/>
                  </a:cubicBezTo>
                  <a:cubicBezTo>
                    <a:pt x="488" y="415"/>
                    <a:pt x="487" y="415"/>
                    <a:pt x="487" y="415"/>
                  </a:cubicBezTo>
                  <a:cubicBezTo>
                    <a:pt x="487" y="414"/>
                    <a:pt x="487" y="414"/>
                    <a:pt x="488" y="413"/>
                  </a:cubicBezTo>
                  <a:cubicBezTo>
                    <a:pt x="488" y="411"/>
                    <a:pt x="488" y="411"/>
                    <a:pt x="488" y="410"/>
                  </a:cubicBezTo>
                  <a:cubicBezTo>
                    <a:pt x="488" y="409"/>
                    <a:pt x="485" y="409"/>
                    <a:pt x="485" y="409"/>
                  </a:cubicBezTo>
                  <a:cubicBezTo>
                    <a:pt x="484" y="409"/>
                    <a:pt x="483" y="410"/>
                    <a:pt x="481" y="411"/>
                  </a:cubicBezTo>
                  <a:cubicBezTo>
                    <a:pt x="480" y="411"/>
                    <a:pt x="480" y="410"/>
                    <a:pt x="479" y="411"/>
                  </a:cubicBezTo>
                  <a:cubicBezTo>
                    <a:pt x="478" y="411"/>
                    <a:pt x="477" y="412"/>
                    <a:pt x="477" y="412"/>
                  </a:cubicBezTo>
                  <a:cubicBezTo>
                    <a:pt x="477" y="412"/>
                    <a:pt x="477" y="412"/>
                    <a:pt x="477" y="412"/>
                  </a:cubicBezTo>
                  <a:cubicBezTo>
                    <a:pt x="477" y="412"/>
                    <a:pt x="477" y="411"/>
                    <a:pt x="476" y="412"/>
                  </a:cubicBezTo>
                  <a:cubicBezTo>
                    <a:pt x="476" y="412"/>
                    <a:pt x="476" y="412"/>
                    <a:pt x="474" y="413"/>
                  </a:cubicBezTo>
                  <a:cubicBezTo>
                    <a:pt x="474" y="413"/>
                    <a:pt x="474" y="413"/>
                    <a:pt x="474" y="414"/>
                  </a:cubicBezTo>
                  <a:cubicBezTo>
                    <a:pt x="475" y="414"/>
                    <a:pt x="475" y="414"/>
                    <a:pt x="476" y="414"/>
                  </a:cubicBezTo>
                  <a:cubicBezTo>
                    <a:pt x="477" y="415"/>
                    <a:pt x="477" y="415"/>
                    <a:pt x="478" y="415"/>
                  </a:cubicBezTo>
                  <a:cubicBezTo>
                    <a:pt x="479" y="414"/>
                    <a:pt x="479" y="416"/>
                    <a:pt x="479" y="416"/>
                  </a:cubicBezTo>
                  <a:cubicBezTo>
                    <a:pt x="479" y="417"/>
                    <a:pt x="479" y="417"/>
                    <a:pt x="480" y="417"/>
                  </a:cubicBezTo>
                  <a:cubicBezTo>
                    <a:pt x="480" y="417"/>
                    <a:pt x="480" y="417"/>
                    <a:pt x="480" y="417"/>
                  </a:cubicBezTo>
                  <a:cubicBezTo>
                    <a:pt x="481" y="417"/>
                    <a:pt x="481" y="417"/>
                    <a:pt x="481" y="417"/>
                  </a:cubicBezTo>
                  <a:cubicBezTo>
                    <a:pt x="481" y="417"/>
                    <a:pt x="482" y="417"/>
                    <a:pt x="483" y="417"/>
                  </a:cubicBezTo>
                  <a:cubicBezTo>
                    <a:pt x="484" y="417"/>
                    <a:pt x="484" y="417"/>
                    <a:pt x="485" y="417"/>
                  </a:cubicBezTo>
                  <a:cubicBezTo>
                    <a:pt x="486" y="417"/>
                    <a:pt x="486" y="417"/>
                    <a:pt x="487" y="417"/>
                  </a:cubicBezTo>
                  <a:cubicBezTo>
                    <a:pt x="488" y="417"/>
                    <a:pt x="488" y="416"/>
                    <a:pt x="488" y="416"/>
                  </a:cubicBezTo>
                  <a:moveTo>
                    <a:pt x="478" y="408"/>
                  </a:moveTo>
                  <a:cubicBezTo>
                    <a:pt x="478" y="407"/>
                    <a:pt x="478" y="407"/>
                    <a:pt x="478" y="407"/>
                  </a:cubicBezTo>
                  <a:cubicBezTo>
                    <a:pt x="477" y="406"/>
                    <a:pt x="477" y="406"/>
                    <a:pt x="477" y="406"/>
                  </a:cubicBezTo>
                  <a:cubicBezTo>
                    <a:pt x="477" y="406"/>
                    <a:pt x="477" y="406"/>
                    <a:pt x="477" y="406"/>
                  </a:cubicBezTo>
                  <a:cubicBezTo>
                    <a:pt x="476" y="406"/>
                    <a:pt x="476" y="406"/>
                    <a:pt x="476" y="406"/>
                  </a:cubicBezTo>
                  <a:cubicBezTo>
                    <a:pt x="475" y="406"/>
                    <a:pt x="475" y="406"/>
                    <a:pt x="475" y="406"/>
                  </a:cubicBezTo>
                  <a:cubicBezTo>
                    <a:pt x="475" y="406"/>
                    <a:pt x="475" y="406"/>
                    <a:pt x="475" y="406"/>
                  </a:cubicBezTo>
                  <a:cubicBezTo>
                    <a:pt x="475" y="406"/>
                    <a:pt x="475" y="407"/>
                    <a:pt x="475" y="407"/>
                  </a:cubicBezTo>
                  <a:cubicBezTo>
                    <a:pt x="475" y="407"/>
                    <a:pt x="474" y="408"/>
                    <a:pt x="474" y="408"/>
                  </a:cubicBezTo>
                  <a:cubicBezTo>
                    <a:pt x="474" y="409"/>
                    <a:pt x="474" y="409"/>
                    <a:pt x="474" y="409"/>
                  </a:cubicBezTo>
                  <a:cubicBezTo>
                    <a:pt x="475" y="410"/>
                    <a:pt x="475" y="410"/>
                    <a:pt x="475" y="410"/>
                  </a:cubicBezTo>
                  <a:cubicBezTo>
                    <a:pt x="477" y="410"/>
                    <a:pt x="477" y="410"/>
                    <a:pt x="477" y="410"/>
                  </a:cubicBezTo>
                  <a:cubicBezTo>
                    <a:pt x="477" y="410"/>
                    <a:pt x="478" y="409"/>
                    <a:pt x="478" y="408"/>
                  </a:cubicBezTo>
                  <a:moveTo>
                    <a:pt x="474" y="418"/>
                  </a:moveTo>
                  <a:cubicBezTo>
                    <a:pt x="474" y="417"/>
                    <a:pt x="474" y="416"/>
                    <a:pt x="474" y="415"/>
                  </a:cubicBezTo>
                  <a:cubicBezTo>
                    <a:pt x="473" y="415"/>
                    <a:pt x="473" y="415"/>
                    <a:pt x="472" y="415"/>
                  </a:cubicBezTo>
                  <a:cubicBezTo>
                    <a:pt x="472" y="416"/>
                    <a:pt x="472" y="416"/>
                    <a:pt x="472" y="417"/>
                  </a:cubicBezTo>
                  <a:cubicBezTo>
                    <a:pt x="471" y="416"/>
                    <a:pt x="471" y="416"/>
                    <a:pt x="471" y="416"/>
                  </a:cubicBezTo>
                  <a:cubicBezTo>
                    <a:pt x="471" y="416"/>
                    <a:pt x="471" y="417"/>
                    <a:pt x="471" y="417"/>
                  </a:cubicBezTo>
                  <a:cubicBezTo>
                    <a:pt x="471" y="417"/>
                    <a:pt x="471" y="418"/>
                    <a:pt x="471" y="418"/>
                  </a:cubicBezTo>
                  <a:cubicBezTo>
                    <a:pt x="472" y="418"/>
                    <a:pt x="473" y="418"/>
                    <a:pt x="474" y="418"/>
                  </a:cubicBezTo>
                  <a:moveTo>
                    <a:pt x="473" y="425"/>
                  </a:moveTo>
                  <a:cubicBezTo>
                    <a:pt x="473" y="425"/>
                    <a:pt x="473" y="425"/>
                    <a:pt x="473" y="425"/>
                  </a:cubicBezTo>
                  <a:cubicBezTo>
                    <a:pt x="474" y="423"/>
                    <a:pt x="474" y="423"/>
                    <a:pt x="474" y="422"/>
                  </a:cubicBezTo>
                  <a:cubicBezTo>
                    <a:pt x="473" y="422"/>
                    <a:pt x="472" y="422"/>
                    <a:pt x="471" y="422"/>
                  </a:cubicBezTo>
                  <a:cubicBezTo>
                    <a:pt x="470" y="421"/>
                    <a:pt x="470" y="421"/>
                    <a:pt x="469" y="421"/>
                  </a:cubicBezTo>
                  <a:cubicBezTo>
                    <a:pt x="469" y="421"/>
                    <a:pt x="469" y="421"/>
                    <a:pt x="468" y="421"/>
                  </a:cubicBezTo>
                  <a:cubicBezTo>
                    <a:pt x="467" y="421"/>
                    <a:pt x="466" y="420"/>
                    <a:pt x="464" y="420"/>
                  </a:cubicBezTo>
                  <a:cubicBezTo>
                    <a:pt x="464" y="420"/>
                    <a:pt x="464" y="420"/>
                    <a:pt x="463" y="423"/>
                  </a:cubicBezTo>
                  <a:cubicBezTo>
                    <a:pt x="463" y="422"/>
                    <a:pt x="463" y="422"/>
                    <a:pt x="463" y="422"/>
                  </a:cubicBezTo>
                  <a:cubicBezTo>
                    <a:pt x="463" y="422"/>
                    <a:pt x="462" y="422"/>
                    <a:pt x="462" y="423"/>
                  </a:cubicBezTo>
                  <a:cubicBezTo>
                    <a:pt x="462" y="423"/>
                    <a:pt x="463" y="423"/>
                    <a:pt x="463" y="424"/>
                  </a:cubicBezTo>
                  <a:cubicBezTo>
                    <a:pt x="463" y="424"/>
                    <a:pt x="464" y="424"/>
                    <a:pt x="465" y="423"/>
                  </a:cubicBezTo>
                  <a:cubicBezTo>
                    <a:pt x="466" y="423"/>
                    <a:pt x="466" y="423"/>
                    <a:pt x="467" y="423"/>
                  </a:cubicBezTo>
                  <a:cubicBezTo>
                    <a:pt x="467" y="423"/>
                    <a:pt x="467" y="423"/>
                    <a:pt x="468" y="423"/>
                  </a:cubicBezTo>
                  <a:cubicBezTo>
                    <a:pt x="468" y="423"/>
                    <a:pt x="468" y="423"/>
                    <a:pt x="468" y="423"/>
                  </a:cubicBezTo>
                  <a:cubicBezTo>
                    <a:pt x="469" y="423"/>
                    <a:pt x="469" y="423"/>
                    <a:pt x="471" y="424"/>
                  </a:cubicBezTo>
                  <a:cubicBezTo>
                    <a:pt x="471" y="424"/>
                    <a:pt x="471" y="425"/>
                    <a:pt x="471" y="425"/>
                  </a:cubicBezTo>
                  <a:cubicBezTo>
                    <a:pt x="472" y="425"/>
                    <a:pt x="472" y="425"/>
                    <a:pt x="473" y="425"/>
                  </a:cubicBezTo>
                  <a:moveTo>
                    <a:pt x="459" y="425"/>
                  </a:moveTo>
                  <a:cubicBezTo>
                    <a:pt x="459" y="425"/>
                    <a:pt x="459" y="424"/>
                    <a:pt x="460" y="423"/>
                  </a:cubicBezTo>
                  <a:cubicBezTo>
                    <a:pt x="460" y="423"/>
                    <a:pt x="460" y="423"/>
                    <a:pt x="460" y="423"/>
                  </a:cubicBezTo>
                  <a:cubicBezTo>
                    <a:pt x="459" y="423"/>
                    <a:pt x="459" y="423"/>
                    <a:pt x="459" y="422"/>
                  </a:cubicBezTo>
                  <a:cubicBezTo>
                    <a:pt x="459" y="422"/>
                    <a:pt x="459" y="422"/>
                    <a:pt x="459" y="422"/>
                  </a:cubicBezTo>
                  <a:cubicBezTo>
                    <a:pt x="458" y="422"/>
                    <a:pt x="458" y="422"/>
                    <a:pt x="458" y="422"/>
                  </a:cubicBezTo>
                  <a:cubicBezTo>
                    <a:pt x="457" y="422"/>
                    <a:pt x="457" y="422"/>
                    <a:pt x="456" y="422"/>
                  </a:cubicBezTo>
                  <a:cubicBezTo>
                    <a:pt x="456" y="422"/>
                    <a:pt x="456" y="422"/>
                    <a:pt x="456" y="422"/>
                  </a:cubicBezTo>
                  <a:cubicBezTo>
                    <a:pt x="456" y="422"/>
                    <a:pt x="456" y="423"/>
                    <a:pt x="456" y="424"/>
                  </a:cubicBezTo>
                  <a:cubicBezTo>
                    <a:pt x="456" y="424"/>
                    <a:pt x="456" y="424"/>
                    <a:pt x="456" y="424"/>
                  </a:cubicBezTo>
                  <a:cubicBezTo>
                    <a:pt x="457" y="425"/>
                    <a:pt x="457" y="425"/>
                    <a:pt x="458" y="425"/>
                  </a:cubicBezTo>
                  <a:cubicBezTo>
                    <a:pt x="458" y="425"/>
                    <a:pt x="459" y="425"/>
                    <a:pt x="459" y="425"/>
                  </a:cubicBezTo>
                  <a:moveTo>
                    <a:pt x="470" y="406"/>
                  </a:moveTo>
                  <a:cubicBezTo>
                    <a:pt x="470" y="405"/>
                    <a:pt x="470" y="405"/>
                    <a:pt x="470" y="404"/>
                  </a:cubicBezTo>
                  <a:cubicBezTo>
                    <a:pt x="470" y="404"/>
                    <a:pt x="469" y="404"/>
                    <a:pt x="469" y="404"/>
                  </a:cubicBezTo>
                  <a:cubicBezTo>
                    <a:pt x="469" y="404"/>
                    <a:pt x="469" y="404"/>
                    <a:pt x="469" y="404"/>
                  </a:cubicBezTo>
                  <a:cubicBezTo>
                    <a:pt x="469" y="403"/>
                    <a:pt x="469" y="403"/>
                    <a:pt x="469" y="403"/>
                  </a:cubicBezTo>
                  <a:cubicBezTo>
                    <a:pt x="469" y="403"/>
                    <a:pt x="469" y="403"/>
                    <a:pt x="469" y="401"/>
                  </a:cubicBezTo>
                  <a:cubicBezTo>
                    <a:pt x="469" y="401"/>
                    <a:pt x="469" y="401"/>
                    <a:pt x="467" y="402"/>
                  </a:cubicBezTo>
                  <a:cubicBezTo>
                    <a:pt x="467" y="401"/>
                    <a:pt x="467" y="401"/>
                    <a:pt x="467" y="400"/>
                  </a:cubicBezTo>
                  <a:cubicBezTo>
                    <a:pt x="467" y="399"/>
                    <a:pt x="468" y="399"/>
                    <a:pt x="468" y="399"/>
                  </a:cubicBezTo>
                  <a:cubicBezTo>
                    <a:pt x="468" y="398"/>
                    <a:pt x="468" y="398"/>
                    <a:pt x="468" y="398"/>
                  </a:cubicBezTo>
                  <a:cubicBezTo>
                    <a:pt x="469" y="398"/>
                    <a:pt x="469" y="398"/>
                    <a:pt x="469" y="396"/>
                  </a:cubicBezTo>
                  <a:cubicBezTo>
                    <a:pt x="468" y="397"/>
                    <a:pt x="468" y="397"/>
                    <a:pt x="466" y="399"/>
                  </a:cubicBezTo>
                  <a:cubicBezTo>
                    <a:pt x="465" y="400"/>
                    <a:pt x="465" y="400"/>
                    <a:pt x="464" y="400"/>
                  </a:cubicBezTo>
                  <a:cubicBezTo>
                    <a:pt x="464" y="400"/>
                    <a:pt x="464" y="400"/>
                    <a:pt x="464" y="401"/>
                  </a:cubicBezTo>
                  <a:cubicBezTo>
                    <a:pt x="464" y="401"/>
                    <a:pt x="464" y="401"/>
                    <a:pt x="464" y="401"/>
                  </a:cubicBezTo>
                  <a:cubicBezTo>
                    <a:pt x="464" y="402"/>
                    <a:pt x="464" y="403"/>
                    <a:pt x="464" y="404"/>
                  </a:cubicBezTo>
                  <a:cubicBezTo>
                    <a:pt x="463" y="406"/>
                    <a:pt x="463" y="406"/>
                    <a:pt x="463" y="406"/>
                  </a:cubicBezTo>
                  <a:cubicBezTo>
                    <a:pt x="463" y="407"/>
                    <a:pt x="463" y="407"/>
                    <a:pt x="463" y="407"/>
                  </a:cubicBezTo>
                  <a:cubicBezTo>
                    <a:pt x="462" y="408"/>
                    <a:pt x="462" y="409"/>
                    <a:pt x="462" y="409"/>
                  </a:cubicBezTo>
                  <a:cubicBezTo>
                    <a:pt x="461" y="413"/>
                    <a:pt x="461" y="413"/>
                    <a:pt x="461" y="413"/>
                  </a:cubicBezTo>
                  <a:cubicBezTo>
                    <a:pt x="461" y="413"/>
                    <a:pt x="462" y="412"/>
                    <a:pt x="462" y="412"/>
                  </a:cubicBezTo>
                  <a:cubicBezTo>
                    <a:pt x="462" y="412"/>
                    <a:pt x="462" y="413"/>
                    <a:pt x="463" y="413"/>
                  </a:cubicBezTo>
                  <a:cubicBezTo>
                    <a:pt x="463" y="413"/>
                    <a:pt x="463" y="413"/>
                    <a:pt x="465" y="412"/>
                  </a:cubicBezTo>
                  <a:cubicBezTo>
                    <a:pt x="465" y="410"/>
                    <a:pt x="465" y="410"/>
                    <a:pt x="465" y="407"/>
                  </a:cubicBezTo>
                  <a:cubicBezTo>
                    <a:pt x="467" y="407"/>
                    <a:pt x="469" y="407"/>
                    <a:pt x="470" y="407"/>
                  </a:cubicBezTo>
                  <a:cubicBezTo>
                    <a:pt x="470" y="407"/>
                    <a:pt x="470" y="406"/>
                    <a:pt x="470" y="406"/>
                  </a:cubicBezTo>
                  <a:moveTo>
                    <a:pt x="446" y="415"/>
                  </a:moveTo>
                  <a:cubicBezTo>
                    <a:pt x="447" y="413"/>
                    <a:pt x="443" y="411"/>
                    <a:pt x="443" y="411"/>
                  </a:cubicBezTo>
                  <a:cubicBezTo>
                    <a:pt x="443" y="411"/>
                    <a:pt x="442" y="411"/>
                    <a:pt x="442" y="411"/>
                  </a:cubicBezTo>
                  <a:cubicBezTo>
                    <a:pt x="442" y="411"/>
                    <a:pt x="442" y="411"/>
                    <a:pt x="442" y="411"/>
                  </a:cubicBezTo>
                  <a:cubicBezTo>
                    <a:pt x="442" y="411"/>
                    <a:pt x="440" y="411"/>
                    <a:pt x="440" y="412"/>
                  </a:cubicBezTo>
                  <a:cubicBezTo>
                    <a:pt x="440" y="412"/>
                    <a:pt x="438" y="414"/>
                    <a:pt x="437" y="414"/>
                  </a:cubicBezTo>
                  <a:cubicBezTo>
                    <a:pt x="436" y="414"/>
                    <a:pt x="434" y="414"/>
                    <a:pt x="434" y="414"/>
                  </a:cubicBezTo>
                  <a:cubicBezTo>
                    <a:pt x="433" y="413"/>
                    <a:pt x="432" y="413"/>
                    <a:pt x="432" y="412"/>
                  </a:cubicBezTo>
                  <a:cubicBezTo>
                    <a:pt x="431" y="413"/>
                    <a:pt x="431" y="413"/>
                    <a:pt x="431" y="413"/>
                  </a:cubicBezTo>
                  <a:cubicBezTo>
                    <a:pt x="430" y="413"/>
                    <a:pt x="428" y="415"/>
                    <a:pt x="428" y="416"/>
                  </a:cubicBezTo>
                  <a:cubicBezTo>
                    <a:pt x="428" y="417"/>
                    <a:pt x="428" y="417"/>
                    <a:pt x="428" y="417"/>
                  </a:cubicBezTo>
                  <a:cubicBezTo>
                    <a:pt x="428" y="417"/>
                    <a:pt x="428" y="417"/>
                    <a:pt x="428" y="417"/>
                  </a:cubicBezTo>
                  <a:cubicBezTo>
                    <a:pt x="427" y="418"/>
                    <a:pt x="427" y="419"/>
                    <a:pt x="427" y="419"/>
                  </a:cubicBezTo>
                  <a:cubicBezTo>
                    <a:pt x="427" y="420"/>
                    <a:pt x="427" y="420"/>
                    <a:pt x="426" y="420"/>
                  </a:cubicBezTo>
                  <a:cubicBezTo>
                    <a:pt x="425" y="420"/>
                    <a:pt x="425" y="420"/>
                    <a:pt x="425" y="420"/>
                  </a:cubicBezTo>
                  <a:cubicBezTo>
                    <a:pt x="425" y="421"/>
                    <a:pt x="425" y="421"/>
                    <a:pt x="425" y="421"/>
                  </a:cubicBezTo>
                  <a:cubicBezTo>
                    <a:pt x="423" y="423"/>
                    <a:pt x="423" y="425"/>
                    <a:pt x="428" y="425"/>
                  </a:cubicBezTo>
                  <a:cubicBezTo>
                    <a:pt x="428" y="425"/>
                    <a:pt x="428" y="425"/>
                    <a:pt x="428" y="426"/>
                  </a:cubicBezTo>
                  <a:cubicBezTo>
                    <a:pt x="428" y="427"/>
                    <a:pt x="427" y="429"/>
                    <a:pt x="426" y="430"/>
                  </a:cubicBezTo>
                  <a:cubicBezTo>
                    <a:pt x="426" y="431"/>
                    <a:pt x="426" y="431"/>
                    <a:pt x="426" y="431"/>
                  </a:cubicBezTo>
                  <a:cubicBezTo>
                    <a:pt x="427" y="432"/>
                    <a:pt x="427" y="432"/>
                    <a:pt x="427" y="432"/>
                  </a:cubicBezTo>
                  <a:cubicBezTo>
                    <a:pt x="427" y="432"/>
                    <a:pt x="427" y="432"/>
                    <a:pt x="427" y="434"/>
                  </a:cubicBezTo>
                  <a:cubicBezTo>
                    <a:pt x="429" y="433"/>
                    <a:pt x="429" y="433"/>
                    <a:pt x="429" y="433"/>
                  </a:cubicBezTo>
                  <a:cubicBezTo>
                    <a:pt x="429" y="433"/>
                    <a:pt x="429" y="432"/>
                    <a:pt x="429" y="432"/>
                  </a:cubicBezTo>
                  <a:cubicBezTo>
                    <a:pt x="430" y="431"/>
                    <a:pt x="430" y="430"/>
                    <a:pt x="430" y="429"/>
                  </a:cubicBezTo>
                  <a:cubicBezTo>
                    <a:pt x="430" y="428"/>
                    <a:pt x="430" y="428"/>
                    <a:pt x="431" y="428"/>
                  </a:cubicBezTo>
                  <a:cubicBezTo>
                    <a:pt x="431" y="426"/>
                    <a:pt x="431" y="424"/>
                    <a:pt x="432" y="422"/>
                  </a:cubicBezTo>
                  <a:cubicBezTo>
                    <a:pt x="432" y="422"/>
                    <a:pt x="433" y="421"/>
                    <a:pt x="434" y="421"/>
                  </a:cubicBezTo>
                  <a:cubicBezTo>
                    <a:pt x="434" y="422"/>
                    <a:pt x="434" y="423"/>
                    <a:pt x="434" y="424"/>
                  </a:cubicBezTo>
                  <a:cubicBezTo>
                    <a:pt x="433" y="425"/>
                    <a:pt x="433" y="425"/>
                    <a:pt x="433" y="425"/>
                  </a:cubicBezTo>
                  <a:cubicBezTo>
                    <a:pt x="433" y="425"/>
                    <a:pt x="433" y="425"/>
                    <a:pt x="433" y="425"/>
                  </a:cubicBezTo>
                  <a:cubicBezTo>
                    <a:pt x="437" y="426"/>
                    <a:pt x="437" y="426"/>
                    <a:pt x="438" y="426"/>
                  </a:cubicBezTo>
                  <a:cubicBezTo>
                    <a:pt x="437" y="427"/>
                    <a:pt x="437" y="428"/>
                    <a:pt x="437" y="428"/>
                  </a:cubicBezTo>
                  <a:cubicBezTo>
                    <a:pt x="437" y="429"/>
                    <a:pt x="437" y="429"/>
                    <a:pt x="436" y="430"/>
                  </a:cubicBezTo>
                  <a:cubicBezTo>
                    <a:pt x="436" y="430"/>
                    <a:pt x="436" y="431"/>
                    <a:pt x="436" y="431"/>
                  </a:cubicBezTo>
                  <a:cubicBezTo>
                    <a:pt x="436" y="432"/>
                    <a:pt x="436" y="433"/>
                    <a:pt x="438" y="433"/>
                  </a:cubicBezTo>
                  <a:cubicBezTo>
                    <a:pt x="439" y="433"/>
                    <a:pt x="440" y="433"/>
                    <a:pt x="440" y="433"/>
                  </a:cubicBezTo>
                  <a:cubicBezTo>
                    <a:pt x="441" y="433"/>
                    <a:pt x="441" y="433"/>
                    <a:pt x="441" y="432"/>
                  </a:cubicBezTo>
                  <a:cubicBezTo>
                    <a:pt x="441" y="432"/>
                    <a:pt x="441" y="431"/>
                    <a:pt x="441" y="431"/>
                  </a:cubicBezTo>
                  <a:cubicBezTo>
                    <a:pt x="441" y="430"/>
                    <a:pt x="441" y="429"/>
                    <a:pt x="441" y="429"/>
                  </a:cubicBezTo>
                  <a:cubicBezTo>
                    <a:pt x="441" y="428"/>
                    <a:pt x="441" y="428"/>
                    <a:pt x="440" y="428"/>
                  </a:cubicBezTo>
                  <a:cubicBezTo>
                    <a:pt x="440" y="428"/>
                    <a:pt x="440" y="427"/>
                    <a:pt x="440" y="427"/>
                  </a:cubicBezTo>
                  <a:cubicBezTo>
                    <a:pt x="439" y="426"/>
                    <a:pt x="439" y="426"/>
                    <a:pt x="440" y="424"/>
                  </a:cubicBezTo>
                  <a:cubicBezTo>
                    <a:pt x="440" y="423"/>
                    <a:pt x="440" y="423"/>
                    <a:pt x="440" y="423"/>
                  </a:cubicBezTo>
                  <a:cubicBezTo>
                    <a:pt x="440" y="422"/>
                    <a:pt x="440" y="422"/>
                    <a:pt x="438" y="420"/>
                  </a:cubicBezTo>
                  <a:cubicBezTo>
                    <a:pt x="438" y="420"/>
                    <a:pt x="437" y="420"/>
                    <a:pt x="437" y="419"/>
                  </a:cubicBezTo>
                  <a:cubicBezTo>
                    <a:pt x="437" y="418"/>
                    <a:pt x="437" y="418"/>
                    <a:pt x="437" y="418"/>
                  </a:cubicBezTo>
                  <a:cubicBezTo>
                    <a:pt x="437" y="418"/>
                    <a:pt x="437" y="417"/>
                    <a:pt x="437" y="417"/>
                  </a:cubicBezTo>
                  <a:cubicBezTo>
                    <a:pt x="438" y="417"/>
                    <a:pt x="439" y="417"/>
                    <a:pt x="439" y="417"/>
                  </a:cubicBezTo>
                  <a:cubicBezTo>
                    <a:pt x="440" y="417"/>
                    <a:pt x="441" y="416"/>
                    <a:pt x="442" y="416"/>
                  </a:cubicBezTo>
                  <a:cubicBezTo>
                    <a:pt x="443" y="415"/>
                    <a:pt x="444" y="416"/>
                    <a:pt x="445" y="416"/>
                  </a:cubicBezTo>
                  <a:cubicBezTo>
                    <a:pt x="445" y="416"/>
                    <a:pt x="445" y="416"/>
                    <a:pt x="445" y="416"/>
                  </a:cubicBezTo>
                  <a:cubicBezTo>
                    <a:pt x="446" y="415"/>
                    <a:pt x="446" y="415"/>
                    <a:pt x="446" y="415"/>
                  </a:cubicBezTo>
                  <a:moveTo>
                    <a:pt x="455" y="402"/>
                  </a:moveTo>
                  <a:cubicBezTo>
                    <a:pt x="455" y="402"/>
                    <a:pt x="455" y="402"/>
                    <a:pt x="455" y="402"/>
                  </a:cubicBezTo>
                  <a:cubicBezTo>
                    <a:pt x="454" y="402"/>
                    <a:pt x="454" y="402"/>
                    <a:pt x="454" y="402"/>
                  </a:cubicBezTo>
                  <a:cubicBezTo>
                    <a:pt x="453" y="402"/>
                    <a:pt x="453" y="402"/>
                    <a:pt x="452" y="403"/>
                  </a:cubicBezTo>
                  <a:cubicBezTo>
                    <a:pt x="447" y="403"/>
                    <a:pt x="442" y="403"/>
                    <a:pt x="437" y="403"/>
                  </a:cubicBezTo>
                  <a:cubicBezTo>
                    <a:pt x="436" y="403"/>
                    <a:pt x="436" y="405"/>
                    <a:pt x="435" y="405"/>
                  </a:cubicBezTo>
                  <a:cubicBezTo>
                    <a:pt x="431" y="406"/>
                    <a:pt x="431" y="406"/>
                    <a:pt x="431" y="406"/>
                  </a:cubicBezTo>
                  <a:cubicBezTo>
                    <a:pt x="431" y="406"/>
                    <a:pt x="431" y="406"/>
                    <a:pt x="431" y="406"/>
                  </a:cubicBezTo>
                  <a:cubicBezTo>
                    <a:pt x="429" y="407"/>
                    <a:pt x="429" y="409"/>
                    <a:pt x="429" y="410"/>
                  </a:cubicBezTo>
                  <a:cubicBezTo>
                    <a:pt x="431" y="409"/>
                    <a:pt x="432" y="409"/>
                    <a:pt x="433" y="408"/>
                  </a:cubicBezTo>
                  <a:cubicBezTo>
                    <a:pt x="434" y="408"/>
                    <a:pt x="434" y="407"/>
                    <a:pt x="434" y="407"/>
                  </a:cubicBezTo>
                  <a:cubicBezTo>
                    <a:pt x="436" y="406"/>
                    <a:pt x="436" y="406"/>
                    <a:pt x="436" y="406"/>
                  </a:cubicBezTo>
                  <a:cubicBezTo>
                    <a:pt x="437" y="406"/>
                    <a:pt x="437" y="406"/>
                    <a:pt x="437" y="406"/>
                  </a:cubicBezTo>
                  <a:cubicBezTo>
                    <a:pt x="437" y="406"/>
                    <a:pt x="437" y="405"/>
                    <a:pt x="438" y="405"/>
                  </a:cubicBezTo>
                  <a:cubicBezTo>
                    <a:pt x="439" y="406"/>
                    <a:pt x="439" y="406"/>
                    <a:pt x="439" y="406"/>
                  </a:cubicBezTo>
                  <a:cubicBezTo>
                    <a:pt x="441" y="406"/>
                    <a:pt x="443" y="406"/>
                    <a:pt x="445" y="405"/>
                  </a:cubicBezTo>
                  <a:cubicBezTo>
                    <a:pt x="445" y="405"/>
                    <a:pt x="447" y="406"/>
                    <a:pt x="447" y="407"/>
                  </a:cubicBezTo>
                  <a:cubicBezTo>
                    <a:pt x="447" y="407"/>
                    <a:pt x="447" y="407"/>
                    <a:pt x="448" y="407"/>
                  </a:cubicBezTo>
                  <a:cubicBezTo>
                    <a:pt x="449" y="407"/>
                    <a:pt x="449" y="407"/>
                    <a:pt x="450" y="406"/>
                  </a:cubicBezTo>
                  <a:cubicBezTo>
                    <a:pt x="450" y="406"/>
                    <a:pt x="451" y="405"/>
                    <a:pt x="451" y="405"/>
                  </a:cubicBezTo>
                  <a:cubicBezTo>
                    <a:pt x="452" y="405"/>
                    <a:pt x="452" y="405"/>
                    <a:pt x="452" y="405"/>
                  </a:cubicBezTo>
                  <a:cubicBezTo>
                    <a:pt x="453" y="405"/>
                    <a:pt x="454" y="404"/>
                    <a:pt x="455" y="402"/>
                  </a:cubicBezTo>
                  <a:moveTo>
                    <a:pt x="439" y="453"/>
                  </a:moveTo>
                  <a:cubicBezTo>
                    <a:pt x="440" y="453"/>
                    <a:pt x="440" y="453"/>
                    <a:pt x="440" y="453"/>
                  </a:cubicBezTo>
                  <a:cubicBezTo>
                    <a:pt x="439" y="453"/>
                    <a:pt x="439" y="453"/>
                    <a:pt x="439" y="453"/>
                  </a:cubicBezTo>
                  <a:moveTo>
                    <a:pt x="456" y="447"/>
                  </a:moveTo>
                  <a:cubicBezTo>
                    <a:pt x="456" y="447"/>
                    <a:pt x="456" y="447"/>
                    <a:pt x="456" y="447"/>
                  </a:cubicBezTo>
                  <a:cubicBezTo>
                    <a:pt x="455" y="446"/>
                    <a:pt x="455" y="446"/>
                    <a:pt x="455" y="446"/>
                  </a:cubicBezTo>
                  <a:cubicBezTo>
                    <a:pt x="455" y="446"/>
                    <a:pt x="455" y="445"/>
                    <a:pt x="454" y="445"/>
                  </a:cubicBezTo>
                  <a:cubicBezTo>
                    <a:pt x="454" y="445"/>
                    <a:pt x="453" y="445"/>
                    <a:pt x="452" y="445"/>
                  </a:cubicBezTo>
                  <a:cubicBezTo>
                    <a:pt x="451" y="445"/>
                    <a:pt x="451" y="446"/>
                    <a:pt x="451" y="446"/>
                  </a:cubicBezTo>
                  <a:cubicBezTo>
                    <a:pt x="450" y="446"/>
                    <a:pt x="450" y="446"/>
                    <a:pt x="449" y="447"/>
                  </a:cubicBezTo>
                  <a:cubicBezTo>
                    <a:pt x="448" y="447"/>
                    <a:pt x="448" y="447"/>
                    <a:pt x="447" y="448"/>
                  </a:cubicBezTo>
                  <a:cubicBezTo>
                    <a:pt x="447" y="448"/>
                    <a:pt x="446" y="448"/>
                    <a:pt x="446" y="448"/>
                  </a:cubicBezTo>
                  <a:cubicBezTo>
                    <a:pt x="445" y="448"/>
                    <a:pt x="445" y="448"/>
                    <a:pt x="445" y="448"/>
                  </a:cubicBezTo>
                  <a:cubicBezTo>
                    <a:pt x="445" y="449"/>
                    <a:pt x="445" y="449"/>
                    <a:pt x="444" y="449"/>
                  </a:cubicBezTo>
                  <a:cubicBezTo>
                    <a:pt x="442" y="449"/>
                    <a:pt x="442" y="449"/>
                    <a:pt x="442" y="449"/>
                  </a:cubicBezTo>
                  <a:cubicBezTo>
                    <a:pt x="442" y="450"/>
                    <a:pt x="442" y="450"/>
                    <a:pt x="441" y="450"/>
                  </a:cubicBezTo>
                  <a:cubicBezTo>
                    <a:pt x="441" y="451"/>
                    <a:pt x="440" y="451"/>
                    <a:pt x="440" y="451"/>
                  </a:cubicBezTo>
                  <a:cubicBezTo>
                    <a:pt x="439" y="452"/>
                    <a:pt x="439" y="452"/>
                    <a:pt x="439" y="452"/>
                  </a:cubicBezTo>
                  <a:cubicBezTo>
                    <a:pt x="439" y="452"/>
                    <a:pt x="439" y="452"/>
                    <a:pt x="439" y="452"/>
                  </a:cubicBezTo>
                  <a:cubicBezTo>
                    <a:pt x="439" y="453"/>
                    <a:pt x="439" y="453"/>
                    <a:pt x="439" y="453"/>
                  </a:cubicBezTo>
                  <a:cubicBezTo>
                    <a:pt x="439" y="452"/>
                    <a:pt x="439" y="452"/>
                    <a:pt x="439" y="452"/>
                  </a:cubicBezTo>
                  <a:cubicBezTo>
                    <a:pt x="439" y="454"/>
                    <a:pt x="439" y="454"/>
                    <a:pt x="439" y="454"/>
                  </a:cubicBezTo>
                  <a:cubicBezTo>
                    <a:pt x="439" y="454"/>
                    <a:pt x="441" y="455"/>
                    <a:pt x="442" y="454"/>
                  </a:cubicBezTo>
                  <a:cubicBezTo>
                    <a:pt x="442" y="454"/>
                    <a:pt x="442" y="454"/>
                    <a:pt x="443" y="453"/>
                  </a:cubicBezTo>
                  <a:cubicBezTo>
                    <a:pt x="443" y="453"/>
                    <a:pt x="446" y="450"/>
                    <a:pt x="446" y="450"/>
                  </a:cubicBezTo>
                  <a:cubicBezTo>
                    <a:pt x="447" y="450"/>
                    <a:pt x="449" y="450"/>
                    <a:pt x="450" y="449"/>
                  </a:cubicBezTo>
                  <a:cubicBezTo>
                    <a:pt x="450" y="449"/>
                    <a:pt x="450" y="448"/>
                    <a:pt x="451" y="448"/>
                  </a:cubicBezTo>
                  <a:cubicBezTo>
                    <a:pt x="451" y="448"/>
                    <a:pt x="452" y="448"/>
                    <a:pt x="453" y="448"/>
                  </a:cubicBezTo>
                  <a:cubicBezTo>
                    <a:pt x="455" y="448"/>
                    <a:pt x="455" y="448"/>
                    <a:pt x="456" y="447"/>
                  </a:cubicBezTo>
                  <a:cubicBezTo>
                    <a:pt x="456" y="447"/>
                    <a:pt x="456" y="447"/>
                    <a:pt x="456" y="447"/>
                  </a:cubicBezTo>
                  <a:moveTo>
                    <a:pt x="437" y="458"/>
                  </a:moveTo>
                  <a:cubicBezTo>
                    <a:pt x="438" y="458"/>
                    <a:pt x="438" y="457"/>
                    <a:pt x="438" y="457"/>
                  </a:cubicBezTo>
                  <a:cubicBezTo>
                    <a:pt x="438" y="456"/>
                    <a:pt x="438" y="456"/>
                    <a:pt x="438" y="456"/>
                  </a:cubicBezTo>
                  <a:cubicBezTo>
                    <a:pt x="437" y="456"/>
                    <a:pt x="437" y="456"/>
                    <a:pt x="435" y="457"/>
                  </a:cubicBezTo>
                  <a:cubicBezTo>
                    <a:pt x="435" y="458"/>
                    <a:pt x="435" y="458"/>
                    <a:pt x="435" y="458"/>
                  </a:cubicBezTo>
                  <a:cubicBezTo>
                    <a:pt x="436" y="458"/>
                    <a:pt x="437" y="458"/>
                    <a:pt x="437" y="458"/>
                  </a:cubicBezTo>
                  <a:moveTo>
                    <a:pt x="445" y="446"/>
                  </a:moveTo>
                  <a:cubicBezTo>
                    <a:pt x="445" y="446"/>
                    <a:pt x="445" y="446"/>
                    <a:pt x="445" y="446"/>
                  </a:cubicBezTo>
                  <a:cubicBezTo>
                    <a:pt x="445" y="445"/>
                    <a:pt x="445" y="445"/>
                    <a:pt x="445" y="445"/>
                  </a:cubicBezTo>
                  <a:cubicBezTo>
                    <a:pt x="444" y="445"/>
                    <a:pt x="444" y="445"/>
                    <a:pt x="444" y="445"/>
                  </a:cubicBezTo>
                  <a:cubicBezTo>
                    <a:pt x="444" y="445"/>
                    <a:pt x="444" y="445"/>
                    <a:pt x="443" y="445"/>
                  </a:cubicBezTo>
                  <a:cubicBezTo>
                    <a:pt x="443" y="445"/>
                    <a:pt x="443" y="445"/>
                    <a:pt x="443" y="445"/>
                  </a:cubicBezTo>
                  <a:cubicBezTo>
                    <a:pt x="443" y="445"/>
                    <a:pt x="443" y="445"/>
                    <a:pt x="441" y="445"/>
                  </a:cubicBezTo>
                  <a:cubicBezTo>
                    <a:pt x="440" y="445"/>
                    <a:pt x="439" y="446"/>
                    <a:pt x="438" y="446"/>
                  </a:cubicBezTo>
                  <a:cubicBezTo>
                    <a:pt x="438" y="446"/>
                    <a:pt x="438" y="446"/>
                    <a:pt x="438" y="446"/>
                  </a:cubicBezTo>
                  <a:cubicBezTo>
                    <a:pt x="437" y="446"/>
                    <a:pt x="436" y="447"/>
                    <a:pt x="435" y="447"/>
                  </a:cubicBezTo>
                  <a:cubicBezTo>
                    <a:pt x="434" y="447"/>
                    <a:pt x="433" y="447"/>
                    <a:pt x="433" y="446"/>
                  </a:cubicBezTo>
                  <a:cubicBezTo>
                    <a:pt x="432" y="445"/>
                    <a:pt x="429" y="445"/>
                    <a:pt x="428" y="446"/>
                  </a:cubicBezTo>
                  <a:cubicBezTo>
                    <a:pt x="427" y="446"/>
                    <a:pt x="426" y="447"/>
                    <a:pt x="426" y="447"/>
                  </a:cubicBezTo>
                  <a:cubicBezTo>
                    <a:pt x="425" y="447"/>
                    <a:pt x="425" y="447"/>
                    <a:pt x="425" y="447"/>
                  </a:cubicBezTo>
                  <a:cubicBezTo>
                    <a:pt x="425" y="447"/>
                    <a:pt x="426" y="448"/>
                    <a:pt x="426" y="448"/>
                  </a:cubicBezTo>
                  <a:cubicBezTo>
                    <a:pt x="427" y="448"/>
                    <a:pt x="427" y="448"/>
                    <a:pt x="431" y="448"/>
                  </a:cubicBezTo>
                  <a:cubicBezTo>
                    <a:pt x="432" y="448"/>
                    <a:pt x="432" y="448"/>
                    <a:pt x="432" y="448"/>
                  </a:cubicBezTo>
                  <a:cubicBezTo>
                    <a:pt x="436" y="448"/>
                    <a:pt x="436" y="448"/>
                    <a:pt x="436" y="448"/>
                  </a:cubicBezTo>
                  <a:cubicBezTo>
                    <a:pt x="437" y="448"/>
                    <a:pt x="438" y="448"/>
                    <a:pt x="439" y="448"/>
                  </a:cubicBezTo>
                  <a:cubicBezTo>
                    <a:pt x="439" y="447"/>
                    <a:pt x="439" y="447"/>
                    <a:pt x="439" y="447"/>
                  </a:cubicBezTo>
                  <a:cubicBezTo>
                    <a:pt x="440" y="447"/>
                    <a:pt x="440" y="447"/>
                    <a:pt x="440" y="446"/>
                  </a:cubicBezTo>
                  <a:cubicBezTo>
                    <a:pt x="442" y="446"/>
                    <a:pt x="442" y="446"/>
                    <a:pt x="442" y="446"/>
                  </a:cubicBezTo>
                  <a:cubicBezTo>
                    <a:pt x="444" y="446"/>
                    <a:pt x="444" y="446"/>
                    <a:pt x="445" y="446"/>
                  </a:cubicBezTo>
                  <a:moveTo>
                    <a:pt x="428" y="454"/>
                  </a:moveTo>
                  <a:cubicBezTo>
                    <a:pt x="429" y="454"/>
                    <a:pt x="429" y="454"/>
                    <a:pt x="429" y="454"/>
                  </a:cubicBezTo>
                  <a:cubicBezTo>
                    <a:pt x="429" y="454"/>
                    <a:pt x="429" y="454"/>
                    <a:pt x="429" y="453"/>
                  </a:cubicBezTo>
                  <a:cubicBezTo>
                    <a:pt x="427" y="453"/>
                    <a:pt x="427" y="453"/>
                    <a:pt x="427" y="453"/>
                  </a:cubicBezTo>
                  <a:cubicBezTo>
                    <a:pt x="427" y="452"/>
                    <a:pt x="427" y="452"/>
                    <a:pt x="427" y="452"/>
                  </a:cubicBezTo>
                  <a:cubicBezTo>
                    <a:pt x="426" y="452"/>
                    <a:pt x="426" y="452"/>
                    <a:pt x="426" y="452"/>
                  </a:cubicBezTo>
                  <a:cubicBezTo>
                    <a:pt x="425" y="451"/>
                    <a:pt x="425" y="451"/>
                    <a:pt x="425" y="451"/>
                  </a:cubicBezTo>
                  <a:cubicBezTo>
                    <a:pt x="425" y="451"/>
                    <a:pt x="425" y="451"/>
                    <a:pt x="425" y="450"/>
                  </a:cubicBezTo>
                  <a:cubicBezTo>
                    <a:pt x="424" y="451"/>
                    <a:pt x="424" y="450"/>
                    <a:pt x="423" y="450"/>
                  </a:cubicBezTo>
                  <a:cubicBezTo>
                    <a:pt x="423" y="450"/>
                    <a:pt x="423" y="450"/>
                    <a:pt x="421" y="451"/>
                  </a:cubicBezTo>
                  <a:cubicBezTo>
                    <a:pt x="422" y="452"/>
                    <a:pt x="422" y="452"/>
                    <a:pt x="422" y="452"/>
                  </a:cubicBezTo>
                  <a:cubicBezTo>
                    <a:pt x="423" y="452"/>
                    <a:pt x="422" y="453"/>
                    <a:pt x="423" y="453"/>
                  </a:cubicBezTo>
                  <a:cubicBezTo>
                    <a:pt x="423" y="454"/>
                    <a:pt x="423" y="454"/>
                    <a:pt x="423" y="454"/>
                  </a:cubicBezTo>
                  <a:cubicBezTo>
                    <a:pt x="424" y="455"/>
                    <a:pt x="424" y="455"/>
                    <a:pt x="428" y="454"/>
                  </a:cubicBezTo>
                  <a:moveTo>
                    <a:pt x="423" y="447"/>
                  </a:moveTo>
                  <a:cubicBezTo>
                    <a:pt x="423" y="447"/>
                    <a:pt x="423" y="447"/>
                    <a:pt x="423" y="447"/>
                  </a:cubicBezTo>
                  <a:cubicBezTo>
                    <a:pt x="423" y="447"/>
                    <a:pt x="423" y="447"/>
                    <a:pt x="423" y="447"/>
                  </a:cubicBezTo>
                  <a:cubicBezTo>
                    <a:pt x="423" y="447"/>
                    <a:pt x="423" y="446"/>
                    <a:pt x="423" y="446"/>
                  </a:cubicBezTo>
                  <a:cubicBezTo>
                    <a:pt x="421" y="446"/>
                    <a:pt x="421" y="446"/>
                    <a:pt x="421" y="446"/>
                  </a:cubicBezTo>
                  <a:cubicBezTo>
                    <a:pt x="420" y="446"/>
                    <a:pt x="420" y="446"/>
                    <a:pt x="420" y="446"/>
                  </a:cubicBezTo>
                  <a:cubicBezTo>
                    <a:pt x="420" y="446"/>
                    <a:pt x="420" y="446"/>
                    <a:pt x="420" y="446"/>
                  </a:cubicBezTo>
                  <a:cubicBezTo>
                    <a:pt x="420" y="446"/>
                    <a:pt x="420" y="446"/>
                    <a:pt x="419" y="446"/>
                  </a:cubicBezTo>
                  <a:cubicBezTo>
                    <a:pt x="419" y="446"/>
                    <a:pt x="419" y="445"/>
                    <a:pt x="418" y="445"/>
                  </a:cubicBezTo>
                  <a:cubicBezTo>
                    <a:pt x="418" y="445"/>
                    <a:pt x="417" y="445"/>
                    <a:pt x="417" y="445"/>
                  </a:cubicBezTo>
                  <a:cubicBezTo>
                    <a:pt x="417" y="445"/>
                    <a:pt x="417" y="446"/>
                    <a:pt x="416" y="446"/>
                  </a:cubicBezTo>
                  <a:cubicBezTo>
                    <a:pt x="416" y="446"/>
                    <a:pt x="415" y="446"/>
                    <a:pt x="415" y="447"/>
                  </a:cubicBezTo>
                  <a:cubicBezTo>
                    <a:pt x="415" y="447"/>
                    <a:pt x="415" y="447"/>
                    <a:pt x="415" y="447"/>
                  </a:cubicBezTo>
                  <a:cubicBezTo>
                    <a:pt x="414" y="447"/>
                    <a:pt x="414" y="446"/>
                    <a:pt x="413" y="447"/>
                  </a:cubicBezTo>
                  <a:cubicBezTo>
                    <a:pt x="413" y="447"/>
                    <a:pt x="412" y="447"/>
                    <a:pt x="412" y="447"/>
                  </a:cubicBezTo>
                  <a:cubicBezTo>
                    <a:pt x="411" y="448"/>
                    <a:pt x="412" y="449"/>
                    <a:pt x="413" y="449"/>
                  </a:cubicBezTo>
                  <a:cubicBezTo>
                    <a:pt x="414" y="449"/>
                    <a:pt x="416" y="449"/>
                    <a:pt x="416" y="449"/>
                  </a:cubicBezTo>
                  <a:cubicBezTo>
                    <a:pt x="416" y="449"/>
                    <a:pt x="417" y="448"/>
                    <a:pt x="418" y="448"/>
                  </a:cubicBezTo>
                  <a:cubicBezTo>
                    <a:pt x="418" y="447"/>
                    <a:pt x="418" y="447"/>
                    <a:pt x="419" y="447"/>
                  </a:cubicBezTo>
                  <a:cubicBezTo>
                    <a:pt x="419" y="447"/>
                    <a:pt x="420" y="447"/>
                    <a:pt x="420" y="447"/>
                  </a:cubicBezTo>
                  <a:cubicBezTo>
                    <a:pt x="421" y="447"/>
                    <a:pt x="421" y="447"/>
                    <a:pt x="423" y="447"/>
                  </a:cubicBezTo>
                  <a:moveTo>
                    <a:pt x="408" y="448"/>
                  </a:moveTo>
                  <a:cubicBezTo>
                    <a:pt x="409" y="448"/>
                    <a:pt x="409" y="448"/>
                    <a:pt x="409" y="448"/>
                  </a:cubicBezTo>
                  <a:cubicBezTo>
                    <a:pt x="408" y="446"/>
                    <a:pt x="408" y="446"/>
                    <a:pt x="407" y="446"/>
                  </a:cubicBezTo>
                  <a:cubicBezTo>
                    <a:pt x="406" y="446"/>
                    <a:pt x="406" y="445"/>
                    <a:pt x="405" y="444"/>
                  </a:cubicBezTo>
                  <a:cubicBezTo>
                    <a:pt x="403" y="444"/>
                    <a:pt x="401" y="444"/>
                    <a:pt x="398" y="444"/>
                  </a:cubicBezTo>
                  <a:cubicBezTo>
                    <a:pt x="399" y="441"/>
                    <a:pt x="402" y="442"/>
                    <a:pt x="404" y="441"/>
                  </a:cubicBezTo>
                  <a:cubicBezTo>
                    <a:pt x="403" y="441"/>
                    <a:pt x="402" y="440"/>
                    <a:pt x="401" y="440"/>
                  </a:cubicBezTo>
                  <a:cubicBezTo>
                    <a:pt x="396" y="440"/>
                    <a:pt x="396" y="440"/>
                    <a:pt x="396" y="440"/>
                  </a:cubicBezTo>
                  <a:cubicBezTo>
                    <a:pt x="394" y="440"/>
                    <a:pt x="391" y="439"/>
                    <a:pt x="389" y="438"/>
                  </a:cubicBezTo>
                  <a:cubicBezTo>
                    <a:pt x="382" y="439"/>
                    <a:pt x="373" y="439"/>
                    <a:pt x="366" y="439"/>
                  </a:cubicBezTo>
                  <a:cubicBezTo>
                    <a:pt x="366" y="440"/>
                    <a:pt x="366" y="440"/>
                    <a:pt x="365" y="440"/>
                  </a:cubicBezTo>
                  <a:cubicBezTo>
                    <a:pt x="366" y="440"/>
                    <a:pt x="367" y="440"/>
                    <a:pt x="368" y="440"/>
                  </a:cubicBezTo>
                  <a:cubicBezTo>
                    <a:pt x="368" y="441"/>
                    <a:pt x="368" y="442"/>
                    <a:pt x="368" y="442"/>
                  </a:cubicBezTo>
                  <a:cubicBezTo>
                    <a:pt x="371" y="442"/>
                    <a:pt x="371" y="442"/>
                    <a:pt x="371" y="442"/>
                  </a:cubicBezTo>
                  <a:cubicBezTo>
                    <a:pt x="372" y="443"/>
                    <a:pt x="372" y="445"/>
                    <a:pt x="374" y="445"/>
                  </a:cubicBezTo>
                  <a:cubicBezTo>
                    <a:pt x="376" y="445"/>
                    <a:pt x="377" y="444"/>
                    <a:pt x="379" y="444"/>
                  </a:cubicBezTo>
                  <a:cubicBezTo>
                    <a:pt x="380" y="444"/>
                    <a:pt x="382" y="443"/>
                    <a:pt x="383" y="444"/>
                  </a:cubicBezTo>
                  <a:cubicBezTo>
                    <a:pt x="384" y="444"/>
                    <a:pt x="383" y="445"/>
                    <a:pt x="384" y="445"/>
                  </a:cubicBezTo>
                  <a:cubicBezTo>
                    <a:pt x="386" y="446"/>
                    <a:pt x="388" y="444"/>
                    <a:pt x="390" y="446"/>
                  </a:cubicBezTo>
                  <a:cubicBezTo>
                    <a:pt x="392" y="447"/>
                    <a:pt x="392" y="447"/>
                    <a:pt x="395" y="448"/>
                  </a:cubicBezTo>
                  <a:cubicBezTo>
                    <a:pt x="395" y="446"/>
                    <a:pt x="395" y="446"/>
                    <a:pt x="396" y="446"/>
                  </a:cubicBezTo>
                  <a:cubicBezTo>
                    <a:pt x="397" y="445"/>
                    <a:pt x="397" y="447"/>
                    <a:pt x="398" y="446"/>
                  </a:cubicBezTo>
                  <a:cubicBezTo>
                    <a:pt x="398" y="446"/>
                    <a:pt x="399" y="446"/>
                    <a:pt x="399" y="446"/>
                  </a:cubicBezTo>
                  <a:cubicBezTo>
                    <a:pt x="402" y="445"/>
                    <a:pt x="404" y="449"/>
                    <a:pt x="407" y="449"/>
                  </a:cubicBezTo>
                  <a:cubicBezTo>
                    <a:pt x="407" y="449"/>
                    <a:pt x="407" y="449"/>
                    <a:pt x="408" y="449"/>
                  </a:cubicBezTo>
                  <a:cubicBezTo>
                    <a:pt x="408" y="448"/>
                    <a:pt x="408" y="448"/>
                    <a:pt x="408" y="448"/>
                  </a:cubicBezTo>
                  <a:moveTo>
                    <a:pt x="352" y="435"/>
                  </a:moveTo>
                  <a:cubicBezTo>
                    <a:pt x="352" y="435"/>
                    <a:pt x="352" y="435"/>
                    <a:pt x="352" y="434"/>
                  </a:cubicBezTo>
                  <a:cubicBezTo>
                    <a:pt x="352" y="434"/>
                    <a:pt x="352" y="434"/>
                    <a:pt x="352" y="434"/>
                  </a:cubicBezTo>
                  <a:cubicBezTo>
                    <a:pt x="352" y="433"/>
                    <a:pt x="352" y="433"/>
                    <a:pt x="352" y="433"/>
                  </a:cubicBezTo>
                  <a:cubicBezTo>
                    <a:pt x="352" y="433"/>
                    <a:pt x="351" y="433"/>
                    <a:pt x="351" y="434"/>
                  </a:cubicBezTo>
                  <a:cubicBezTo>
                    <a:pt x="351" y="434"/>
                    <a:pt x="351" y="434"/>
                    <a:pt x="351" y="435"/>
                  </a:cubicBezTo>
                  <a:cubicBezTo>
                    <a:pt x="352" y="435"/>
                    <a:pt x="352" y="435"/>
                    <a:pt x="352" y="435"/>
                  </a:cubicBezTo>
                  <a:moveTo>
                    <a:pt x="431" y="385"/>
                  </a:moveTo>
                  <a:cubicBezTo>
                    <a:pt x="432" y="385"/>
                    <a:pt x="432" y="385"/>
                    <a:pt x="432" y="385"/>
                  </a:cubicBezTo>
                  <a:cubicBezTo>
                    <a:pt x="431" y="383"/>
                    <a:pt x="431" y="383"/>
                    <a:pt x="431" y="383"/>
                  </a:cubicBezTo>
                  <a:cubicBezTo>
                    <a:pt x="430" y="382"/>
                    <a:pt x="427" y="383"/>
                    <a:pt x="427" y="383"/>
                  </a:cubicBezTo>
                  <a:cubicBezTo>
                    <a:pt x="426" y="383"/>
                    <a:pt x="425" y="381"/>
                    <a:pt x="425" y="381"/>
                  </a:cubicBezTo>
                  <a:cubicBezTo>
                    <a:pt x="424" y="381"/>
                    <a:pt x="425" y="380"/>
                    <a:pt x="425" y="379"/>
                  </a:cubicBezTo>
                  <a:cubicBezTo>
                    <a:pt x="423" y="377"/>
                    <a:pt x="423" y="377"/>
                    <a:pt x="423" y="377"/>
                  </a:cubicBezTo>
                  <a:cubicBezTo>
                    <a:pt x="421" y="376"/>
                    <a:pt x="421" y="376"/>
                    <a:pt x="421" y="376"/>
                  </a:cubicBezTo>
                  <a:cubicBezTo>
                    <a:pt x="420" y="379"/>
                    <a:pt x="417" y="380"/>
                    <a:pt x="415" y="382"/>
                  </a:cubicBezTo>
                  <a:cubicBezTo>
                    <a:pt x="414" y="383"/>
                    <a:pt x="413" y="386"/>
                    <a:pt x="411" y="388"/>
                  </a:cubicBezTo>
                  <a:cubicBezTo>
                    <a:pt x="410" y="389"/>
                    <a:pt x="408" y="388"/>
                    <a:pt x="407" y="389"/>
                  </a:cubicBezTo>
                  <a:cubicBezTo>
                    <a:pt x="406" y="390"/>
                    <a:pt x="404" y="391"/>
                    <a:pt x="404" y="393"/>
                  </a:cubicBezTo>
                  <a:cubicBezTo>
                    <a:pt x="404" y="393"/>
                    <a:pt x="404" y="393"/>
                    <a:pt x="404" y="393"/>
                  </a:cubicBezTo>
                  <a:cubicBezTo>
                    <a:pt x="402" y="394"/>
                    <a:pt x="401" y="396"/>
                    <a:pt x="400" y="396"/>
                  </a:cubicBezTo>
                  <a:cubicBezTo>
                    <a:pt x="399" y="397"/>
                    <a:pt x="398" y="397"/>
                    <a:pt x="396" y="397"/>
                  </a:cubicBezTo>
                  <a:cubicBezTo>
                    <a:pt x="396" y="399"/>
                    <a:pt x="396" y="400"/>
                    <a:pt x="395" y="402"/>
                  </a:cubicBezTo>
                  <a:cubicBezTo>
                    <a:pt x="394" y="402"/>
                    <a:pt x="392" y="403"/>
                    <a:pt x="390" y="402"/>
                  </a:cubicBezTo>
                  <a:cubicBezTo>
                    <a:pt x="389" y="402"/>
                    <a:pt x="389" y="402"/>
                    <a:pt x="388" y="401"/>
                  </a:cubicBezTo>
                  <a:cubicBezTo>
                    <a:pt x="388" y="400"/>
                    <a:pt x="388" y="400"/>
                    <a:pt x="388" y="400"/>
                  </a:cubicBezTo>
                  <a:cubicBezTo>
                    <a:pt x="387" y="400"/>
                    <a:pt x="387" y="400"/>
                    <a:pt x="387" y="400"/>
                  </a:cubicBezTo>
                  <a:cubicBezTo>
                    <a:pt x="386" y="400"/>
                    <a:pt x="386" y="400"/>
                    <a:pt x="386" y="400"/>
                  </a:cubicBezTo>
                  <a:cubicBezTo>
                    <a:pt x="385" y="403"/>
                    <a:pt x="385" y="403"/>
                    <a:pt x="385" y="403"/>
                  </a:cubicBezTo>
                  <a:cubicBezTo>
                    <a:pt x="385" y="404"/>
                    <a:pt x="384" y="404"/>
                    <a:pt x="384" y="405"/>
                  </a:cubicBezTo>
                  <a:cubicBezTo>
                    <a:pt x="383" y="409"/>
                    <a:pt x="383" y="409"/>
                    <a:pt x="383" y="409"/>
                  </a:cubicBezTo>
                  <a:cubicBezTo>
                    <a:pt x="383" y="413"/>
                    <a:pt x="388" y="412"/>
                    <a:pt x="387" y="416"/>
                  </a:cubicBezTo>
                  <a:cubicBezTo>
                    <a:pt x="387" y="417"/>
                    <a:pt x="387" y="417"/>
                    <a:pt x="387" y="417"/>
                  </a:cubicBezTo>
                  <a:cubicBezTo>
                    <a:pt x="387" y="417"/>
                    <a:pt x="387" y="417"/>
                    <a:pt x="387" y="417"/>
                  </a:cubicBezTo>
                  <a:cubicBezTo>
                    <a:pt x="387" y="420"/>
                    <a:pt x="386" y="421"/>
                    <a:pt x="387" y="422"/>
                  </a:cubicBezTo>
                  <a:cubicBezTo>
                    <a:pt x="389" y="424"/>
                    <a:pt x="391" y="422"/>
                    <a:pt x="393" y="423"/>
                  </a:cubicBezTo>
                  <a:cubicBezTo>
                    <a:pt x="394" y="425"/>
                    <a:pt x="394" y="425"/>
                    <a:pt x="395" y="425"/>
                  </a:cubicBezTo>
                  <a:cubicBezTo>
                    <a:pt x="397" y="426"/>
                    <a:pt x="399" y="424"/>
                    <a:pt x="402" y="424"/>
                  </a:cubicBezTo>
                  <a:cubicBezTo>
                    <a:pt x="402" y="424"/>
                    <a:pt x="402" y="424"/>
                    <a:pt x="402" y="424"/>
                  </a:cubicBezTo>
                  <a:cubicBezTo>
                    <a:pt x="402" y="424"/>
                    <a:pt x="402" y="424"/>
                    <a:pt x="403" y="426"/>
                  </a:cubicBezTo>
                  <a:cubicBezTo>
                    <a:pt x="404" y="427"/>
                    <a:pt x="405" y="425"/>
                    <a:pt x="406" y="426"/>
                  </a:cubicBezTo>
                  <a:cubicBezTo>
                    <a:pt x="406" y="426"/>
                    <a:pt x="407" y="426"/>
                    <a:pt x="407" y="427"/>
                  </a:cubicBezTo>
                  <a:cubicBezTo>
                    <a:pt x="408" y="427"/>
                    <a:pt x="408" y="427"/>
                    <a:pt x="408" y="428"/>
                  </a:cubicBezTo>
                  <a:cubicBezTo>
                    <a:pt x="409" y="428"/>
                    <a:pt x="409" y="428"/>
                    <a:pt x="410" y="428"/>
                  </a:cubicBezTo>
                  <a:cubicBezTo>
                    <a:pt x="411" y="428"/>
                    <a:pt x="411" y="428"/>
                    <a:pt x="412" y="428"/>
                  </a:cubicBezTo>
                  <a:cubicBezTo>
                    <a:pt x="412" y="427"/>
                    <a:pt x="412" y="427"/>
                    <a:pt x="412" y="427"/>
                  </a:cubicBezTo>
                  <a:cubicBezTo>
                    <a:pt x="412" y="427"/>
                    <a:pt x="412" y="426"/>
                    <a:pt x="412" y="426"/>
                  </a:cubicBezTo>
                  <a:cubicBezTo>
                    <a:pt x="413" y="425"/>
                    <a:pt x="413" y="425"/>
                    <a:pt x="414" y="424"/>
                  </a:cubicBezTo>
                  <a:cubicBezTo>
                    <a:pt x="416" y="423"/>
                    <a:pt x="416" y="421"/>
                    <a:pt x="415" y="420"/>
                  </a:cubicBezTo>
                  <a:cubicBezTo>
                    <a:pt x="415" y="420"/>
                    <a:pt x="415" y="419"/>
                    <a:pt x="415" y="419"/>
                  </a:cubicBezTo>
                  <a:cubicBezTo>
                    <a:pt x="417" y="416"/>
                    <a:pt x="417" y="416"/>
                    <a:pt x="417" y="416"/>
                  </a:cubicBezTo>
                  <a:cubicBezTo>
                    <a:pt x="418" y="415"/>
                    <a:pt x="418" y="415"/>
                    <a:pt x="419" y="412"/>
                  </a:cubicBezTo>
                  <a:cubicBezTo>
                    <a:pt x="420" y="412"/>
                    <a:pt x="420" y="412"/>
                    <a:pt x="421" y="412"/>
                  </a:cubicBezTo>
                  <a:cubicBezTo>
                    <a:pt x="422" y="410"/>
                    <a:pt x="422" y="409"/>
                    <a:pt x="422" y="407"/>
                  </a:cubicBezTo>
                  <a:cubicBezTo>
                    <a:pt x="430" y="407"/>
                    <a:pt x="427" y="404"/>
                    <a:pt x="427" y="404"/>
                  </a:cubicBezTo>
                  <a:cubicBezTo>
                    <a:pt x="426" y="404"/>
                    <a:pt x="426" y="404"/>
                    <a:pt x="423" y="404"/>
                  </a:cubicBezTo>
                  <a:cubicBezTo>
                    <a:pt x="423" y="403"/>
                    <a:pt x="423" y="403"/>
                    <a:pt x="423" y="401"/>
                  </a:cubicBezTo>
                  <a:cubicBezTo>
                    <a:pt x="424" y="401"/>
                    <a:pt x="424" y="400"/>
                    <a:pt x="424" y="399"/>
                  </a:cubicBezTo>
                  <a:cubicBezTo>
                    <a:pt x="424" y="398"/>
                    <a:pt x="423" y="397"/>
                    <a:pt x="423" y="395"/>
                  </a:cubicBezTo>
                  <a:cubicBezTo>
                    <a:pt x="423" y="394"/>
                    <a:pt x="423" y="392"/>
                    <a:pt x="423" y="390"/>
                  </a:cubicBezTo>
                  <a:cubicBezTo>
                    <a:pt x="425" y="390"/>
                    <a:pt x="425" y="390"/>
                    <a:pt x="427" y="390"/>
                  </a:cubicBezTo>
                  <a:cubicBezTo>
                    <a:pt x="427" y="387"/>
                    <a:pt x="427" y="387"/>
                    <a:pt x="431" y="385"/>
                  </a:cubicBezTo>
                  <a:moveTo>
                    <a:pt x="345" y="426"/>
                  </a:moveTo>
                  <a:cubicBezTo>
                    <a:pt x="345" y="425"/>
                    <a:pt x="345" y="424"/>
                    <a:pt x="345" y="422"/>
                  </a:cubicBezTo>
                  <a:cubicBezTo>
                    <a:pt x="344" y="422"/>
                    <a:pt x="344" y="422"/>
                    <a:pt x="344" y="422"/>
                  </a:cubicBezTo>
                  <a:cubicBezTo>
                    <a:pt x="344" y="422"/>
                    <a:pt x="343" y="421"/>
                    <a:pt x="343" y="421"/>
                  </a:cubicBezTo>
                  <a:cubicBezTo>
                    <a:pt x="343" y="421"/>
                    <a:pt x="342" y="421"/>
                    <a:pt x="341" y="421"/>
                  </a:cubicBezTo>
                  <a:cubicBezTo>
                    <a:pt x="340" y="421"/>
                    <a:pt x="339" y="418"/>
                    <a:pt x="339" y="418"/>
                  </a:cubicBezTo>
                  <a:cubicBezTo>
                    <a:pt x="339" y="417"/>
                    <a:pt x="339" y="416"/>
                    <a:pt x="339" y="414"/>
                  </a:cubicBezTo>
                  <a:cubicBezTo>
                    <a:pt x="339" y="414"/>
                    <a:pt x="339" y="414"/>
                    <a:pt x="337" y="413"/>
                  </a:cubicBezTo>
                  <a:cubicBezTo>
                    <a:pt x="336" y="415"/>
                    <a:pt x="336" y="416"/>
                    <a:pt x="336" y="417"/>
                  </a:cubicBezTo>
                  <a:cubicBezTo>
                    <a:pt x="337" y="418"/>
                    <a:pt x="341" y="423"/>
                    <a:pt x="341" y="423"/>
                  </a:cubicBezTo>
                  <a:cubicBezTo>
                    <a:pt x="342" y="423"/>
                    <a:pt x="342" y="423"/>
                    <a:pt x="343" y="424"/>
                  </a:cubicBezTo>
                  <a:cubicBezTo>
                    <a:pt x="343" y="426"/>
                    <a:pt x="344" y="426"/>
                    <a:pt x="345" y="426"/>
                  </a:cubicBezTo>
                  <a:moveTo>
                    <a:pt x="329" y="405"/>
                  </a:moveTo>
                  <a:cubicBezTo>
                    <a:pt x="329" y="404"/>
                    <a:pt x="329" y="404"/>
                    <a:pt x="329" y="404"/>
                  </a:cubicBezTo>
                  <a:cubicBezTo>
                    <a:pt x="329" y="404"/>
                    <a:pt x="329" y="404"/>
                    <a:pt x="329" y="404"/>
                  </a:cubicBezTo>
                  <a:cubicBezTo>
                    <a:pt x="329" y="404"/>
                    <a:pt x="329" y="405"/>
                    <a:pt x="329" y="405"/>
                  </a:cubicBezTo>
                  <a:cubicBezTo>
                    <a:pt x="329" y="405"/>
                    <a:pt x="329" y="405"/>
                    <a:pt x="329" y="405"/>
                  </a:cubicBezTo>
                  <a:moveTo>
                    <a:pt x="334" y="409"/>
                  </a:moveTo>
                  <a:cubicBezTo>
                    <a:pt x="334" y="408"/>
                    <a:pt x="334" y="408"/>
                    <a:pt x="334" y="408"/>
                  </a:cubicBezTo>
                  <a:cubicBezTo>
                    <a:pt x="334" y="407"/>
                    <a:pt x="333" y="406"/>
                    <a:pt x="333" y="406"/>
                  </a:cubicBezTo>
                  <a:cubicBezTo>
                    <a:pt x="333" y="406"/>
                    <a:pt x="333" y="406"/>
                    <a:pt x="332" y="405"/>
                  </a:cubicBezTo>
                  <a:cubicBezTo>
                    <a:pt x="332" y="405"/>
                    <a:pt x="332" y="404"/>
                    <a:pt x="331" y="404"/>
                  </a:cubicBezTo>
                  <a:cubicBezTo>
                    <a:pt x="331" y="404"/>
                    <a:pt x="331" y="404"/>
                    <a:pt x="331" y="404"/>
                  </a:cubicBezTo>
                  <a:cubicBezTo>
                    <a:pt x="331" y="403"/>
                    <a:pt x="330" y="403"/>
                    <a:pt x="330" y="403"/>
                  </a:cubicBezTo>
                  <a:cubicBezTo>
                    <a:pt x="330" y="403"/>
                    <a:pt x="330" y="403"/>
                    <a:pt x="330" y="403"/>
                  </a:cubicBezTo>
                  <a:cubicBezTo>
                    <a:pt x="329" y="404"/>
                    <a:pt x="329" y="405"/>
                    <a:pt x="331" y="406"/>
                  </a:cubicBezTo>
                  <a:cubicBezTo>
                    <a:pt x="331" y="407"/>
                    <a:pt x="331" y="407"/>
                    <a:pt x="332" y="407"/>
                  </a:cubicBezTo>
                  <a:cubicBezTo>
                    <a:pt x="332" y="407"/>
                    <a:pt x="332" y="407"/>
                    <a:pt x="333" y="408"/>
                  </a:cubicBezTo>
                  <a:cubicBezTo>
                    <a:pt x="333" y="408"/>
                    <a:pt x="333" y="409"/>
                    <a:pt x="333" y="409"/>
                  </a:cubicBezTo>
                  <a:cubicBezTo>
                    <a:pt x="333" y="409"/>
                    <a:pt x="333" y="409"/>
                    <a:pt x="333" y="409"/>
                  </a:cubicBezTo>
                  <a:cubicBezTo>
                    <a:pt x="334" y="409"/>
                    <a:pt x="334" y="409"/>
                    <a:pt x="334" y="409"/>
                  </a:cubicBezTo>
                  <a:moveTo>
                    <a:pt x="327" y="400"/>
                  </a:moveTo>
                  <a:cubicBezTo>
                    <a:pt x="327" y="400"/>
                    <a:pt x="327" y="399"/>
                    <a:pt x="327" y="399"/>
                  </a:cubicBezTo>
                  <a:cubicBezTo>
                    <a:pt x="327" y="399"/>
                    <a:pt x="326" y="399"/>
                    <a:pt x="326" y="398"/>
                  </a:cubicBezTo>
                  <a:cubicBezTo>
                    <a:pt x="325" y="398"/>
                    <a:pt x="325" y="398"/>
                    <a:pt x="325" y="398"/>
                  </a:cubicBezTo>
                  <a:cubicBezTo>
                    <a:pt x="325" y="397"/>
                    <a:pt x="325" y="397"/>
                    <a:pt x="325" y="397"/>
                  </a:cubicBezTo>
                  <a:cubicBezTo>
                    <a:pt x="324" y="396"/>
                    <a:pt x="324" y="396"/>
                    <a:pt x="324" y="396"/>
                  </a:cubicBezTo>
                  <a:cubicBezTo>
                    <a:pt x="324" y="396"/>
                    <a:pt x="324" y="397"/>
                    <a:pt x="324" y="397"/>
                  </a:cubicBezTo>
                  <a:cubicBezTo>
                    <a:pt x="324" y="397"/>
                    <a:pt x="324" y="398"/>
                    <a:pt x="324" y="398"/>
                  </a:cubicBezTo>
                  <a:cubicBezTo>
                    <a:pt x="325" y="398"/>
                    <a:pt x="325" y="398"/>
                    <a:pt x="325" y="398"/>
                  </a:cubicBezTo>
                  <a:cubicBezTo>
                    <a:pt x="325" y="399"/>
                    <a:pt x="325" y="399"/>
                    <a:pt x="325" y="399"/>
                  </a:cubicBezTo>
                  <a:cubicBezTo>
                    <a:pt x="325" y="400"/>
                    <a:pt x="325" y="400"/>
                    <a:pt x="325" y="400"/>
                  </a:cubicBezTo>
                  <a:cubicBezTo>
                    <a:pt x="325" y="400"/>
                    <a:pt x="325" y="400"/>
                    <a:pt x="325" y="400"/>
                  </a:cubicBezTo>
                  <a:cubicBezTo>
                    <a:pt x="325" y="400"/>
                    <a:pt x="325" y="400"/>
                    <a:pt x="325" y="400"/>
                  </a:cubicBezTo>
                  <a:cubicBezTo>
                    <a:pt x="325" y="400"/>
                    <a:pt x="325" y="400"/>
                    <a:pt x="326" y="400"/>
                  </a:cubicBezTo>
                  <a:cubicBezTo>
                    <a:pt x="326" y="400"/>
                    <a:pt x="326" y="400"/>
                    <a:pt x="326" y="400"/>
                  </a:cubicBezTo>
                  <a:cubicBezTo>
                    <a:pt x="326" y="400"/>
                    <a:pt x="326" y="400"/>
                    <a:pt x="326" y="400"/>
                  </a:cubicBezTo>
                  <a:cubicBezTo>
                    <a:pt x="326" y="400"/>
                    <a:pt x="326" y="400"/>
                    <a:pt x="326" y="400"/>
                  </a:cubicBezTo>
                  <a:cubicBezTo>
                    <a:pt x="326" y="400"/>
                    <a:pt x="326" y="400"/>
                    <a:pt x="326" y="400"/>
                  </a:cubicBezTo>
                  <a:cubicBezTo>
                    <a:pt x="326" y="400"/>
                    <a:pt x="326" y="400"/>
                    <a:pt x="326" y="400"/>
                  </a:cubicBezTo>
                  <a:cubicBezTo>
                    <a:pt x="326" y="400"/>
                    <a:pt x="326" y="400"/>
                    <a:pt x="326" y="400"/>
                  </a:cubicBezTo>
                  <a:cubicBezTo>
                    <a:pt x="326" y="400"/>
                    <a:pt x="326" y="400"/>
                    <a:pt x="326" y="400"/>
                  </a:cubicBezTo>
                  <a:cubicBezTo>
                    <a:pt x="326" y="400"/>
                    <a:pt x="326" y="400"/>
                    <a:pt x="326" y="400"/>
                  </a:cubicBezTo>
                  <a:cubicBezTo>
                    <a:pt x="327" y="400"/>
                    <a:pt x="327" y="400"/>
                    <a:pt x="327" y="400"/>
                  </a:cubicBezTo>
                  <a:moveTo>
                    <a:pt x="374" y="423"/>
                  </a:moveTo>
                  <a:cubicBezTo>
                    <a:pt x="374" y="423"/>
                    <a:pt x="373" y="421"/>
                    <a:pt x="372" y="421"/>
                  </a:cubicBezTo>
                  <a:cubicBezTo>
                    <a:pt x="370" y="421"/>
                    <a:pt x="370" y="421"/>
                    <a:pt x="371" y="418"/>
                  </a:cubicBezTo>
                  <a:cubicBezTo>
                    <a:pt x="371" y="418"/>
                    <a:pt x="371" y="418"/>
                    <a:pt x="371" y="418"/>
                  </a:cubicBezTo>
                  <a:cubicBezTo>
                    <a:pt x="371" y="418"/>
                    <a:pt x="367" y="414"/>
                    <a:pt x="365" y="419"/>
                  </a:cubicBezTo>
                  <a:cubicBezTo>
                    <a:pt x="364" y="419"/>
                    <a:pt x="363" y="419"/>
                    <a:pt x="363" y="419"/>
                  </a:cubicBezTo>
                  <a:cubicBezTo>
                    <a:pt x="362" y="417"/>
                    <a:pt x="364" y="416"/>
                    <a:pt x="362" y="415"/>
                  </a:cubicBezTo>
                  <a:cubicBezTo>
                    <a:pt x="362" y="415"/>
                    <a:pt x="362" y="415"/>
                    <a:pt x="361" y="415"/>
                  </a:cubicBezTo>
                  <a:cubicBezTo>
                    <a:pt x="359" y="415"/>
                    <a:pt x="359" y="415"/>
                    <a:pt x="359" y="414"/>
                  </a:cubicBezTo>
                  <a:cubicBezTo>
                    <a:pt x="359" y="414"/>
                    <a:pt x="356" y="412"/>
                    <a:pt x="356" y="412"/>
                  </a:cubicBezTo>
                  <a:cubicBezTo>
                    <a:pt x="356" y="410"/>
                    <a:pt x="356" y="408"/>
                    <a:pt x="356" y="407"/>
                  </a:cubicBezTo>
                  <a:cubicBezTo>
                    <a:pt x="353" y="407"/>
                    <a:pt x="353" y="407"/>
                    <a:pt x="351" y="405"/>
                  </a:cubicBezTo>
                  <a:cubicBezTo>
                    <a:pt x="349" y="404"/>
                    <a:pt x="350" y="402"/>
                    <a:pt x="349" y="400"/>
                  </a:cubicBezTo>
                  <a:cubicBezTo>
                    <a:pt x="349" y="400"/>
                    <a:pt x="349" y="401"/>
                    <a:pt x="348" y="401"/>
                  </a:cubicBezTo>
                  <a:cubicBezTo>
                    <a:pt x="348" y="401"/>
                    <a:pt x="348" y="401"/>
                    <a:pt x="347" y="401"/>
                  </a:cubicBezTo>
                  <a:cubicBezTo>
                    <a:pt x="346" y="401"/>
                    <a:pt x="345" y="401"/>
                    <a:pt x="343" y="399"/>
                  </a:cubicBezTo>
                  <a:cubicBezTo>
                    <a:pt x="343" y="398"/>
                    <a:pt x="343" y="398"/>
                    <a:pt x="343" y="398"/>
                  </a:cubicBezTo>
                  <a:cubicBezTo>
                    <a:pt x="341" y="397"/>
                    <a:pt x="341" y="395"/>
                    <a:pt x="339" y="394"/>
                  </a:cubicBezTo>
                  <a:cubicBezTo>
                    <a:pt x="336" y="392"/>
                    <a:pt x="336" y="392"/>
                    <a:pt x="336" y="392"/>
                  </a:cubicBezTo>
                  <a:cubicBezTo>
                    <a:pt x="335" y="391"/>
                    <a:pt x="335" y="391"/>
                    <a:pt x="334" y="391"/>
                  </a:cubicBezTo>
                  <a:cubicBezTo>
                    <a:pt x="334" y="390"/>
                    <a:pt x="334" y="390"/>
                    <a:pt x="334" y="389"/>
                  </a:cubicBezTo>
                  <a:cubicBezTo>
                    <a:pt x="334" y="389"/>
                    <a:pt x="332" y="389"/>
                    <a:pt x="331" y="385"/>
                  </a:cubicBezTo>
                  <a:cubicBezTo>
                    <a:pt x="329" y="385"/>
                    <a:pt x="328" y="387"/>
                    <a:pt x="326" y="386"/>
                  </a:cubicBezTo>
                  <a:cubicBezTo>
                    <a:pt x="324" y="386"/>
                    <a:pt x="323" y="384"/>
                    <a:pt x="321" y="383"/>
                  </a:cubicBezTo>
                  <a:cubicBezTo>
                    <a:pt x="319" y="384"/>
                    <a:pt x="321" y="385"/>
                    <a:pt x="323" y="389"/>
                  </a:cubicBezTo>
                  <a:cubicBezTo>
                    <a:pt x="325" y="391"/>
                    <a:pt x="327" y="391"/>
                    <a:pt x="329" y="394"/>
                  </a:cubicBezTo>
                  <a:cubicBezTo>
                    <a:pt x="330" y="395"/>
                    <a:pt x="330" y="395"/>
                    <a:pt x="331" y="397"/>
                  </a:cubicBezTo>
                  <a:cubicBezTo>
                    <a:pt x="331" y="399"/>
                    <a:pt x="331" y="399"/>
                    <a:pt x="333" y="399"/>
                  </a:cubicBezTo>
                  <a:cubicBezTo>
                    <a:pt x="335" y="399"/>
                    <a:pt x="335" y="400"/>
                    <a:pt x="335" y="400"/>
                  </a:cubicBezTo>
                  <a:cubicBezTo>
                    <a:pt x="336" y="402"/>
                    <a:pt x="336" y="402"/>
                    <a:pt x="336" y="405"/>
                  </a:cubicBezTo>
                  <a:cubicBezTo>
                    <a:pt x="336" y="405"/>
                    <a:pt x="336" y="406"/>
                    <a:pt x="336" y="406"/>
                  </a:cubicBezTo>
                  <a:cubicBezTo>
                    <a:pt x="338" y="409"/>
                    <a:pt x="341" y="410"/>
                    <a:pt x="343" y="412"/>
                  </a:cubicBezTo>
                  <a:cubicBezTo>
                    <a:pt x="344" y="414"/>
                    <a:pt x="345" y="415"/>
                    <a:pt x="346" y="417"/>
                  </a:cubicBezTo>
                  <a:cubicBezTo>
                    <a:pt x="346" y="418"/>
                    <a:pt x="346" y="420"/>
                    <a:pt x="347" y="422"/>
                  </a:cubicBezTo>
                  <a:cubicBezTo>
                    <a:pt x="349" y="425"/>
                    <a:pt x="352" y="426"/>
                    <a:pt x="354" y="429"/>
                  </a:cubicBezTo>
                  <a:cubicBezTo>
                    <a:pt x="356" y="432"/>
                    <a:pt x="356" y="432"/>
                    <a:pt x="357" y="433"/>
                  </a:cubicBezTo>
                  <a:cubicBezTo>
                    <a:pt x="360" y="435"/>
                    <a:pt x="360" y="435"/>
                    <a:pt x="360" y="436"/>
                  </a:cubicBezTo>
                  <a:cubicBezTo>
                    <a:pt x="366" y="435"/>
                    <a:pt x="366" y="435"/>
                    <a:pt x="366" y="435"/>
                  </a:cubicBezTo>
                  <a:cubicBezTo>
                    <a:pt x="366" y="435"/>
                    <a:pt x="367" y="433"/>
                    <a:pt x="367" y="433"/>
                  </a:cubicBezTo>
                  <a:cubicBezTo>
                    <a:pt x="368" y="433"/>
                    <a:pt x="368" y="433"/>
                    <a:pt x="368" y="432"/>
                  </a:cubicBezTo>
                  <a:cubicBezTo>
                    <a:pt x="368" y="430"/>
                    <a:pt x="368" y="430"/>
                    <a:pt x="368" y="427"/>
                  </a:cubicBezTo>
                  <a:cubicBezTo>
                    <a:pt x="368" y="427"/>
                    <a:pt x="368" y="426"/>
                    <a:pt x="368" y="426"/>
                  </a:cubicBezTo>
                  <a:cubicBezTo>
                    <a:pt x="369" y="423"/>
                    <a:pt x="372" y="425"/>
                    <a:pt x="374" y="424"/>
                  </a:cubicBezTo>
                  <a:cubicBezTo>
                    <a:pt x="374" y="423"/>
                    <a:pt x="374" y="423"/>
                    <a:pt x="374" y="423"/>
                  </a:cubicBezTo>
                  <a:moveTo>
                    <a:pt x="463" y="376"/>
                  </a:moveTo>
                  <a:cubicBezTo>
                    <a:pt x="463" y="375"/>
                    <a:pt x="463" y="375"/>
                    <a:pt x="463" y="375"/>
                  </a:cubicBezTo>
                  <a:cubicBezTo>
                    <a:pt x="463" y="373"/>
                    <a:pt x="463" y="373"/>
                    <a:pt x="463" y="373"/>
                  </a:cubicBezTo>
                  <a:cubicBezTo>
                    <a:pt x="463" y="370"/>
                    <a:pt x="463" y="368"/>
                    <a:pt x="463" y="365"/>
                  </a:cubicBezTo>
                  <a:cubicBezTo>
                    <a:pt x="463" y="364"/>
                    <a:pt x="463" y="362"/>
                    <a:pt x="461" y="362"/>
                  </a:cubicBezTo>
                  <a:cubicBezTo>
                    <a:pt x="461" y="362"/>
                    <a:pt x="461" y="362"/>
                    <a:pt x="460" y="363"/>
                  </a:cubicBezTo>
                  <a:cubicBezTo>
                    <a:pt x="460" y="363"/>
                    <a:pt x="460" y="364"/>
                    <a:pt x="459" y="365"/>
                  </a:cubicBezTo>
                  <a:cubicBezTo>
                    <a:pt x="459" y="365"/>
                    <a:pt x="458" y="366"/>
                    <a:pt x="457" y="366"/>
                  </a:cubicBezTo>
                  <a:cubicBezTo>
                    <a:pt x="456" y="365"/>
                    <a:pt x="455" y="366"/>
                    <a:pt x="455" y="367"/>
                  </a:cubicBezTo>
                  <a:cubicBezTo>
                    <a:pt x="454" y="369"/>
                    <a:pt x="454" y="369"/>
                    <a:pt x="452" y="369"/>
                  </a:cubicBezTo>
                  <a:cubicBezTo>
                    <a:pt x="451" y="369"/>
                    <a:pt x="452" y="368"/>
                    <a:pt x="452" y="368"/>
                  </a:cubicBezTo>
                  <a:cubicBezTo>
                    <a:pt x="451" y="368"/>
                    <a:pt x="449" y="368"/>
                    <a:pt x="449" y="368"/>
                  </a:cubicBezTo>
                  <a:cubicBezTo>
                    <a:pt x="449" y="369"/>
                    <a:pt x="449" y="369"/>
                    <a:pt x="449" y="369"/>
                  </a:cubicBezTo>
                  <a:cubicBezTo>
                    <a:pt x="448" y="370"/>
                    <a:pt x="448" y="370"/>
                    <a:pt x="447" y="370"/>
                  </a:cubicBezTo>
                  <a:cubicBezTo>
                    <a:pt x="445" y="370"/>
                    <a:pt x="444" y="372"/>
                    <a:pt x="444" y="372"/>
                  </a:cubicBezTo>
                  <a:cubicBezTo>
                    <a:pt x="444" y="374"/>
                    <a:pt x="444" y="376"/>
                    <a:pt x="443" y="377"/>
                  </a:cubicBezTo>
                  <a:cubicBezTo>
                    <a:pt x="444" y="378"/>
                    <a:pt x="444" y="378"/>
                    <a:pt x="444" y="378"/>
                  </a:cubicBezTo>
                  <a:cubicBezTo>
                    <a:pt x="444" y="378"/>
                    <a:pt x="445" y="377"/>
                    <a:pt x="445" y="377"/>
                  </a:cubicBezTo>
                  <a:cubicBezTo>
                    <a:pt x="445" y="377"/>
                    <a:pt x="445" y="376"/>
                    <a:pt x="445" y="376"/>
                  </a:cubicBezTo>
                  <a:cubicBezTo>
                    <a:pt x="445" y="376"/>
                    <a:pt x="445" y="375"/>
                    <a:pt x="445" y="375"/>
                  </a:cubicBezTo>
                  <a:cubicBezTo>
                    <a:pt x="445" y="374"/>
                    <a:pt x="445" y="374"/>
                    <a:pt x="445" y="374"/>
                  </a:cubicBezTo>
                  <a:cubicBezTo>
                    <a:pt x="447" y="373"/>
                    <a:pt x="447" y="373"/>
                    <a:pt x="447" y="373"/>
                  </a:cubicBezTo>
                  <a:cubicBezTo>
                    <a:pt x="448" y="373"/>
                    <a:pt x="448" y="373"/>
                    <a:pt x="452" y="373"/>
                  </a:cubicBezTo>
                  <a:cubicBezTo>
                    <a:pt x="452" y="374"/>
                    <a:pt x="452" y="374"/>
                    <a:pt x="452" y="375"/>
                  </a:cubicBezTo>
                  <a:cubicBezTo>
                    <a:pt x="451" y="377"/>
                    <a:pt x="451" y="377"/>
                    <a:pt x="452" y="378"/>
                  </a:cubicBezTo>
                  <a:cubicBezTo>
                    <a:pt x="452" y="378"/>
                    <a:pt x="452" y="378"/>
                    <a:pt x="452" y="378"/>
                  </a:cubicBezTo>
                  <a:cubicBezTo>
                    <a:pt x="453" y="378"/>
                    <a:pt x="453" y="378"/>
                    <a:pt x="454" y="378"/>
                  </a:cubicBezTo>
                  <a:cubicBezTo>
                    <a:pt x="454" y="379"/>
                    <a:pt x="455" y="379"/>
                    <a:pt x="455" y="379"/>
                  </a:cubicBezTo>
                  <a:cubicBezTo>
                    <a:pt x="456" y="380"/>
                    <a:pt x="456" y="380"/>
                    <a:pt x="456" y="380"/>
                  </a:cubicBezTo>
                  <a:cubicBezTo>
                    <a:pt x="457" y="380"/>
                    <a:pt x="457" y="380"/>
                    <a:pt x="457" y="381"/>
                  </a:cubicBezTo>
                  <a:cubicBezTo>
                    <a:pt x="457" y="381"/>
                    <a:pt x="457" y="381"/>
                    <a:pt x="457" y="382"/>
                  </a:cubicBezTo>
                  <a:cubicBezTo>
                    <a:pt x="457" y="382"/>
                    <a:pt x="458" y="382"/>
                    <a:pt x="458" y="382"/>
                  </a:cubicBezTo>
                  <a:cubicBezTo>
                    <a:pt x="458" y="382"/>
                    <a:pt x="459" y="382"/>
                    <a:pt x="459" y="382"/>
                  </a:cubicBezTo>
                  <a:cubicBezTo>
                    <a:pt x="460" y="382"/>
                    <a:pt x="460" y="382"/>
                    <a:pt x="460" y="382"/>
                  </a:cubicBezTo>
                  <a:cubicBezTo>
                    <a:pt x="460" y="382"/>
                    <a:pt x="460" y="381"/>
                    <a:pt x="460" y="380"/>
                  </a:cubicBezTo>
                  <a:cubicBezTo>
                    <a:pt x="460" y="379"/>
                    <a:pt x="460" y="379"/>
                    <a:pt x="459" y="379"/>
                  </a:cubicBezTo>
                  <a:cubicBezTo>
                    <a:pt x="459" y="379"/>
                    <a:pt x="459" y="379"/>
                    <a:pt x="459" y="376"/>
                  </a:cubicBezTo>
                  <a:cubicBezTo>
                    <a:pt x="459" y="376"/>
                    <a:pt x="459" y="375"/>
                    <a:pt x="460" y="375"/>
                  </a:cubicBezTo>
                  <a:cubicBezTo>
                    <a:pt x="460" y="375"/>
                    <a:pt x="460" y="375"/>
                    <a:pt x="461" y="375"/>
                  </a:cubicBezTo>
                  <a:cubicBezTo>
                    <a:pt x="461" y="375"/>
                    <a:pt x="461" y="376"/>
                    <a:pt x="462" y="376"/>
                  </a:cubicBezTo>
                  <a:cubicBezTo>
                    <a:pt x="463" y="376"/>
                    <a:pt x="463" y="376"/>
                    <a:pt x="463" y="376"/>
                  </a:cubicBezTo>
                  <a:moveTo>
                    <a:pt x="453" y="363"/>
                  </a:moveTo>
                  <a:cubicBezTo>
                    <a:pt x="453" y="362"/>
                    <a:pt x="453" y="361"/>
                    <a:pt x="453" y="360"/>
                  </a:cubicBezTo>
                  <a:cubicBezTo>
                    <a:pt x="453" y="359"/>
                    <a:pt x="453" y="359"/>
                    <a:pt x="452" y="358"/>
                  </a:cubicBezTo>
                  <a:cubicBezTo>
                    <a:pt x="451" y="358"/>
                    <a:pt x="451" y="358"/>
                    <a:pt x="450" y="358"/>
                  </a:cubicBezTo>
                  <a:cubicBezTo>
                    <a:pt x="449" y="357"/>
                    <a:pt x="450" y="356"/>
                    <a:pt x="450" y="355"/>
                  </a:cubicBezTo>
                  <a:cubicBezTo>
                    <a:pt x="450" y="355"/>
                    <a:pt x="448" y="354"/>
                    <a:pt x="448" y="354"/>
                  </a:cubicBezTo>
                  <a:cubicBezTo>
                    <a:pt x="447" y="354"/>
                    <a:pt x="447" y="354"/>
                    <a:pt x="447" y="354"/>
                  </a:cubicBezTo>
                  <a:cubicBezTo>
                    <a:pt x="447" y="353"/>
                    <a:pt x="447" y="353"/>
                    <a:pt x="447" y="352"/>
                  </a:cubicBezTo>
                  <a:cubicBezTo>
                    <a:pt x="446" y="352"/>
                    <a:pt x="446" y="352"/>
                    <a:pt x="446" y="351"/>
                  </a:cubicBezTo>
                  <a:cubicBezTo>
                    <a:pt x="447" y="349"/>
                    <a:pt x="447" y="349"/>
                    <a:pt x="445" y="348"/>
                  </a:cubicBezTo>
                  <a:cubicBezTo>
                    <a:pt x="444" y="347"/>
                    <a:pt x="443" y="347"/>
                    <a:pt x="442" y="346"/>
                  </a:cubicBezTo>
                  <a:cubicBezTo>
                    <a:pt x="442" y="345"/>
                    <a:pt x="442" y="344"/>
                    <a:pt x="441" y="344"/>
                  </a:cubicBezTo>
                  <a:cubicBezTo>
                    <a:pt x="441" y="344"/>
                    <a:pt x="441" y="344"/>
                    <a:pt x="441" y="344"/>
                  </a:cubicBezTo>
                  <a:cubicBezTo>
                    <a:pt x="441" y="344"/>
                    <a:pt x="441" y="344"/>
                    <a:pt x="439" y="344"/>
                  </a:cubicBezTo>
                  <a:cubicBezTo>
                    <a:pt x="439" y="348"/>
                    <a:pt x="440" y="348"/>
                    <a:pt x="443" y="348"/>
                  </a:cubicBezTo>
                  <a:cubicBezTo>
                    <a:pt x="443" y="351"/>
                    <a:pt x="443" y="351"/>
                    <a:pt x="443" y="352"/>
                  </a:cubicBezTo>
                  <a:cubicBezTo>
                    <a:pt x="443" y="352"/>
                    <a:pt x="444" y="354"/>
                    <a:pt x="444" y="355"/>
                  </a:cubicBezTo>
                  <a:cubicBezTo>
                    <a:pt x="443" y="357"/>
                    <a:pt x="443" y="357"/>
                    <a:pt x="443" y="357"/>
                  </a:cubicBezTo>
                  <a:cubicBezTo>
                    <a:pt x="444" y="360"/>
                    <a:pt x="447" y="360"/>
                    <a:pt x="448" y="359"/>
                  </a:cubicBezTo>
                  <a:cubicBezTo>
                    <a:pt x="447" y="360"/>
                    <a:pt x="447" y="360"/>
                    <a:pt x="447" y="360"/>
                  </a:cubicBezTo>
                  <a:cubicBezTo>
                    <a:pt x="446" y="362"/>
                    <a:pt x="446" y="362"/>
                    <a:pt x="446" y="362"/>
                  </a:cubicBezTo>
                  <a:cubicBezTo>
                    <a:pt x="446" y="363"/>
                    <a:pt x="446" y="363"/>
                    <a:pt x="447" y="364"/>
                  </a:cubicBezTo>
                  <a:cubicBezTo>
                    <a:pt x="448" y="365"/>
                    <a:pt x="450" y="365"/>
                    <a:pt x="450" y="365"/>
                  </a:cubicBezTo>
                  <a:cubicBezTo>
                    <a:pt x="450" y="364"/>
                    <a:pt x="450" y="364"/>
                    <a:pt x="450" y="363"/>
                  </a:cubicBezTo>
                  <a:cubicBezTo>
                    <a:pt x="451" y="363"/>
                    <a:pt x="451" y="363"/>
                    <a:pt x="453" y="363"/>
                  </a:cubicBezTo>
                  <a:moveTo>
                    <a:pt x="461" y="354"/>
                  </a:moveTo>
                  <a:cubicBezTo>
                    <a:pt x="461" y="354"/>
                    <a:pt x="461" y="354"/>
                    <a:pt x="461" y="354"/>
                  </a:cubicBezTo>
                  <a:cubicBezTo>
                    <a:pt x="461" y="352"/>
                    <a:pt x="461" y="351"/>
                    <a:pt x="460" y="350"/>
                  </a:cubicBezTo>
                  <a:cubicBezTo>
                    <a:pt x="459" y="350"/>
                    <a:pt x="459" y="350"/>
                    <a:pt x="459" y="349"/>
                  </a:cubicBezTo>
                  <a:cubicBezTo>
                    <a:pt x="459" y="349"/>
                    <a:pt x="459" y="349"/>
                    <a:pt x="459" y="348"/>
                  </a:cubicBezTo>
                  <a:cubicBezTo>
                    <a:pt x="457" y="346"/>
                    <a:pt x="456" y="346"/>
                    <a:pt x="456" y="346"/>
                  </a:cubicBezTo>
                  <a:cubicBezTo>
                    <a:pt x="455" y="346"/>
                    <a:pt x="455" y="346"/>
                    <a:pt x="455" y="345"/>
                  </a:cubicBezTo>
                  <a:cubicBezTo>
                    <a:pt x="455" y="345"/>
                    <a:pt x="455" y="345"/>
                    <a:pt x="455" y="344"/>
                  </a:cubicBezTo>
                  <a:cubicBezTo>
                    <a:pt x="455" y="344"/>
                    <a:pt x="455" y="344"/>
                    <a:pt x="455" y="343"/>
                  </a:cubicBezTo>
                  <a:cubicBezTo>
                    <a:pt x="455" y="342"/>
                    <a:pt x="455" y="341"/>
                    <a:pt x="455" y="340"/>
                  </a:cubicBezTo>
                  <a:cubicBezTo>
                    <a:pt x="455" y="340"/>
                    <a:pt x="455" y="341"/>
                    <a:pt x="454" y="341"/>
                  </a:cubicBezTo>
                  <a:cubicBezTo>
                    <a:pt x="454" y="341"/>
                    <a:pt x="454" y="340"/>
                    <a:pt x="453" y="340"/>
                  </a:cubicBezTo>
                  <a:cubicBezTo>
                    <a:pt x="453" y="340"/>
                    <a:pt x="453" y="340"/>
                    <a:pt x="453" y="340"/>
                  </a:cubicBezTo>
                  <a:cubicBezTo>
                    <a:pt x="452" y="340"/>
                    <a:pt x="452" y="340"/>
                    <a:pt x="452" y="340"/>
                  </a:cubicBezTo>
                  <a:cubicBezTo>
                    <a:pt x="451" y="340"/>
                    <a:pt x="450" y="341"/>
                    <a:pt x="450" y="341"/>
                  </a:cubicBezTo>
                  <a:cubicBezTo>
                    <a:pt x="450" y="341"/>
                    <a:pt x="450" y="342"/>
                    <a:pt x="449" y="342"/>
                  </a:cubicBezTo>
                  <a:cubicBezTo>
                    <a:pt x="449" y="342"/>
                    <a:pt x="447" y="343"/>
                    <a:pt x="446" y="343"/>
                  </a:cubicBezTo>
                  <a:cubicBezTo>
                    <a:pt x="447" y="343"/>
                    <a:pt x="449" y="345"/>
                    <a:pt x="449" y="345"/>
                  </a:cubicBezTo>
                  <a:cubicBezTo>
                    <a:pt x="450" y="346"/>
                    <a:pt x="450" y="346"/>
                    <a:pt x="450" y="346"/>
                  </a:cubicBezTo>
                  <a:cubicBezTo>
                    <a:pt x="451" y="346"/>
                    <a:pt x="451" y="346"/>
                    <a:pt x="451" y="346"/>
                  </a:cubicBezTo>
                  <a:cubicBezTo>
                    <a:pt x="451" y="346"/>
                    <a:pt x="451" y="346"/>
                    <a:pt x="451" y="347"/>
                  </a:cubicBezTo>
                  <a:cubicBezTo>
                    <a:pt x="451" y="347"/>
                    <a:pt x="452" y="347"/>
                    <a:pt x="452" y="348"/>
                  </a:cubicBezTo>
                  <a:cubicBezTo>
                    <a:pt x="453" y="349"/>
                    <a:pt x="452" y="350"/>
                    <a:pt x="453" y="351"/>
                  </a:cubicBezTo>
                  <a:cubicBezTo>
                    <a:pt x="453" y="352"/>
                    <a:pt x="454" y="352"/>
                    <a:pt x="454" y="352"/>
                  </a:cubicBezTo>
                  <a:cubicBezTo>
                    <a:pt x="455" y="352"/>
                    <a:pt x="455" y="353"/>
                    <a:pt x="456" y="354"/>
                  </a:cubicBezTo>
                  <a:cubicBezTo>
                    <a:pt x="456" y="354"/>
                    <a:pt x="456" y="354"/>
                    <a:pt x="456" y="354"/>
                  </a:cubicBezTo>
                  <a:cubicBezTo>
                    <a:pt x="456" y="354"/>
                    <a:pt x="456" y="354"/>
                    <a:pt x="457" y="355"/>
                  </a:cubicBezTo>
                  <a:cubicBezTo>
                    <a:pt x="457" y="355"/>
                    <a:pt x="457" y="355"/>
                    <a:pt x="457" y="357"/>
                  </a:cubicBezTo>
                  <a:cubicBezTo>
                    <a:pt x="458" y="357"/>
                    <a:pt x="460" y="357"/>
                    <a:pt x="461" y="357"/>
                  </a:cubicBezTo>
                  <a:cubicBezTo>
                    <a:pt x="461" y="356"/>
                    <a:pt x="461" y="356"/>
                    <a:pt x="461" y="354"/>
                  </a:cubicBezTo>
                  <a:moveTo>
                    <a:pt x="437" y="348"/>
                  </a:moveTo>
                  <a:cubicBezTo>
                    <a:pt x="437" y="348"/>
                    <a:pt x="437" y="348"/>
                    <a:pt x="437" y="348"/>
                  </a:cubicBezTo>
                  <a:cubicBezTo>
                    <a:pt x="437" y="349"/>
                    <a:pt x="437" y="349"/>
                    <a:pt x="436" y="349"/>
                  </a:cubicBezTo>
                  <a:cubicBezTo>
                    <a:pt x="435" y="351"/>
                    <a:pt x="435" y="351"/>
                    <a:pt x="435" y="352"/>
                  </a:cubicBezTo>
                  <a:cubicBezTo>
                    <a:pt x="435" y="352"/>
                    <a:pt x="435" y="352"/>
                    <a:pt x="434" y="354"/>
                  </a:cubicBezTo>
                  <a:cubicBezTo>
                    <a:pt x="433" y="355"/>
                    <a:pt x="433" y="355"/>
                    <a:pt x="433" y="355"/>
                  </a:cubicBezTo>
                  <a:cubicBezTo>
                    <a:pt x="432" y="356"/>
                    <a:pt x="432" y="357"/>
                    <a:pt x="432" y="357"/>
                  </a:cubicBezTo>
                  <a:cubicBezTo>
                    <a:pt x="431" y="358"/>
                    <a:pt x="431" y="358"/>
                    <a:pt x="431" y="358"/>
                  </a:cubicBezTo>
                  <a:cubicBezTo>
                    <a:pt x="431" y="358"/>
                    <a:pt x="431" y="358"/>
                    <a:pt x="431" y="359"/>
                  </a:cubicBezTo>
                  <a:cubicBezTo>
                    <a:pt x="431" y="359"/>
                    <a:pt x="431" y="360"/>
                    <a:pt x="430" y="360"/>
                  </a:cubicBezTo>
                  <a:cubicBezTo>
                    <a:pt x="430" y="361"/>
                    <a:pt x="430" y="361"/>
                    <a:pt x="429" y="362"/>
                  </a:cubicBezTo>
                  <a:cubicBezTo>
                    <a:pt x="429" y="362"/>
                    <a:pt x="429" y="363"/>
                    <a:pt x="429" y="363"/>
                  </a:cubicBezTo>
                  <a:cubicBezTo>
                    <a:pt x="428" y="364"/>
                    <a:pt x="427" y="363"/>
                    <a:pt x="427" y="364"/>
                  </a:cubicBezTo>
                  <a:cubicBezTo>
                    <a:pt x="426" y="364"/>
                    <a:pt x="426" y="366"/>
                    <a:pt x="424" y="366"/>
                  </a:cubicBezTo>
                  <a:cubicBezTo>
                    <a:pt x="423" y="366"/>
                    <a:pt x="423" y="367"/>
                    <a:pt x="422" y="369"/>
                  </a:cubicBezTo>
                  <a:cubicBezTo>
                    <a:pt x="422" y="369"/>
                    <a:pt x="422" y="369"/>
                    <a:pt x="422" y="369"/>
                  </a:cubicBezTo>
                  <a:cubicBezTo>
                    <a:pt x="423" y="369"/>
                    <a:pt x="427" y="369"/>
                    <a:pt x="426" y="366"/>
                  </a:cubicBezTo>
                  <a:cubicBezTo>
                    <a:pt x="426" y="366"/>
                    <a:pt x="426" y="363"/>
                    <a:pt x="432" y="363"/>
                  </a:cubicBezTo>
                  <a:cubicBezTo>
                    <a:pt x="432" y="358"/>
                    <a:pt x="435" y="357"/>
                    <a:pt x="435" y="356"/>
                  </a:cubicBezTo>
                  <a:cubicBezTo>
                    <a:pt x="436" y="356"/>
                    <a:pt x="436" y="356"/>
                    <a:pt x="436" y="356"/>
                  </a:cubicBezTo>
                  <a:cubicBezTo>
                    <a:pt x="437" y="348"/>
                    <a:pt x="437" y="348"/>
                    <a:pt x="437" y="348"/>
                  </a:cubicBezTo>
                  <a:moveTo>
                    <a:pt x="448" y="325"/>
                  </a:moveTo>
                  <a:cubicBezTo>
                    <a:pt x="448" y="325"/>
                    <a:pt x="448" y="325"/>
                    <a:pt x="448" y="325"/>
                  </a:cubicBezTo>
                  <a:cubicBezTo>
                    <a:pt x="448" y="324"/>
                    <a:pt x="448" y="324"/>
                    <a:pt x="448" y="324"/>
                  </a:cubicBezTo>
                  <a:cubicBezTo>
                    <a:pt x="448" y="323"/>
                    <a:pt x="448" y="323"/>
                    <a:pt x="448" y="323"/>
                  </a:cubicBezTo>
                  <a:cubicBezTo>
                    <a:pt x="447" y="322"/>
                    <a:pt x="447" y="322"/>
                    <a:pt x="447" y="322"/>
                  </a:cubicBezTo>
                  <a:cubicBezTo>
                    <a:pt x="447" y="322"/>
                    <a:pt x="447" y="322"/>
                    <a:pt x="447" y="322"/>
                  </a:cubicBezTo>
                  <a:cubicBezTo>
                    <a:pt x="447" y="321"/>
                    <a:pt x="447" y="321"/>
                    <a:pt x="447" y="321"/>
                  </a:cubicBezTo>
                  <a:cubicBezTo>
                    <a:pt x="447" y="321"/>
                    <a:pt x="447" y="321"/>
                    <a:pt x="447" y="321"/>
                  </a:cubicBezTo>
                  <a:cubicBezTo>
                    <a:pt x="447" y="320"/>
                    <a:pt x="447" y="320"/>
                    <a:pt x="447" y="320"/>
                  </a:cubicBezTo>
                  <a:cubicBezTo>
                    <a:pt x="446" y="320"/>
                    <a:pt x="446" y="320"/>
                    <a:pt x="446" y="320"/>
                  </a:cubicBezTo>
                  <a:cubicBezTo>
                    <a:pt x="446" y="319"/>
                    <a:pt x="446" y="319"/>
                    <a:pt x="446" y="319"/>
                  </a:cubicBezTo>
                  <a:cubicBezTo>
                    <a:pt x="445" y="319"/>
                    <a:pt x="445" y="319"/>
                    <a:pt x="445" y="319"/>
                  </a:cubicBezTo>
                  <a:cubicBezTo>
                    <a:pt x="445" y="318"/>
                    <a:pt x="445" y="318"/>
                    <a:pt x="445" y="318"/>
                  </a:cubicBezTo>
                  <a:cubicBezTo>
                    <a:pt x="444" y="318"/>
                    <a:pt x="444" y="318"/>
                    <a:pt x="444" y="318"/>
                  </a:cubicBezTo>
                  <a:cubicBezTo>
                    <a:pt x="444" y="318"/>
                    <a:pt x="444" y="318"/>
                    <a:pt x="444" y="318"/>
                  </a:cubicBezTo>
                  <a:cubicBezTo>
                    <a:pt x="444" y="318"/>
                    <a:pt x="444" y="318"/>
                    <a:pt x="444" y="318"/>
                  </a:cubicBezTo>
                  <a:cubicBezTo>
                    <a:pt x="444" y="318"/>
                    <a:pt x="444" y="318"/>
                    <a:pt x="444" y="318"/>
                  </a:cubicBezTo>
                  <a:cubicBezTo>
                    <a:pt x="444" y="318"/>
                    <a:pt x="444" y="318"/>
                    <a:pt x="444" y="318"/>
                  </a:cubicBezTo>
                  <a:cubicBezTo>
                    <a:pt x="444" y="318"/>
                    <a:pt x="444" y="318"/>
                    <a:pt x="444" y="318"/>
                  </a:cubicBezTo>
                  <a:cubicBezTo>
                    <a:pt x="444" y="318"/>
                    <a:pt x="444" y="318"/>
                    <a:pt x="444" y="318"/>
                  </a:cubicBezTo>
                  <a:cubicBezTo>
                    <a:pt x="444" y="318"/>
                    <a:pt x="444" y="318"/>
                    <a:pt x="444" y="318"/>
                  </a:cubicBezTo>
                  <a:cubicBezTo>
                    <a:pt x="444" y="318"/>
                    <a:pt x="444" y="318"/>
                    <a:pt x="444" y="318"/>
                  </a:cubicBezTo>
                  <a:cubicBezTo>
                    <a:pt x="443" y="318"/>
                    <a:pt x="443" y="318"/>
                    <a:pt x="443" y="318"/>
                  </a:cubicBezTo>
                  <a:cubicBezTo>
                    <a:pt x="443" y="318"/>
                    <a:pt x="443" y="318"/>
                    <a:pt x="443" y="318"/>
                  </a:cubicBezTo>
                  <a:cubicBezTo>
                    <a:pt x="443" y="317"/>
                    <a:pt x="443" y="317"/>
                    <a:pt x="443" y="317"/>
                  </a:cubicBezTo>
                  <a:cubicBezTo>
                    <a:pt x="441" y="317"/>
                    <a:pt x="441" y="317"/>
                    <a:pt x="441" y="317"/>
                  </a:cubicBezTo>
                  <a:cubicBezTo>
                    <a:pt x="440" y="317"/>
                    <a:pt x="440" y="317"/>
                    <a:pt x="439" y="317"/>
                  </a:cubicBezTo>
                  <a:cubicBezTo>
                    <a:pt x="439" y="317"/>
                    <a:pt x="439" y="317"/>
                    <a:pt x="439" y="317"/>
                  </a:cubicBezTo>
                  <a:cubicBezTo>
                    <a:pt x="439" y="318"/>
                    <a:pt x="439" y="318"/>
                    <a:pt x="439" y="318"/>
                  </a:cubicBezTo>
                  <a:cubicBezTo>
                    <a:pt x="439" y="318"/>
                    <a:pt x="439" y="318"/>
                    <a:pt x="439" y="318"/>
                  </a:cubicBezTo>
                  <a:cubicBezTo>
                    <a:pt x="439" y="319"/>
                    <a:pt x="439" y="319"/>
                    <a:pt x="439" y="319"/>
                  </a:cubicBezTo>
                  <a:cubicBezTo>
                    <a:pt x="439" y="319"/>
                    <a:pt x="439" y="319"/>
                    <a:pt x="439" y="319"/>
                  </a:cubicBezTo>
                  <a:cubicBezTo>
                    <a:pt x="439" y="320"/>
                    <a:pt x="439" y="320"/>
                    <a:pt x="439" y="320"/>
                  </a:cubicBezTo>
                  <a:cubicBezTo>
                    <a:pt x="439" y="321"/>
                    <a:pt x="439" y="321"/>
                    <a:pt x="439" y="322"/>
                  </a:cubicBezTo>
                  <a:cubicBezTo>
                    <a:pt x="439" y="322"/>
                    <a:pt x="439" y="322"/>
                    <a:pt x="439" y="322"/>
                  </a:cubicBezTo>
                  <a:cubicBezTo>
                    <a:pt x="439" y="323"/>
                    <a:pt x="439" y="323"/>
                    <a:pt x="439" y="323"/>
                  </a:cubicBezTo>
                  <a:cubicBezTo>
                    <a:pt x="439" y="323"/>
                    <a:pt x="438" y="324"/>
                    <a:pt x="439" y="326"/>
                  </a:cubicBezTo>
                  <a:cubicBezTo>
                    <a:pt x="439" y="327"/>
                    <a:pt x="439" y="327"/>
                    <a:pt x="438" y="327"/>
                  </a:cubicBezTo>
                  <a:cubicBezTo>
                    <a:pt x="438" y="328"/>
                    <a:pt x="437" y="328"/>
                    <a:pt x="436" y="329"/>
                  </a:cubicBezTo>
                  <a:cubicBezTo>
                    <a:pt x="435" y="330"/>
                    <a:pt x="435" y="330"/>
                    <a:pt x="435" y="330"/>
                  </a:cubicBezTo>
                  <a:cubicBezTo>
                    <a:pt x="435" y="330"/>
                    <a:pt x="435" y="330"/>
                    <a:pt x="435" y="330"/>
                  </a:cubicBezTo>
                  <a:cubicBezTo>
                    <a:pt x="435" y="331"/>
                    <a:pt x="435" y="331"/>
                    <a:pt x="435" y="331"/>
                  </a:cubicBezTo>
                  <a:cubicBezTo>
                    <a:pt x="435" y="331"/>
                    <a:pt x="436" y="332"/>
                    <a:pt x="437" y="333"/>
                  </a:cubicBezTo>
                  <a:cubicBezTo>
                    <a:pt x="438" y="334"/>
                    <a:pt x="439" y="335"/>
                    <a:pt x="439" y="335"/>
                  </a:cubicBezTo>
                  <a:cubicBezTo>
                    <a:pt x="440" y="335"/>
                    <a:pt x="440" y="335"/>
                    <a:pt x="440" y="335"/>
                  </a:cubicBezTo>
                  <a:cubicBezTo>
                    <a:pt x="440" y="335"/>
                    <a:pt x="440" y="335"/>
                    <a:pt x="440" y="335"/>
                  </a:cubicBezTo>
                  <a:cubicBezTo>
                    <a:pt x="439" y="338"/>
                    <a:pt x="440" y="339"/>
                    <a:pt x="440" y="339"/>
                  </a:cubicBezTo>
                  <a:cubicBezTo>
                    <a:pt x="441" y="339"/>
                    <a:pt x="441" y="340"/>
                    <a:pt x="442" y="340"/>
                  </a:cubicBezTo>
                  <a:cubicBezTo>
                    <a:pt x="442" y="340"/>
                    <a:pt x="443" y="340"/>
                    <a:pt x="444" y="340"/>
                  </a:cubicBezTo>
                  <a:cubicBezTo>
                    <a:pt x="444" y="339"/>
                    <a:pt x="444" y="339"/>
                    <a:pt x="444" y="338"/>
                  </a:cubicBezTo>
                  <a:cubicBezTo>
                    <a:pt x="444" y="338"/>
                    <a:pt x="443" y="337"/>
                    <a:pt x="443" y="337"/>
                  </a:cubicBezTo>
                  <a:cubicBezTo>
                    <a:pt x="443" y="336"/>
                    <a:pt x="443" y="335"/>
                    <a:pt x="443" y="334"/>
                  </a:cubicBezTo>
                  <a:cubicBezTo>
                    <a:pt x="444" y="333"/>
                    <a:pt x="445" y="332"/>
                    <a:pt x="445" y="332"/>
                  </a:cubicBezTo>
                  <a:cubicBezTo>
                    <a:pt x="446" y="332"/>
                    <a:pt x="446" y="332"/>
                    <a:pt x="446" y="332"/>
                  </a:cubicBezTo>
                  <a:cubicBezTo>
                    <a:pt x="446" y="331"/>
                    <a:pt x="446" y="331"/>
                    <a:pt x="446" y="331"/>
                  </a:cubicBezTo>
                  <a:cubicBezTo>
                    <a:pt x="446" y="331"/>
                    <a:pt x="446" y="331"/>
                    <a:pt x="446" y="331"/>
                  </a:cubicBezTo>
                  <a:cubicBezTo>
                    <a:pt x="447" y="329"/>
                    <a:pt x="448" y="327"/>
                    <a:pt x="448" y="327"/>
                  </a:cubicBezTo>
                  <a:cubicBezTo>
                    <a:pt x="448" y="326"/>
                    <a:pt x="448" y="326"/>
                    <a:pt x="448" y="326"/>
                  </a:cubicBezTo>
                  <a:cubicBezTo>
                    <a:pt x="448" y="325"/>
                    <a:pt x="448" y="325"/>
                    <a:pt x="448" y="325"/>
                  </a:cubicBezTo>
                  <a:moveTo>
                    <a:pt x="445" y="285"/>
                  </a:moveTo>
                  <a:cubicBezTo>
                    <a:pt x="445" y="285"/>
                    <a:pt x="445" y="285"/>
                    <a:pt x="445" y="284"/>
                  </a:cubicBezTo>
                  <a:cubicBezTo>
                    <a:pt x="445" y="284"/>
                    <a:pt x="445" y="284"/>
                    <a:pt x="445" y="283"/>
                  </a:cubicBezTo>
                  <a:cubicBezTo>
                    <a:pt x="445" y="283"/>
                    <a:pt x="445" y="282"/>
                    <a:pt x="445" y="282"/>
                  </a:cubicBezTo>
                  <a:cubicBezTo>
                    <a:pt x="443" y="282"/>
                    <a:pt x="443" y="282"/>
                    <a:pt x="442" y="282"/>
                  </a:cubicBezTo>
                  <a:cubicBezTo>
                    <a:pt x="442" y="282"/>
                    <a:pt x="442" y="283"/>
                    <a:pt x="441" y="283"/>
                  </a:cubicBezTo>
                  <a:cubicBezTo>
                    <a:pt x="441" y="283"/>
                    <a:pt x="440" y="284"/>
                    <a:pt x="440" y="284"/>
                  </a:cubicBezTo>
                  <a:cubicBezTo>
                    <a:pt x="440" y="284"/>
                    <a:pt x="440" y="284"/>
                    <a:pt x="440" y="284"/>
                  </a:cubicBezTo>
                  <a:cubicBezTo>
                    <a:pt x="439" y="285"/>
                    <a:pt x="439" y="286"/>
                    <a:pt x="439" y="287"/>
                  </a:cubicBezTo>
                  <a:cubicBezTo>
                    <a:pt x="438" y="287"/>
                    <a:pt x="438" y="287"/>
                    <a:pt x="438" y="287"/>
                  </a:cubicBezTo>
                  <a:cubicBezTo>
                    <a:pt x="438" y="287"/>
                    <a:pt x="437" y="289"/>
                    <a:pt x="437" y="290"/>
                  </a:cubicBezTo>
                  <a:cubicBezTo>
                    <a:pt x="437" y="293"/>
                    <a:pt x="437" y="296"/>
                    <a:pt x="437" y="299"/>
                  </a:cubicBezTo>
                  <a:cubicBezTo>
                    <a:pt x="438" y="299"/>
                    <a:pt x="439" y="299"/>
                    <a:pt x="440" y="299"/>
                  </a:cubicBezTo>
                  <a:cubicBezTo>
                    <a:pt x="440" y="296"/>
                    <a:pt x="440" y="296"/>
                    <a:pt x="440" y="295"/>
                  </a:cubicBezTo>
                  <a:cubicBezTo>
                    <a:pt x="441" y="294"/>
                    <a:pt x="441" y="294"/>
                    <a:pt x="441" y="294"/>
                  </a:cubicBezTo>
                  <a:cubicBezTo>
                    <a:pt x="442" y="292"/>
                    <a:pt x="442" y="292"/>
                    <a:pt x="442" y="292"/>
                  </a:cubicBezTo>
                  <a:cubicBezTo>
                    <a:pt x="442" y="292"/>
                    <a:pt x="442" y="292"/>
                    <a:pt x="442" y="292"/>
                  </a:cubicBezTo>
                  <a:cubicBezTo>
                    <a:pt x="442" y="291"/>
                    <a:pt x="443" y="291"/>
                    <a:pt x="443" y="290"/>
                  </a:cubicBezTo>
                  <a:cubicBezTo>
                    <a:pt x="443" y="289"/>
                    <a:pt x="443" y="289"/>
                    <a:pt x="444" y="288"/>
                  </a:cubicBezTo>
                  <a:cubicBezTo>
                    <a:pt x="444" y="288"/>
                    <a:pt x="445" y="287"/>
                    <a:pt x="445" y="286"/>
                  </a:cubicBezTo>
                  <a:cubicBezTo>
                    <a:pt x="445" y="286"/>
                    <a:pt x="445" y="286"/>
                    <a:pt x="445" y="285"/>
                  </a:cubicBezTo>
                  <a:moveTo>
                    <a:pt x="522" y="171"/>
                  </a:moveTo>
                  <a:cubicBezTo>
                    <a:pt x="522" y="171"/>
                    <a:pt x="522" y="171"/>
                    <a:pt x="522" y="171"/>
                  </a:cubicBezTo>
                  <a:cubicBezTo>
                    <a:pt x="521" y="171"/>
                    <a:pt x="521" y="171"/>
                    <a:pt x="521" y="171"/>
                  </a:cubicBezTo>
                  <a:cubicBezTo>
                    <a:pt x="520" y="171"/>
                    <a:pt x="522" y="173"/>
                    <a:pt x="521" y="174"/>
                  </a:cubicBezTo>
                  <a:cubicBezTo>
                    <a:pt x="519" y="175"/>
                    <a:pt x="519" y="175"/>
                    <a:pt x="518" y="175"/>
                  </a:cubicBezTo>
                  <a:cubicBezTo>
                    <a:pt x="517" y="175"/>
                    <a:pt x="517" y="175"/>
                    <a:pt x="517" y="176"/>
                  </a:cubicBezTo>
                  <a:cubicBezTo>
                    <a:pt x="517" y="176"/>
                    <a:pt x="517" y="176"/>
                    <a:pt x="517" y="176"/>
                  </a:cubicBezTo>
                  <a:cubicBezTo>
                    <a:pt x="516" y="176"/>
                    <a:pt x="516" y="176"/>
                    <a:pt x="515" y="176"/>
                  </a:cubicBezTo>
                  <a:cubicBezTo>
                    <a:pt x="515" y="176"/>
                    <a:pt x="515" y="176"/>
                    <a:pt x="515" y="176"/>
                  </a:cubicBezTo>
                  <a:cubicBezTo>
                    <a:pt x="514" y="177"/>
                    <a:pt x="513" y="179"/>
                    <a:pt x="512" y="178"/>
                  </a:cubicBezTo>
                  <a:cubicBezTo>
                    <a:pt x="512" y="178"/>
                    <a:pt x="511" y="178"/>
                    <a:pt x="510" y="177"/>
                  </a:cubicBezTo>
                  <a:cubicBezTo>
                    <a:pt x="508" y="177"/>
                    <a:pt x="507" y="175"/>
                    <a:pt x="506" y="174"/>
                  </a:cubicBezTo>
                  <a:cubicBezTo>
                    <a:pt x="504" y="173"/>
                    <a:pt x="502" y="173"/>
                    <a:pt x="501" y="172"/>
                  </a:cubicBezTo>
                  <a:cubicBezTo>
                    <a:pt x="501" y="175"/>
                    <a:pt x="503" y="177"/>
                    <a:pt x="503" y="180"/>
                  </a:cubicBezTo>
                  <a:cubicBezTo>
                    <a:pt x="502" y="182"/>
                    <a:pt x="504" y="184"/>
                    <a:pt x="502" y="186"/>
                  </a:cubicBezTo>
                  <a:cubicBezTo>
                    <a:pt x="502" y="186"/>
                    <a:pt x="501" y="185"/>
                    <a:pt x="501" y="184"/>
                  </a:cubicBezTo>
                  <a:cubicBezTo>
                    <a:pt x="501" y="185"/>
                    <a:pt x="501" y="186"/>
                    <a:pt x="501" y="186"/>
                  </a:cubicBezTo>
                  <a:cubicBezTo>
                    <a:pt x="500" y="186"/>
                    <a:pt x="500" y="186"/>
                    <a:pt x="500" y="186"/>
                  </a:cubicBezTo>
                  <a:cubicBezTo>
                    <a:pt x="498" y="187"/>
                    <a:pt x="500" y="192"/>
                    <a:pt x="503" y="194"/>
                  </a:cubicBezTo>
                  <a:cubicBezTo>
                    <a:pt x="503" y="194"/>
                    <a:pt x="504" y="194"/>
                    <a:pt x="504" y="194"/>
                  </a:cubicBezTo>
                  <a:cubicBezTo>
                    <a:pt x="505" y="193"/>
                    <a:pt x="505" y="193"/>
                    <a:pt x="505" y="193"/>
                  </a:cubicBezTo>
                  <a:cubicBezTo>
                    <a:pt x="505" y="194"/>
                    <a:pt x="505" y="195"/>
                    <a:pt x="505" y="195"/>
                  </a:cubicBezTo>
                  <a:cubicBezTo>
                    <a:pt x="504" y="196"/>
                    <a:pt x="503" y="196"/>
                    <a:pt x="503" y="196"/>
                  </a:cubicBezTo>
                  <a:cubicBezTo>
                    <a:pt x="503" y="196"/>
                    <a:pt x="503" y="197"/>
                    <a:pt x="503" y="198"/>
                  </a:cubicBezTo>
                  <a:cubicBezTo>
                    <a:pt x="503" y="198"/>
                    <a:pt x="503" y="198"/>
                    <a:pt x="503" y="199"/>
                  </a:cubicBezTo>
                  <a:cubicBezTo>
                    <a:pt x="504" y="200"/>
                    <a:pt x="504" y="201"/>
                    <a:pt x="504" y="203"/>
                  </a:cubicBezTo>
                  <a:cubicBezTo>
                    <a:pt x="504" y="204"/>
                    <a:pt x="505" y="205"/>
                    <a:pt x="505" y="206"/>
                  </a:cubicBezTo>
                  <a:cubicBezTo>
                    <a:pt x="506" y="209"/>
                    <a:pt x="506" y="209"/>
                    <a:pt x="504" y="210"/>
                  </a:cubicBezTo>
                  <a:cubicBezTo>
                    <a:pt x="503" y="211"/>
                    <a:pt x="503" y="213"/>
                    <a:pt x="502" y="215"/>
                  </a:cubicBezTo>
                  <a:cubicBezTo>
                    <a:pt x="501" y="214"/>
                    <a:pt x="501" y="213"/>
                    <a:pt x="501" y="212"/>
                  </a:cubicBezTo>
                  <a:cubicBezTo>
                    <a:pt x="501" y="212"/>
                    <a:pt x="501" y="212"/>
                    <a:pt x="501" y="212"/>
                  </a:cubicBezTo>
                  <a:cubicBezTo>
                    <a:pt x="501" y="214"/>
                    <a:pt x="501" y="214"/>
                    <a:pt x="501" y="215"/>
                  </a:cubicBezTo>
                  <a:cubicBezTo>
                    <a:pt x="500" y="215"/>
                    <a:pt x="499" y="215"/>
                    <a:pt x="498" y="215"/>
                  </a:cubicBezTo>
                  <a:cubicBezTo>
                    <a:pt x="498" y="216"/>
                    <a:pt x="499" y="218"/>
                    <a:pt x="499" y="219"/>
                  </a:cubicBezTo>
                  <a:cubicBezTo>
                    <a:pt x="498" y="219"/>
                    <a:pt x="497" y="219"/>
                    <a:pt x="496" y="216"/>
                  </a:cubicBezTo>
                  <a:cubicBezTo>
                    <a:pt x="496" y="216"/>
                    <a:pt x="496" y="216"/>
                    <a:pt x="496" y="216"/>
                  </a:cubicBezTo>
                  <a:cubicBezTo>
                    <a:pt x="495" y="217"/>
                    <a:pt x="495" y="217"/>
                    <a:pt x="495" y="217"/>
                  </a:cubicBezTo>
                  <a:cubicBezTo>
                    <a:pt x="496" y="218"/>
                    <a:pt x="496" y="218"/>
                    <a:pt x="496" y="218"/>
                  </a:cubicBezTo>
                  <a:cubicBezTo>
                    <a:pt x="496" y="220"/>
                    <a:pt x="496" y="220"/>
                    <a:pt x="494" y="220"/>
                  </a:cubicBezTo>
                  <a:cubicBezTo>
                    <a:pt x="494" y="222"/>
                    <a:pt x="494" y="224"/>
                    <a:pt x="495" y="226"/>
                  </a:cubicBezTo>
                  <a:cubicBezTo>
                    <a:pt x="493" y="226"/>
                    <a:pt x="493" y="226"/>
                    <a:pt x="493" y="226"/>
                  </a:cubicBezTo>
                  <a:cubicBezTo>
                    <a:pt x="493" y="226"/>
                    <a:pt x="492" y="226"/>
                    <a:pt x="492" y="226"/>
                  </a:cubicBezTo>
                  <a:cubicBezTo>
                    <a:pt x="491" y="223"/>
                    <a:pt x="490" y="224"/>
                    <a:pt x="490" y="224"/>
                  </a:cubicBezTo>
                  <a:cubicBezTo>
                    <a:pt x="489" y="227"/>
                    <a:pt x="485" y="226"/>
                    <a:pt x="483" y="226"/>
                  </a:cubicBezTo>
                  <a:cubicBezTo>
                    <a:pt x="479" y="228"/>
                    <a:pt x="479" y="228"/>
                    <a:pt x="480" y="233"/>
                  </a:cubicBezTo>
                  <a:cubicBezTo>
                    <a:pt x="478" y="233"/>
                    <a:pt x="477" y="233"/>
                    <a:pt x="476" y="233"/>
                  </a:cubicBezTo>
                  <a:cubicBezTo>
                    <a:pt x="476" y="234"/>
                    <a:pt x="476" y="234"/>
                    <a:pt x="476" y="236"/>
                  </a:cubicBezTo>
                  <a:cubicBezTo>
                    <a:pt x="475" y="236"/>
                    <a:pt x="474" y="236"/>
                    <a:pt x="474" y="237"/>
                  </a:cubicBezTo>
                  <a:cubicBezTo>
                    <a:pt x="470" y="243"/>
                    <a:pt x="474" y="242"/>
                    <a:pt x="477" y="242"/>
                  </a:cubicBezTo>
                  <a:cubicBezTo>
                    <a:pt x="477" y="241"/>
                    <a:pt x="477" y="241"/>
                    <a:pt x="477" y="241"/>
                  </a:cubicBezTo>
                  <a:cubicBezTo>
                    <a:pt x="478" y="243"/>
                    <a:pt x="478" y="243"/>
                    <a:pt x="477" y="244"/>
                  </a:cubicBezTo>
                  <a:cubicBezTo>
                    <a:pt x="476" y="247"/>
                    <a:pt x="475" y="250"/>
                    <a:pt x="479" y="250"/>
                  </a:cubicBezTo>
                  <a:cubicBezTo>
                    <a:pt x="479" y="250"/>
                    <a:pt x="480" y="250"/>
                    <a:pt x="480" y="250"/>
                  </a:cubicBezTo>
                  <a:cubicBezTo>
                    <a:pt x="480" y="246"/>
                    <a:pt x="480" y="246"/>
                    <a:pt x="482" y="244"/>
                  </a:cubicBezTo>
                  <a:cubicBezTo>
                    <a:pt x="483" y="244"/>
                    <a:pt x="483" y="243"/>
                    <a:pt x="483" y="243"/>
                  </a:cubicBezTo>
                  <a:cubicBezTo>
                    <a:pt x="483" y="241"/>
                    <a:pt x="481" y="239"/>
                    <a:pt x="481" y="237"/>
                  </a:cubicBezTo>
                  <a:cubicBezTo>
                    <a:pt x="480" y="237"/>
                    <a:pt x="479" y="238"/>
                    <a:pt x="478" y="237"/>
                  </a:cubicBezTo>
                  <a:cubicBezTo>
                    <a:pt x="478" y="237"/>
                    <a:pt x="478" y="236"/>
                    <a:pt x="478" y="236"/>
                  </a:cubicBezTo>
                  <a:cubicBezTo>
                    <a:pt x="480" y="235"/>
                    <a:pt x="480" y="235"/>
                    <a:pt x="481" y="235"/>
                  </a:cubicBezTo>
                  <a:cubicBezTo>
                    <a:pt x="484" y="235"/>
                    <a:pt x="485" y="233"/>
                    <a:pt x="487" y="232"/>
                  </a:cubicBezTo>
                  <a:cubicBezTo>
                    <a:pt x="489" y="231"/>
                    <a:pt x="491" y="232"/>
                    <a:pt x="493" y="231"/>
                  </a:cubicBezTo>
                  <a:cubicBezTo>
                    <a:pt x="493" y="231"/>
                    <a:pt x="493" y="231"/>
                    <a:pt x="493" y="231"/>
                  </a:cubicBezTo>
                  <a:cubicBezTo>
                    <a:pt x="493" y="231"/>
                    <a:pt x="493" y="231"/>
                    <a:pt x="493" y="232"/>
                  </a:cubicBezTo>
                  <a:cubicBezTo>
                    <a:pt x="492" y="232"/>
                    <a:pt x="491" y="231"/>
                    <a:pt x="490" y="232"/>
                  </a:cubicBezTo>
                  <a:cubicBezTo>
                    <a:pt x="489" y="232"/>
                    <a:pt x="489" y="233"/>
                    <a:pt x="488" y="234"/>
                  </a:cubicBezTo>
                  <a:cubicBezTo>
                    <a:pt x="487" y="234"/>
                    <a:pt x="487" y="234"/>
                    <a:pt x="487" y="234"/>
                  </a:cubicBezTo>
                  <a:cubicBezTo>
                    <a:pt x="486" y="234"/>
                    <a:pt x="485" y="234"/>
                    <a:pt x="483" y="234"/>
                  </a:cubicBezTo>
                  <a:cubicBezTo>
                    <a:pt x="484" y="236"/>
                    <a:pt x="484" y="238"/>
                    <a:pt x="485" y="241"/>
                  </a:cubicBezTo>
                  <a:cubicBezTo>
                    <a:pt x="485" y="241"/>
                    <a:pt x="486" y="241"/>
                    <a:pt x="486" y="241"/>
                  </a:cubicBezTo>
                  <a:cubicBezTo>
                    <a:pt x="487" y="240"/>
                    <a:pt x="488" y="239"/>
                    <a:pt x="488" y="239"/>
                  </a:cubicBezTo>
                  <a:cubicBezTo>
                    <a:pt x="489" y="238"/>
                    <a:pt x="489" y="237"/>
                    <a:pt x="490" y="237"/>
                  </a:cubicBezTo>
                  <a:cubicBezTo>
                    <a:pt x="490" y="236"/>
                    <a:pt x="492" y="237"/>
                    <a:pt x="493" y="236"/>
                  </a:cubicBezTo>
                  <a:cubicBezTo>
                    <a:pt x="493" y="235"/>
                    <a:pt x="493" y="234"/>
                    <a:pt x="493" y="234"/>
                  </a:cubicBezTo>
                  <a:cubicBezTo>
                    <a:pt x="493" y="234"/>
                    <a:pt x="493" y="234"/>
                    <a:pt x="493" y="234"/>
                  </a:cubicBezTo>
                  <a:cubicBezTo>
                    <a:pt x="496" y="236"/>
                    <a:pt x="496" y="236"/>
                    <a:pt x="496" y="236"/>
                  </a:cubicBezTo>
                  <a:cubicBezTo>
                    <a:pt x="498" y="236"/>
                    <a:pt x="498" y="234"/>
                    <a:pt x="499" y="234"/>
                  </a:cubicBezTo>
                  <a:cubicBezTo>
                    <a:pt x="500" y="233"/>
                    <a:pt x="500" y="233"/>
                    <a:pt x="499" y="230"/>
                  </a:cubicBezTo>
                  <a:cubicBezTo>
                    <a:pt x="499" y="229"/>
                    <a:pt x="499" y="229"/>
                    <a:pt x="499" y="229"/>
                  </a:cubicBezTo>
                  <a:cubicBezTo>
                    <a:pt x="502" y="229"/>
                    <a:pt x="506" y="229"/>
                    <a:pt x="508" y="229"/>
                  </a:cubicBezTo>
                  <a:cubicBezTo>
                    <a:pt x="509" y="227"/>
                    <a:pt x="513" y="227"/>
                    <a:pt x="512" y="225"/>
                  </a:cubicBezTo>
                  <a:cubicBezTo>
                    <a:pt x="512" y="223"/>
                    <a:pt x="512" y="221"/>
                    <a:pt x="511" y="220"/>
                  </a:cubicBezTo>
                  <a:cubicBezTo>
                    <a:pt x="511" y="219"/>
                    <a:pt x="512" y="217"/>
                    <a:pt x="512" y="216"/>
                  </a:cubicBezTo>
                  <a:cubicBezTo>
                    <a:pt x="512" y="215"/>
                    <a:pt x="512" y="215"/>
                    <a:pt x="512" y="215"/>
                  </a:cubicBezTo>
                  <a:cubicBezTo>
                    <a:pt x="511" y="214"/>
                    <a:pt x="511" y="214"/>
                    <a:pt x="511" y="213"/>
                  </a:cubicBezTo>
                  <a:cubicBezTo>
                    <a:pt x="511" y="212"/>
                    <a:pt x="511" y="212"/>
                    <a:pt x="511" y="211"/>
                  </a:cubicBezTo>
                  <a:cubicBezTo>
                    <a:pt x="510" y="210"/>
                    <a:pt x="510" y="210"/>
                    <a:pt x="511" y="209"/>
                  </a:cubicBezTo>
                  <a:cubicBezTo>
                    <a:pt x="511" y="208"/>
                    <a:pt x="512" y="201"/>
                    <a:pt x="510" y="198"/>
                  </a:cubicBezTo>
                  <a:cubicBezTo>
                    <a:pt x="510" y="198"/>
                    <a:pt x="506" y="190"/>
                    <a:pt x="502" y="189"/>
                  </a:cubicBezTo>
                  <a:cubicBezTo>
                    <a:pt x="502" y="189"/>
                    <a:pt x="502" y="188"/>
                    <a:pt x="502" y="188"/>
                  </a:cubicBezTo>
                  <a:cubicBezTo>
                    <a:pt x="503" y="188"/>
                    <a:pt x="504" y="188"/>
                    <a:pt x="505" y="188"/>
                  </a:cubicBezTo>
                  <a:cubicBezTo>
                    <a:pt x="506" y="187"/>
                    <a:pt x="506" y="187"/>
                    <a:pt x="506" y="187"/>
                  </a:cubicBezTo>
                  <a:cubicBezTo>
                    <a:pt x="506" y="187"/>
                    <a:pt x="506" y="187"/>
                    <a:pt x="506" y="187"/>
                  </a:cubicBezTo>
                  <a:cubicBezTo>
                    <a:pt x="509" y="188"/>
                    <a:pt x="509" y="188"/>
                    <a:pt x="509" y="188"/>
                  </a:cubicBezTo>
                  <a:cubicBezTo>
                    <a:pt x="510" y="189"/>
                    <a:pt x="510" y="189"/>
                    <a:pt x="513" y="189"/>
                  </a:cubicBezTo>
                  <a:cubicBezTo>
                    <a:pt x="513" y="188"/>
                    <a:pt x="513" y="188"/>
                    <a:pt x="512" y="186"/>
                  </a:cubicBezTo>
                  <a:cubicBezTo>
                    <a:pt x="513" y="185"/>
                    <a:pt x="514" y="185"/>
                    <a:pt x="515" y="185"/>
                  </a:cubicBezTo>
                  <a:cubicBezTo>
                    <a:pt x="516" y="185"/>
                    <a:pt x="516" y="185"/>
                    <a:pt x="517" y="184"/>
                  </a:cubicBezTo>
                  <a:cubicBezTo>
                    <a:pt x="517" y="183"/>
                    <a:pt x="516" y="181"/>
                    <a:pt x="516" y="179"/>
                  </a:cubicBezTo>
                  <a:cubicBezTo>
                    <a:pt x="517" y="179"/>
                    <a:pt x="517" y="179"/>
                    <a:pt x="518" y="179"/>
                  </a:cubicBezTo>
                  <a:cubicBezTo>
                    <a:pt x="519" y="178"/>
                    <a:pt x="519" y="178"/>
                    <a:pt x="520" y="177"/>
                  </a:cubicBezTo>
                  <a:cubicBezTo>
                    <a:pt x="521" y="177"/>
                    <a:pt x="521" y="177"/>
                    <a:pt x="521" y="177"/>
                  </a:cubicBezTo>
                  <a:cubicBezTo>
                    <a:pt x="521" y="177"/>
                    <a:pt x="522" y="177"/>
                    <a:pt x="522" y="177"/>
                  </a:cubicBezTo>
                  <a:cubicBezTo>
                    <a:pt x="523" y="172"/>
                    <a:pt x="523" y="172"/>
                    <a:pt x="522" y="171"/>
                  </a:cubicBezTo>
                  <a:moveTo>
                    <a:pt x="526" y="166"/>
                  </a:moveTo>
                  <a:cubicBezTo>
                    <a:pt x="526" y="166"/>
                    <a:pt x="526" y="166"/>
                    <a:pt x="526" y="166"/>
                  </a:cubicBezTo>
                  <a:cubicBezTo>
                    <a:pt x="525" y="166"/>
                    <a:pt x="525" y="166"/>
                    <a:pt x="525" y="166"/>
                  </a:cubicBezTo>
                  <a:cubicBezTo>
                    <a:pt x="525" y="166"/>
                    <a:pt x="525" y="166"/>
                    <a:pt x="525" y="166"/>
                  </a:cubicBezTo>
                  <a:cubicBezTo>
                    <a:pt x="525" y="167"/>
                    <a:pt x="525" y="167"/>
                    <a:pt x="524" y="167"/>
                  </a:cubicBezTo>
                  <a:cubicBezTo>
                    <a:pt x="524" y="167"/>
                    <a:pt x="524" y="167"/>
                    <a:pt x="524" y="168"/>
                  </a:cubicBezTo>
                  <a:cubicBezTo>
                    <a:pt x="524" y="168"/>
                    <a:pt x="524" y="168"/>
                    <a:pt x="524" y="169"/>
                  </a:cubicBezTo>
                  <a:cubicBezTo>
                    <a:pt x="524" y="169"/>
                    <a:pt x="525" y="169"/>
                    <a:pt x="525" y="169"/>
                  </a:cubicBezTo>
                  <a:cubicBezTo>
                    <a:pt x="526" y="169"/>
                    <a:pt x="526" y="169"/>
                    <a:pt x="526" y="169"/>
                  </a:cubicBezTo>
                  <a:cubicBezTo>
                    <a:pt x="526" y="169"/>
                    <a:pt x="526" y="168"/>
                    <a:pt x="526" y="168"/>
                  </a:cubicBezTo>
                  <a:cubicBezTo>
                    <a:pt x="526" y="167"/>
                    <a:pt x="526" y="167"/>
                    <a:pt x="526" y="166"/>
                  </a:cubicBezTo>
                  <a:moveTo>
                    <a:pt x="528" y="143"/>
                  </a:moveTo>
                  <a:cubicBezTo>
                    <a:pt x="528" y="143"/>
                    <a:pt x="528" y="142"/>
                    <a:pt x="528" y="142"/>
                  </a:cubicBezTo>
                  <a:cubicBezTo>
                    <a:pt x="527" y="142"/>
                    <a:pt x="527" y="142"/>
                    <a:pt x="527" y="142"/>
                  </a:cubicBezTo>
                  <a:cubicBezTo>
                    <a:pt x="527" y="142"/>
                    <a:pt x="527" y="142"/>
                    <a:pt x="527" y="143"/>
                  </a:cubicBezTo>
                  <a:cubicBezTo>
                    <a:pt x="527" y="143"/>
                    <a:pt x="527" y="144"/>
                    <a:pt x="527" y="144"/>
                  </a:cubicBezTo>
                  <a:cubicBezTo>
                    <a:pt x="527" y="144"/>
                    <a:pt x="528" y="144"/>
                    <a:pt x="528" y="145"/>
                  </a:cubicBezTo>
                  <a:cubicBezTo>
                    <a:pt x="528" y="145"/>
                    <a:pt x="528" y="146"/>
                    <a:pt x="528" y="146"/>
                  </a:cubicBezTo>
                  <a:cubicBezTo>
                    <a:pt x="528" y="146"/>
                    <a:pt x="528" y="147"/>
                    <a:pt x="528" y="147"/>
                  </a:cubicBezTo>
                  <a:cubicBezTo>
                    <a:pt x="529" y="147"/>
                    <a:pt x="529" y="147"/>
                    <a:pt x="529" y="147"/>
                  </a:cubicBezTo>
                  <a:cubicBezTo>
                    <a:pt x="529" y="147"/>
                    <a:pt x="529" y="147"/>
                    <a:pt x="529" y="147"/>
                  </a:cubicBezTo>
                  <a:cubicBezTo>
                    <a:pt x="529" y="147"/>
                    <a:pt x="529" y="147"/>
                    <a:pt x="529" y="146"/>
                  </a:cubicBezTo>
                  <a:cubicBezTo>
                    <a:pt x="528" y="146"/>
                    <a:pt x="528" y="146"/>
                    <a:pt x="528" y="145"/>
                  </a:cubicBezTo>
                  <a:cubicBezTo>
                    <a:pt x="528" y="145"/>
                    <a:pt x="528" y="145"/>
                    <a:pt x="529" y="145"/>
                  </a:cubicBezTo>
                  <a:cubicBezTo>
                    <a:pt x="529" y="145"/>
                    <a:pt x="529" y="145"/>
                    <a:pt x="529" y="145"/>
                  </a:cubicBezTo>
                  <a:cubicBezTo>
                    <a:pt x="529" y="144"/>
                    <a:pt x="528" y="144"/>
                    <a:pt x="528" y="144"/>
                  </a:cubicBezTo>
                  <a:cubicBezTo>
                    <a:pt x="528" y="144"/>
                    <a:pt x="528" y="143"/>
                    <a:pt x="528" y="143"/>
                  </a:cubicBezTo>
                  <a:cubicBezTo>
                    <a:pt x="528" y="143"/>
                    <a:pt x="528" y="143"/>
                    <a:pt x="528" y="143"/>
                  </a:cubicBezTo>
                  <a:moveTo>
                    <a:pt x="536" y="119"/>
                  </a:moveTo>
                  <a:cubicBezTo>
                    <a:pt x="536" y="119"/>
                    <a:pt x="536" y="119"/>
                    <a:pt x="536" y="119"/>
                  </a:cubicBezTo>
                  <a:cubicBezTo>
                    <a:pt x="535" y="118"/>
                    <a:pt x="535" y="118"/>
                    <a:pt x="535" y="118"/>
                  </a:cubicBezTo>
                  <a:cubicBezTo>
                    <a:pt x="535" y="117"/>
                    <a:pt x="535" y="117"/>
                    <a:pt x="535" y="117"/>
                  </a:cubicBezTo>
                  <a:cubicBezTo>
                    <a:pt x="535" y="117"/>
                    <a:pt x="535" y="117"/>
                    <a:pt x="535" y="117"/>
                  </a:cubicBezTo>
                  <a:cubicBezTo>
                    <a:pt x="534" y="117"/>
                    <a:pt x="534" y="117"/>
                    <a:pt x="534" y="117"/>
                  </a:cubicBezTo>
                  <a:cubicBezTo>
                    <a:pt x="534" y="117"/>
                    <a:pt x="534" y="117"/>
                    <a:pt x="534" y="117"/>
                  </a:cubicBezTo>
                  <a:cubicBezTo>
                    <a:pt x="534" y="117"/>
                    <a:pt x="534" y="117"/>
                    <a:pt x="536" y="120"/>
                  </a:cubicBezTo>
                  <a:cubicBezTo>
                    <a:pt x="536" y="120"/>
                    <a:pt x="537" y="120"/>
                    <a:pt x="537" y="120"/>
                  </a:cubicBezTo>
                  <a:cubicBezTo>
                    <a:pt x="536" y="119"/>
                    <a:pt x="536" y="119"/>
                    <a:pt x="536" y="119"/>
                  </a:cubicBezTo>
                  <a:moveTo>
                    <a:pt x="534" y="120"/>
                  </a:moveTo>
                  <a:cubicBezTo>
                    <a:pt x="535" y="120"/>
                    <a:pt x="535" y="120"/>
                    <a:pt x="535" y="120"/>
                  </a:cubicBezTo>
                  <a:cubicBezTo>
                    <a:pt x="535" y="120"/>
                    <a:pt x="534" y="119"/>
                    <a:pt x="534" y="119"/>
                  </a:cubicBezTo>
                  <a:cubicBezTo>
                    <a:pt x="533" y="118"/>
                    <a:pt x="533" y="117"/>
                    <a:pt x="532" y="117"/>
                  </a:cubicBezTo>
                  <a:cubicBezTo>
                    <a:pt x="531" y="116"/>
                    <a:pt x="531" y="115"/>
                    <a:pt x="530" y="114"/>
                  </a:cubicBezTo>
                  <a:cubicBezTo>
                    <a:pt x="530" y="115"/>
                    <a:pt x="531" y="116"/>
                    <a:pt x="531" y="116"/>
                  </a:cubicBezTo>
                  <a:cubicBezTo>
                    <a:pt x="531" y="117"/>
                    <a:pt x="532" y="117"/>
                    <a:pt x="532" y="117"/>
                  </a:cubicBezTo>
                  <a:cubicBezTo>
                    <a:pt x="533" y="118"/>
                    <a:pt x="533" y="119"/>
                    <a:pt x="534" y="120"/>
                  </a:cubicBezTo>
                  <a:moveTo>
                    <a:pt x="514" y="98"/>
                  </a:moveTo>
                  <a:cubicBezTo>
                    <a:pt x="513" y="97"/>
                    <a:pt x="513" y="97"/>
                    <a:pt x="513" y="97"/>
                  </a:cubicBezTo>
                  <a:cubicBezTo>
                    <a:pt x="512" y="96"/>
                    <a:pt x="512" y="96"/>
                    <a:pt x="512" y="96"/>
                  </a:cubicBezTo>
                  <a:cubicBezTo>
                    <a:pt x="512" y="96"/>
                    <a:pt x="512" y="96"/>
                    <a:pt x="512" y="96"/>
                  </a:cubicBezTo>
                  <a:cubicBezTo>
                    <a:pt x="512" y="97"/>
                    <a:pt x="512" y="97"/>
                    <a:pt x="512" y="97"/>
                  </a:cubicBezTo>
                  <a:cubicBezTo>
                    <a:pt x="511" y="97"/>
                    <a:pt x="511" y="97"/>
                    <a:pt x="511" y="97"/>
                  </a:cubicBezTo>
                  <a:cubicBezTo>
                    <a:pt x="511" y="97"/>
                    <a:pt x="511" y="97"/>
                    <a:pt x="511" y="97"/>
                  </a:cubicBezTo>
                  <a:cubicBezTo>
                    <a:pt x="511" y="97"/>
                    <a:pt x="511" y="98"/>
                    <a:pt x="512" y="98"/>
                  </a:cubicBezTo>
                  <a:cubicBezTo>
                    <a:pt x="512" y="99"/>
                    <a:pt x="512" y="99"/>
                    <a:pt x="513" y="99"/>
                  </a:cubicBezTo>
                  <a:cubicBezTo>
                    <a:pt x="513" y="100"/>
                    <a:pt x="513" y="100"/>
                    <a:pt x="513" y="100"/>
                  </a:cubicBezTo>
                  <a:cubicBezTo>
                    <a:pt x="514" y="99"/>
                    <a:pt x="514" y="99"/>
                    <a:pt x="514" y="99"/>
                  </a:cubicBezTo>
                  <a:cubicBezTo>
                    <a:pt x="514" y="99"/>
                    <a:pt x="514" y="99"/>
                    <a:pt x="514" y="98"/>
                  </a:cubicBezTo>
                  <a:cubicBezTo>
                    <a:pt x="514" y="98"/>
                    <a:pt x="514" y="98"/>
                    <a:pt x="514" y="98"/>
                  </a:cubicBezTo>
                  <a:cubicBezTo>
                    <a:pt x="514" y="98"/>
                    <a:pt x="514" y="98"/>
                    <a:pt x="514" y="98"/>
                  </a:cubicBezTo>
                  <a:moveTo>
                    <a:pt x="512" y="72"/>
                  </a:moveTo>
                  <a:cubicBezTo>
                    <a:pt x="511" y="72"/>
                    <a:pt x="511" y="71"/>
                    <a:pt x="510" y="71"/>
                  </a:cubicBezTo>
                  <a:cubicBezTo>
                    <a:pt x="510" y="71"/>
                    <a:pt x="510" y="71"/>
                    <a:pt x="509" y="70"/>
                  </a:cubicBezTo>
                  <a:cubicBezTo>
                    <a:pt x="509" y="70"/>
                    <a:pt x="509" y="70"/>
                    <a:pt x="509" y="70"/>
                  </a:cubicBezTo>
                  <a:cubicBezTo>
                    <a:pt x="509" y="70"/>
                    <a:pt x="509" y="70"/>
                    <a:pt x="509" y="70"/>
                  </a:cubicBezTo>
                  <a:cubicBezTo>
                    <a:pt x="509" y="70"/>
                    <a:pt x="509" y="70"/>
                    <a:pt x="509" y="70"/>
                  </a:cubicBezTo>
                  <a:cubicBezTo>
                    <a:pt x="508" y="70"/>
                    <a:pt x="508" y="70"/>
                    <a:pt x="508" y="70"/>
                  </a:cubicBezTo>
                  <a:cubicBezTo>
                    <a:pt x="508" y="70"/>
                    <a:pt x="508" y="70"/>
                    <a:pt x="508" y="70"/>
                  </a:cubicBezTo>
                  <a:cubicBezTo>
                    <a:pt x="508" y="70"/>
                    <a:pt x="508" y="70"/>
                    <a:pt x="508" y="70"/>
                  </a:cubicBezTo>
                  <a:cubicBezTo>
                    <a:pt x="508" y="70"/>
                    <a:pt x="508" y="70"/>
                    <a:pt x="508" y="70"/>
                  </a:cubicBezTo>
                  <a:cubicBezTo>
                    <a:pt x="510" y="71"/>
                    <a:pt x="510" y="71"/>
                    <a:pt x="510" y="71"/>
                  </a:cubicBezTo>
                  <a:cubicBezTo>
                    <a:pt x="510" y="71"/>
                    <a:pt x="510" y="71"/>
                    <a:pt x="510" y="71"/>
                  </a:cubicBezTo>
                  <a:cubicBezTo>
                    <a:pt x="510" y="71"/>
                    <a:pt x="510" y="71"/>
                    <a:pt x="510" y="71"/>
                  </a:cubicBezTo>
                  <a:cubicBezTo>
                    <a:pt x="510" y="71"/>
                    <a:pt x="510" y="71"/>
                    <a:pt x="510" y="71"/>
                  </a:cubicBezTo>
                  <a:cubicBezTo>
                    <a:pt x="510" y="71"/>
                    <a:pt x="510" y="72"/>
                    <a:pt x="511" y="72"/>
                  </a:cubicBezTo>
                  <a:cubicBezTo>
                    <a:pt x="511" y="72"/>
                    <a:pt x="511" y="72"/>
                    <a:pt x="511" y="72"/>
                  </a:cubicBezTo>
                  <a:cubicBezTo>
                    <a:pt x="511" y="72"/>
                    <a:pt x="511" y="72"/>
                    <a:pt x="511" y="72"/>
                  </a:cubicBezTo>
                  <a:cubicBezTo>
                    <a:pt x="511" y="72"/>
                    <a:pt x="511" y="72"/>
                    <a:pt x="511" y="72"/>
                  </a:cubicBezTo>
                  <a:cubicBezTo>
                    <a:pt x="512" y="72"/>
                    <a:pt x="512" y="72"/>
                    <a:pt x="512" y="72"/>
                  </a:cubicBezTo>
                  <a:cubicBezTo>
                    <a:pt x="512" y="72"/>
                    <a:pt x="512" y="72"/>
                    <a:pt x="512" y="72"/>
                  </a:cubicBezTo>
                  <a:cubicBezTo>
                    <a:pt x="512" y="72"/>
                    <a:pt x="512" y="72"/>
                    <a:pt x="512" y="72"/>
                  </a:cubicBezTo>
                  <a:cubicBezTo>
                    <a:pt x="512" y="72"/>
                    <a:pt x="512" y="72"/>
                    <a:pt x="512" y="72"/>
                  </a:cubicBezTo>
                  <a:moveTo>
                    <a:pt x="456" y="37"/>
                  </a:moveTo>
                  <a:cubicBezTo>
                    <a:pt x="456" y="37"/>
                    <a:pt x="455" y="37"/>
                    <a:pt x="455" y="37"/>
                  </a:cubicBezTo>
                  <a:cubicBezTo>
                    <a:pt x="454" y="36"/>
                    <a:pt x="453" y="36"/>
                    <a:pt x="453" y="36"/>
                  </a:cubicBezTo>
                  <a:cubicBezTo>
                    <a:pt x="453" y="36"/>
                    <a:pt x="453" y="36"/>
                    <a:pt x="453" y="36"/>
                  </a:cubicBezTo>
                  <a:cubicBezTo>
                    <a:pt x="453" y="36"/>
                    <a:pt x="453" y="36"/>
                    <a:pt x="453" y="36"/>
                  </a:cubicBezTo>
                  <a:cubicBezTo>
                    <a:pt x="452" y="36"/>
                    <a:pt x="452" y="35"/>
                    <a:pt x="451" y="35"/>
                  </a:cubicBezTo>
                  <a:cubicBezTo>
                    <a:pt x="451" y="35"/>
                    <a:pt x="451" y="35"/>
                    <a:pt x="451" y="35"/>
                  </a:cubicBezTo>
                  <a:cubicBezTo>
                    <a:pt x="451" y="35"/>
                    <a:pt x="451" y="35"/>
                    <a:pt x="451" y="35"/>
                  </a:cubicBezTo>
                  <a:cubicBezTo>
                    <a:pt x="451" y="36"/>
                    <a:pt x="452" y="36"/>
                    <a:pt x="452" y="36"/>
                  </a:cubicBezTo>
                  <a:cubicBezTo>
                    <a:pt x="452" y="36"/>
                    <a:pt x="452" y="36"/>
                    <a:pt x="452" y="36"/>
                  </a:cubicBezTo>
                  <a:cubicBezTo>
                    <a:pt x="452" y="36"/>
                    <a:pt x="452" y="36"/>
                    <a:pt x="452" y="36"/>
                  </a:cubicBezTo>
                  <a:cubicBezTo>
                    <a:pt x="452" y="37"/>
                    <a:pt x="456" y="38"/>
                    <a:pt x="456" y="38"/>
                  </a:cubicBezTo>
                  <a:cubicBezTo>
                    <a:pt x="457" y="38"/>
                    <a:pt x="457" y="38"/>
                    <a:pt x="457" y="38"/>
                  </a:cubicBezTo>
                  <a:cubicBezTo>
                    <a:pt x="456" y="38"/>
                    <a:pt x="456" y="38"/>
                    <a:pt x="456" y="38"/>
                  </a:cubicBezTo>
                  <a:cubicBezTo>
                    <a:pt x="456" y="38"/>
                    <a:pt x="456" y="38"/>
                    <a:pt x="456" y="38"/>
                  </a:cubicBezTo>
                  <a:cubicBezTo>
                    <a:pt x="456" y="38"/>
                    <a:pt x="456" y="38"/>
                    <a:pt x="456" y="38"/>
                  </a:cubicBezTo>
                  <a:cubicBezTo>
                    <a:pt x="456" y="38"/>
                    <a:pt x="456" y="38"/>
                    <a:pt x="456" y="38"/>
                  </a:cubicBezTo>
                  <a:cubicBezTo>
                    <a:pt x="456" y="37"/>
                    <a:pt x="456" y="37"/>
                    <a:pt x="456" y="37"/>
                  </a:cubicBezTo>
                  <a:cubicBezTo>
                    <a:pt x="456" y="38"/>
                    <a:pt x="456" y="38"/>
                    <a:pt x="456" y="38"/>
                  </a:cubicBezTo>
                  <a:cubicBezTo>
                    <a:pt x="456" y="38"/>
                    <a:pt x="456" y="38"/>
                    <a:pt x="456" y="38"/>
                  </a:cubicBezTo>
                  <a:cubicBezTo>
                    <a:pt x="456" y="37"/>
                    <a:pt x="456" y="37"/>
                    <a:pt x="456" y="37"/>
                  </a:cubicBezTo>
                  <a:moveTo>
                    <a:pt x="402" y="25"/>
                  </a:moveTo>
                  <a:cubicBezTo>
                    <a:pt x="401" y="25"/>
                    <a:pt x="401" y="25"/>
                    <a:pt x="400" y="24"/>
                  </a:cubicBezTo>
                  <a:cubicBezTo>
                    <a:pt x="400" y="24"/>
                    <a:pt x="400" y="24"/>
                    <a:pt x="400" y="24"/>
                  </a:cubicBezTo>
                  <a:cubicBezTo>
                    <a:pt x="399" y="24"/>
                    <a:pt x="398" y="24"/>
                    <a:pt x="398" y="24"/>
                  </a:cubicBezTo>
                  <a:cubicBezTo>
                    <a:pt x="398" y="24"/>
                    <a:pt x="398" y="24"/>
                    <a:pt x="398" y="24"/>
                  </a:cubicBezTo>
                  <a:cubicBezTo>
                    <a:pt x="398" y="24"/>
                    <a:pt x="398" y="24"/>
                    <a:pt x="398" y="24"/>
                  </a:cubicBezTo>
                  <a:cubicBezTo>
                    <a:pt x="397" y="24"/>
                    <a:pt x="397" y="24"/>
                    <a:pt x="397" y="24"/>
                  </a:cubicBezTo>
                  <a:cubicBezTo>
                    <a:pt x="397" y="24"/>
                    <a:pt x="397" y="24"/>
                    <a:pt x="397" y="24"/>
                  </a:cubicBezTo>
                  <a:cubicBezTo>
                    <a:pt x="397" y="24"/>
                    <a:pt x="397" y="24"/>
                    <a:pt x="397" y="24"/>
                  </a:cubicBezTo>
                  <a:cubicBezTo>
                    <a:pt x="396" y="24"/>
                    <a:pt x="396" y="23"/>
                    <a:pt x="395" y="23"/>
                  </a:cubicBezTo>
                  <a:cubicBezTo>
                    <a:pt x="394" y="23"/>
                    <a:pt x="394" y="23"/>
                    <a:pt x="394" y="23"/>
                  </a:cubicBezTo>
                  <a:cubicBezTo>
                    <a:pt x="394" y="23"/>
                    <a:pt x="394" y="23"/>
                    <a:pt x="394" y="23"/>
                  </a:cubicBezTo>
                  <a:cubicBezTo>
                    <a:pt x="395" y="24"/>
                    <a:pt x="395" y="24"/>
                    <a:pt x="395" y="24"/>
                  </a:cubicBezTo>
                  <a:cubicBezTo>
                    <a:pt x="395" y="24"/>
                    <a:pt x="395" y="24"/>
                    <a:pt x="395" y="24"/>
                  </a:cubicBezTo>
                  <a:cubicBezTo>
                    <a:pt x="394" y="24"/>
                    <a:pt x="394" y="24"/>
                    <a:pt x="391" y="23"/>
                  </a:cubicBezTo>
                  <a:cubicBezTo>
                    <a:pt x="392" y="23"/>
                    <a:pt x="392" y="23"/>
                    <a:pt x="392" y="23"/>
                  </a:cubicBezTo>
                  <a:cubicBezTo>
                    <a:pt x="393" y="23"/>
                    <a:pt x="394" y="24"/>
                    <a:pt x="395" y="24"/>
                  </a:cubicBezTo>
                  <a:cubicBezTo>
                    <a:pt x="395" y="25"/>
                    <a:pt x="396" y="25"/>
                    <a:pt x="397" y="25"/>
                  </a:cubicBezTo>
                  <a:cubicBezTo>
                    <a:pt x="397" y="25"/>
                    <a:pt x="397" y="25"/>
                    <a:pt x="398" y="26"/>
                  </a:cubicBezTo>
                  <a:cubicBezTo>
                    <a:pt x="398" y="26"/>
                    <a:pt x="398" y="26"/>
                    <a:pt x="398" y="26"/>
                  </a:cubicBezTo>
                  <a:cubicBezTo>
                    <a:pt x="398" y="25"/>
                    <a:pt x="398" y="25"/>
                    <a:pt x="398" y="25"/>
                  </a:cubicBezTo>
                  <a:cubicBezTo>
                    <a:pt x="398" y="25"/>
                    <a:pt x="400" y="26"/>
                    <a:pt x="400" y="26"/>
                  </a:cubicBezTo>
                  <a:cubicBezTo>
                    <a:pt x="400" y="26"/>
                    <a:pt x="400" y="26"/>
                    <a:pt x="400" y="26"/>
                  </a:cubicBezTo>
                  <a:cubicBezTo>
                    <a:pt x="402" y="26"/>
                    <a:pt x="402" y="26"/>
                    <a:pt x="402" y="26"/>
                  </a:cubicBezTo>
                  <a:cubicBezTo>
                    <a:pt x="402" y="26"/>
                    <a:pt x="402" y="26"/>
                    <a:pt x="402" y="26"/>
                  </a:cubicBezTo>
                  <a:cubicBezTo>
                    <a:pt x="402" y="26"/>
                    <a:pt x="402" y="26"/>
                    <a:pt x="402" y="26"/>
                  </a:cubicBezTo>
                  <a:cubicBezTo>
                    <a:pt x="402" y="26"/>
                    <a:pt x="402" y="26"/>
                    <a:pt x="402" y="26"/>
                  </a:cubicBezTo>
                  <a:cubicBezTo>
                    <a:pt x="402" y="26"/>
                    <a:pt x="402" y="26"/>
                    <a:pt x="402" y="25"/>
                  </a:cubicBezTo>
                  <a:cubicBezTo>
                    <a:pt x="401" y="25"/>
                    <a:pt x="401" y="25"/>
                    <a:pt x="401" y="25"/>
                  </a:cubicBezTo>
                  <a:cubicBezTo>
                    <a:pt x="402" y="25"/>
                    <a:pt x="402" y="25"/>
                    <a:pt x="402" y="25"/>
                  </a:cubicBezTo>
                  <a:moveTo>
                    <a:pt x="404" y="32"/>
                  </a:moveTo>
                  <a:cubicBezTo>
                    <a:pt x="402" y="31"/>
                    <a:pt x="402" y="31"/>
                    <a:pt x="400" y="31"/>
                  </a:cubicBezTo>
                  <a:cubicBezTo>
                    <a:pt x="400" y="31"/>
                    <a:pt x="400" y="31"/>
                    <a:pt x="400" y="31"/>
                  </a:cubicBezTo>
                  <a:cubicBezTo>
                    <a:pt x="400" y="31"/>
                    <a:pt x="399" y="31"/>
                    <a:pt x="399" y="30"/>
                  </a:cubicBezTo>
                  <a:cubicBezTo>
                    <a:pt x="399" y="30"/>
                    <a:pt x="399" y="30"/>
                    <a:pt x="398" y="30"/>
                  </a:cubicBezTo>
                  <a:cubicBezTo>
                    <a:pt x="398" y="30"/>
                    <a:pt x="398" y="30"/>
                    <a:pt x="398" y="30"/>
                  </a:cubicBezTo>
                  <a:cubicBezTo>
                    <a:pt x="398" y="30"/>
                    <a:pt x="398" y="30"/>
                    <a:pt x="398" y="30"/>
                  </a:cubicBezTo>
                  <a:cubicBezTo>
                    <a:pt x="397" y="30"/>
                    <a:pt x="397" y="30"/>
                    <a:pt x="397" y="30"/>
                  </a:cubicBezTo>
                  <a:cubicBezTo>
                    <a:pt x="397" y="30"/>
                    <a:pt x="397" y="30"/>
                    <a:pt x="397" y="30"/>
                  </a:cubicBezTo>
                  <a:cubicBezTo>
                    <a:pt x="397" y="30"/>
                    <a:pt x="397" y="30"/>
                    <a:pt x="397" y="31"/>
                  </a:cubicBezTo>
                  <a:cubicBezTo>
                    <a:pt x="397" y="31"/>
                    <a:pt x="397" y="31"/>
                    <a:pt x="397" y="31"/>
                  </a:cubicBezTo>
                  <a:cubicBezTo>
                    <a:pt x="397" y="31"/>
                    <a:pt x="397" y="31"/>
                    <a:pt x="397" y="32"/>
                  </a:cubicBezTo>
                  <a:cubicBezTo>
                    <a:pt x="397" y="32"/>
                    <a:pt x="397" y="32"/>
                    <a:pt x="397" y="32"/>
                  </a:cubicBezTo>
                  <a:cubicBezTo>
                    <a:pt x="398" y="32"/>
                    <a:pt x="399" y="32"/>
                    <a:pt x="399" y="32"/>
                  </a:cubicBezTo>
                  <a:cubicBezTo>
                    <a:pt x="399" y="32"/>
                    <a:pt x="399" y="32"/>
                    <a:pt x="399" y="32"/>
                  </a:cubicBezTo>
                  <a:cubicBezTo>
                    <a:pt x="400" y="32"/>
                    <a:pt x="400" y="32"/>
                    <a:pt x="400" y="32"/>
                  </a:cubicBezTo>
                  <a:cubicBezTo>
                    <a:pt x="400" y="32"/>
                    <a:pt x="400" y="32"/>
                    <a:pt x="400" y="32"/>
                  </a:cubicBezTo>
                  <a:cubicBezTo>
                    <a:pt x="400" y="32"/>
                    <a:pt x="400" y="32"/>
                    <a:pt x="400" y="32"/>
                  </a:cubicBezTo>
                  <a:cubicBezTo>
                    <a:pt x="401" y="32"/>
                    <a:pt x="401" y="32"/>
                    <a:pt x="401" y="32"/>
                  </a:cubicBezTo>
                  <a:cubicBezTo>
                    <a:pt x="401" y="32"/>
                    <a:pt x="401" y="32"/>
                    <a:pt x="401" y="32"/>
                  </a:cubicBezTo>
                  <a:cubicBezTo>
                    <a:pt x="401" y="32"/>
                    <a:pt x="402" y="32"/>
                    <a:pt x="403" y="32"/>
                  </a:cubicBezTo>
                  <a:cubicBezTo>
                    <a:pt x="404" y="32"/>
                    <a:pt x="404" y="32"/>
                    <a:pt x="404" y="32"/>
                  </a:cubicBezTo>
                  <a:moveTo>
                    <a:pt x="394" y="29"/>
                  </a:moveTo>
                  <a:cubicBezTo>
                    <a:pt x="394" y="28"/>
                    <a:pt x="394" y="28"/>
                    <a:pt x="394" y="28"/>
                  </a:cubicBezTo>
                  <a:cubicBezTo>
                    <a:pt x="394" y="28"/>
                    <a:pt x="394" y="28"/>
                    <a:pt x="394" y="28"/>
                  </a:cubicBezTo>
                  <a:cubicBezTo>
                    <a:pt x="393" y="28"/>
                    <a:pt x="393" y="28"/>
                    <a:pt x="393" y="28"/>
                  </a:cubicBezTo>
                  <a:cubicBezTo>
                    <a:pt x="393" y="28"/>
                    <a:pt x="393" y="28"/>
                    <a:pt x="392" y="28"/>
                  </a:cubicBezTo>
                  <a:cubicBezTo>
                    <a:pt x="392" y="28"/>
                    <a:pt x="392" y="28"/>
                    <a:pt x="392" y="28"/>
                  </a:cubicBezTo>
                  <a:cubicBezTo>
                    <a:pt x="392" y="29"/>
                    <a:pt x="392" y="29"/>
                    <a:pt x="392" y="29"/>
                  </a:cubicBezTo>
                  <a:cubicBezTo>
                    <a:pt x="393" y="29"/>
                    <a:pt x="393" y="29"/>
                    <a:pt x="393" y="29"/>
                  </a:cubicBezTo>
                  <a:cubicBezTo>
                    <a:pt x="393" y="29"/>
                    <a:pt x="393" y="29"/>
                    <a:pt x="393" y="29"/>
                  </a:cubicBezTo>
                  <a:cubicBezTo>
                    <a:pt x="394" y="29"/>
                    <a:pt x="394" y="29"/>
                    <a:pt x="394" y="29"/>
                  </a:cubicBezTo>
                  <a:cubicBezTo>
                    <a:pt x="395" y="29"/>
                    <a:pt x="395" y="29"/>
                    <a:pt x="395" y="29"/>
                  </a:cubicBezTo>
                  <a:cubicBezTo>
                    <a:pt x="395" y="29"/>
                    <a:pt x="395" y="29"/>
                    <a:pt x="395" y="29"/>
                  </a:cubicBezTo>
                  <a:cubicBezTo>
                    <a:pt x="395" y="29"/>
                    <a:pt x="395" y="29"/>
                    <a:pt x="395" y="29"/>
                  </a:cubicBezTo>
                  <a:cubicBezTo>
                    <a:pt x="394" y="29"/>
                    <a:pt x="394" y="29"/>
                    <a:pt x="394" y="29"/>
                  </a:cubicBezTo>
                  <a:moveTo>
                    <a:pt x="390" y="23"/>
                  </a:moveTo>
                  <a:cubicBezTo>
                    <a:pt x="389" y="22"/>
                    <a:pt x="389" y="22"/>
                    <a:pt x="387" y="22"/>
                  </a:cubicBezTo>
                  <a:cubicBezTo>
                    <a:pt x="387" y="22"/>
                    <a:pt x="387" y="22"/>
                    <a:pt x="387" y="22"/>
                  </a:cubicBezTo>
                  <a:cubicBezTo>
                    <a:pt x="387" y="22"/>
                    <a:pt x="387" y="22"/>
                    <a:pt x="387" y="22"/>
                  </a:cubicBezTo>
                  <a:cubicBezTo>
                    <a:pt x="388" y="23"/>
                    <a:pt x="389" y="24"/>
                    <a:pt x="390" y="24"/>
                  </a:cubicBezTo>
                  <a:cubicBezTo>
                    <a:pt x="389" y="24"/>
                    <a:pt x="389" y="24"/>
                    <a:pt x="389" y="24"/>
                  </a:cubicBezTo>
                  <a:cubicBezTo>
                    <a:pt x="388" y="24"/>
                    <a:pt x="388" y="24"/>
                    <a:pt x="387" y="23"/>
                  </a:cubicBezTo>
                  <a:cubicBezTo>
                    <a:pt x="386" y="23"/>
                    <a:pt x="386" y="22"/>
                    <a:pt x="385" y="22"/>
                  </a:cubicBezTo>
                  <a:cubicBezTo>
                    <a:pt x="385" y="22"/>
                    <a:pt x="384" y="22"/>
                    <a:pt x="383" y="22"/>
                  </a:cubicBezTo>
                  <a:cubicBezTo>
                    <a:pt x="383" y="22"/>
                    <a:pt x="383" y="22"/>
                    <a:pt x="383" y="22"/>
                  </a:cubicBezTo>
                  <a:cubicBezTo>
                    <a:pt x="384" y="22"/>
                    <a:pt x="384" y="22"/>
                    <a:pt x="385" y="23"/>
                  </a:cubicBezTo>
                  <a:cubicBezTo>
                    <a:pt x="384" y="23"/>
                    <a:pt x="384" y="23"/>
                    <a:pt x="383" y="23"/>
                  </a:cubicBezTo>
                  <a:cubicBezTo>
                    <a:pt x="383" y="23"/>
                    <a:pt x="382" y="22"/>
                    <a:pt x="381" y="22"/>
                  </a:cubicBezTo>
                  <a:cubicBezTo>
                    <a:pt x="381" y="22"/>
                    <a:pt x="381" y="22"/>
                    <a:pt x="380" y="21"/>
                  </a:cubicBezTo>
                  <a:cubicBezTo>
                    <a:pt x="380" y="21"/>
                    <a:pt x="380" y="21"/>
                    <a:pt x="380" y="21"/>
                  </a:cubicBezTo>
                  <a:cubicBezTo>
                    <a:pt x="380" y="22"/>
                    <a:pt x="380" y="22"/>
                    <a:pt x="380" y="22"/>
                  </a:cubicBezTo>
                  <a:cubicBezTo>
                    <a:pt x="380" y="22"/>
                    <a:pt x="380" y="22"/>
                    <a:pt x="380" y="22"/>
                  </a:cubicBezTo>
                  <a:cubicBezTo>
                    <a:pt x="380" y="22"/>
                    <a:pt x="380" y="22"/>
                    <a:pt x="380" y="22"/>
                  </a:cubicBezTo>
                  <a:cubicBezTo>
                    <a:pt x="379" y="22"/>
                    <a:pt x="379" y="22"/>
                    <a:pt x="378" y="22"/>
                  </a:cubicBezTo>
                  <a:cubicBezTo>
                    <a:pt x="379" y="22"/>
                    <a:pt x="379" y="22"/>
                    <a:pt x="383" y="25"/>
                  </a:cubicBezTo>
                  <a:cubicBezTo>
                    <a:pt x="382" y="25"/>
                    <a:pt x="382" y="25"/>
                    <a:pt x="382" y="25"/>
                  </a:cubicBezTo>
                  <a:cubicBezTo>
                    <a:pt x="383" y="25"/>
                    <a:pt x="383" y="25"/>
                    <a:pt x="384" y="25"/>
                  </a:cubicBezTo>
                  <a:cubicBezTo>
                    <a:pt x="384" y="26"/>
                    <a:pt x="384" y="26"/>
                    <a:pt x="384" y="26"/>
                  </a:cubicBezTo>
                  <a:cubicBezTo>
                    <a:pt x="385" y="26"/>
                    <a:pt x="385" y="26"/>
                    <a:pt x="386" y="26"/>
                  </a:cubicBezTo>
                  <a:cubicBezTo>
                    <a:pt x="387" y="26"/>
                    <a:pt x="387" y="27"/>
                    <a:pt x="388" y="27"/>
                  </a:cubicBezTo>
                  <a:cubicBezTo>
                    <a:pt x="388" y="27"/>
                    <a:pt x="388" y="27"/>
                    <a:pt x="389" y="27"/>
                  </a:cubicBezTo>
                  <a:cubicBezTo>
                    <a:pt x="388" y="26"/>
                    <a:pt x="388" y="26"/>
                    <a:pt x="387" y="26"/>
                  </a:cubicBezTo>
                  <a:cubicBezTo>
                    <a:pt x="389" y="26"/>
                    <a:pt x="389" y="26"/>
                    <a:pt x="390" y="26"/>
                  </a:cubicBezTo>
                  <a:cubicBezTo>
                    <a:pt x="390" y="26"/>
                    <a:pt x="390" y="26"/>
                    <a:pt x="390" y="26"/>
                  </a:cubicBezTo>
                  <a:cubicBezTo>
                    <a:pt x="390" y="26"/>
                    <a:pt x="390" y="26"/>
                    <a:pt x="390" y="26"/>
                  </a:cubicBezTo>
                  <a:cubicBezTo>
                    <a:pt x="390" y="26"/>
                    <a:pt x="390" y="26"/>
                    <a:pt x="390" y="26"/>
                  </a:cubicBezTo>
                  <a:cubicBezTo>
                    <a:pt x="390" y="26"/>
                    <a:pt x="390" y="26"/>
                    <a:pt x="390" y="26"/>
                  </a:cubicBezTo>
                  <a:cubicBezTo>
                    <a:pt x="390" y="26"/>
                    <a:pt x="390" y="26"/>
                    <a:pt x="390" y="26"/>
                  </a:cubicBezTo>
                  <a:cubicBezTo>
                    <a:pt x="390" y="26"/>
                    <a:pt x="390" y="26"/>
                    <a:pt x="390" y="26"/>
                  </a:cubicBezTo>
                  <a:cubicBezTo>
                    <a:pt x="390" y="26"/>
                    <a:pt x="390" y="26"/>
                    <a:pt x="390" y="26"/>
                  </a:cubicBezTo>
                  <a:cubicBezTo>
                    <a:pt x="390" y="26"/>
                    <a:pt x="390" y="26"/>
                    <a:pt x="390" y="26"/>
                  </a:cubicBezTo>
                  <a:cubicBezTo>
                    <a:pt x="390" y="26"/>
                    <a:pt x="390" y="26"/>
                    <a:pt x="390" y="26"/>
                  </a:cubicBezTo>
                  <a:cubicBezTo>
                    <a:pt x="390" y="26"/>
                    <a:pt x="390" y="26"/>
                    <a:pt x="390" y="25"/>
                  </a:cubicBezTo>
                  <a:cubicBezTo>
                    <a:pt x="390" y="25"/>
                    <a:pt x="391" y="26"/>
                    <a:pt x="391" y="26"/>
                  </a:cubicBezTo>
                  <a:cubicBezTo>
                    <a:pt x="391" y="25"/>
                    <a:pt x="391" y="25"/>
                    <a:pt x="391" y="25"/>
                  </a:cubicBezTo>
                  <a:cubicBezTo>
                    <a:pt x="391" y="25"/>
                    <a:pt x="391" y="25"/>
                    <a:pt x="391" y="25"/>
                  </a:cubicBezTo>
                  <a:cubicBezTo>
                    <a:pt x="391" y="25"/>
                    <a:pt x="391" y="25"/>
                    <a:pt x="391" y="25"/>
                  </a:cubicBezTo>
                  <a:cubicBezTo>
                    <a:pt x="392" y="25"/>
                    <a:pt x="392" y="25"/>
                    <a:pt x="393" y="25"/>
                  </a:cubicBezTo>
                  <a:cubicBezTo>
                    <a:pt x="393" y="25"/>
                    <a:pt x="393" y="25"/>
                    <a:pt x="394" y="25"/>
                  </a:cubicBezTo>
                  <a:cubicBezTo>
                    <a:pt x="392" y="24"/>
                    <a:pt x="392" y="24"/>
                    <a:pt x="391" y="24"/>
                  </a:cubicBezTo>
                  <a:cubicBezTo>
                    <a:pt x="391" y="24"/>
                    <a:pt x="391" y="23"/>
                    <a:pt x="390" y="23"/>
                  </a:cubicBezTo>
                  <a:moveTo>
                    <a:pt x="378" y="23"/>
                  </a:moveTo>
                  <a:cubicBezTo>
                    <a:pt x="378" y="23"/>
                    <a:pt x="378" y="23"/>
                    <a:pt x="378" y="23"/>
                  </a:cubicBezTo>
                  <a:cubicBezTo>
                    <a:pt x="378" y="23"/>
                    <a:pt x="378" y="23"/>
                    <a:pt x="378" y="23"/>
                  </a:cubicBezTo>
                  <a:cubicBezTo>
                    <a:pt x="377" y="23"/>
                    <a:pt x="377" y="23"/>
                    <a:pt x="377" y="23"/>
                  </a:cubicBezTo>
                  <a:cubicBezTo>
                    <a:pt x="377" y="23"/>
                    <a:pt x="377" y="23"/>
                    <a:pt x="377" y="23"/>
                  </a:cubicBezTo>
                  <a:cubicBezTo>
                    <a:pt x="377" y="23"/>
                    <a:pt x="377" y="23"/>
                    <a:pt x="377" y="23"/>
                  </a:cubicBezTo>
                  <a:cubicBezTo>
                    <a:pt x="377" y="23"/>
                    <a:pt x="378" y="24"/>
                    <a:pt x="378" y="24"/>
                  </a:cubicBezTo>
                  <a:cubicBezTo>
                    <a:pt x="380" y="24"/>
                    <a:pt x="380" y="24"/>
                    <a:pt x="380" y="24"/>
                  </a:cubicBezTo>
                  <a:cubicBezTo>
                    <a:pt x="380" y="24"/>
                    <a:pt x="380" y="24"/>
                    <a:pt x="380" y="24"/>
                  </a:cubicBezTo>
                  <a:cubicBezTo>
                    <a:pt x="380" y="24"/>
                    <a:pt x="380" y="24"/>
                    <a:pt x="380" y="24"/>
                  </a:cubicBezTo>
                  <a:cubicBezTo>
                    <a:pt x="379" y="24"/>
                    <a:pt x="379" y="24"/>
                    <a:pt x="379" y="24"/>
                  </a:cubicBezTo>
                  <a:cubicBezTo>
                    <a:pt x="379" y="24"/>
                    <a:pt x="379" y="24"/>
                    <a:pt x="378" y="23"/>
                  </a:cubicBezTo>
                  <a:moveTo>
                    <a:pt x="389" y="31"/>
                  </a:moveTo>
                  <a:cubicBezTo>
                    <a:pt x="390" y="31"/>
                    <a:pt x="390" y="31"/>
                    <a:pt x="391" y="31"/>
                  </a:cubicBezTo>
                  <a:cubicBezTo>
                    <a:pt x="390" y="31"/>
                    <a:pt x="390" y="31"/>
                    <a:pt x="390" y="30"/>
                  </a:cubicBezTo>
                  <a:cubicBezTo>
                    <a:pt x="389" y="30"/>
                    <a:pt x="389" y="30"/>
                    <a:pt x="389" y="30"/>
                  </a:cubicBezTo>
                  <a:cubicBezTo>
                    <a:pt x="389" y="30"/>
                    <a:pt x="388" y="30"/>
                    <a:pt x="387" y="29"/>
                  </a:cubicBezTo>
                  <a:cubicBezTo>
                    <a:pt x="387" y="29"/>
                    <a:pt x="387" y="29"/>
                    <a:pt x="387" y="29"/>
                  </a:cubicBezTo>
                  <a:cubicBezTo>
                    <a:pt x="386" y="29"/>
                    <a:pt x="386" y="29"/>
                    <a:pt x="385" y="28"/>
                  </a:cubicBezTo>
                  <a:cubicBezTo>
                    <a:pt x="385" y="28"/>
                    <a:pt x="385" y="28"/>
                    <a:pt x="385" y="28"/>
                  </a:cubicBezTo>
                  <a:cubicBezTo>
                    <a:pt x="386" y="29"/>
                    <a:pt x="387" y="29"/>
                    <a:pt x="388" y="30"/>
                  </a:cubicBezTo>
                  <a:cubicBezTo>
                    <a:pt x="388" y="30"/>
                    <a:pt x="389" y="31"/>
                    <a:pt x="389" y="31"/>
                  </a:cubicBezTo>
                  <a:moveTo>
                    <a:pt x="331" y="16"/>
                  </a:moveTo>
                  <a:cubicBezTo>
                    <a:pt x="331" y="16"/>
                    <a:pt x="331" y="16"/>
                    <a:pt x="331" y="16"/>
                  </a:cubicBezTo>
                  <a:cubicBezTo>
                    <a:pt x="331" y="15"/>
                    <a:pt x="331" y="15"/>
                    <a:pt x="331" y="15"/>
                  </a:cubicBezTo>
                  <a:cubicBezTo>
                    <a:pt x="330" y="15"/>
                    <a:pt x="330" y="15"/>
                    <a:pt x="330" y="15"/>
                  </a:cubicBezTo>
                  <a:cubicBezTo>
                    <a:pt x="330" y="15"/>
                    <a:pt x="330" y="15"/>
                    <a:pt x="330" y="15"/>
                  </a:cubicBezTo>
                  <a:cubicBezTo>
                    <a:pt x="329" y="15"/>
                    <a:pt x="329" y="15"/>
                    <a:pt x="329" y="15"/>
                  </a:cubicBezTo>
                  <a:cubicBezTo>
                    <a:pt x="329" y="15"/>
                    <a:pt x="329" y="15"/>
                    <a:pt x="329" y="15"/>
                  </a:cubicBezTo>
                  <a:cubicBezTo>
                    <a:pt x="329" y="15"/>
                    <a:pt x="329" y="15"/>
                    <a:pt x="329" y="15"/>
                  </a:cubicBezTo>
                  <a:cubicBezTo>
                    <a:pt x="329" y="15"/>
                    <a:pt x="329" y="15"/>
                    <a:pt x="329" y="15"/>
                  </a:cubicBezTo>
                  <a:cubicBezTo>
                    <a:pt x="328" y="15"/>
                    <a:pt x="328" y="15"/>
                    <a:pt x="328" y="15"/>
                  </a:cubicBezTo>
                  <a:cubicBezTo>
                    <a:pt x="329" y="15"/>
                    <a:pt x="329" y="15"/>
                    <a:pt x="329" y="15"/>
                  </a:cubicBezTo>
                  <a:cubicBezTo>
                    <a:pt x="329" y="15"/>
                    <a:pt x="329" y="15"/>
                    <a:pt x="329" y="15"/>
                  </a:cubicBezTo>
                  <a:cubicBezTo>
                    <a:pt x="330" y="16"/>
                    <a:pt x="330" y="16"/>
                    <a:pt x="330" y="16"/>
                  </a:cubicBezTo>
                  <a:cubicBezTo>
                    <a:pt x="330" y="16"/>
                    <a:pt x="330" y="16"/>
                    <a:pt x="330" y="16"/>
                  </a:cubicBezTo>
                  <a:cubicBezTo>
                    <a:pt x="330" y="16"/>
                    <a:pt x="330" y="16"/>
                    <a:pt x="331" y="16"/>
                  </a:cubicBezTo>
                  <a:cubicBezTo>
                    <a:pt x="331" y="16"/>
                    <a:pt x="331" y="16"/>
                    <a:pt x="331" y="16"/>
                  </a:cubicBezTo>
                  <a:cubicBezTo>
                    <a:pt x="331" y="16"/>
                    <a:pt x="331" y="16"/>
                    <a:pt x="331" y="16"/>
                  </a:cubicBezTo>
                  <a:cubicBezTo>
                    <a:pt x="331" y="16"/>
                    <a:pt x="331" y="16"/>
                    <a:pt x="331" y="16"/>
                  </a:cubicBezTo>
                  <a:moveTo>
                    <a:pt x="318" y="20"/>
                  </a:moveTo>
                  <a:cubicBezTo>
                    <a:pt x="318" y="20"/>
                    <a:pt x="318" y="20"/>
                    <a:pt x="318" y="20"/>
                  </a:cubicBezTo>
                  <a:cubicBezTo>
                    <a:pt x="318" y="19"/>
                    <a:pt x="318" y="19"/>
                    <a:pt x="318" y="19"/>
                  </a:cubicBezTo>
                  <a:cubicBezTo>
                    <a:pt x="317" y="19"/>
                    <a:pt x="317" y="19"/>
                    <a:pt x="317" y="19"/>
                  </a:cubicBezTo>
                  <a:cubicBezTo>
                    <a:pt x="317" y="19"/>
                    <a:pt x="317" y="19"/>
                    <a:pt x="317" y="19"/>
                  </a:cubicBezTo>
                  <a:cubicBezTo>
                    <a:pt x="317" y="18"/>
                    <a:pt x="317" y="18"/>
                    <a:pt x="317" y="18"/>
                  </a:cubicBezTo>
                  <a:cubicBezTo>
                    <a:pt x="317" y="18"/>
                    <a:pt x="317" y="18"/>
                    <a:pt x="317" y="18"/>
                  </a:cubicBezTo>
                  <a:cubicBezTo>
                    <a:pt x="317" y="19"/>
                    <a:pt x="317" y="19"/>
                    <a:pt x="317" y="19"/>
                  </a:cubicBezTo>
                  <a:cubicBezTo>
                    <a:pt x="317" y="19"/>
                    <a:pt x="317" y="19"/>
                    <a:pt x="316" y="19"/>
                  </a:cubicBezTo>
                  <a:cubicBezTo>
                    <a:pt x="316" y="20"/>
                    <a:pt x="316" y="20"/>
                    <a:pt x="316" y="20"/>
                  </a:cubicBezTo>
                  <a:cubicBezTo>
                    <a:pt x="316" y="19"/>
                    <a:pt x="316" y="19"/>
                    <a:pt x="316" y="19"/>
                  </a:cubicBezTo>
                  <a:cubicBezTo>
                    <a:pt x="317" y="20"/>
                    <a:pt x="317" y="20"/>
                    <a:pt x="317" y="20"/>
                  </a:cubicBezTo>
                  <a:cubicBezTo>
                    <a:pt x="317" y="20"/>
                    <a:pt x="317" y="20"/>
                    <a:pt x="317" y="20"/>
                  </a:cubicBezTo>
                  <a:cubicBezTo>
                    <a:pt x="318" y="20"/>
                    <a:pt x="318" y="20"/>
                    <a:pt x="318" y="20"/>
                  </a:cubicBezTo>
                  <a:moveTo>
                    <a:pt x="327" y="14"/>
                  </a:moveTo>
                  <a:cubicBezTo>
                    <a:pt x="327" y="14"/>
                    <a:pt x="327" y="14"/>
                    <a:pt x="327" y="14"/>
                  </a:cubicBezTo>
                  <a:cubicBezTo>
                    <a:pt x="327" y="13"/>
                    <a:pt x="327" y="13"/>
                    <a:pt x="327" y="13"/>
                  </a:cubicBezTo>
                  <a:cubicBezTo>
                    <a:pt x="327" y="13"/>
                    <a:pt x="326" y="13"/>
                    <a:pt x="326" y="13"/>
                  </a:cubicBezTo>
                  <a:cubicBezTo>
                    <a:pt x="325" y="12"/>
                    <a:pt x="325" y="12"/>
                    <a:pt x="325" y="12"/>
                  </a:cubicBezTo>
                  <a:cubicBezTo>
                    <a:pt x="325" y="12"/>
                    <a:pt x="324" y="12"/>
                    <a:pt x="324" y="12"/>
                  </a:cubicBezTo>
                  <a:cubicBezTo>
                    <a:pt x="324" y="13"/>
                    <a:pt x="324" y="13"/>
                    <a:pt x="324" y="13"/>
                  </a:cubicBezTo>
                  <a:cubicBezTo>
                    <a:pt x="324" y="13"/>
                    <a:pt x="324" y="13"/>
                    <a:pt x="324" y="13"/>
                  </a:cubicBezTo>
                  <a:cubicBezTo>
                    <a:pt x="324" y="13"/>
                    <a:pt x="324" y="13"/>
                    <a:pt x="324" y="13"/>
                  </a:cubicBezTo>
                  <a:cubicBezTo>
                    <a:pt x="323" y="12"/>
                    <a:pt x="323" y="12"/>
                    <a:pt x="323" y="12"/>
                  </a:cubicBezTo>
                  <a:cubicBezTo>
                    <a:pt x="323" y="12"/>
                    <a:pt x="323" y="12"/>
                    <a:pt x="323" y="12"/>
                  </a:cubicBezTo>
                  <a:cubicBezTo>
                    <a:pt x="323" y="12"/>
                    <a:pt x="323" y="12"/>
                    <a:pt x="323" y="12"/>
                  </a:cubicBezTo>
                  <a:cubicBezTo>
                    <a:pt x="323" y="11"/>
                    <a:pt x="323" y="11"/>
                    <a:pt x="323" y="11"/>
                  </a:cubicBezTo>
                  <a:cubicBezTo>
                    <a:pt x="322" y="11"/>
                    <a:pt x="322" y="11"/>
                    <a:pt x="322" y="11"/>
                  </a:cubicBezTo>
                  <a:cubicBezTo>
                    <a:pt x="322" y="11"/>
                    <a:pt x="322" y="11"/>
                    <a:pt x="322" y="11"/>
                  </a:cubicBezTo>
                  <a:cubicBezTo>
                    <a:pt x="322" y="11"/>
                    <a:pt x="322" y="11"/>
                    <a:pt x="322" y="11"/>
                  </a:cubicBezTo>
                  <a:cubicBezTo>
                    <a:pt x="322" y="12"/>
                    <a:pt x="322" y="12"/>
                    <a:pt x="322" y="12"/>
                  </a:cubicBezTo>
                  <a:cubicBezTo>
                    <a:pt x="322" y="12"/>
                    <a:pt x="322" y="12"/>
                    <a:pt x="322" y="12"/>
                  </a:cubicBezTo>
                  <a:cubicBezTo>
                    <a:pt x="322" y="12"/>
                    <a:pt x="322" y="12"/>
                    <a:pt x="322" y="12"/>
                  </a:cubicBezTo>
                  <a:cubicBezTo>
                    <a:pt x="322" y="13"/>
                    <a:pt x="322" y="13"/>
                    <a:pt x="322" y="13"/>
                  </a:cubicBezTo>
                  <a:cubicBezTo>
                    <a:pt x="321" y="13"/>
                    <a:pt x="321" y="13"/>
                    <a:pt x="321" y="13"/>
                  </a:cubicBezTo>
                  <a:cubicBezTo>
                    <a:pt x="321" y="13"/>
                    <a:pt x="321" y="13"/>
                    <a:pt x="321" y="13"/>
                  </a:cubicBezTo>
                  <a:cubicBezTo>
                    <a:pt x="321" y="13"/>
                    <a:pt x="321" y="14"/>
                    <a:pt x="322" y="14"/>
                  </a:cubicBezTo>
                  <a:cubicBezTo>
                    <a:pt x="322" y="14"/>
                    <a:pt x="321" y="14"/>
                    <a:pt x="321" y="15"/>
                  </a:cubicBezTo>
                  <a:cubicBezTo>
                    <a:pt x="321" y="15"/>
                    <a:pt x="321" y="15"/>
                    <a:pt x="321" y="15"/>
                  </a:cubicBezTo>
                  <a:cubicBezTo>
                    <a:pt x="321" y="15"/>
                    <a:pt x="321" y="16"/>
                    <a:pt x="321" y="16"/>
                  </a:cubicBezTo>
                  <a:cubicBezTo>
                    <a:pt x="321" y="16"/>
                    <a:pt x="322" y="17"/>
                    <a:pt x="322" y="16"/>
                  </a:cubicBezTo>
                  <a:cubicBezTo>
                    <a:pt x="322" y="16"/>
                    <a:pt x="322" y="16"/>
                    <a:pt x="322" y="16"/>
                  </a:cubicBezTo>
                  <a:cubicBezTo>
                    <a:pt x="323" y="15"/>
                    <a:pt x="323" y="15"/>
                    <a:pt x="323" y="15"/>
                  </a:cubicBezTo>
                  <a:cubicBezTo>
                    <a:pt x="323" y="15"/>
                    <a:pt x="323" y="15"/>
                    <a:pt x="323" y="15"/>
                  </a:cubicBezTo>
                  <a:cubicBezTo>
                    <a:pt x="323" y="15"/>
                    <a:pt x="323" y="15"/>
                    <a:pt x="323" y="15"/>
                  </a:cubicBezTo>
                  <a:cubicBezTo>
                    <a:pt x="324" y="15"/>
                    <a:pt x="324" y="15"/>
                    <a:pt x="325" y="15"/>
                  </a:cubicBezTo>
                  <a:cubicBezTo>
                    <a:pt x="325" y="15"/>
                    <a:pt x="325" y="15"/>
                    <a:pt x="325" y="15"/>
                  </a:cubicBezTo>
                  <a:cubicBezTo>
                    <a:pt x="325" y="15"/>
                    <a:pt x="325" y="15"/>
                    <a:pt x="325" y="15"/>
                  </a:cubicBezTo>
                  <a:cubicBezTo>
                    <a:pt x="326" y="15"/>
                    <a:pt x="326" y="15"/>
                    <a:pt x="326" y="15"/>
                  </a:cubicBezTo>
                  <a:cubicBezTo>
                    <a:pt x="326" y="15"/>
                    <a:pt x="326" y="15"/>
                    <a:pt x="326" y="15"/>
                  </a:cubicBezTo>
                  <a:cubicBezTo>
                    <a:pt x="326" y="15"/>
                    <a:pt x="326" y="15"/>
                    <a:pt x="326" y="15"/>
                  </a:cubicBezTo>
                  <a:cubicBezTo>
                    <a:pt x="327" y="15"/>
                    <a:pt x="327" y="15"/>
                    <a:pt x="327" y="15"/>
                  </a:cubicBezTo>
                  <a:cubicBezTo>
                    <a:pt x="327" y="15"/>
                    <a:pt x="328" y="15"/>
                    <a:pt x="327" y="14"/>
                  </a:cubicBezTo>
                  <a:moveTo>
                    <a:pt x="320" y="11"/>
                  </a:moveTo>
                  <a:cubicBezTo>
                    <a:pt x="320" y="10"/>
                    <a:pt x="319" y="10"/>
                    <a:pt x="319" y="9"/>
                  </a:cubicBezTo>
                  <a:cubicBezTo>
                    <a:pt x="319" y="9"/>
                    <a:pt x="318" y="9"/>
                    <a:pt x="318" y="10"/>
                  </a:cubicBezTo>
                  <a:cubicBezTo>
                    <a:pt x="318" y="10"/>
                    <a:pt x="318" y="10"/>
                    <a:pt x="318" y="10"/>
                  </a:cubicBezTo>
                  <a:cubicBezTo>
                    <a:pt x="317" y="10"/>
                    <a:pt x="317" y="10"/>
                    <a:pt x="317" y="10"/>
                  </a:cubicBezTo>
                  <a:cubicBezTo>
                    <a:pt x="317" y="10"/>
                    <a:pt x="317" y="10"/>
                    <a:pt x="317" y="10"/>
                  </a:cubicBezTo>
                  <a:cubicBezTo>
                    <a:pt x="317" y="9"/>
                    <a:pt x="317" y="9"/>
                    <a:pt x="317" y="9"/>
                  </a:cubicBezTo>
                  <a:cubicBezTo>
                    <a:pt x="317" y="9"/>
                    <a:pt x="317" y="9"/>
                    <a:pt x="316" y="9"/>
                  </a:cubicBezTo>
                  <a:cubicBezTo>
                    <a:pt x="316" y="9"/>
                    <a:pt x="316" y="10"/>
                    <a:pt x="315" y="10"/>
                  </a:cubicBezTo>
                  <a:cubicBezTo>
                    <a:pt x="315" y="10"/>
                    <a:pt x="315" y="10"/>
                    <a:pt x="314" y="10"/>
                  </a:cubicBezTo>
                  <a:cubicBezTo>
                    <a:pt x="314" y="10"/>
                    <a:pt x="314" y="10"/>
                    <a:pt x="314" y="10"/>
                  </a:cubicBezTo>
                  <a:cubicBezTo>
                    <a:pt x="314" y="10"/>
                    <a:pt x="314" y="10"/>
                    <a:pt x="314" y="10"/>
                  </a:cubicBezTo>
                  <a:cubicBezTo>
                    <a:pt x="313" y="11"/>
                    <a:pt x="313" y="11"/>
                    <a:pt x="313" y="11"/>
                  </a:cubicBezTo>
                  <a:cubicBezTo>
                    <a:pt x="313" y="11"/>
                    <a:pt x="313" y="11"/>
                    <a:pt x="313" y="11"/>
                  </a:cubicBezTo>
                  <a:cubicBezTo>
                    <a:pt x="314" y="12"/>
                    <a:pt x="314" y="12"/>
                    <a:pt x="314" y="12"/>
                  </a:cubicBezTo>
                  <a:cubicBezTo>
                    <a:pt x="314" y="12"/>
                    <a:pt x="314" y="12"/>
                    <a:pt x="314" y="12"/>
                  </a:cubicBezTo>
                  <a:cubicBezTo>
                    <a:pt x="314" y="13"/>
                    <a:pt x="314" y="13"/>
                    <a:pt x="314" y="13"/>
                  </a:cubicBezTo>
                  <a:cubicBezTo>
                    <a:pt x="315" y="13"/>
                    <a:pt x="316" y="13"/>
                    <a:pt x="316" y="13"/>
                  </a:cubicBezTo>
                  <a:cubicBezTo>
                    <a:pt x="317" y="13"/>
                    <a:pt x="317" y="13"/>
                    <a:pt x="317" y="13"/>
                  </a:cubicBezTo>
                  <a:cubicBezTo>
                    <a:pt x="319" y="13"/>
                    <a:pt x="319" y="13"/>
                    <a:pt x="319" y="13"/>
                  </a:cubicBezTo>
                  <a:cubicBezTo>
                    <a:pt x="319" y="13"/>
                    <a:pt x="319" y="13"/>
                    <a:pt x="319" y="13"/>
                  </a:cubicBezTo>
                  <a:cubicBezTo>
                    <a:pt x="321" y="13"/>
                    <a:pt x="320" y="13"/>
                    <a:pt x="320" y="13"/>
                  </a:cubicBezTo>
                  <a:cubicBezTo>
                    <a:pt x="320" y="12"/>
                    <a:pt x="320" y="12"/>
                    <a:pt x="320" y="12"/>
                  </a:cubicBezTo>
                  <a:cubicBezTo>
                    <a:pt x="320" y="12"/>
                    <a:pt x="320" y="12"/>
                    <a:pt x="320" y="12"/>
                  </a:cubicBezTo>
                  <a:cubicBezTo>
                    <a:pt x="319" y="11"/>
                    <a:pt x="319" y="11"/>
                    <a:pt x="319" y="11"/>
                  </a:cubicBezTo>
                  <a:cubicBezTo>
                    <a:pt x="320" y="11"/>
                    <a:pt x="320" y="11"/>
                    <a:pt x="320" y="11"/>
                  </a:cubicBezTo>
                  <a:moveTo>
                    <a:pt x="317" y="7"/>
                  </a:moveTo>
                  <a:cubicBezTo>
                    <a:pt x="317" y="7"/>
                    <a:pt x="317" y="7"/>
                    <a:pt x="317" y="7"/>
                  </a:cubicBezTo>
                  <a:cubicBezTo>
                    <a:pt x="316" y="7"/>
                    <a:pt x="316" y="7"/>
                    <a:pt x="316" y="7"/>
                  </a:cubicBezTo>
                  <a:cubicBezTo>
                    <a:pt x="316" y="7"/>
                    <a:pt x="316" y="7"/>
                    <a:pt x="316" y="7"/>
                  </a:cubicBezTo>
                  <a:cubicBezTo>
                    <a:pt x="315" y="7"/>
                    <a:pt x="315" y="7"/>
                    <a:pt x="315" y="7"/>
                  </a:cubicBezTo>
                  <a:cubicBezTo>
                    <a:pt x="315" y="7"/>
                    <a:pt x="315" y="7"/>
                    <a:pt x="315" y="6"/>
                  </a:cubicBezTo>
                  <a:cubicBezTo>
                    <a:pt x="314" y="7"/>
                    <a:pt x="314" y="7"/>
                    <a:pt x="314" y="7"/>
                  </a:cubicBezTo>
                  <a:cubicBezTo>
                    <a:pt x="314" y="7"/>
                    <a:pt x="314" y="7"/>
                    <a:pt x="314" y="7"/>
                  </a:cubicBezTo>
                  <a:cubicBezTo>
                    <a:pt x="314" y="7"/>
                    <a:pt x="314" y="7"/>
                    <a:pt x="314" y="7"/>
                  </a:cubicBezTo>
                  <a:cubicBezTo>
                    <a:pt x="313" y="7"/>
                    <a:pt x="313" y="7"/>
                    <a:pt x="313" y="7"/>
                  </a:cubicBezTo>
                  <a:cubicBezTo>
                    <a:pt x="313" y="8"/>
                    <a:pt x="313" y="8"/>
                    <a:pt x="313" y="8"/>
                  </a:cubicBezTo>
                  <a:cubicBezTo>
                    <a:pt x="312" y="8"/>
                    <a:pt x="312" y="8"/>
                    <a:pt x="312" y="8"/>
                  </a:cubicBezTo>
                  <a:cubicBezTo>
                    <a:pt x="312" y="8"/>
                    <a:pt x="312" y="8"/>
                    <a:pt x="312" y="8"/>
                  </a:cubicBezTo>
                  <a:cubicBezTo>
                    <a:pt x="312" y="8"/>
                    <a:pt x="312" y="8"/>
                    <a:pt x="312" y="8"/>
                  </a:cubicBezTo>
                  <a:cubicBezTo>
                    <a:pt x="312" y="9"/>
                    <a:pt x="312" y="9"/>
                    <a:pt x="312" y="9"/>
                  </a:cubicBezTo>
                  <a:cubicBezTo>
                    <a:pt x="312" y="9"/>
                    <a:pt x="312" y="9"/>
                    <a:pt x="312" y="9"/>
                  </a:cubicBezTo>
                  <a:cubicBezTo>
                    <a:pt x="313" y="9"/>
                    <a:pt x="313" y="9"/>
                    <a:pt x="313" y="9"/>
                  </a:cubicBezTo>
                  <a:cubicBezTo>
                    <a:pt x="313" y="9"/>
                    <a:pt x="313" y="9"/>
                    <a:pt x="313" y="9"/>
                  </a:cubicBezTo>
                  <a:cubicBezTo>
                    <a:pt x="313" y="9"/>
                    <a:pt x="313" y="9"/>
                    <a:pt x="313" y="10"/>
                  </a:cubicBezTo>
                  <a:cubicBezTo>
                    <a:pt x="313" y="10"/>
                    <a:pt x="313" y="10"/>
                    <a:pt x="313" y="10"/>
                  </a:cubicBezTo>
                  <a:cubicBezTo>
                    <a:pt x="314" y="10"/>
                    <a:pt x="314" y="10"/>
                    <a:pt x="314" y="10"/>
                  </a:cubicBezTo>
                  <a:cubicBezTo>
                    <a:pt x="314" y="9"/>
                    <a:pt x="314" y="9"/>
                    <a:pt x="314" y="9"/>
                  </a:cubicBezTo>
                  <a:cubicBezTo>
                    <a:pt x="314" y="9"/>
                    <a:pt x="314" y="9"/>
                    <a:pt x="315" y="9"/>
                  </a:cubicBezTo>
                  <a:cubicBezTo>
                    <a:pt x="315" y="9"/>
                    <a:pt x="315" y="9"/>
                    <a:pt x="315" y="9"/>
                  </a:cubicBezTo>
                  <a:cubicBezTo>
                    <a:pt x="315" y="9"/>
                    <a:pt x="315" y="9"/>
                    <a:pt x="315" y="9"/>
                  </a:cubicBezTo>
                  <a:cubicBezTo>
                    <a:pt x="316" y="9"/>
                    <a:pt x="316" y="9"/>
                    <a:pt x="316" y="9"/>
                  </a:cubicBezTo>
                  <a:cubicBezTo>
                    <a:pt x="316" y="9"/>
                    <a:pt x="316" y="8"/>
                    <a:pt x="316" y="8"/>
                  </a:cubicBezTo>
                  <a:cubicBezTo>
                    <a:pt x="316" y="8"/>
                    <a:pt x="316" y="8"/>
                    <a:pt x="316" y="8"/>
                  </a:cubicBezTo>
                  <a:cubicBezTo>
                    <a:pt x="316" y="8"/>
                    <a:pt x="316" y="8"/>
                    <a:pt x="316" y="8"/>
                  </a:cubicBezTo>
                  <a:cubicBezTo>
                    <a:pt x="317" y="8"/>
                    <a:pt x="317" y="8"/>
                    <a:pt x="317" y="8"/>
                  </a:cubicBezTo>
                  <a:cubicBezTo>
                    <a:pt x="317" y="7"/>
                    <a:pt x="317" y="7"/>
                    <a:pt x="317" y="7"/>
                  </a:cubicBezTo>
                  <a:moveTo>
                    <a:pt x="313" y="11"/>
                  </a:moveTo>
                  <a:cubicBezTo>
                    <a:pt x="313" y="11"/>
                    <a:pt x="313" y="11"/>
                    <a:pt x="313" y="11"/>
                  </a:cubicBezTo>
                  <a:cubicBezTo>
                    <a:pt x="313" y="10"/>
                    <a:pt x="313" y="10"/>
                    <a:pt x="313" y="10"/>
                  </a:cubicBezTo>
                  <a:cubicBezTo>
                    <a:pt x="313" y="10"/>
                    <a:pt x="313" y="10"/>
                    <a:pt x="313" y="10"/>
                  </a:cubicBezTo>
                  <a:cubicBezTo>
                    <a:pt x="313" y="10"/>
                    <a:pt x="313" y="10"/>
                    <a:pt x="313" y="10"/>
                  </a:cubicBezTo>
                  <a:cubicBezTo>
                    <a:pt x="312" y="10"/>
                    <a:pt x="312" y="10"/>
                    <a:pt x="312" y="10"/>
                  </a:cubicBezTo>
                  <a:cubicBezTo>
                    <a:pt x="312" y="10"/>
                    <a:pt x="312" y="10"/>
                    <a:pt x="312" y="10"/>
                  </a:cubicBezTo>
                  <a:cubicBezTo>
                    <a:pt x="312" y="10"/>
                    <a:pt x="312" y="10"/>
                    <a:pt x="312" y="10"/>
                  </a:cubicBezTo>
                  <a:cubicBezTo>
                    <a:pt x="312" y="10"/>
                    <a:pt x="312" y="10"/>
                    <a:pt x="312" y="10"/>
                  </a:cubicBezTo>
                  <a:cubicBezTo>
                    <a:pt x="312" y="10"/>
                    <a:pt x="312" y="10"/>
                    <a:pt x="312" y="10"/>
                  </a:cubicBezTo>
                  <a:cubicBezTo>
                    <a:pt x="312" y="10"/>
                    <a:pt x="312" y="10"/>
                    <a:pt x="312" y="10"/>
                  </a:cubicBezTo>
                  <a:cubicBezTo>
                    <a:pt x="311" y="10"/>
                    <a:pt x="311" y="10"/>
                    <a:pt x="311" y="10"/>
                  </a:cubicBezTo>
                  <a:cubicBezTo>
                    <a:pt x="311" y="10"/>
                    <a:pt x="311" y="10"/>
                    <a:pt x="311" y="10"/>
                  </a:cubicBezTo>
                  <a:cubicBezTo>
                    <a:pt x="311" y="10"/>
                    <a:pt x="311" y="10"/>
                    <a:pt x="311" y="10"/>
                  </a:cubicBezTo>
                  <a:cubicBezTo>
                    <a:pt x="311" y="10"/>
                    <a:pt x="311" y="10"/>
                    <a:pt x="311" y="11"/>
                  </a:cubicBezTo>
                  <a:cubicBezTo>
                    <a:pt x="311" y="11"/>
                    <a:pt x="311" y="11"/>
                    <a:pt x="312" y="11"/>
                  </a:cubicBezTo>
                  <a:cubicBezTo>
                    <a:pt x="312" y="11"/>
                    <a:pt x="312" y="11"/>
                    <a:pt x="312" y="11"/>
                  </a:cubicBezTo>
                  <a:cubicBezTo>
                    <a:pt x="312" y="11"/>
                    <a:pt x="312" y="11"/>
                    <a:pt x="312" y="11"/>
                  </a:cubicBezTo>
                  <a:cubicBezTo>
                    <a:pt x="312" y="11"/>
                    <a:pt x="312" y="11"/>
                    <a:pt x="312" y="11"/>
                  </a:cubicBezTo>
                  <a:cubicBezTo>
                    <a:pt x="313" y="11"/>
                    <a:pt x="313" y="11"/>
                    <a:pt x="313" y="11"/>
                  </a:cubicBezTo>
                  <a:cubicBezTo>
                    <a:pt x="313" y="11"/>
                    <a:pt x="313" y="11"/>
                    <a:pt x="313" y="11"/>
                  </a:cubicBezTo>
                  <a:cubicBezTo>
                    <a:pt x="313" y="11"/>
                    <a:pt x="313" y="11"/>
                    <a:pt x="313" y="11"/>
                  </a:cubicBezTo>
                  <a:cubicBezTo>
                    <a:pt x="313" y="11"/>
                    <a:pt x="313" y="11"/>
                    <a:pt x="313" y="11"/>
                  </a:cubicBezTo>
                  <a:moveTo>
                    <a:pt x="312" y="7"/>
                  </a:moveTo>
                  <a:cubicBezTo>
                    <a:pt x="312" y="7"/>
                    <a:pt x="312" y="7"/>
                    <a:pt x="312" y="7"/>
                  </a:cubicBezTo>
                  <a:cubicBezTo>
                    <a:pt x="311" y="7"/>
                    <a:pt x="311" y="7"/>
                    <a:pt x="311" y="7"/>
                  </a:cubicBezTo>
                  <a:cubicBezTo>
                    <a:pt x="312" y="6"/>
                    <a:pt x="312" y="6"/>
                    <a:pt x="312" y="6"/>
                  </a:cubicBezTo>
                  <a:cubicBezTo>
                    <a:pt x="311" y="6"/>
                    <a:pt x="311" y="6"/>
                    <a:pt x="311" y="6"/>
                  </a:cubicBezTo>
                  <a:cubicBezTo>
                    <a:pt x="311" y="6"/>
                    <a:pt x="311" y="6"/>
                    <a:pt x="311" y="6"/>
                  </a:cubicBezTo>
                  <a:cubicBezTo>
                    <a:pt x="311" y="6"/>
                    <a:pt x="311" y="6"/>
                    <a:pt x="311" y="6"/>
                  </a:cubicBezTo>
                  <a:cubicBezTo>
                    <a:pt x="311" y="6"/>
                    <a:pt x="311" y="6"/>
                    <a:pt x="311" y="6"/>
                  </a:cubicBezTo>
                  <a:cubicBezTo>
                    <a:pt x="311" y="6"/>
                    <a:pt x="311" y="6"/>
                    <a:pt x="311" y="6"/>
                  </a:cubicBezTo>
                  <a:cubicBezTo>
                    <a:pt x="310" y="7"/>
                    <a:pt x="310" y="7"/>
                    <a:pt x="310" y="7"/>
                  </a:cubicBezTo>
                  <a:cubicBezTo>
                    <a:pt x="311" y="7"/>
                    <a:pt x="311" y="7"/>
                    <a:pt x="311" y="7"/>
                  </a:cubicBezTo>
                  <a:cubicBezTo>
                    <a:pt x="311" y="7"/>
                    <a:pt x="311" y="7"/>
                    <a:pt x="311" y="7"/>
                  </a:cubicBezTo>
                  <a:cubicBezTo>
                    <a:pt x="311" y="7"/>
                    <a:pt x="311" y="7"/>
                    <a:pt x="311" y="7"/>
                  </a:cubicBezTo>
                  <a:cubicBezTo>
                    <a:pt x="311" y="7"/>
                    <a:pt x="311" y="7"/>
                    <a:pt x="311" y="7"/>
                  </a:cubicBezTo>
                  <a:cubicBezTo>
                    <a:pt x="312" y="7"/>
                    <a:pt x="312" y="7"/>
                    <a:pt x="312" y="7"/>
                  </a:cubicBezTo>
                  <a:moveTo>
                    <a:pt x="212" y="50"/>
                  </a:moveTo>
                  <a:cubicBezTo>
                    <a:pt x="213" y="50"/>
                    <a:pt x="213" y="50"/>
                    <a:pt x="213" y="50"/>
                  </a:cubicBezTo>
                  <a:cubicBezTo>
                    <a:pt x="212" y="49"/>
                    <a:pt x="212" y="49"/>
                    <a:pt x="213" y="48"/>
                  </a:cubicBezTo>
                  <a:cubicBezTo>
                    <a:pt x="212" y="48"/>
                    <a:pt x="211" y="48"/>
                    <a:pt x="210" y="48"/>
                  </a:cubicBezTo>
                  <a:cubicBezTo>
                    <a:pt x="210" y="48"/>
                    <a:pt x="210" y="49"/>
                    <a:pt x="210" y="49"/>
                  </a:cubicBezTo>
                  <a:cubicBezTo>
                    <a:pt x="209" y="49"/>
                    <a:pt x="209" y="49"/>
                    <a:pt x="209" y="49"/>
                  </a:cubicBezTo>
                  <a:cubicBezTo>
                    <a:pt x="208" y="50"/>
                    <a:pt x="208" y="51"/>
                    <a:pt x="207" y="52"/>
                  </a:cubicBezTo>
                  <a:cubicBezTo>
                    <a:pt x="207" y="52"/>
                    <a:pt x="207" y="52"/>
                    <a:pt x="208" y="52"/>
                  </a:cubicBezTo>
                  <a:cubicBezTo>
                    <a:pt x="209" y="52"/>
                    <a:pt x="209" y="51"/>
                    <a:pt x="210" y="51"/>
                  </a:cubicBezTo>
                  <a:cubicBezTo>
                    <a:pt x="210" y="51"/>
                    <a:pt x="210" y="51"/>
                    <a:pt x="210" y="51"/>
                  </a:cubicBezTo>
                  <a:cubicBezTo>
                    <a:pt x="210" y="51"/>
                    <a:pt x="211" y="51"/>
                    <a:pt x="211" y="51"/>
                  </a:cubicBezTo>
                  <a:cubicBezTo>
                    <a:pt x="212" y="50"/>
                    <a:pt x="212" y="50"/>
                    <a:pt x="212" y="50"/>
                  </a:cubicBezTo>
                  <a:moveTo>
                    <a:pt x="277" y="20"/>
                  </a:moveTo>
                  <a:cubicBezTo>
                    <a:pt x="277" y="20"/>
                    <a:pt x="278" y="20"/>
                    <a:pt x="278" y="19"/>
                  </a:cubicBezTo>
                  <a:cubicBezTo>
                    <a:pt x="278" y="19"/>
                    <a:pt x="278" y="19"/>
                    <a:pt x="278" y="19"/>
                  </a:cubicBezTo>
                  <a:cubicBezTo>
                    <a:pt x="277" y="19"/>
                    <a:pt x="277" y="19"/>
                    <a:pt x="277" y="19"/>
                  </a:cubicBezTo>
                  <a:cubicBezTo>
                    <a:pt x="277" y="19"/>
                    <a:pt x="277" y="19"/>
                    <a:pt x="277" y="19"/>
                  </a:cubicBezTo>
                  <a:cubicBezTo>
                    <a:pt x="277" y="19"/>
                    <a:pt x="277" y="19"/>
                    <a:pt x="277" y="19"/>
                  </a:cubicBezTo>
                  <a:cubicBezTo>
                    <a:pt x="267" y="21"/>
                    <a:pt x="267" y="21"/>
                    <a:pt x="266" y="21"/>
                  </a:cubicBezTo>
                  <a:cubicBezTo>
                    <a:pt x="266" y="21"/>
                    <a:pt x="266" y="21"/>
                    <a:pt x="265" y="21"/>
                  </a:cubicBezTo>
                  <a:cubicBezTo>
                    <a:pt x="263" y="22"/>
                    <a:pt x="263" y="22"/>
                    <a:pt x="261" y="23"/>
                  </a:cubicBezTo>
                  <a:cubicBezTo>
                    <a:pt x="260" y="23"/>
                    <a:pt x="260" y="23"/>
                    <a:pt x="259" y="23"/>
                  </a:cubicBezTo>
                  <a:cubicBezTo>
                    <a:pt x="253" y="25"/>
                    <a:pt x="249" y="26"/>
                    <a:pt x="248" y="28"/>
                  </a:cubicBezTo>
                  <a:cubicBezTo>
                    <a:pt x="248" y="28"/>
                    <a:pt x="248" y="28"/>
                    <a:pt x="248" y="28"/>
                  </a:cubicBezTo>
                  <a:cubicBezTo>
                    <a:pt x="247" y="28"/>
                    <a:pt x="247" y="28"/>
                    <a:pt x="247" y="29"/>
                  </a:cubicBezTo>
                  <a:cubicBezTo>
                    <a:pt x="242" y="29"/>
                    <a:pt x="242" y="30"/>
                    <a:pt x="241" y="31"/>
                  </a:cubicBezTo>
                  <a:cubicBezTo>
                    <a:pt x="243" y="31"/>
                    <a:pt x="243" y="31"/>
                    <a:pt x="243" y="31"/>
                  </a:cubicBezTo>
                  <a:cubicBezTo>
                    <a:pt x="242" y="31"/>
                    <a:pt x="242" y="31"/>
                    <a:pt x="242" y="31"/>
                  </a:cubicBezTo>
                  <a:cubicBezTo>
                    <a:pt x="241" y="32"/>
                    <a:pt x="241" y="32"/>
                    <a:pt x="241" y="32"/>
                  </a:cubicBezTo>
                  <a:cubicBezTo>
                    <a:pt x="241" y="32"/>
                    <a:pt x="241" y="32"/>
                    <a:pt x="241" y="32"/>
                  </a:cubicBezTo>
                  <a:cubicBezTo>
                    <a:pt x="241" y="32"/>
                    <a:pt x="240" y="32"/>
                    <a:pt x="240" y="32"/>
                  </a:cubicBezTo>
                  <a:cubicBezTo>
                    <a:pt x="240" y="32"/>
                    <a:pt x="240" y="32"/>
                    <a:pt x="240" y="32"/>
                  </a:cubicBezTo>
                  <a:cubicBezTo>
                    <a:pt x="239" y="32"/>
                    <a:pt x="239" y="32"/>
                    <a:pt x="239" y="32"/>
                  </a:cubicBezTo>
                  <a:cubicBezTo>
                    <a:pt x="238" y="32"/>
                    <a:pt x="238" y="33"/>
                    <a:pt x="237" y="33"/>
                  </a:cubicBezTo>
                  <a:cubicBezTo>
                    <a:pt x="230" y="37"/>
                    <a:pt x="230" y="37"/>
                    <a:pt x="230" y="37"/>
                  </a:cubicBezTo>
                  <a:cubicBezTo>
                    <a:pt x="229" y="37"/>
                    <a:pt x="229" y="37"/>
                    <a:pt x="226" y="40"/>
                  </a:cubicBezTo>
                  <a:cubicBezTo>
                    <a:pt x="226" y="40"/>
                    <a:pt x="226" y="40"/>
                    <a:pt x="226" y="40"/>
                  </a:cubicBezTo>
                  <a:cubicBezTo>
                    <a:pt x="227" y="40"/>
                    <a:pt x="227" y="40"/>
                    <a:pt x="228" y="39"/>
                  </a:cubicBezTo>
                  <a:cubicBezTo>
                    <a:pt x="228" y="40"/>
                    <a:pt x="228" y="40"/>
                    <a:pt x="228" y="40"/>
                  </a:cubicBezTo>
                  <a:cubicBezTo>
                    <a:pt x="228" y="40"/>
                    <a:pt x="228" y="40"/>
                    <a:pt x="227" y="41"/>
                  </a:cubicBezTo>
                  <a:cubicBezTo>
                    <a:pt x="228" y="40"/>
                    <a:pt x="228" y="40"/>
                    <a:pt x="229" y="40"/>
                  </a:cubicBezTo>
                  <a:cubicBezTo>
                    <a:pt x="229" y="41"/>
                    <a:pt x="229" y="41"/>
                    <a:pt x="229" y="42"/>
                  </a:cubicBezTo>
                  <a:cubicBezTo>
                    <a:pt x="227" y="43"/>
                    <a:pt x="227" y="43"/>
                    <a:pt x="227" y="43"/>
                  </a:cubicBezTo>
                  <a:cubicBezTo>
                    <a:pt x="226" y="43"/>
                    <a:pt x="226" y="43"/>
                    <a:pt x="226" y="43"/>
                  </a:cubicBezTo>
                  <a:cubicBezTo>
                    <a:pt x="226" y="43"/>
                    <a:pt x="226" y="43"/>
                    <a:pt x="226" y="43"/>
                  </a:cubicBezTo>
                  <a:cubicBezTo>
                    <a:pt x="227" y="43"/>
                    <a:pt x="228" y="43"/>
                    <a:pt x="228" y="43"/>
                  </a:cubicBezTo>
                  <a:cubicBezTo>
                    <a:pt x="229" y="44"/>
                    <a:pt x="230" y="44"/>
                    <a:pt x="231" y="44"/>
                  </a:cubicBezTo>
                  <a:cubicBezTo>
                    <a:pt x="232" y="44"/>
                    <a:pt x="232" y="44"/>
                    <a:pt x="232" y="44"/>
                  </a:cubicBezTo>
                  <a:cubicBezTo>
                    <a:pt x="233" y="44"/>
                    <a:pt x="233" y="44"/>
                    <a:pt x="233" y="44"/>
                  </a:cubicBezTo>
                  <a:cubicBezTo>
                    <a:pt x="233" y="44"/>
                    <a:pt x="234" y="44"/>
                    <a:pt x="234" y="43"/>
                  </a:cubicBezTo>
                  <a:cubicBezTo>
                    <a:pt x="234" y="43"/>
                    <a:pt x="234" y="43"/>
                    <a:pt x="234" y="43"/>
                  </a:cubicBezTo>
                  <a:cubicBezTo>
                    <a:pt x="234" y="42"/>
                    <a:pt x="234" y="42"/>
                    <a:pt x="234" y="42"/>
                  </a:cubicBezTo>
                  <a:cubicBezTo>
                    <a:pt x="234" y="42"/>
                    <a:pt x="235" y="42"/>
                    <a:pt x="235" y="41"/>
                  </a:cubicBezTo>
                  <a:cubicBezTo>
                    <a:pt x="235" y="41"/>
                    <a:pt x="235" y="41"/>
                    <a:pt x="235" y="41"/>
                  </a:cubicBezTo>
                  <a:cubicBezTo>
                    <a:pt x="235" y="41"/>
                    <a:pt x="235" y="41"/>
                    <a:pt x="235" y="41"/>
                  </a:cubicBezTo>
                  <a:cubicBezTo>
                    <a:pt x="235" y="41"/>
                    <a:pt x="235" y="41"/>
                    <a:pt x="235" y="39"/>
                  </a:cubicBezTo>
                  <a:cubicBezTo>
                    <a:pt x="236" y="38"/>
                    <a:pt x="236" y="38"/>
                    <a:pt x="236" y="38"/>
                  </a:cubicBezTo>
                  <a:cubicBezTo>
                    <a:pt x="236" y="38"/>
                    <a:pt x="236" y="38"/>
                    <a:pt x="236" y="38"/>
                  </a:cubicBezTo>
                  <a:cubicBezTo>
                    <a:pt x="236" y="38"/>
                    <a:pt x="237" y="37"/>
                    <a:pt x="237" y="37"/>
                  </a:cubicBezTo>
                  <a:cubicBezTo>
                    <a:pt x="237" y="36"/>
                    <a:pt x="237" y="36"/>
                    <a:pt x="237" y="36"/>
                  </a:cubicBezTo>
                  <a:cubicBezTo>
                    <a:pt x="239" y="36"/>
                    <a:pt x="241" y="34"/>
                    <a:pt x="242" y="33"/>
                  </a:cubicBezTo>
                  <a:cubicBezTo>
                    <a:pt x="243" y="33"/>
                    <a:pt x="243" y="33"/>
                    <a:pt x="243" y="33"/>
                  </a:cubicBezTo>
                  <a:cubicBezTo>
                    <a:pt x="244" y="33"/>
                    <a:pt x="244" y="33"/>
                    <a:pt x="244" y="33"/>
                  </a:cubicBezTo>
                  <a:cubicBezTo>
                    <a:pt x="244" y="32"/>
                    <a:pt x="244" y="32"/>
                    <a:pt x="244" y="32"/>
                  </a:cubicBezTo>
                  <a:cubicBezTo>
                    <a:pt x="245" y="32"/>
                    <a:pt x="245" y="32"/>
                    <a:pt x="245" y="32"/>
                  </a:cubicBezTo>
                  <a:cubicBezTo>
                    <a:pt x="245" y="32"/>
                    <a:pt x="251" y="29"/>
                    <a:pt x="253" y="27"/>
                  </a:cubicBezTo>
                  <a:cubicBezTo>
                    <a:pt x="253" y="27"/>
                    <a:pt x="255" y="27"/>
                    <a:pt x="256" y="27"/>
                  </a:cubicBezTo>
                  <a:cubicBezTo>
                    <a:pt x="256" y="27"/>
                    <a:pt x="257" y="26"/>
                    <a:pt x="257" y="26"/>
                  </a:cubicBezTo>
                  <a:cubicBezTo>
                    <a:pt x="258" y="26"/>
                    <a:pt x="260" y="25"/>
                    <a:pt x="261" y="24"/>
                  </a:cubicBezTo>
                  <a:cubicBezTo>
                    <a:pt x="266" y="23"/>
                    <a:pt x="266" y="23"/>
                    <a:pt x="266" y="23"/>
                  </a:cubicBezTo>
                  <a:cubicBezTo>
                    <a:pt x="267" y="23"/>
                    <a:pt x="268" y="23"/>
                    <a:pt x="268" y="23"/>
                  </a:cubicBezTo>
                  <a:cubicBezTo>
                    <a:pt x="268" y="23"/>
                    <a:pt x="271" y="22"/>
                    <a:pt x="272" y="22"/>
                  </a:cubicBezTo>
                  <a:cubicBezTo>
                    <a:pt x="272" y="22"/>
                    <a:pt x="273" y="22"/>
                    <a:pt x="274" y="22"/>
                  </a:cubicBezTo>
                  <a:cubicBezTo>
                    <a:pt x="277" y="21"/>
                    <a:pt x="277" y="20"/>
                    <a:pt x="277" y="20"/>
                  </a:cubicBezTo>
                  <a:moveTo>
                    <a:pt x="271" y="33"/>
                  </a:moveTo>
                  <a:cubicBezTo>
                    <a:pt x="271" y="32"/>
                    <a:pt x="271" y="32"/>
                    <a:pt x="271" y="32"/>
                  </a:cubicBezTo>
                  <a:cubicBezTo>
                    <a:pt x="271" y="32"/>
                    <a:pt x="270" y="32"/>
                    <a:pt x="270" y="32"/>
                  </a:cubicBezTo>
                  <a:cubicBezTo>
                    <a:pt x="270" y="32"/>
                    <a:pt x="269" y="32"/>
                    <a:pt x="267" y="34"/>
                  </a:cubicBezTo>
                  <a:cubicBezTo>
                    <a:pt x="267" y="34"/>
                    <a:pt x="267" y="34"/>
                    <a:pt x="267" y="34"/>
                  </a:cubicBezTo>
                  <a:cubicBezTo>
                    <a:pt x="267" y="34"/>
                    <a:pt x="268" y="34"/>
                    <a:pt x="268" y="34"/>
                  </a:cubicBezTo>
                  <a:cubicBezTo>
                    <a:pt x="269" y="34"/>
                    <a:pt x="269" y="34"/>
                    <a:pt x="269" y="34"/>
                  </a:cubicBezTo>
                  <a:cubicBezTo>
                    <a:pt x="269" y="34"/>
                    <a:pt x="269" y="34"/>
                    <a:pt x="269" y="34"/>
                  </a:cubicBezTo>
                  <a:cubicBezTo>
                    <a:pt x="270" y="34"/>
                    <a:pt x="270" y="34"/>
                    <a:pt x="270" y="34"/>
                  </a:cubicBezTo>
                  <a:cubicBezTo>
                    <a:pt x="270" y="34"/>
                    <a:pt x="270" y="34"/>
                    <a:pt x="270" y="34"/>
                  </a:cubicBezTo>
                  <a:cubicBezTo>
                    <a:pt x="270" y="34"/>
                    <a:pt x="271" y="33"/>
                    <a:pt x="271" y="33"/>
                  </a:cubicBezTo>
                  <a:moveTo>
                    <a:pt x="292" y="7"/>
                  </a:moveTo>
                  <a:cubicBezTo>
                    <a:pt x="292" y="7"/>
                    <a:pt x="292" y="7"/>
                    <a:pt x="292" y="7"/>
                  </a:cubicBezTo>
                  <a:cubicBezTo>
                    <a:pt x="293" y="6"/>
                    <a:pt x="293" y="6"/>
                    <a:pt x="293" y="6"/>
                  </a:cubicBezTo>
                  <a:cubicBezTo>
                    <a:pt x="293" y="6"/>
                    <a:pt x="293" y="6"/>
                    <a:pt x="293" y="6"/>
                  </a:cubicBezTo>
                  <a:cubicBezTo>
                    <a:pt x="293" y="6"/>
                    <a:pt x="293" y="6"/>
                    <a:pt x="293" y="6"/>
                  </a:cubicBezTo>
                  <a:cubicBezTo>
                    <a:pt x="292" y="6"/>
                    <a:pt x="292" y="6"/>
                    <a:pt x="292" y="6"/>
                  </a:cubicBezTo>
                  <a:cubicBezTo>
                    <a:pt x="292" y="6"/>
                    <a:pt x="292" y="6"/>
                    <a:pt x="292" y="6"/>
                  </a:cubicBezTo>
                  <a:cubicBezTo>
                    <a:pt x="291" y="6"/>
                    <a:pt x="291" y="6"/>
                    <a:pt x="291" y="6"/>
                  </a:cubicBezTo>
                  <a:cubicBezTo>
                    <a:pt x="291" y="6"/>
                    <a:pt x="291" y="6"/>
                    <a:pt x="290" y="7"/>
                  </a:cubicBezTo>
                  <a:cubicBezTo>
                    <a:pt x="290" y="7"/>
                    <a:pt x="290" y="7"/>
                    <a:pt x="290" y="7"/>
                  </a:cubicBezTo>
                  <a:cubicBezTo>
                    <a:pt x="289" y="7"/>
                    <a:pt x="289" y="7"/>
                    <a:pt x="289" y="7"/>
                  </a:cubicBezTo>
                  <a:cubicBezTo>
                    <a:pt x="290" y="7"/>
                    <a:pt x="290" y="7"/>
                    <a:pt x="290" y="7"/>
                  </a:cubicBezTo>
                  <a:cubicBezTo>
                    <a:pt x="289" y="7"/>
                    <a:pt x="289" y="7"/>
                    <a:pt x="288" y="8"/>
                  </a:cubicBezTo>
                  <a:cubicBezTo>
                    <a:pt x="288" y="8"/>
                    <a:pt x="289" y="7"/>
                    <a:pt x="290" y="7"/>
                  </a:cubicBezTo>
                  <a:cubicBezTo>
                    <a:pt x="291" y="7"/>
                    <a:pt x="292" y="7"/>
                    <a:pt x="292" y="7"/>
                  </a:cubicBezTo>
                  <a:moveTo>
                    <a:pt x="287" y="8"/>
                  </a:moveTo>
                  <a:cubicBezTo>
                    <a:pt x="287" y="8"/>
                    <a:pt x="287" y="8"/>
                    <a:pt x="287" y="8"/>
                  </a:cubicBezTo>
                  <a:cubicBezTo>
                    <a:pt x="288" y="7"/>
                    <a:pt x="289" y="7"/>
                    <a:pt x="290" y="6"/>
                  </a:cubicBezTo>
                  <a:cubicBezTo>
                    <a:pt x="290" y="6"/>
                    <a:pt x="290" y="6"/>
                    <a:pt x="290" y="6"/>
                  </a:cubicBezTo>
                  <a:cubicBezTo>
                    <a:pt x="289" y="6"/>
                    <a:pt x="288" y="7"/>
                    <a:pt x="288" y="7"/>
                  </a:cubicBezTo>
                  <a:cubicBezTo>
                    <a:pt x="288" y="7"/>
                    <a:pt x="288" y="7"/>
                    <a:pt x="288" y="7"/>
                  </a:cubicBezTo>
                  <a:cubicBezTo>
                    <a:pt x="287" y="7"/>
                    <a:pt x="287" y="7"/>
                    <a:pt x="287" y="7"/>
                  </a:cubicBezTo>
                  <a:cubicBezTo>
                    <a:pt x="286" y="7"/>
                    <a:pt x="285" y="8"/>
                    <a:pt x="285" y="8"/>
                  </a:cubicBezTo>
                  <a:cubicBezTo>
                    <a:pt x="285" y="8"/>
                    <a:pt x="285" y="8"/>
                    <a:pt x="285" y="8"/>
                  </a:cubicBezTo>
                  <a:cubicBezTo>
                    <a:pt x="284" y="8"/>
                    <a:pt x="284" y="8"/>
                    <a:pt x="284" y="8"/>
                  </a:cubicBezTo>
                  <a:cubicBezTo>
                    <a:pt x="285" y="8"/>
                    <a:pt x="285" y="8"/>
                    <a:pt x="285" y="8"/>
                  </a:cubicBezTo>
                  <a:cubicBezTo>
                    <a:pt x="285" y="8"/>
                    <a:pt x="285" y="8"/>
                    <a:pt x="285" y="8"/>
                  </a:cubicBezTo>
                  <a:cubicBezTo>
                    <a:pt x="285" y="8"/>
                    <a:pt x="285" y="8"/>
                    <a:pt x="285" y="8"/>
                  </a:cubicBezTo>
                  <a:cubicBezTo>
                    <a:pt x="286" y="8"/>
                    <a:pt x="286" y="8"/>
                    <a:pt x="286" y="8"/>
                  </a:cubicBezTo>
                  <a:cubicBezTo>
                    <a:pt x="286" y="8"/>
                    <a:pt x="286" y="8"/>
                    <a:pt x="286" y="8"/>
                  </a:cubicBezTo>
                  <a:cubicBezTo>
                    <a:pt x="286" y="8"/>
                    <a:pt x="286" y="8"/>
                    <a:pt x="286" y="8"/>
                  </a:cubicBezTo>
                  <a:cubicBezTo>
                    <a:pt x="286" y="8"/>
                    <a:pt x="287" y="8"/>
                    <a:pt x="287" y="8"/>
                  </a:cubicBezTo>
                  <a:moveTo>
                    <a:pt x="282" y="9"/>
                  </a:moveTo>
                  <a:cubicBezTo>
                    <a:pt x="283" y="9"/>
                    <a:pt x="283" y="9"/>
                    <a:pt x="283" y="9"/>
                  </a:cubicBezTo>
                  <a:cubicBezTo>
                    <a:pt x="283" y="9"/>
                    <a:pt x="283" y="9"/>
                    <a:pt x="282" y="9"/>
                  </a:cubicBezTo>
                  <a:cubicBezTo>
                    <a:pt x="282" y="9"/>
                    <a:pt x="282" y="9"/>
                    <a:pt x="282" y="9"/>
                  </a:cubicBezTo>
                  <a:cubicBezTo>
                    <a:pt x="282" y="9"/>
                    <a:pt x="282" y="9"/>
                    <a:pt x="282" y="9"/>
                  </a:cubicBezTo>
                  <a:cubicBezTo>
                    <a:pt x="282" y="9"/>
                    <a:pt x="282" y="9"/>
                    <a:pt x="282" y="9"/>
                  </a:cubicBezTo>
                  <a:cubicBezTo>
                    <a:pt x="282" y="9"/>
                    <a:pt x="282" y="9"/>
                    <a:pt x="282" y="9"/>
                  </a:cubicBezTo>
                  <a:cubicBezTo>
                    <a:pt x="282" y="9"/>
                    <a:pt x="282" y="9"/>
                    <a:pt x="282" y="9"/>
                  </a:cubicBezTo>
                  <a:cubicBezTo>
                    <a:pt x="281" y="9"/>
                    <a:pt x="281" y="9"/>
                    <a:pt x="281" y="9"/>
                  </a:cubicBezTo>
                  <a:cubicBezTo>
                    <a:pt x="281" y="9"/>
                    <a:pt x="281" y="9"/>
                    <a:pt x="281" y="9"/>
                  </a:cubicBezTo>
                  <a:cubicBezTo>
                    <a:pt x="281" y="9"/>
                    <a:pt x="281" y="9"/>
                    <a:pt x="281" y="9"/>
                  </a:cubicBezTo>
                  <a:cubicBezTo>
                    <a:pt x="281" y="9"/>
                    <a:pt x="281" y="9"/>
                    <a:pt x="281" y="9"/>
                  </a:cubicBezTo>
                  <a:cubicBezTo>
                    <a:pt x="282" y="9"/>
                    <a:pt x="282" y="9"/>
                    <a:pt x="282" y="9"/>
                  </a:cubicBezTo>
                  <a:cubicBezTo>
                    <a:pt x="282" y="9"/>
                    <a:pt x="282" y="9"/>
                    <a:pt x="282" y="9"/>
                  </a:cubicBezTo>
                  <a:moveTo>
                    <a:pt x="283" y="8"/>
                  </a:moveTo>
                  <a:cubicBezTo>
                    <a:pt x="284" y="8"/>
                    <a:pt x="284" y="8"/>
                    <a:pt x="284" y="8"/>
                  </a:cubicBezTo>
                  <a:cubicBezTo>
                    <a:pt x="284" y="8"/>
                    <a:pt x="284" y="8"/>
                    <a:pt x="284" y="8"/>
                  </a:cubicBezTo>
                  <a:cubicBezTo>
                    <a:pt x="284" y="8"/>
                    <a:pt x="283" y="8"/>
                    <a:pt x="283" y="8"/>
                  </a:cubicBezTo>
                  <a:cubicBezTo>
                    <a:pt x="282" y="8"/>
                    <a:pt x="281" y="8"/>
                    <a:pt x="280" y="8"/>
                  </a:cubicBezTo>
                  <a:cubicBezTo>
                    <a:pt x="280" y="9"/>
                    <a:pt x="279" y="9"/>
                    <a:pt x="279" y="9"/>
                  </a:cubicBezTo>
                  <a:cubicBezTo>
                    <a:pt x="279" y="9"/>
                    <a:pt x="279" y="9"/>
                    <a:pt x="280" y="9"/>
                  </a:cubicBezTo>
                  <a:cubicBezTo>
                    <a:pt x="280" y="9"/>
                    <a:pt x="281" y="9"/>
                    <a:pt x="281" y="8"/>
                  </a:cubicBezTo>
                  <a:cubicBezTo>
                    <a:pt x="280" y="9"/>
                    <a:pt x="280" y="9"/>
                    <a:pt x="280" y="9"/>
                  </a:cubicBezTo>
                  <a:cubicBezTo>
                    <a:pt x="281" y="9"/>
                    <a:pt x="281" y="9"/>
                    <a:pt x="281" y="9"/>
                  </a:cubicBezTo>
                  <a:cubicBezTo>
                    <a:pt x="281" y="9"/>
                    <a:pt x="282" y="9"/>
                    <a:pt x="282" y="8"/>
                  </a:cubicBezTo>
                  <a:cubicBezTo>
                    <a:pt x="283" y="8"/>
                    <a:pt x="283" y="8"/>
                    <a:pt x="283" y="8"/>
                  </a:cubicBezTo>
                  <a:moveTo>
                    <a:pt x="287" y="7"/>
                  </a:moveTo>
                  <a:cubicBezTo>
                    <a:pt x="287" y="7"/>
                    <a:pt x="287" y="7"/>
                    <a:pt x="287" y="7"/>
                  </a:cubicBezTo>
                  <a:cubicBezTo>
                    <a:pt x="288" y="6"/>
                    <a:pt x="288" y="6"/>
                    <a:pt x="288" y="6"/>
                  </a:cubicBezTo>
                  <a:cubicBezTo>
                    <a:pt x="288" y="6"/>
                    <a:pt x="287" y="6"/>
                    <a:pt x="287" y="6"/>
                  </a:cubicBezTo>
                  <a:cubicBezTo>
                    <a:pt x="287" y="6"/>
                    <a:pt x="287" y="6"/>
                    <a:pt x="287" y="6"/>
                  </a:cubicBezTo>
                  <a:cubicBezTo>
                    <a:pt x="288" y="6"/>
                    <a:pt x="289" y="6"/>
                    <a:pt x="290" y="5"/>
                  </a:cubicBezTo>
                  <a:cubicBezTo>
                    <a:pt x="290" y="5"/>
                    <a:pt x="290" y="5"/>
                    <a:pt x="290" y="5"/>
                  </a:cubicBezTo>
                  <a:cubicBezTo>
                    <a:pt x="290" y="5"/>
                    <a:pt x="290" y="5"/>
                    <a:pt x="290" y="5"/>
                  </a:cubicBezTo>
                  <a:cubicBezTo>
                    <a:pt x="289" y="5"/>
                    <a:pt x="289" y="5"/>
                    <a:pt x="289" y="5"/>
                  </a:cubicBezTo>
                  <a:cubicBezTo>
                    <a:pt x="289" y="5"/>
                    <a:pt x="289" y="5"/>
                    <a:pt x="289" y="5"/>
                  </a:cubicBezTo>
                  <a:cubicBezTo>
                    <a:pt x="288" y="6"/>
                    <a:pt x="288" y="6"/>
                    <a:pt x="288" y="6"/>
                  </a:cubicBezTo>
                  <a:cubicBezTo>
                    <a:pt x="286" y="6"/>
                    <a:pt x="286" y="6"/>
                    <a:pt x="286" y="6"/>
                  </a:cubicBezTo>
                  <a:cubicBezTo>
                    <a:pt x="286" y="6"/>
                    <a:pt x="286" y="6"/>
                    <a:pt x="286" y="6"/>
                  </a:cubicBezTo>
                  <a:cubicBezTo>
                    <a:pt x="286" y="6"/>
                    <a:pt x="286" y="6"/>
                    <a:pt x="286" y="6"/>
                  </a:cubicBezTo>
                  <a:cubicBezTo>
                    <a:pt x="286" y="6"/>
                    <a:pt x="286" y="6"/>
                    <a:pt x="286" y="6"/>
                  </a:cubicBezTo>
                  <a:cubicBezTo>
                    <a:pt x="283" y="7"/>
                    <a:pt x="283" y="7"/>
                    <a:pt x="283" y="7"/>
                  </a:cubicBezTo>
                  <a:cubicBezTo>
                    <a:pt x="283" y="7"/>
                    <a:pt x="283" y="7"/>
                    <a:pt x="282" y="7"/>
                  </a:cubicBezTo>
                  <a:cubicBezTo>
                    <a:pt x="282" y="7"/>
                    <a:pt x="281" y="8"/>
                    <a:pt x="280" y="8"/>
                  </a:cubicBezTo>
                  <a:cubicBezTo>
                    <a:pt x="280" y="8"/>
                    <a:pt x="280" y="8"/>
                    <a:pt x="280" y="8"/>
                  </a:cubicBezTo>
                  <a:cubicBezTo>
                    <a:pt x="280" y="8"/>
                    <a:pt x="280" y="8"/>
                    <a:pt x="280" y="8"/>
                  </a:cubicBezTo>
                  <a:cubicBezTo>
                    <a:pt x="280" y="8"/>
                    <a:pt x="280" y="8"/>
                    <a:pt x="280" y="8"/>
                  </a:cubicBezTo>
                  <a:cubicBezTo>
                    <a:pt x="280" y="8"/>
                    <a:pt x="280" y="8"/>
                    <a:pt x="280" y="8"/>
                  </a:cubicBezTo>
                  <a:cubicBezTo>
                    <a:pt x="280" y="8"/>
                    <a:pt x="280" y="8"/>
                    <a:pt x="280" y="8"/>
                  </a:cubicBezTo>
                  <a:cubicBezTo>
                    <a:pt x="280" y="8"/>
                    <a:pt x="280" y="8"/>
                    <a:pt x="280" y="8"/>
                  </a:cubicBezTo>
                  <a:cubicBezTo>
                    <a:pt x="280" y="8"/>
                    <a:pt x="280" y="8"/>
                    <a:pt x="280" y="8"/>
                  </a:cubicBezTo>
                  <a:cubicBezTo>
                    <a:pt x="280" y="8"/>
                    <a:pt x="280" y="8"/>
                    <a:pt x="280" y="8"/>
                  </a:cubicBezTo>
                  <a:cubicBezTo>
                    <a:pt x="280" y="8"/>
                    <a:pt x="280" y="8"/>
                    <a:pt x="279" y="8"/>
                  </a:cubicBezTo>
                  <a:cubicBezTo>
                    <a:pt x="278" y="8"/>
                    <a:pt x="278" y="8"/>
                    <a:pt x="278" y="8"/>
                  </a:cubicBezTo>
                  <a:cubicBezTo>
                    <a:pt x="278" y="8"/>
                    <a:pt x="278" y="8"/>
                    <a:pt x="278" y="8"/>
                  </a:cubicBezTo>
                  <a:cubicBezTo>
                    <a:pt x="278" y="8"/>
                    <a:pt x="278" y="8"/>
                    <a:pt x="278" y="8"/>
                  </a:cubicBezTo>
                  <a:cubicBezTo>
                    <a:pt x="279" y="8"/>
                    <a:pt x="279" y="8"/>
                    <a:pt x="280" y="8"/>
                  </a:cubicBezTo>
                  <a:cubicBezTo>
                    <a:pt x="280" y="8"/>
                    <a:pt x="280" y="8"/>
                    <a:pt x="281" y="8"/>
                  </a:cubicBezTo>
                  <a:cubicBezTo>
                    <a:pt x="282" y="7"/>
                    <a:pt x="283" y="7"/>
                    <a:pt x="283" y="7"/>
                  </a:cubicBezTo>
                  <a:cubicBezTo>
                    <a:pt x="283" y="7"/>
                    <a:pt x="283" y="7"/>
                    <a:pt x="283" y="7"/>
                  </a:cubicBezTo>
                  <a:cubicBezTo>
                    <a:pt x="283" y="7"/>
                    <a:pt x="283" y="7"/>
                    <a:pt x="283" y="7"/>
                  </a:cubicBezTo>
                  <a:cubicBezTo>
                    <a:pt x="283" y="7"/>
                    <a:pt x="283" y="7"/>
                    <a:pt x="283" y="7"/>
                  </a:cubicBezTo>
                  <a:cubicBezTo>
                    <a:pt x="284" y="7"/>
                    <a:pt x="284" y="7"/>
                    <a:pt x="284" y="7"/>
                  </a:cubicBezTo>
                  <a:cubicBezTo>
                    <a:pt x="286" y="6"/>
                    <a:pt x="286" y="6"/>
                    <a:pt x="286" y="6"/>
                  </a:cubicBezTo>
                  <a:cubicBezTo>
                    <a:pt x="286" y="7"/>
                    <a:pt x="286" y="7"/>
                    <a:pt x="286" y="7"/>
                  </a:cubicBezTo>
                  <a:cubicBezTo>
                    <a:pt x="285" y="7"/>
                    <a:pt x="285" y="7"/>
                    <a:pt x="285" y="7"/>
                  </a:cubicBezTo>
                  <a:cubicBezTo>
                    <a:pt x="286" y="7"/>
                    <a:pt x="286" y="7"/>
                    <a:pt x="287" y="7"/>
                  </a:cubicBezTo>
                  <a:moveTo>
                    <a:pt x="279" y="7"/>
                  </a:moveTo>
                  <a:cubicBezTo>
                    <a:pt x="280" y="7"/>
                    <a:pt x="280" y="7"/>
                    <a:pt x="281" y="7"/>
                  </a:cubicBezTo>
                  <a:cubicBezTo>
                    <a:pt x="281" y="7"/>
                    <a:pt x="281" y="7"/>
                    <a:pt x="281" y="7"/>
                  </a:cubicBezTo>
                  <a:cubicBezTo>
                    <a:pt x="280" y="7"/>
                    <a:pt x="280" y="7"/>
                    <a:pt x="280" y="7"/>
                  </a:cubicBezTo>
                  <a:cubicBezTo>
                    <a:pt x="281" y="7"/>
                    <a:pt x="282" y="6"/>
                    <a:pt x="282" y="6"/>
                  </a:cubicBezTo>
                  <a:cubicBezTo>
                    <a:pt x="282" y="6"/>
                    <a:pt x="282" y="6"/>
                    <a:pt x="282" y="6"/>
                  </a:cubicBezTo>
                  <a:cubicBezTo>
                    <a:pt x="282" y="6"/>
                    <a:pt x="282" y="6"/>
                    <a:pt x="281" y="6"/>
                  </a:cubicBezTo>
                  <a:cubicBezTo>
                    <a:pt x="279" y="7"/>
                    <a:pt x="279" y="7"/>
                    <a:pt x="279" y="7"/>
                  </a:cubicBezTo>
                  <a:cubicBezTo>
                    <a:pt x="279" y="7"/>
                    <a:pt x="279" y="7"/>
                    <a:pt x="278" y="7"/>
                  </a:cubicBezTo>
                  <a:cubicBezTo>
                    <a:pt x="278" y="7"/>
                    <a:pt x="278" y="7"/>
                    <a:pt x="278" y="7"/>
                  </a:cubicBezTo>
                  <a:cubicBezTo>
                    <a:pt x="278" y="7"/>
                    <a:pt x="278" y="7"/>
                    <a:pt x="278" y="7"/>
                  </a:cubicBezTo>
                  <a:cubicBezTo>
                    <a:pt x="278" y="7"/>
                    <a:pt x="278" y="7"/>
                    <a:pt x="278" y="7"/>
                  </a:cubicBezTo>
                  <a:cubicBezTo>
                    <a:pt x="276" y="7"/>
                    <a:pt x="276" y="7"/>
                    <a:pt x="276" y="7"/>
                  </a:cubicBezTo>
                  <a:cubicBezTo>
                    <a:pt x="276" y="7"/>
                    <a:pt x="276" y="7"/>
                    <a:pt x="277" y="7"/>
                  </a:cubicBezTo>
                  <a:cubicBezTo>
                    <a:pt x="277" y="7"/>
                    <a:pt x="277" y="7"/>
                    <a:pt x="277" y="7"/>
                  </a:cubicBezTo>
                  <a:cubicBezTo>
                    <a:pt x="276" y="7"/>
                    <a:pt x="276" y="7"/>
                    <a:pt x="276" y="7"/>
                  </a:cubicBezTo>
                  <a:cubicBezTo>
                    <a:pt x="275" y="7"/>
                    <a:pt x="274" y="7"/>
                    <a:pt x="274" y="8"/>
                  </a:cubicBezTo>
                  <a:cubicBezTo>
                    <a:pt x="274" y="8"/>
                    <a:pt x="274" y="8"/>
                    <a:pt x="274" y="8"/>
                  </a:cubicBezTo>
                  <a:cubicBezTo>
                    <a:pt x="274" y="8"/>
                    <a:pt x="275" y="7"/>
                    <a:pt x="275" y="7"/>
                  </a:cubicBezTo>
                  <a:cubicBezTo>
                    <a:pt x="276" y="7"/>
                    <a:pt x="277" y="7"/>
                    <a:pt x="277" y="7"/>
                  </a:cubicBezTo>
                  <a:cubicBezTo>
                    <a:pt x="277" y="7"/>
                    <a:pt x="277" y="7"/>
                    <a:pt x="277" y="7"/>
                  </a:cubicBezTo>
                  <a:cubicBezTo>
                    <a:pt x="277" y="7"/>
                    <a:pt x="277" y="7"/>
                    <a:pt x="277" y="7"/>
                  </a:cubicBezTo>
                  <a:cubicBezTo>
                    <a:pt x="275" y="8"/>
                    <a:pt x="275" y="8"/>
                    <a:pt x="275" y="8"/>
                  </a:cubicBezTo>
                  <a:cubicBezTo>
                    <a:pt x="274" y="8"/>
                    <a:pt x="274" y="8"/>
                    <a:pt x="273" y="8"/>
                  </a:cubicBezTo>
                  <a:cubicBezTo>
                    <a:pt x="273" y="8"/>
                    <a:pt x="273" y="9"/>
                    <a:pt x="272" y="9"/>
                  </a:cubicBezTo>
                  <a:cubicBezTo>
                    <a:pt x="272" y="9"/>
                    <a:pt x="272" y="9"/>
                    <a:pt x="272" y="9"/>
                  </a:cubicBezTo>
                  <a:cubicBezTo>
                    <a:pt x="273" y="9"/>
                    <a:pt x="274" y="9"/>
                    <a:pt x="276" y="8"/>
                  </a:cubicBezTo>
                  <a:cubicBezTo>
                    <a:pt x="276" y="8"/>
                    <a:pt x="276" y="8"/>
                    <a:pt x="276" y="8"/>
                  </a:cubicBezTo>
                  <a:cubicBezTo>
                    <a:pt x="277" y="8"/>
                    <a:pt x="277" y="8"/>
                    <a:pt x="277" y="8"/>
                  </a:cubicBezTo>
                  <a:cubicBezTo>
                    <a:pt x="277" y="8"/>
                    <a:pt x="277" y="8"/>
                    <a:pt x="277" y="8"/>
                  </a:cubicBezTo>
                  <a:cubicBezTo>
                    <a:pt x="277" y="8"/>
                    <a:pt x="277" y="8"/>
                    <a:pt x="277" y="8"/>
                  </a:cubicBezTo>
                  <a:cubicBezTo>
                    <a:pt x="277" y="8"/>
                    <a:pt x="279" y="7"/>
                    <a:pt x="279" y="7"/>
                  </a:cubicBezTo>
                  <a:moveTo>
                    <a:pt x="259" y="8"/>
                  </a:moveTo>
                  <a:cubicBezTo>
                    <a:pt x="260" y="8"/>
                    <a:pt x="261" y="7"/>
                    <a:pt x="261" y="7"/>
                  </a:cubicBezTo>
                  <a:cubicBezTo>
                    <a:pt x="260" y="7"/>
                    <a:pt x="260" y="7"/>
                    <a:pt x="260" y="7"/>
                  </a:cubicBezTo>
                  <a:cubicBezTo>
                    <a:pt x="259" y="7"/>
                    <a:pt x="259" y="7"/>
                    <a:pt x="259" y="7"/>
                  </a:cubicBezTo>
                  <a:cubicBezTo>
                    <a:pt x="261" y="7"/>
                    <a:pt x="262" y="7"/>
                    <a:pt x="263" y="7"/>
                  </a:cubicBezTo>
                  <a:cubicBezTo>
                    <a:pt x="262" y="7"/>
                    <a:pt x="260" y="7"/>
                    <a:pt x="259" y="7"/>
                  </a:cubicBezTo>
                  <a:cubicBezTo>
                    <a:pt x="260" y="7"/>
                    <a:pt x="260" y="7"/>
                    <a:pt x="260" y="7"/>
                  </a:cubicBezTo>
                  <a:cubicBezTo>
                    <a:pt x="262" y="7"/>
                    <a:pt x="262" y="7"/>
                    <a:pt x="262" y="7"/>
                  </a:cubicBezTo>
                  <a:cubicBezTo>
                    <a:pt x="262" y="7"/>
                    <a:pt x="262" y="7"/>
                    <a:pt x="262" y="7"/>
                  </a:cubicBezTo>
                  <a:cubicBezTo>
                    <a:pt x="263" y="6"/>
                    <a:pt x="263" y="6"/>
                    <a:pt x="263" y="6"/>
                  </a:cubicBezTo>
                  <a:cubicBezTo>
                    <a:pt x="263" y="6"/>
                    <a:pt x="262" y="7"/>
                    <a:pt x="262" y="7"/>
                  </a:cubicBezTo>
                  <a:cubicBezTo>
                    <a:pt x="262" y="7"/>
                    <a:pt x="262" y="7"/>
                    <a:pt x="262" y="7"/>
                  </a:cubicBezTo>
                  <a:cubicBezTo>
                    <a:pt x="262" y="7"/>
                    <a:pt x="262" y="7"/>
                    <a:pt x="262" y="7"/>
                  </a:cubicBezTo>
                  <a:cubicBezTo>
                    <a:pt x="262" y="6"/>
                    <a:pt x="262" y="6"/>
                    <a:pt x="262" y="6"/>
                  </a:cubicBezTo>
                  <a:cubicBezTo>
                    <a:pt x="262" y="6"/>
                    <a:pt x="262" y="6"/>
                    <a:pt x="262" y="6"/>
                  </a:cubicBezTo>
                  <a:cubicBezTo>
                    <a:pt x="260" y="7"/>
                    <a:pt x="259" y="7"/>
                    <a:pt x="257" y="8"/>
                  </a:cubicBezTo>
                  <a:cubicBezTo>
                    <a:pt x="258" y="7"/>
                    <a:pt x="260" y="7"/>
                    <a:pt x="261" y="7"/>
                  </a:cubicBezTo>
                  <a:cubicBezTo>
                    <a:pt x="260" y="6"/>
                    <a:pt x="256" y="7"/>
                    <a:pt x="256" y="7"/>
                  </a:cubicBezTo>
                  <a:cubicBezTo>
                    <a:pt x="256" y="7"/>
                    <a:pt x="256" y="7"/>
                    <a:pt x="256" y="7"/>
                  </a:cubicBezTo>
                  <a:cubicBezTo>
                    <a:pt x="256" y="8"/>
                    <a:pt x="256" y="8"/>
                    <a:pt x="256" y="8"/>
                  </a:cubicBezTo>
                  <a:cubicBezTo>
                    <a:pt x="256" y="8"/>
                    <a:pt x="256" y="7"/>
                    <a:pt x="256" y="7"/>
                  </a:cubicBezTo>
                  <a:cubicBezTo>
                    <a:pt x="256" y="8"/>
                    <a:pt x="256" y="8"/>
                    <a:pt x="255" y="8"/>
                  </a:cubicBezTo>
                  <a:cubicBezTo>
                    <a:pt x="254" y="8"/>
                    <a:pt x="254" y="8"/>
                    <a:pt x="254" y="8"/>
                  </a:cubicBezTo>
                  <a:cubicBezTo>
                    <a:pt x="253" y="8"/>
                    <a:pt x="253" y="8"/>
                    <a:pt x="252" y="8"/>
                  </a:cubicBezTo>
                  <a:cubicBezTo>
                    <a:pt x="252" y="9"/>
                    <a:pt x="251" y="9"/>
                    <a:pt x="251" y="9"/>
                  </a:cubicBezTo>
                  <a:cubicBezTo>
                    <a:pt x="251" y="9"/>
                    <a:pt x="251" y="9"/>
                    <a:pt x="251" y="9"/>
                  </a:cubicBezTo>
                  <a:cubicBezTo>
                    <a:pt x="251" y="9"/>
                    <a:pt x="251" y="9"/>
                    <a:pt x="252" y="9"/>
                  </a:cubicBezTo>
                  <a:cubicBezTo>
                    <a:pt x="251" y="9"/>
                    <a:pt x="250" y="9"/>
                    <a:pt x="250" y="9"/>
                  </a:cubicBezTo>
                  <a:cubicBezTo>
                    <a:pt x="251" y="10"/>
                    <a:pt x="252" y="9"/>
                    <a:pt x="253" y="9"/>
                  </a:cubicBezTo>
                  <a:cubicBezTo>
                    <a:pt x="253" y="9"/>
                    <a:pt x="253" y="9"/>
                    <a:pt x="253" y="9"/>
                  </a:cubicBezTo>
                  <a:cubicBezTo>
                    <a:pt x="253" y="9"/>
                    <a:pt x="253" y="9"/>
                    <a:pt x="255" y="9"/>
                  </a:cubicBezTo>
                  <a:cubicBezTo>
                    <a:pt x="256" y="9"/>
                    <a:pt x="256" y="9"/>
                    <a:pt x="259" y="8"/>
                  </a:cubicBezTo>
                  <a:moveTo>
                    <a:pt x="250" y="9"/>
                  </a:moveTo>
                  <a:cubicBezTo>
                    <a:pt x="250" y="9"/>
                    <a:pt x="250" y="9"/>
                    <a:pt x="250" y="9"/>
                  </a:cubicBezTo>
                  <a:cubicBezTo>
                    <a:pt x="250" y="9"/>
                    <a:pt x="250" y="9"/>
                    <a:pt x="250" y="9"/>
                  </a:cubicBezTo>
                  <a:cubicBezTo>
                    <a:pt x="250" y="9"/>
                    <a:pt x="250" y="9"/>
                    <a:pt x="250" y="9"/>
                  </a:cubicBezTo>
                  <a:moveTo>
                    <a:pt x="236" y="14"/>
                  </a:moveTo>
                  <a:cubicBezTo>
                    <a:pt x="236" y="14"/>
                    <a:pt x="236" y="14"/>
                    <a:pt x="236" y="14"/>
                  </a:cubicBezTo>
                  <a:cubicBezTo>
                    <a:pt x="238" y="14"/>
                    <a:pt x="238" y="14"/>
                    <a:pt x="238" y="14"/>
                  </a:cubicBezTo>
                  <a:cubicBezTo>
                    <a:pt x="237" y="14"/>
                    <a:pt x="237" y="14"/>
                    <a:pt x="237" y="14"/>
                  </a:cubicBezTo>
                  <a:cubicBezTo>
                    <a:pt x="238" y="13"/>
                    <a:pt x="238" y="13"/>
                    <a:pt x="240" y="13"/>
                  </a:cubicBezTo>
                  <a:cubicBezTo>
                    <a:pt x="240" y="13"/>
                    <a:pt x="240" y="12"/>
                    <a:pt x="240" y="12"/>
                  </a:cubicBezTo>
                  <a:cubicBezTo>
                    <a:pt x="241" y="12"/>
                    <a:pt x="243" y="11"/>
                    <a:pt x="245" y="11"/>
                  </a:cubicBezTo>
                  <a:cubicBezTo>
                    <a:pt x="246" y="10"/>
                    <a:pt x="247" y="10"/>
                    <a:pt x="248" y="10"/>
                  </a:cubicBezTo>
                  <a:cubicBezTo>
                    <a:pt x="248" y="10"/>
                    <a:pt x="248" y="10"/>
                    <a:pt x="247" y="10"/>
                  </a:cubicBezTo>
                  <a:cubicBezTo>
                    <a:pt x="247" y="10"/>
                    <a:pt x="247" y="10"/>
                    <a:pt x="247" y="10"/>
                  </a:cubicBezTo>
                  <a:cubicBezTo>
                    <a:pt x="248" y="9"/>
                    <a:pt x="249" y="9"/>
                    <a:pt x="250" y="9"/>
                  </a:cubicBezTo>
                  <a:cubicBezTo>
                    <a:pt x="249" y="9"/>
                    <a:pt x="249" y="9"/>
                    <a:pt x="249" y="9"/>
                  </a:cubicBezTo>
                  <a:cubicBezTo>
                    <a:pt x="251" y="8"/>
                    <a:pt x="253" y="8"/>
                    <a:pt x="255" y="7"/>
                  </a:cubicBezTo>
                  <a:cubicBezTo>
                    <a:pt x="254" y="7"/>
                    <a:pt x="254" y="7"/>
                    <a:pt x="254" y="7"/>
                  </a:cubicBezTo>
                  <a:cubicBezTo>
                    <a:pt x="254" y="7"/>
                    <a:pt x="252" y="8"/>
                    <a:pt x="251" y="8"/>
                  </a:cubicBezTo>
                  <a:cubicBezTo>
                    <a:pt x="251" y="8"/>
                    <a:pt x="251" y="8"/>
                    <a:pt x="251" y="8"/>
                  </a:cubicBezTo>
                  <a:cubicBezTo>
                    <a:pt x="249" y="9"/>
                    <a:pt x="247" y="9"/>
                    <a:pt x="246" y="9"/>
                  </a:cubicBezTo>
                  <a:cubicBezTo>
                    <a:pt x="246" y="9"/>
                    <a:pt x="246" y="9"/>
                    <a:pt x="248" y="9"/>
                  </a:cubicBezTo>
                  <a:cubicBezTo>
                    <a:pt x="248" y="9"/>
                    <a:pt x="249" y="9"/>
                    <a:pt x="249" y="9"/>
                  </a:cubicBezTo>
                  <a:cubicBezTo>
                    <a:pt x="249" y="8"/>
                    <a:pt x="250" y="8"/>
                    <a:pt x="250" y="8"/>
                  </a:cubicBezTo>
                  <a:cubicBezTo>
                    <a:pt x="250" y="8"/>
                    <a:pt x="251" y="8"/>
                    <a:pt x="251" y="8"/>
                  </a:cubicBezTo>
                  <a:cubicBezTo>
                    <a:pt x="253" y="8"/>
                    <a:pt x="253" y="8"/>
                    <a:pt x="253" y="8"/>
                  </a:cubicBezTo>
                  <a:cubicBezTo>
                    <a:pt x="252" y="8"/>
                    <a:pt x="250" y="8"/>
                    <a:pt x="249" y="8"/>
                  </a:cubicBezTo>
                  <a:cubicBezTo>
                    <a:pt x="249" y="8"/>
                    <a:pt x="249" y="8"/>
                    <a:pt x="249" y="8"/>
                  </a:cubicBezTo>
                  <a:cubicBezTo>
                    <a:pt x="249" y="8"/>
                    <a:pt x="250" y="8"/>
                    <a:pt x="251" y="8"/>
                  </a:cubicBezTo>
                  <a:cubicBezTo>
                    <a:pt x="251" y="8"/>
                    <a:pt x="252" y="8"/>
                    <a:pt x="253" y="7"/>
                  </a:cubicBezTo>
                  <a:cubicBezTo>
                    <a:pt x="253" y="7"/>
                    <a:pt x="252" y="8"/>
                    <a:pt x="251" y="8"/>
                  </a:cubicBezTo>
                  <a:cubicBezTo>
                    <a:pt x="251" y="8"/>
                    <a:pt x="251" y="8"/>
                    <a:pt x="251" y="8"/>
                  </a:cubicBezTo>
                  <a:cubicBezTo>
                    <a:pt x="250" y="8"/>
                    <a:pt x="250" y="8"/>
                    <a:pt x="238" y="11"/>
                  </a:cubicBezTo>
                  <a:cubicBezTo>
                    <a:pt x="239" y="11"/>
                    <a:pt x="240" y="10"/>
                    <a:pt x="242" y="10"/>
                  </a:cubicBezTo>
                  <a:cubicBezTo>
                    <a:pt x="241" y="10"/>
                    <a:pt x="237" y="11"/>
                    <a:pt x="235" y="12"/>
                  </a:cubicBezTo>
                  <a:cubicBezTo>
                    <a:pt x="236" y="12"/>
                    <a:pt x="236" y="12"/>
                    <a:pt x="239" y="11"/>
                  </a:cubicBezTo>
                  <a:cubicBezTo>
                    <a:pt x="238" y="11"/>
                    <a:pt x="237" y="11"/>
                    <a:pt x="236" y="12"/>
                  </a:cubicBezTo>
                  <a:cubicBezTo>
                    <a:pt x="236" y="12"/>
                    <a:pt x="236" y="12"/>
                    <a:pt x="236" y="12"/>
                  </a:cubicBezTo>
                  <a:cubicBezTo>
                    <a:pt x="236" y="12"/>
                    <a:pt x="239" y="11"/>
                    <a:pt x="240" y="11"/>
                  </a:cubicBezTo>
                  <a:cubicBezTo>
                    <a:pt x="241" y="11"/>
                    <a:pt x="241" y="10"/>
                    <a:pt x="242" y="10"/>
                  </a:cubicBezTo>
                  <a:cubicBezTo>
                    <a:pt x="242" y="10"/>
                    <a:pt x="242" y="10"/>
                    <a:pt x="242" y="10"/>
                  </a:cubicBezTo>
                  <a:cubicBezTo>
                    <a:pt x="241" y="11"/>
                    <a:pt x="240" y="11"/>
                    <a:pt x="239" y="11"/>
                  </a:cubicBezTo>
                  <a:cubicBezTo>
                    <a:pt x="239" y="11"/>
                    <a:pt x="239" y="11"/>
                    <a:pt x="239" y="11"/>
                  </a:cubicBezTo>
                  <a:cubicBezTo>
                    <a:pt x="241" y="11"/>
                    <a:pt x="241" y="11"/>
                    <a:pt x="241" y="11"/>
                  </a:cubicBezTo>
                  <a:cubicBezTo>
                    <a:pt x="240" y="11"/>
                    <a:pt x="240" y="11"/>
                    <a:pt x="240" y="11"/>
                  </a:cubicBezTo>
                  <a:cubicBezTo>
                    <a:pt x="238" y="12"/>
                    <a:pt x="238" y="12"/>
                    <a:pt x="238" y="12"/>
                  </a:cubicBezTo>
                  <a:cubicBezTo>
                    <a:pt x="237" y="12"/>
                    <a:pt x="237" y="12"/>
                    <a:pt x="237" y="12"/>
                  </a:cubicBezTo>
                  <a:cubicBezTo>
                    <a:pt x="237" y="12"/>
                    <a:pt x="237" y="12"/>
                    <a:pt x="237" y="12"/>
                  </a:cubicBezTo>
                  <a:cubicBezTo>
                    <a:pt x="237" y="12"/>
                    <a:pt x="237" y="12"/>
                    <a:pt x="237" y="12"/>
                  </a:cubicBezTo>
                  <a:cubicBezTo>
                    <a:pt x="237" y="12"/>
                    <a:pt x="236" y="12"/>
                    <a:pt x="233" y="13"/>
                  </a:cubicBezTo>
                  <a:cubicBezTo>
                    <a:pt x="232" y="13"/>
                    <a:pt x="232" y="13"/>
                    <a:pt x="231" y="13"/>
                  </a:cubicBezTo>
                  <a:cubicBezTo>
                    <a:pt x="232" y="13"/>
                    <a:pt x="232" y="13"/>
                    <a:pt x="232" y="13"/>
                  </a:cubicBezTo>
                  <a:cubicBezTo>
                    <a:pt x="232" y="13"/>
                    <a:pt x="232" y="13"/>
                    <a:pt x="232" y="13"/>
                  </a:cubicBezTo>
                  <a:cubicBezTo>
                    <a:pt x="232" y="13"/>
                    <a:pt x="232" y="13"/>
                    <a:pt x="232" y="13"/>
                  </a:cubicBezTo>
                  <a:cubicBezTo>
                    <a:pt x="232" y="13"/>
                    <a:pt x="232" y="13"/>
                    <a:pt x="234" y="13"/>
                  </a:cubicBezTo>
                  <a:cubicBezTo>
                    <a:pt x="234" y="13"/>
                    <a:pt x="234" y="13"/>
                    <a:pt x="234" y="13"/>
                  </a:cubicBezTo>
                  <a:cubicBezTo>
                    <a:pt x="234" y="13"/>
                    <a:pt x="230" y="14"/>
                    <a:pt x="230" y="14"/>
                  </a:cubicBezTo>
                  <a:cubicBezTo>
                    <a:pt x="230" y="14"/>
                    <a:pt x="230" y="14"/>
                    <a:pt x="230" y="14"/>
                  </a:cubicBezTo>
                  <a:cubicBezTo>
                    <a:pt x="230" y="14"/>
                    <a:pt x="230" y="14"/>
                    <a:pt x="230" y="14"/>
                  </a:cubicBezTo>
                  <a:cubicBezTo>
                    <a:pt x="229" y="14"/>
                    <a:pt x="226" y="15"/>
                    <a:pt x="226" y="15"/>
                  </a:cubicBezTo>
                  <a:cubicBezTo>
                    <a:pt x="226" y="15"/>
                    <a:pt x="226" y="15"/>
                    <a:pt x="226" y="15"/>
                  </a:cubicBezTo>
                  <a:cubicBezTo>
                    <a:pt x="226" y="15"/>
                    <a:pt x="226" y="15"/>
                    <a:pt x="221" y="17"/>
                  </a:cubicBezTo>
                  <a:cubicBezTo>
                    <a:pt x="221" y="17"/>
                    <a:pt x="221" y="17"/>
                    <a:pt x="221" y="17"/>
                  </a:cubicBezTo>
                  <a:cubicBezTo>
                    <a:pt x="221" y="17"/>
                    <a:pt x="230" y="14"/>
                    <a:pt x="231" y="14"/>
                  </a:cubicBezTo>
                  <a:cubicBezTo>
                    <a:pt x="233" y="14"/>
                    <a:pt x="234" y="13"/>
                    <a:pt x="236" y="13"/>
                  </a:cubicBezTo>
                  <a:cubicBezTo>
                    <a:pt x="236" y="13"/>
                    <a:pt x="236" y="13"/>
                    <a:pt x="242" y="11"/>
                  </a:cubicBezTo>
                  <a:cubicBezTo>
                    <a:pt x="243" y="11"/>
                    <a:pt x="243" y="11"/>
                    <a:pt x="243" y="11"/>
                  </a:cubicBezTo>
                  <a:cubicBezTo>
                    <a:pt x="241" y="12"/>
                    <a:pt x="240" y="12"/>
                    <a:pt x="238" y="12"/>
                  </a:cubicBezTo>
                  <a:cubicBezTo>
                    <a:pt x="239" y="12"/>
                    <a:pt x="239" y="12"/>
                    <a:pt x="239" y="12"/>
                  </a:cubicBezTo>
                  <a:cubicBezTo>
                    <a:pt x="238" y="13"/>
                    <a:pt x="238" y="13"/>
                    <a:pt x="235" y="14"/>
                  </a:cubicBezTo>
                  <a:cubicBezTo>
                    <a:pt x="234" y="14"/>
                    <a:pt x="233" y="14"/>
                    <a:pt x="231" y="15"/>
                  </a:cubicBezTo>
                  <a:cubicBezTo>
                    <a:pt x="231" y="15"/>
                    <a:pt x="231" y="15"/>
                    <a:pt x="231" y="15"/>
                  </a:cubicBezTo>
                  <a:cubicBezTo>
                    <a:pt x="232" y="15"/>
                    <a:pt x="233" y="14"/>
                    <a:pt x="235" y="14"/>
                  </a:cubicBezTo>
                  <a:cubicBezTo>
                    <a:pt x="233" y="15"/>
                    <a:pt x="232" y="15"/>
                    <a:pt x="231" y="15"/>
                  </a:cubicBezTo>
                  <a:cubicBezTo>
                    <a:pt x="232" y="15"/>
                    <a:pt x="232" y="15"/>
                    <a:pt x="232" y="15"/>
                  </a:cubicBezTo>
                  <a:cubicBezTo>
                    <a:pt x="232" y="15"/>
                    <a:pt x="232" y="15"/>
                    <a:pt x="234" y="15"/>
                  </a:cubicBezTo>
                  <a:cubicBezTo>
                    <a:pt x="234" y="15"/>
                    <a:pt x="235" y="15"/>
                    <a:pt x="235" y="15"/>
                  </a:cubicBezTo>
                  <a:cubicBezTo>
                    <a:pt x="236" y="14"/>
                    <a:pt x="236" y="14"/>
                    <a:pt x="236" y="14"/>
                  </a:cubicBezTo>
                  <a:moveTo>
                    <a:pt x="146" y="271"/>
                  </a:moveTo>
                  <a:cubicBezTo>
                    <a:pt x="147" y="261"/>
                    <a:pt x="149" y="250"/>
                    <a:pt x="150" y="240"/>
                  </a:cubicBezTo>
                  <a:cubicBezTo>
                    <a:pt x="137" y="240"/>
                    <a:pt x="124" y="239"/>
                    <a:pt x="112" y="239"/>
                  </a:cubicBezTo>
                  <a:cubicBezTo>
                    <a:pt x="97" y="238"/>
                    <a:pt x="83" y="237"/>
                    <a:pt x="71" y="236"/>
                  </a:cubicBezTo>
                  <a:cubicBezTo>
                    <a:pt x="71" y="236"/>
                    <a:pt x="69" y="241"/>
                    <a:pt x="68" y="242"/>
                  </a:cubicBezTo>
                  <a:cubicBezTo>
                    <a:pt x="68" y="242"/>
                    <a:pt x="68" y="242"/>
                    <a:pt x="68" y="242"/>
                  </a:cubicBezTo>
                  <a:cubicBezTo>
                    <a:pt x="67" y="243"/>
                    <a:pt x="67" y="243"/>
                    <a:pt x="67" y="243"/>
                  </a:cubicBezTo>
                  <a:cubicBezTo>
                    <a:pt x="67" y="242"/>
                    <a:pt x="67" y="242"/>
                    <a:pt x="67" y="242"/>
                  </a:cubicBezTo>
                  <a:cubicBezTo>
                    <a:pt x="66" y="242"/>
                    <a:pt x="66" y="242"/>
                    <a:pt x="65" y="243"/>
                  </a:cubicBezTo>
                  <a:cubicBezTo>
                    <a:pt x="65" y="243"/>
                    <a:pt x="65" y="243"/>
                    <a:pt x="65" y="243"/>
                  </a:cubicBezTo>
                  <a:cubicBezTo>
                    <a:pt x="65" y="243"/>
                    <a:pt x="65" y="243"/>
                    <a:pt x="65" y="243"/>
                  </a:cubicBezTo>
                  <a:cubicBezTo>
                    <a:pt x="64" y="243"/>
                    <a:pt x="64" y="243"/>
                    <a:pt x="64" y="243"/>
                  </a:cubicBezTo>
                  <a:cubicBezTo>
                    <a:pt x="64" y="244"/>
                    <a:pt x="64" y="244"/>
                    <a:pt x="64" y="244"/>
                  </a:cubicBezTo>
                  <a:cubicBezTo>
                    <a:pt x="63" y="243"/>
                    <a:pt x="63" y="243"/>
                    <a:pt x="63" y="243"/>
                  </a:cubicBezTo>
                  <a:cubicBezTo>
                    <a:pt x="63" y="243"/>
                    <a:pt x="63" y="243"/>
                    <a:pt x="63" y="243"/>
                  </a:cubicBezTo>
                  <a:cubicBezTo>
                    <a:pt x="63" y="243"/>
                    <a:pt x="63" y="243"/>
                    <a:pt x="63" y="243"/>
                  </a:cubicBezTo>
                  <a:cubicBezTo>
                    <a:pt x="63" y="242"/>
                    <a:pt x="62" y="242"/>
                    <a:pt x="62" y="242"/>
                  </a:cubicBezTo>
                  <a:cubicBezTo>
                    <a:pt x="62" y="242"/>
                    <a:pt x="61" y="242"/>
                    <a:pt x="60" y="241"/>
                  </a:cubicBezTo>
                  <a:cubicBezTo>
                    <a:pt x="60" y="241"/>
                    <a:pt x="60" y="241"/>
                    <a:pt x="60" y="241"/>
                  </a:cubicBezTo>
                  <a:cubicBezTo>
                    <a:pt x="60" y="241"/>
                    <a:pt x="60" y="241"/>
                    <a:pt x="60" y="241"/>
                  </a:cubicBezTo>
                  <a:cubicBezTo>
                    <a:pt x="59" y="242"/>
                    <a:pt x="59" y="242"/>
                    <a:pt x="59" y="242"/>
                  </a:cubicBezTo>
                  <a:cubicBezTo>
                    <a:pt x="60" y="243"/>
                    <a:pt x="60" y="243"/>
                    <a:pt x="61" y="243"/>
                  </a:cubicBezTo>
                  <a:cubicBezTo>
                    <a:pt x="62" y="244"/>
                    <a:pt x="62" y="244"/>
                    <a:pt x="62" y="244"/>
                  </a:cubicBezTo>
                  <a:cubicBezTo>
                    <a:pt x="61" y="245"/>
                    <a:pt x="61" y="245"/>
                    <a:pt x="61" y="245"/>
                  </a:cubicBezTo>
                  <a:cubicBezTo>
                    <a:pt x="62" y="245"/>
                    <a:pt x="62" y="246"/>
                    <a:pt x="62" y="246"/>
                  </a:cubicBezTo>
                  <a:cubicBezTo>
                    <a:pt x="62" y="247"/>
                    <a:pt x="62" y="247"/>
                    <a:pt x="62" y="248"/>
                  </a:cubicBezTo>
                  <a:cubicBezTo>
                    <a:pt x="61" y="248"/>
                    <a:pt x="61" y="248"/>
                    <a:pt x="61" y="248"/>
                  </a:cubicBezTo>
                  <a:cubicBezTo>
                    <a:pt x="61" y="249"/>
                    <a:pt x="61" y="249"/>
                    <a:pt x="61" y="249"/>
                  </a:cubicBezTo>
                  <a:cubicBezTo>
                    <a:pt x="61" y="251"/>
                    <a:pt x="62" y="254"/>
                    <a:pt x="62" y="256"/>
                  </a:cubicBezTo>
                  <a:cubicBezTo>
                    <a:pt x="63" y="259"/>
                    <a:pt x="63" y="259"/>
                    <a:pt x="63" y="259"/>
                  </a:cubicBezTo>
                  <a:cubicBezTo>
                    <a:pt x="64" y="260"/>
                    <a:pt x="64" y="260"/>
                    <a:pt x="64" y="260"/>
                  </a:cubicBezTo>
                  <a:cubicBezTo>
                    <a:pt x="66" y="260"/>
                    <a:pt x="66" y="258"/>
                    <a:pt x="66" y="257"/>
                  </a:cubicBezTo>
                  <a:cubicBezTo>
                    <a:pt x="67" y="258"/>
                    <a:pt x="67" y="258"/>
                    <a:pt x="67" y="258"/>
                  </a:cubicBezTo>
                  <a:cubicBezTo>
                    <a:pt x="68" y="263"/>
                    <a:pt x="71" y="268"/>
                    <a:pt x="71" y="274"/>
                  </a:cubicBezTo>
                  <a:cubicBezTo>
                    <a:pt x="71" y="275"/>
                    <a:pt x="71" y="275"/>
                    <a:pt x="71" y="275"/>
                  </a:cubicBezTo>
                  <a:cubicBezTo>
                    <a:pt x="70" y="277"/>
                    <a:pt x="70" y="279"/>
                    <a:pt x="70" y="280"/>
                  </a:cubicBezTo>
                  <a:cubicBezTo>
                    <a:pt x="71" y="281"/>
                    <a:pt x="73" y="281"/>
                    <a:pt x="73" y="282"/>
                  </a:cubicBezTo>
                  <a:cubicBezTo>
                    <a:pt x="76" y="291"/>
                    <a:pt x="76" y="291"/>
                    <a:pt x="76" y="291"/>
                  </a:cubicBezTo>
                  <a:cubicBezTo>
                    <a:pt x="76" y="292"/>
                    <a:pt x="77" y="294"/>
                    <a:pt x="76" y="296"/>
                  </a:cubicBezTo>
                  <a:cubicBezTo>
                    <a:pt x="75" y="298"/>
                    <a:pt x="75" y="298"/>
                    <a:pt x="78" y="302"/>
                  </a:cubicBezTo>
                  <a:cubicBezTo>
                    <a:pt x="80" y="305"/>
                    <a:pt x="80" y="306"/>
                    <a:pt x="81" y="309"/>
                  </a:cubicBezTo>
                  <a:cubicBezTo>
                    <a:pt x="82" y="310"/>
                    <a:pt x="82" y="310"/>
                    <a:pt x="86" y="318"/>
                  </a:cubicBezTo>
                  <a:cubicBezTo>
                    <a:pt x="87" y="320"/>
                    <a:pt x="87" y="323"/>
                    <a:pt x="88" y="326"/>
                  </a:cubicBezTo>
                  <a:cubicBezTo>
                    <a:pt x="88" y="327"/>
                    <a:pt x="88" y="327"/>
                    <a:pt x="88" y="327"/>
                  </a:cubicBezTo>
                  <a:cubicBezTo>
                    <a:pt x="89" y="328"/>
                    <a:pt x="89" y="328"/>
                    <a:pt x="89" y="329"/>
                  </a:cubicBezTo>
                  <a:cubicBezTo>
                    <a:pt x="89" y="332"/>
                    <a:pt x="89" y="335"/>
                    <a:pt x="89" y="338"/>
                  </a:cubicBezTo>
                  <a:cubicBezTo>
                    <a:pt x="90" y="342"/>
                    <a:pt x="95" y="344"/>
                    <a:pt x="97" y="342"/>
                  </a:cubicBezTo>
                  <a:cubicBezTo>
                    <a:pt x="100" y="338"/>
                    <a:pt x="100" y="338"/>
                    <a:pt x="100" y="338"/>
                  </a:cubicBezTo>
                  <a:cubicBezTo>
                    <a:pt x="102" y="338"/>
                    <a:pt x="103" y="338"/>
                    <a:pt x="105" y="338"/>
                  </a:cubicBezTo>
                  <a:cubicBezTo>
                    <a:pt x="105" y="338"/>
                    <a:pt x="105" y="338"/>
                    <a:pt x="105" y="338"/>
                  </a:cubicBezTo>
                  <a:cubicBezTo>
                    <a:pt x="106" y="338"/>
                    <a:pt x="106" y="338"/>
                    <a:pt x="106" y="339"/>
                  </a:cubicBezTo>
                  <a:cubicBezTo>
                    <a:pt x="107" y="339"/>
                    <a:pt x="107" y="339"/>
                    <a:pt x="107" y="339"/>
                  </a:cubicBezTo>
                  <a:cubicBezTo>
                    <a:pt x="107" y="338"/>
                    <a:pt x="108" y="337"/>
                    <a:pt x="108" y="337"/>
                  </a:cubicBezTo>
                  <a:cubicBezTo>
                    <a:pt x="110" y="331"/>
                    <a:pt x="117" y="334"/>
                    <a:pt x="120" y="330"/>
                  </a:cubicBezTo>
                  <a:cubicBezTo>
                    <a:pt x="121" y="329"/>
                    <a:pt x="121" y="329"/>
                    <a:pt x="124" y="329"/>
                  </a:cubicBezTo>
                  <a:cubicBezTo>
                    <a:pt x="124" y="326"/>
                    <a:pt x="124" y="325"/>
                    <a:pt x="126" y="325"/>
                  </a:cubicBezTo>
                  <a:cubicBezTo>
                    <a:pt x="128" y="323"/>
                    <a:pt x="128" y="323"/>
                    <a:pt x="136" y="324"/>
                  </a:cubicBezTo>
                  <a:cubicBezTo>
                    <a:pt x="136" y="324"/>
                    <a:pt x="136" y="320"/>
                    <a:pt x="137" y="318"/>
                  </a:cubicBezTo>
                  <a:cubicBezTo>
                    <a:pt x="139" y="318"/>
                    <a:pt x="140" y="318"/>
                    <a:pt x="142" y="318"/>
                  </a:cubicBezTo>
                  <a:cubicBezTo>
                    <a:pt x="142" y="318"/>
                    <a:pt x="143" y="314"/>
                    <a:pt x="144" y="313"/>
                  </a:cubicBezTo>
                  <a:cubicBezTo>
                    <a:pt x="144" y="304"/>
                    <a:pt x="145" y="295"/>
                    <a:pt x="145" y="285"/>
                  </a:cubicBezTo>
                  <a:cubicBezTo>
                    <a:pt x="145" y="286"/>
                    <a:pt x="145" y="286"/>
                    <a:pt x="144" y="286"/>
                  </a:cubicBezTo>
                  <a:cubicBezTo>
                    <a:pt x="144" y="285"/>
                    <a:pt x="144" y="284"/>
                    <a:pt x="144" y="283"/>
                  </a:cubicBezTo>
                  <a:cubicBezTo>
                    <a:pt x="143" y="282"/>
                    <a:pt x="143" y="282"/>
                    <a:pt x="143" y="281"/>
                  </a:cubicBezTo>
                  <a:cubicBezTo>
                    <a:pt x="143" y="279"/>
                    <a:pt x="143" y="278"/>
                    <a:pt x="143" y="276"/>
                  </a:cubicBezTo>
                  <a:cubicBezTo>
                    <a:pt x="143" y="275"/>
                    <a:pt x="143" y="275"/>
                    <a:pt x="142" y="274"/>
                  </a:cubicBezTo>
                  <a:cubicBezTo>
                    <a:pt x="141" y="275"/>
                    <a:pt x="141" y="275"/>
                    <a:pt x="140" y="276"/>
                  </a:cubicBezTo>
                  <a:cubicBezTo>
                    <a:pt x="139" y="276"/>
                    <a:pt x="139" y="276"/>
                    <a:pt x="138" y="283"/>
                  </a:cubicBezTo>
                  <a:cubicBezTo>
                    <a:pt x="136" y="283"/>
                    <a:pt x="136" y="283"/>
                    <a:pt x="134" y="283"/>
                  </a:cubicBezTo>
                  <a:cubicBezTo>
                    <a:pt x="134" y="283"/>
                    <a:pt x="133" y="283"/>
                    <a:pt x="133" y="283"/>
                  </a:cubicBezTo>
                  <a:cubicBezTo>
                    <a:pt x="132" y="283"/>
                    <a:pt x="132" y="282"/>
                    <a:pt x="131" y="282"/>
                  </a:cubicBezTo>
                  <a:cubicBezTo>
                    <a:pt x="130" y="282"/>
                    <a:pt x="130" y="282"/>
                    <a:pt x="130" y="282"/>
                  </a:cubicBezTo>
                  <a:cubicBezTo>
                    <a:pt x="128" y="283"/>
                    <a:pt x="128" y="283"/>
                    <a:pt x="126" y="285"/>
                  </a:cubicBezTo>
                  <a:cubicBezTo>
                    <a:pt x="126" y="285"/>
                    <a:pt x="123" y="284"/>
                    <a:pt x="123" y="280"/>
                  </a:cubicBezTo>
                  <a:cubicBezTo>
                    <a:pt x="124" y="280"/>
                    <a:pt x="124" y="280"/>
                    <a:pt x="124" y="280"/>
                  </a:cubicBezTo>
                  <a:cubicBezTo>
                    <a:pt x="125" y="279"/>
                    <a:pt x="125" y="279"/>
                    <a:pt x="126" y="279"/>
                  </a:cubicBezTo>
                  <a:cubicBezTo>
                    <a:pt x="127" y="279"/>
                    <a:pt x="127" y="279"/>
                    <a:pt x="127" y="279"/>
                  </a:cubicBezTo>
                  <a:cubicBezTo>
                    <a:pt x="128" y="279"/>
                    <a:pt x="130" y="280"/>
                    <a:pt x="132" y="279"/>
                  </a:cubicBezTo>
                  <a:cubicBezTo>
                    <a:pt x="132" y="278"/>
                    <a:pt x="132" y="278"/>
                    <a:pt x="131" y="277"/>
                  </a:cubicBezTo>
                  <a:cubicBezTo>
                    <a:pt x="131" y="277"/>
                    <a:pt x="130" y="277"/>
                    <a:pt x="130" y="277"/>
                  </a:cubicBezTo>
                  <a:cubicBezTo>
                    <a:pt x="130" y="277"/>
                    <a:pt x="129" y="277"/>
                    <a:pt x="129" y="277"/>
                  </a:cubicBezTo>
                  <a:cubicBezTo>
                    <a:pt x="128" y="277"/>
                    <a:pt x="128" y="277"/>
                    <a:pt x="128" y="277"/>
                  </a:cubicBezTo>
                  <a:cubicBezTo>
                    <a:pt x="125" y="277"/>
                    <a:pt x="123" y="276"/>
                    <a:pt x="121" y="276"/>
                  </a:cubicBezTo>
                  <a:cubicBezTo>
                    <a:pt x="120" y="275"/>
                    <a:pt x="120" y="275"/>
                    <a:pt x="119" y="275"/>
                  </a:cubicBezTo>
                  <a:cubicBezTo>
                    <a:pt x="120" y="274"/>
                    <a:pt x="120" y="272"/>
                    <a:pt x="120" y="270"/>
                  </a:cubicBezTo>
                  <a:cubicBezTo>
                    <a:pt x="120" y="270"/>
                    <a:pt x="120" y="270"/>
                    <a:pt x="119" y="269"/>
                  </a:cubicBezTo>
                  <a:cubicBezTo>
                    <a:pt x="114" y="266"/>
                    <a:pt x="114" y="266"/>
                    <a:pt x="114" y="266"/>
                  </a:cubicBezTo>
                  <a:cubicBezTo>
                    <a:pt x="115" y="262"/>
                    <a:pt x="112" y="257"/>
                    <a:pt x="114" y="253"/>
                  </a:cubicBezTo>
                  <a:cubicBezTo>
                    <a:pt x="115" y="250"/>
                    <a:pt x="119" y="252"/>
                    <a:pt x="119" y="252"/>
                  </a:cubicBezTo>
                  <a:cubicBezTo>
                    <a:pt x="122" y="255"/>
                    <a:pt x="121" y="260"/>
                    <a:pt x="124" y="262"/>
                  </a:cubicBezTo>
                  <a:cubicBezTo>
                    <a:pt x="131" y="269"/>
                    <a:pt x="131" y="269"/>
                    <a:pt x="137" y="270"/>
                  </a:cubicBezTo>
                  <a:cubicBezTo>
                    <a:pt x="138" y="270"/>
                    <a:pt x="138" y="270"/>
                    <a:pt x="138" y="270"/>
                  </a:cubicBezTo>
                  <a:cubicBezTo>
                    <a:pt x="138" y="270"/>
                    <a:pt x="138" y="270"/>
                    <a:pt x="139" y="270"/>
                  </a:cubicBezTo>
                  <a:cubicBezTo>
                    <a:pt x="140" y="270"/>
                    <a:pt x="141" y="270"/>
                    <a:pt x="142" y="269"/>
                  </a:cubicBezTo>
                  <a:cubicBezTo>
                    <a:pt x="143" y="269"/>
                    <a:pt x="143" y="269"/>
                    <a:pt x="143" y="269"/>
                  </a:cubicBezTo>
                  <a:cubicBezTo>
                    <a:pt x="145" y="269"/>
                    <a:pt x="145" y="269"/>
                    <a:pt x="146" y="271"/>
                  </a:cubicBezTo>
                  <a:cubicBezTo>
                    <a:pt x="146" y="271"/>
                    <a:pt x="146" y="271"/>
                    <a:pt x="146" y="271"/>
                  </a:cubicBezTo>
                  <a:moveTo>
                    <a:pt x="443" y="204"/>
                  </a:moveTo>
                  <a:cubicBezTo>
                    <a:pt x="436" y="166"/>
                    <a:pt x="426" y="132"/>
                    <a:pt x="413" y="103"/>
                  </a:cubicBezTo>
                  <a:cubicBezTo>
                    <a:pt x="344" y="105"/>
                    <a:pt x="260" y="104"/>
                    <a:pt x="193" y="102"/>
                  </a:cubicBezTo>
                  <a:cubicBezTo>
                    <a:pt x="173" y="140"/>
                    <a:pt x="158" y="188"/>
                    <a:pt x="150" y="240"/>
                  </a:cubicBezTo>
                  <a:cubicBezTo>
                    <a:pt x="237" y="244"/>
                    <a:pt x="346" y="244"/>
                    <a:pt x="437" y="243"/>
                  </a:cubicBezTo>
                  <a:cubicBezTo>
                    <a:pt x="437" y="240"/>
                    <a:pt x="437" y="240"/>
                    <a:pt x="429" y="232"/>
                  </a:cubicBezTo>
                  <a:cubicBezTo>
                    <a:pt x="429" y="231"/>
                    <a:pt x="429" y="231"/>
                    <a:pt x="429" y="231"/>
                  </a:cubicBezTo>
                  <a:cubicBezTo>
                    <a:pt x="429" y="230"/>
                    <a:pt x="430" y="229"/>
                    <a:pt x="431" y="228"/>
                  </a:cubicBezTo>
                  <a:cubicBezTo>
                    <a:pt x="431" y="228"/>
                    <a:pt x="431" y="227"/>
                    <a:pt x="431" y="227"/>
                  </a:cubicBezTo>
                  <a:cubicBezTo>
                    <a:pt x="431" y="225"/>
                    <a:pt x="430" y="225"/>
                    <a:pt x="430" y="224"/>
                  </a:cubicBezTo>
                  <a:cubicBezTo>
                    <a:pt x="431" y="224"/>
                    <a:pt x="432" y="224"/>
                    <a:pt x="433" y="224"/>
                  </a:cubicBezTo>
                  <a:cubicBezTo>
                    <a:pt x="433" y="223"/>
                    <a:pt x="434" y="222"/>
                    <a:pt x="434" y="222"/>
                  </a:cubicBezTo>
                  <a:cubicBezTo>
                    <a:pt x="435" y="221"/>
                    <a:pt x="435" y="221"/>
                    <a:pt x="436" y="221"/>
                  </a:cubicBezTo>
                  <a:cubicBezTo>
                    <a:pt x="437" y="221"/>
                    <a:pt x="438" y="221"/>
                    <a:pt x="438" y="221"/>
                  </a:cubicBezTo>
                  <a:cubicBezTo>
                    <a:pt x="438" y="221"/>
                    <a:pt x="439" y="221"/>
                    <a:pt x="439" y="221"/>
                  </a:cubicBezTo>
                  <a:cubicBezTo>
                    <a:pt x="440" y="220"/>
                    <a:pt x="440" y="220"/>
                    <a:pt x="440" y="219"/>
                  </a:cubicBezTo>
                  <a:cubicBezTo>
                    <a:pt x="440" y="219"/>
                    <a:pt x="440" y="218"/>
                    <a:pt x="440" y="218"/>
                  </a:cubicBezTo>
                  <a:cubicBezTo>
                    <a:pt x="439" y="217"/>
                    <a:pt x="437" y="218"/>
                    <a:pt x="436" y="218"/>
                  </a:cubicBezTo>
                  <a:cubicBezTo>
                    <a:pt x="435" y="217"/>
                    <a:pt x="434" y="216"/>
                    <a:pt x="434" y="215"/>
                  </a:cubicBezTo>
                  <a:cubicBezTo>
                    <a:pt x="432" y="215"/>
                    <a:pt x="431" y="215"/>
                    <a:pt x="430" y="215"/>
                  </a:cubicBezTo>
                  <a:cubicBezTo>
                    <a:pt x="430" y="216"/>
                    <a:pt x="430" y="217"/>
                    <a:pt x="430" y="218"/>
                  </a:cubicBezTo>
                  <a:cubicBezTo>
                    <a:pt x="430" y="218"/>
                    <a:pt x="428" y="219"/>
                    <a:pt x="428" y="219"/>
                  </a:cubicBezTo>
                  <a:cubicBezTo>
                    <a:pt x="427" y="217"/>
                    <a:pt x="427" y="215"/>
                    <a:pt x="427" y="213"/>
                  </a:cubicBezTo>
                  <a:cubicBezTo>
                    <a:pt x="425" y="213"/>
                    <a:pt x="423" y="213"/>
                    <a:pt x="421" y="213"/>
                  </a:cubicBezTo>
                  <a:cubicBezTo>
                    <a:pt x="417" y="211"/>
                    <a:pt x="420" y="208"/>
                    <a:pt x="421" y="208"/>
                  </a:cubicBezTo>
                  <a:cubicBezTo>
                    <a:pt x="422" y="207"/>
                    <a:pt x="424" y="208"/>
                    <a:pt x="425" y="208"/>
                  </a:cubicBezTo>
                  <a:cubicBezTo>
                    <a:pt x="427" y="204"/>
                    <a:pt x="431" y="202"/>
                    <a:pt x="434" y="199"/>
                  </a:cubicBezTo>
                  <a:cubicBezTo>
                    <a:pt x="434" y="199"/>
                    <a:pt x="435" y="199"/>
                    <a:pt x="435" y="199"/>
                  </a:cubicBezTo>
                  <a:cubicBezTo>
                    <a:pt x="436" y="200"/>
                    <a:pt x="436" y="200"/>
                    <a:pt x="436" y="200"/>
                  </a:cubicBezTo>
                  <a:cubicBezTo>
                    <a:pt x="434" y="203"/>
                    <a:pt x="433" y="209"/>
                    <a:pt x="433" y="209"/>
                  </a:cubicBezTo>
                  <a:cubicBezTo>
                    <a:pt x="433" y="209"/>
                    <a:pt x="434" y="209"/>
                    <a:pt x="434" y="208"/>
                  </a:cubicBezTo>
                  <a:cubicBezTo>
                    <a:pt x="435" y="208"/>
                    <a:pt x="437" y="208"/>
                    <a:pt x="438" y="208"/>
                  </a:cubicBezTo>
                  <a:cubicBezTo>
                    <a:pt x="440" y="207"/>
                    <a:pt x="441" y="204"/>
                    <a:pt x="443" y="204"/>
                  </a:cubicBezTo>
                  <a:cubicBezTo>
                    <a:pt x="443" y="204"/>
                    <a:pt x="443" y="204"/>
                    <a:pt x="443" y="204"/>
                  </a:cubicBezTo>
                  <a:cubicBezTo>
                    <a:pt x="443" y="204"/>
                    <a:pt x="443" y="204"/>
                    <a:pt x="443" y="204"/>
                  </a:cubicBezTo>
                  <a:cubicBezTo>
                    <a:pt x="443" y="204"/>
                    <a:pt x="443" y="204"/>
                    <a:pt x="443" y="204"/>
                  </a:cubicBezTo>
                  <a:cubicBezTo>
                    <a:pt x="443" y="204"/>
                    <a:pt x="443" y="204"/>
                    <a:pt x="443" y="204"/>
                  </a:cubicBezTo>
                  <a:cubicBezTo>
                    <a:pt x="443" y="204"/>
                    <a:pt x="443" y="204"/>
                    <a:pt x="443" y="204"/>
                  </a:cubicBezTo>
                  <a:cubicBezTo>
                    <a:pt x="443" y="204"/>
                    <a:pt x="443" y="204"/>
                    <a:pt x="443" y="204"/>
                  </a:cubicBezTo>
                  <a:cubicBezTo>
                    <a:pt x="443" y="204"/>
                    <a:pt x="443" y="204"/>
                    <a:pt x="443" y="204"/>
                  </a:cubicBezTo>
                  <a:cubicBezTo>
                    <a:pt x="443" y="204"/>
                    <a:pt x="443" y="204"/>
                    <a:pt x="443" y="204"/>
                  </a:cubicBezTo>
                  <a:moveTo>
                    <a:pt x="112" y="96"/>
                  </a:moveTo>
                  <a:cubicBezTo>
                    <a:pt x="112" y="96"/>
                    <a:pt x="113" y="97"/>
                    <a:pt x="114" y="97"/>
                  </a:cubicBezTo>
                  <a:cubicBezTo>
                    <a:pt x="114" y="96"/>
                    <a:pt x="114" y="96"/>
                    <a:pt x="114" y="96"/>
                  </a:cubicBezTo>
                  <a:cubicBezTo>
                    <a:pt x="113" y="96"/>
                    <a:pt x="113" y="96"/>
                    <a:pt x="113" y="96"/>
                  </a:cubicBezTo>
                  <a:cubicBezTo>
                    <a:pt x="113" y="96"/>
                    <a:pt x="113" y="96"/>
                    <a:pt x="113" y="96"/>
                  </a:cubicBezTo>
                  <a:cubicBezTo>
                    <a:pt x="113" y="96"/>
                    <a:pt x="113" y="96"/>
                    <a:pt x="113" y="96"/>
                  </a:cubicBezTo>
                  <a:cubicBezTo>
                    <a:pt x="113" y="96"/>
                    <a:pt x="113" y="96"/>
                    <a:pt x="113" y="96"/>
                  </a:cubicBezTo>
                  <a:cubicBezTo>
                    <a:pt x="114" y="95"/>
                    <a:pt x="114" y="95"/>
                    <a:pt x="114" y="95"/>
                  </a:cubicBezTo>
                  <a:cubicBezTo>
                    <a:pt x="114" y="95"/>
                    <a:pt x="114" y="95"/>
                    <a:pt x="114" y="95"/>
                  </a:cubicBezTo>
                  <a:cubicBezTo>
                    <a:pt x="114" y="95"/>
                    <a:pt x="114" y="95"/>
                    <a:pt x="114" y="95"/>
                  </a:cubicBezTo>
                  <a:cubicBezTo>
                    <a:pt x="113" y="95"/>
                    <a:pt x="113" y="95"/>
                    <a:pt x="113" y="95"/>
                  </a:cubicBezTo>
                  <a:cubicBezTo>
                    <a:pt x="113" y="95"/>
                    <a:pt x="113" y="95"/>
                    <a:pt x="113" y="95"/>
                  </a:cubicBezTo>
                  <a:cubicBezTo>
                    <a:pt x="113" y="95"/>
                    <a:pt x="113" y="95"/>
                    <a:pt x="113" y="95"/>
                  </a:cubicBezTo>
                  <a:cubicBezTo>
                    <a:pt x="112" y="96"/>
                    <a:pt x="112" y="96"/>
                    <a:pt x="112" y="96"/>
                  </a:cubicBezTo>
                  <a:cubicBezTo>
                    <a:pt x="112" y="96"/>
                    <a:pt x="112" y="96"/>
                    <a:pt x="112" y="96"/>
                  </a:cubicBezTo>
                  <a:moveTo>
                    <a:pt x="180" y="42"/>
                  </a:moveTo>
                  <a:cubicBezTo>
                    <a:pt x="181" y="42"/>
                    <a:pt x="182" y="41"/>
                    <a:pt x="183" y="40"/>
                  </a:cubicBezTo>
                  <a:cubicBezTo>
                    <a:pt x="183" y="40"/>
                    <a:pt x="183" y="40"/>
                    <a:pt x="183" y="40"/>
                  </a:cubicBezTo>
                  <a:cubicBezTo>
                    <a:pt x="183" y="40"/>
                    <a:pt x="183" y="40"/>
                    <a:pt x="183" y="40"/>
                  </a:cubicBezTo>
                  <a:cubicBezTo>
                    <a:pt x="183" y="40"/>
                    <a:pt x="183" y="40"/>
                    <a:pt x="183" y="40"/>
                  </a:cubicBezTo>
                  <a:cubicBezTo>
                    <a:pt x="182" y="40"/>
                    <a:pt x="182" y="40"/>
                    <a:pt x="182" y="40"/>
                  </a:cubicBezTo>
                  <a:cubicBezTo>
                    <a:pt x="181" y="41"/>
                    <a:pt x="180" y="42"/>
                    <a:pt x="179" y="42"/>
                  </a:cubicBezTo>
                  <a:cubicBezTo>
                    <a:pt x="179" y="42"/>
                    <a:pt x="180" y="42"/>
                    <a:pt x="180" y="42"/>
                  </a:cubicBezTo>
                  <a:moveTo>
                    <a:pt x="193" y="102"/>
                  </a:moveTo>
                  <a:cubicBezTo>
                    <a:pt x="203" y="83"/>
                    <a:pt x="213" y="67"/>
                    <a:pt x="225" y="53"/>
                  </a:cubicBezTo>
                  <a:cubicBezTo>
                    <a:pt x="224" y="53"/>
                    <a:pt x="224" y="53"/>
                    <a:pt x="223" y="54"/>
                  </a:cubicBezTo>
                  <a:cubicBezTo>
                    <a:pt x="222" y="54"/>
                    <a:pt x="222" y="54"/>
                    <a:pt x="222" y="54"/>
                  </a:cubicBezTo>
                  <a:cubicBezTo>
                    <a:pt x="222" y="54"/>
                    <a:pt x="221" y="54"/>
                    <a:pt x="221" y="54"/>
                  </a:cubicBezTo>
                  <a:cubicBezTo>
                    <a:pt x="221" y="54"/>
                    <a:pt x="221" y="54"/>
                    <a:pt x="220" y="54"/>
                  </a:cubicBezTo>
                  <a:cubicBezTo>
                    <a:pt x="219" y="54"/>
                    <a:pt x="219" y="55"/>
                    <a:pt x="218" y="55"/>
                  </a:cubicBezTo>
                  <a:cubicBezTo>
                    <a:pt x="218" y="55"/>
                    <a:pt x="217" y="55"/>
                    <a:pt x="217" y="55"/>
                  </a:cubicBezTo>
                  <a:cubicBezTo>
                    <a:pt x="217" y="55"/>
                    <a:pt x="217" y="54"/>
                    <a:pt x="217" y="54"/>
                  </a:cubicBezTo>
                  <a:cubicBezTo>
                    <a:pt x="218" y="53"/>
                    <a:pt x="220" y="51"/>
                    <a:pt x="220" y="51"/>
                  </a:cubicBezTo>
                  <a:cubicBezTo>
                    <a:pt x="219" y="51"/>
                    <a:pt x="219" y="51"/>
                    <a:pt x="215" y="53"/>
                  </a:cubicBezTo>
                  <a:cubicBezTo>
                    <a:pt x="214" y="53"/>
                    <a:pt x="214" y="53"/>
                    <a:pt x="213" y="53"/>
                  </a:cubicBezTo>
                  <a:cubicBezTo>
                    <a:pt x="212" y="53"/>
                    <a:pt x="211" y="54"/>
                    <a:pt x="211" y="54"/>
                  </a:cubicBezTo>
                  <a:cubicBezTo>
                    <a:pt x="210" y="54"/>
                    <a:pt x="210" y="54"/>
                    <a:pt x="210" y="54"/>
                  </a:cubicBezTo>
                  <a:cubicBezTo>
                    <a:pt x="209" y="54"/>
                    <a:pt x="209" y="54"/>
                    <a:pt x="209" y="54"/>
                  </a:cubicBezTo>
                  <a:cubicBezTo>
                    <a:pt x="204" y="55"/>
                    <a:pt x="199" y="59"/>
                    <a:pt x="194" y="60"/>
                  </a:cubicBezTo>
                  <a:cubicBezTo>
                    <a:pt x="194" y="61"/>
                    <a:pt x="194" y="61"/>
                    <a:pt x="194" y="61"/>
                  </a:cubicBezTo>
                  <a:cubicBezTo>
                    <a:pt x="194" y="60"/>
                    <a:pt x="194" y="60"/>
                    <a:pt x="194" y="59"/>
                  </a:cubicBezTo>
                  <a:cubicBezTo>
                    <a:pt x="195" y="58"/>
                    <a:pt x="195" y="58"/>
                    <a:pt x="196" y="57"/>
                  </a:cubicBezTo>
                  <a:cubicBezTo>
                    <a:pt x="197" y="56"/>
                    <a:pt x="198" y="56"/>
                    <a:pt x="198" y="56"/>
                  </a:cubicBezTo>
                  <a:cubicBezTo>
                    <a:pt x="199" y="56"/>
                    <a:pt x="200" y="55"/>
                    <a:pt x="200" y="55"/>
                  </a:cubicBezTo>
                  <a:cubicBezTo>
                    <a:pt x="200" y="54"/>
                    <a:pt x="200" y="54"/>
                    <a:pt x="200" y="54"/>
                  </a:cubicBezTo>
                  <a:cubicBezTo>
                    <a:pt x="200" y="54"/>
                    <a:pt x="201" y="53"/>
                    <a:pt x="201" y="53"/>
                  </a:cubicBezTo>
                  <a:cubicBezTo>
                    <a:pt x="200" y="52"/>
                    <a:pt x="200" y="52"/>
                    <a:pt x="200" y="52"/>
                  </a:cubicBezTo>
                  <a:cubicBezTo>
                    <a:pt x="200" y="52"/>
                    <a:pt x="200" y="52"/>
                    <a:pt x="200" y="52"/>
                  </a:cubicBezTo>
                  <a:cubicBezTo>
                    <a:pt x="200" y="52"/>
                    <a:pt x="200" y="52"/>
                    <a:pt x="200" y="52"/>
                  </a:cubicBezTo>
                  <a:cubicBezTo>
                    <a:pt x="199" y="52"/>
                    <a:pt x="199" y="52"/>
                    <a:pt x="199" y="52"/>
                  </a:cubicBezTo>
                  <a:cubicBezTo>
                    <a:pt x="198" y="52"/>
                    <a:pt x="198" y="52"/>
                    <a:pt x="198" y="52"/>
                  </a:cubicBezTo>
                  <a:cubicBezTo>
                    <a:pt x="197" y="52"/>
                    <a:pt x="197" y="52"/>
                    <a:pt x="197" y="52"/>
                  </a:cubicBezTo>
                  <a:cubicBezTo>
                    <a:pt x="197" y="52"/>
                    <a:pt x="196" y="52"/>
                    <a:pt x="196" y="53"/>
                  </a:cubicBezTo>
                  <a:cubicBezTo>
                    <a:pt x="196" y="53"/>
                    <a:pt x="196" y="53"/>
                    <a:pt x="196" y="53"/>
                  </a:cubicBezTo>
                  <a:cubicBezTo>
                    <a:pt x="195" y="54"/>
                    <a:pt x="194" y="55"/>
                    <a:pt x="193" y="57"/>
                  </a:cubicBezTo>
                  <a:cubicBezTo>
                    <a:pt x="191" y="58"/>
                    <a:pt x="191" y="58"/>
                    <a:pt x="190" y="59"/>
                  </a:cubicBezTo>
                  <a:cubicBezTo>
                    <a:pt x="190" y="59"/>
                    <a:pt x="190" y="59"/>
                    <a:pt x="190" y="59"/>
                  </a:cubicBezTo>
                  <a:cubicBezTo>
                    <a:pt x="190" y="59"/>
                    <a:pt x="190" y="60"/>
                    <a:pt x="190" y="60"/>
                  </a:cubicBezTo>
                  <a:cubicBezTo>
                    <a:pt x="190" y="61"/>
                    <a:pt x="190" y="61"/>
                    <a:pt x="190" y="61"/>
                  </a:cubicBezTo>
                  <a:cubicBezTo>
                    <a:pt x="188" y="62"/>
                    <a:pt x="187" y="63"/>
                    <a:pt x="186" y="64"/>
                  </a:cubicBezTo>
                  <a:cubicBezTo>
                    <a:pt x="186" y="64"/>
                    <a:pt x="185" y="64"/>
                    <a:pt x="185" y="63"/>
                  </a:cubicBezTo>
                  <a:cubicBezTo>
                    <a:pt x="185" y="63"/>
                    <a:pt x="186" y="63"/>
                    <a:pt x="186" y="63"/>
                  </a:cubicBezTo>
                  <a:cubicBezTo>
                    <a:pt x="186" y="62"/>
                    <a:pt x="186" y="62"/>
                    <a:pt x="186" y="62"/>
                  </a:cubicBezTo>
                  <a:cubicBezTo>
                    <a:pt x="182" y="62"/>
                    <a:pt x="179" y="66"/>
                    <a:pt x="174" y="66"/>
                  </a:cubicBezTo>
                  <a:cubicBezTo>
                    <a:pt x="174" y="66"/>
                    <a:pt x="174" y="66"/>
                    <a:pt x="174" y="66"/>
                  </a:cubicBezTo>
                  <a:cubicBezTo>
                    <a:pt x="173" y="67"/>
                    <a:pt x="173" y="67"/>
                    <a:pt x="173" y="68"/>
                  </a:cubicBezTo>
                  <a:cubicBezTo>
                    <a:pt x="173" y="69"/>
                    <a:pt x="173" y="69"/>
                    <a:pt x="171" y="70"/>
                  </a:cubicBezTo>
                  <a:cubicBezTo>
                    <a:pt x="171" y="71"/>
                    <a:pt x="171" y="71"/>
                    <a:pt x="171" y="71"/>
                  </a:cubicBezTo>
                  <a:cubicBezTo>
                    <a:pt x="170" y="70"/>
                    <a:pt x="170" y="70"/>
                    <a:pt x="169" y="70"/>
                  </a:cubicBezTo>
                  <a:cubicBezTo>
                    <a:pt x="169" y="70"/>
                    <a:pt x="169" y="70"/>
                    <a:pt x="169" y="70"/>
                  </a:cubicBezTo>
                  <a:cubicBezTo>
                    <a:pt x="168" y="70"/>
                    <a:pt x="168" y="70"/>
                    <a:pt x="168" y="70"/>
                  </a:cubicBezTo>
                  <a:cubicBezTo>
                    <a:pt x="168" y="69"/>
                    <a:pt x="167" y="69"/>
                    <a:pt x="167" y="69"/>
                  </a:cubicBezTo>
                  <a:cubicBezTo>
                    <a:pt x="167" y="68"/>
                    <a:pt x="167" y="68"/>
                    <a:pt x="168" y="67"/>
                  </a:cubicBezTo>
                  <a:cubicBezTo>
                    <a:pt x="165" y="68"/>
                    <a:pt x="165" y="68"/>
                    <a:pt x="164" y="70"/>
                  </a:cubicBezTo>
                  <a:cubicBezTo>
                    <a:pt x="164" y="70"/>
                    <a:pt x="164" y="70"/>
                    <a:pt x="164" y="70"/>
                  </a:cubicBezTo>
                  <a:cubicBezTo>
                    <a:pt x="164" y="70"/>
                    <a:pt x="164" y="71"/>
                    <a:pt x="163" y="71"/>
                  </a:cubicBezTo>
                  <a:cubicBezTo>
                    <a:pt x="164" y="71"/>
                    <a:pt x="164" y="71"/>
                    <a:pt x="164" y="71"/>
                  </a:cubicBezTo>
                  <a:cubicBezTo>
                    <a:pt x="164" y="71"/>
                    <a:pt x="164" y="71"/>
                    <a:pt x="164" y="71"/>
                  </a:cubicBezTo>
                  <a:cubicBezTo>
                    <a:pt x="165" y="72"/>
                    <a:pt x="165" y="72"/>
                    <a:pt x="165" y="72"/>
                  </a:cubicBezTo>
                  <a:cubicBezTo>
                    <a:pt x="165" y="73"/>
                    <a:pt x="164" y="73"/>
                    <a:pt x="164" y="73"/>
                  </a:cubicBezTo>
                  <a:cubicBezTo>
                    <a:pt x="163" y="74"/>
                    <a:pt x="162" y="74"/>
                    <a:pt x="161" y="74"/>
                  </a:cubicBezTo>
                  <a:cubicBezTo>
                    <a:pt x="161" y="74"/>
                    <a:pt x="160" y="74"/>
                    <a:pt x="160" y="74"/>
                  </a:cubicBezTo>
                  <a:cubicBezTo>
                    <a:pt x="160" y="74"/>
                    <a:pt x="160" y="73"/>
                    <a:pt x="160" y="72"/>
                  </a:cubicBezTo>
                  <a:cubicBezTo>
                    <a:pt x="159" y="72"/>
                    <a:pt x="159" y="72"/>
                    <a:pt x="159" y="72"/>
                  </a:cubicBezTo>
                  <a:cubicBezTo>
                    <a:pt x="159" y="71"/>
                    <a:pt x="159" y="71"/>
                    <a:pt x="163" y="68"/>
                  </a:cubicBezTo>
                  <a:cubicBezTo>
                    <a:pt x="162" y="68"/>
                    <a:pt x="162" y="68"/>
                    <a:pt x="161" y="68"/>
                  </a:cubicBezTo>
                  <a:cubicBezTo>
                    <a:pt x="164" y="66"/>
                    <a:pt x="164" y="66"/>
                    <a:pt x="164" y="66"/>
                  </a:cubicBezTo>
                  <a:cubicBezTo>
                    <a:pt x="167" y="63"/>
                    <a:pt x="167" y="63"/>
                    <a:pt x="168" y="62"/>
                  </a:cubicBezTo>
                  <a:cubicBezTo>
                    <a:pt x="167" y="62"/>
                    <a:pt x="167" y="62"/>
                    <a:pt x="167" y="62"/>
                  </a:cubicBezTo>
                  <a:cubicBezTo>
                    <a:pt x="168" y="60"/>
                    <a:pt x="168" y="60"/>
                    <a:pt x="169" y="59"/>
                  </a:cubicBezTo>
                  <a:cubicBezTo>
                    <a:pt x="168" y="59"/>
                    <a:pt x="168" y="59"/>
                    <a:pt x="168" y="59"/>
                  </a:cubicBezTo>
                  <a:cubicBezTo>
                    <a:pt x="169" y="58"/>
                    <a:pt x="169" y="58"/>
                    <a:pt x="169" y="57"/>
                  </a:cubicBezTo>
                  <a:cubicBezTo>
                    <a:pt x="169" y="59"/>
                    <a:pt x="169" y="59"/>
                    <a:pt x="169" y="59"/>
                  </a:cubicBezTo>
                  <a:cubicBezTo>
                    <a:pt x="170" y="60"/>
                    <a:pt x="170" y="60"/>
                    <a:pt x="170" y="60"/>
                  </a:cubicBezTo>
                  <a:cubicBezTo>
                    <a:pt x="170" y="60"/>
                    <a:pt x="170" y="60"/>
                    <a:pt x="170" y="60"/>
                  </a:cubicBezTo>
                  <a:cubicBezTo>
                    <a:pt x="170" y="60"/>
                    <a:pt x="170" y="61"/>
                    <a:pt x="170" y="61"/>
                  </a:cubicBezTo>
                  <a:cubicBezTo>
                    <a:pt x="171" y="61"/>
                    <a:pt x="172" y="61"/>
                    <a:pt x="173" y="61"/>
                  </a:cubicBezTo>
                  <a:cubicBezTo>
                    <a:pt x="173" y="62"/>
                    <a:pt x="173" y="62"/>
                    <a:pt x="173" y="62"/>
                  </a:cubicBezTo>
                  <a:cubicBezTo>
                    <a:pt x="174" y="63"/>
                    <a:pt x="174" y="63"/>
                    <a:pt x="174" y="63"/>
                  </a:cubicBezTo>
                  <a:cubicBezTo>
                    <a:pt x="175" y="63"/>
                    <a:pt x="175" y="63"/>
                    <a:pt x="175" y="63"/>
                  </a:cubicBezTo>
                  <a:cubicBezTo>
                    <a:pt x="175" y="63"/>
                    <a:pt x="175" y="63"/>
                    <a:pt x="175" y="63"/>
                  </a:cubicBezTo>
                  <a:cubicBezTo>
                    <a:pt x="187" y="58"/>
                    <a:pt x="188" y="58"/>
                    <a:pt x="188" y="54"/>
                  </a:cubicBezTo>
                  <a:cubicBezTo>
                    <a:pt x="187" y="54"/>
                    <a:pt x="187" y="54"/>
                    <a:pt x="186" y="54"/>
                  </a:cubicBezTo>
                  <a:cubicBezTo>
                    <a:pt x="186" y="53"/>
                    <a:pt x="187" y="52"/>
                    <a:pt x="187" y="51"/>
                  </a:cubicBezTo>
                  <a:cubicBezTo>
                    <a:pt x="187" y="50"/>
                    <a:pt x="187" y="50"/>
                    <a:pt x="187" y="50"/>
                  </a:cubicBezTo>
                  <a:cubicBezTo>
                    <a:pt x="187" y="50"/>
                    <a:pt x="187" y="50"/>
                    <a:pt x="187" y="50"/>
                  </a:cubicBezTo>
                  <a:cubicBezTo>
                    <a:pt x="187" y="49"/>
                    <a:pt x="187" y="49"/>
                    <a:pt x="187" y="49"/>
                  </a:cubicBezTo>
                  <a:cubicBezTo>
                    <a:pt x="186" y="49"/>
                    <a:pt x="186" y="49"/>
                    <a:pt x="185" y="49"/>
                  </a:cubicBezTo>
                  <a:cubicBezTo>
                    <a:pt x="184" y="49"/>
                    <a:pt x="184" y="49"/>
                    <a:pt x="184" y="49"/>
                  </a:cubicBezTo>
                  <a:cubicBezTo>
                    <a:pt x="184" y="49"/>
                    <a:pt x="185" y="48"/>
                    <a:pt x="185" y="48"/>
                  </a:cubicBezTo>
                  <a:cubicBezTo>
                    <a:pt x="185" y="48"/>
                    <a:pt x="185" y="48"/>
                    <a:pt x="184" y="48"/>
                  </a:cubicBezTo>
                  <a:cubicBezTo>
                    <a:pt x="184" y="48"/>
                    <a:pt x="184" y="48"/>
                    <a:pt x="182" y="49"/>
                  </a:cubicBezTo>
                  <a:cubicBezTo>
                    <a:pt x="182" y="49"/>
                    <a:pt x="182" y="49"/>
                    <a:pt x="182" y="49"/>
                  </a:cubicBezTo>
                  <a:cubicBezTo>
                    <a:pt x="182" y="48"/>
                    <a:pt x="182" y="48"/>
                    <a:pt x="184" y="47"/>
                  </a:cubicBezTo>
                  <a:cubicBezTo>
                    <a:pt x="184" y="47"/>
                    <a:pt x="184" y="47"/>
                    <a:pt x="184" y="47"/>
                  </a:cubicBezTo>
                  <a:cubicBezTo>
                    <a:pt x="184" y="46"/>
                    <a:pt x="184" y="46"/>
                    <a:pt x="186" y="45"/>
                  </a:cubicBezTo>
                  <a:cubicBezTo>
                    <a:pt x="186" y="45"/>
                    <a:pt x="185" y="45"/>
                    <a:pt x="185" y="45"/>
                  </a:cubicBezTo>
                  <a:cubicBezTo>
                    <a:pt x="185" y="45"/>
                    <a:pt x="184" y="45"/>
                    <a:pt x="184" y="45"/>
                  </a:cubicBezTo>
                  <a:cubicBezTo>
                    <a:pt x="184" y="45"/>
                    <a:pt x="184" y="45"/>
                    <a:pt x="184" y="45"/>
                  </a:cubicBezTo>
                  <a:cubicBezTo>
                    <a:pt x="183" y="45"/>
                    <a:pt x="183" y="45"/>
                    <a:pt x="183" y="45"/>
                  </a:cubicBezTo>
                  <a:cubicBezTo>
                    <a:pt x="183" y="44"/>
                    <a:pt x="183" y="44"/>
                    <a:pt x="184" y="44"/>
                  </a:cubicBezTo>
                  <a:cubicBezTo>
                    <a:pt x="185" y="44"/>
                    <a:pt x="186" y="43"/>
                    <a:pt x="186" y="43"/>
                  </a:cubicBezTo>
                  <a:cubicBezTo>
                    <a:pt x="187" y="42"/>
                    <a:pt x="187" y="42"/>
                    <a:pt x="187" y="42"/>
                  </a:cubicBezTo>
                  <a:cubicBezTo>
                    <a:pt x="187" y="41"/>
                    <a:pt x="187" y="41"/>
                    <a:pt x="187" y="41"/>
                  </a:cubicBezTo>
                  <a:cubicBezTo>
                    <a:pt x="187" y="41"/>
                    <a:pt x="187" y="41"/>
                    <a:pt x="187" y="40"/>
                  </a:cubicBezTo>
                  <a:cubicBezTo>
                    <a:pt x="187" y="40"/>
                    <a:pt x="187" y="40"/>
                    <a:pt x="187" y="40"/>
                  </a:cubicBezTo>
                  <a:cubicBezTo>
                    <a:pt x="186" y="41"/>
                    <a:pt x="185" y="41"/>
                    <a:pt x="185" y="42"/>
                  </a:cubicBezTo>
                  <a:cubicBezTo>
                    <a:pt x="184" y="42"/>
                    <a:pt x="184" y="42"/>
                    <a:pt x="184" y="42"/>
                  </a:cubicBezTo>
                  <a:cubicBezTo>
                    <a:pt x="184" y="41"/>
                    <a:pt x="185" y="41"/>
                    <a:pt x="185" y="41"/>
                  </a:cubicBezTo>
                  <a:cubicBezTo>
                    <a:pt x="186" y="40"/>
                    <a:pt x="186" y="40"/>
                    <a:pt x="187" y="40"/>
                  </a:cubicBezTo>
                  <a:cubicBezTo>
                    <a:pt x="188" y="39"/>
                    <a:pt x="188" y="39"/>
                    <a:pt x="188" y="39"/>
                  </a:cubicBezTo>
                  <a:cubicBezTo>
                    <a:pt x="187" y="39"/>
                    <a:pt x="187" y="39"/>
                    <a:pt x="186" y="39"/>
                  </a:cubicBezTo>
                  <a:cubicBezTo>
                    <a:pt x="184" y="41"/>
                    <a:pt x="184" y="41"/>
                    <a:pt x="183" y="41"/>
                  </a:cubicBezTo>
                  <a:cubicBezTo>
                    <a:pt x="183" y="41"/>
                    <a:pt x="182" y="42"/>
                    <a:pt x="182" y="42"/>
                  </a:cubicBezTo>
                  <a:cubicBezTo>
                    <a:pt x="181" y="42"/>
                    <a:pt x="181" y="42"/>
                    <a:pt x="181" y="42"/>
                  </a:cubicBezTo>
                  <a:cubicBezTo>
                    <a:pt x="181" y="42"/>
                    <a:pt x="181" y="42"/>
                    <a:pt x="181" y="42"/>
                  </a:cubicBezTo>
                  <a:cubicBezTo>
                    <a:pt x="183" y="41"/>
                    <a:pt x="183" y="41"/>
                    <a:pt x="184" y="40"/>
                  </a:cubicBezTo>
                  <a:cubicBezTo>
                    <a:pt x="184" y="40"/>
                    <a:pt x="184" y="40"/>
                    <a:pt x="184" y="40"/>
                  </a:cubicBezTo>
                  <a:cubicBezTo>
                    <a:pt x="186" y="39"/>
                    <a:pt x="186" y="39"/>
                    <a:pt x="186" y="39"/>
                  </a:cubicBezTo>
                  <a:cubicBezTo>
                    <a:pt x="186" y="38"/>
                    <a:pt x="186" y="38"/>
                    <a:pt x="186" y="38"/>
                  </a:cubicBezTo>
                  <a:cubicBezTo>
                    <a:pt x="186" y="39"/>
                    <a:pt x="186" y="39"/>
                    <a:pt x="186" y="39"/>
                  </a:cubicBezTo>
                  <a:cubicBezTo>
                    <a:pt x="184" y="39"/>
                    <a:pt x="182" y="40"/>
                    <a:pt x="180" y="41"/>
                  </a:cubicBezTo>
                  <a:cubicBezTo>
                    <a:pt x="180" y="41"/>
                    <a:pt x="180" y="41"/>
                    <a:pt x="179" y="41"/>
                  </a:cubicBezTo>
                  <a:cubicBezTo>
                    <a:pt x="180" y="40"/>
                    <a:pt x="180" y="40"/>
                    <a:pt x="181" y="40"/>
                  </a:cubicBezTo>
                  <a:cubicBezTo>
                    <a:pt x="181" y="39"/>
                    <a:pt x="181" y="39"/>
                    <a:pt x="181" y="39"/>
                  </a:cubicBezTo>
                  <a:cubicBezTo>
                    <a:pt x="179" y="40"/>
                    <a:pt x="178" y="40"/>
                    <a:pt x="176" y="41"/>
                  </a:cubicBezTo>
                  <a:cubicBezTo>
                    <a:pt x="176" y="42"/>
                    <a:pt x="176" y="42"/>
                    <a:pt x="176" y="42"/>
                  </a:cubicBezTo>
                  <a:cubicBezTo>
                    <a:pt x="176" y="42"/>
                    <a:pt x="175" y="43"/>
                    <a:pt x="175" y="43"/>
                  </a:cubicBezTo>
                  <a:cubicBezTo>
                    <a:pt x="174" y="43"/>
                    <a:pt x="174" y="43"/>
                    <a:pt x="174" y="43"/>
                  </a:cubicBezTo>
                  <a:cubicBezTo>
                    <a:pt x="174" y="43"/>
                    <a:pt x="174" y="43"/>
                    <a:pt x="174" y="43"/>
                  </a:cubicBezTo>
                  <a:cubicBezTo>
                    <a:pt x="174" y="42"/>
                    <a:pt x="174" y="42"/>
                    <a:pt x="174" y="42"/>
                  </a:cubicBezTo>
                  <a:cubicBezTo>
                    <a:pt x="170" y="44"/>
                    <a:pt x="170" y="44"/>
                    <a:pt x="170" y="45"/>
                  </a:cubicBezTo>
                  <a:cubicBezTo>
                    <a:pt x="171" y="44"/>
                    <a:pt x="172" y="42"/>
                    <a:pt x="173" y="41"/>
                  </a:cubicBezTo>
                  <a:cubicBezTo>
                    <a:pt x="172" y="42"/>
                    <a:pt x="172" y="42"/>
                    <a:pt x="171" y="42"/>
                  </a:cubicBezTo>
                  <a:cubicBezTo>
                    <a:pt x="171" y="42"/>
                    <a:pt x="167" y="45"/>
                    <a:pt x="165" y="46"/>
                  </a:cubicBezTo>
                  <a:cubicBezTo>
                    <a:pt x="166" y="45"/>
                    <a:pt x="166" y="45"/>
                    <a:pt x="167" y="44"/>
                  </a:cubicBezTo>
                  <a:cubicBezTo>
                    <a:pt x="166" y="44"/>
                    <a:pt x="166" y="44"/>
                    <a:pt x="163" y="46"/>
                  </a:cubicBezTo>
                  <a:cubicBezTo>
                    <a:pt x="163" y="46"/>
                    <a:pt x="162" y="47"/>
                    <a:pt x="162" y="47"/>
                  </a:cubicBezTo>
                  <a:cubicBezTo>
                    <a:pt x="162" y="47"/>
                    <a:pt x="161" y="48"/>
                    <a:pt x="161" y="48"/>
                  </a:cubicBezTo>
                  <a:cubicBezTo>
                    <a:pt x="160" y="48"/>
                    <a:pt x="160" y="48"/>
                    <a:pt x="160" y="48"/>
                  </a:cubicBezTo>
                  <a:cubicBezTo>
                    <a:pt x="160" y="48"/>
                    <a:pt x="160" y="48"/>
                    <a:pt x="160" y="48"/>
                  </a:cubicBezTo>
                  <a:cubicBezTo>
                    <a:pt x="161" y="47"/>
                    <a:pt x="161" y="47"/>
                    <a:pt x="163" y="46"/>
                  </a:cubicBezTo>
                  <a:cubicBezTo>
                    <a:pt x="162" y="46"/>
                    <a:pt x="162" y="46"/>
                    <a:pt x="161" y="47"/>
                  </a:cubicBezTo>
                  <a:cubicBezTo>
                    <a:pt x="159" y="47"/>
                    <a:pt x="155" y="49"/>
                    <a:pt x="155" y="50"/>
                  </a:cubicBezTo>
                  <a:cubicBezTo>
                    <a:pt x="154" y="50"/>
                    <a:pt x="154" y="50"/>
                    <a:pt x="154" y="50"/>
                  </a:cubicBezTo>
                  <a:cubicBezTo>
                    <a:pt x="154" y="50"/>
                    <a:pt x="153" y="50"/>
                    <a:pt x="152" y="51"/>
                  </a:cubicBezTo>
                  <a:cubicBezTo>
                    <a:pt x="152" y="51"/>
                    <a:pt x="152" y="51"/>
                    <a:pt x="152" y="51"/>
                  </a:cubicBezTo>
                  <a:cubicBezTo>
                    <a:pt x="152" y="51"/>
                    <a:pt x="152" y="51"/>
                    <a:pt x="152" y="51"/>
                  </a:cubicBezTo>
                  <a:cubicBezTo>
                    <a:pt x="151" y="51"/>
                    <a:pt x="151" y="51"/>
                    <a:pt x="151" y="51"/>
                  </a:cubicBezTo>
                  <a:cubicBezTo>
                    <a:pt x="153" y="51"/>
                    <a:pt x="154" y="51"/>
                    <a:pt x="155" y="50"/>
                  </a:cubicBezTo>
                  <a:cubicBezTo>
                    <a:pt x="156" y="50"/>
                    <a:pt x="156" y="50"/>
                    <a:pt x="156" y="50"/>
                  </a:cubicBezTo>
                  <a:cubicBezTo>
                    <a:pt x="157" y="49"/>
                    <a:pt x="157" y="49"/>
                    <a:pt x="158" y="49"/>
                  </a:cubicBezTo>
                  <a:cubicBezTo>
                    <a:pt x="157" y="50"/>
                    <a:pt x="157" y="50"/>
                    <a:pt x="156" y="50"/>
                  </a:cubicBezTo>
                  <a:cubicBezTo>
                    <a:pt x="154" y="50"/>
                    <a:pt x="139" y="60"/>
                    <a:pt x="136" y="62"/>
                  </a:cubicBezTo>
                  <a:cubicBezTo>
                    <a:pt x="136" y="62"/>
                    <a:pt x="136" y="62"/>
                    <a:pt x="136" y="62"/>
                  </a:cubicBezTo>
                  <a:cubicBezTo>
                    <a:pt x="134" y="63"/>
                    <a:pt x="132" y="64"/>
                    <a:pt x="130" y="65"/>
                  </a:cubicBezTo>
                  <a:cubicBezTo>
                    <a:pt x="131" y="65"/>
                    <a:pt x="131" y="65"/>
                    <a:pt x="131" y="65"/>
                  </a:cubicBezTo>
                  <a:cubicBezTo>
                    <a:pt x="128" y="67"/>
                    <a:pt x="125" y="69"/>
                    <a:pt x="122" y="71"/>
                  </a:cubicBezTo>
                  <a:cubicBezTo>
                    <a:pt x="122" y="70"/>
                    <a:pt x="122" y="70"/>
                    <a:pt x="122" y="70"/>
                  </a:cubicBezTo>
                  <a:cubicBezTo>
                    <a:pt x="120" y="71"/>
                    <a:pt x="120" y="71"/>
                    <a:pt x="120" y="71"/>
                  </a:cubicBezTo>
                  <a:cubicBezTo>
                    <a:pt x="119" y="73"/>
                    <a:pt x="119" y="73"/>
                    <a:pt x="118" y="73"/>
                  </a:cubicBezTo>
                  <a:cubicBezTo>
                    <a:pt x="118" y="73"/>
                    <a:pt x="118" y="73"/>
                    <a:pt x="118" y="73"/>
                  </a:cubicBezTo>
                  <a:cubicBezTo>
                    <a:pt x="118" y="73"/>
                    <a:pt x="118" y="73"/>
                    <a:pt x="118" y="73"/>
                  </a:cubicBezTo>
                  <a:cubicBezTo>
                    <a:pt x="118" y="73"/>
                    <a:pt x="118" y="73"/>
                    <a:pt x="118" y="73"/>
                  </a:cubicBezTo>
                  <a:cubicBezTo>
                    <a:pt x="118" y="73"/>
                    <a:pt x="118" y="73"/>
                    <a:pt x="118" y="73"/>
                  </a:cubicBezTo>
                  <a:cubicBezTo>
                    <a:pt x="118" y="73"/>
                    <a:pt x="118" y="73"/>
                    <a:pt x="118" y="73"/>
                  </a:cubicBezTo>
                  <a:cubicBezTo>
                    <a:pt x="118" y="73"/>
                    <a:pt x="118" y="73"/>
                    <a:pt x="118" y="73"/>
                  </a:cubicBezTo>
                  <a:cubicBezTo>
                    <a:pt x="118" y="73"/>
                    <a:pt x="118" y="73"/>
                    <a:pt x="118" y="73"/>
                  </a:cubicBezTo>
                  <a:cubicBezTo>
                    <a:pt x="118" y="73"/>
                    <a:pt x="118" y="73"/>
                    <a:pt x="118" y="73"/>
                  </a:cubicBezTo>
                  <a:cubicBezTo>
                    <a:pt x="116" y="74"/>
                    <a:pt x="111" y="77"/>
                    <a:pt x="104" y="83"/>
                  </a:cubicBezTo>
                  <a:cubicBezTo>
                    <a:pt x="104" y="84"/>
                    <a:pt x="104" y="84"/>
                    <a:pt x="104" y="84"/>
                  </a:cubicBezTo>
                  <a:cubicBezTo>
                    <a:pt x="103" y="84"/>
                    <a:pt x="103" y="84"/>
                    <a:pt x="103" y="84"/>
                  </a:cubicBezTo>
                  <a:cubicBezTo>
                    <a:pt x="102" y="85"/>
                    <a:pt x="102" y="85"/>
                    <a:pt x="102" y="86"/>
                  </a:cubicBezTo>
                  <a:cubicBezTo>
                    <a:pt x="102" y="86"/>
                    <a:pt x="102" y="86"/>
                    <a:pt x="102" y="86"/>
                  </a:cubicBezTo>
                  <a:cubicBezTo>
                    <a:pt x="101" y="87"/>
                    <a:pt x="95" y="93"/>
                    <a:pt x="95" y="93"/>
                  </a:cubicBezTo>
                  <a:cubicBezTo>
                    <a:pt x="95" y="94"/>
                    <a:pt x="96" y="94"/>
                    <a:pt x="97" y="94"/>
                  </a:cubicBezTo>
                  <a:cubicBezTo>
                    <a:pt x="99" y="92"/>
                    <a:pt x="99" y="92"/>
                    <a:pt x="100" y="92"/>
                  </a:cubicBezTo>
                  <a:cubicBezTo>
                    <a:pt x="101" y="91"/>
                    <a:pt x="101" y="91"/>
                    <a:pt x="102" y="91"/>
                  </a:cubicBezTo>
                  <a:cubicBezTo>
                    <a:pt x="101" y="91"/>
                    <a:pt x="101" y="92"/>
                    <a:pt x="99" y="94"/>
                  </a:cubicBezTo>
                  <a:cubicBezTo>
                    <a:pt x="101" y="95"/>
                    <a:pt x="103" y="95"/>
                    <a:pt x="106" y="96"/>
                  </a:cubicBezTo>
                  <a:cubicBezTo>
                    <a:pt x="111" y="92"/>
                    <a:pt x="111" y="92"/>
                    <a:pt x="111" y="91"/>
                  </a:cubicBezTo>
                  <a:cubicBezTo>
                    <a:pt x="112" y="91"/>
                    <a:pt x="112" y="91"/>
                    <a:pt x="112" y="90"/>
                  </a:cubicBezTo>
                  <a:cubicBezTo>
                    <a:pt x="113" y="90"/>
                    <a:pt x="113" y="90"/>
                    <a:pt x="113" y="90"/>
                  </a:cubicBezTo>
                  <a:cubicBezTo>
                    <a:pt x="112" y="89"/>
                    <a:pt x="112" y="89"/>
                    <a:pt x="112" y="89"/>
                  </a:cubicBezTo>
                  <a:cubicBezTo>
                    <a:pt x="113" y="87"/>
                    <a:pt x="115" y="85"/>
                    <a:pt x="115" y="85"/>
                  </a:cubicBezTo>
                  <a:cubicBezTo>
                    <a:pt x="117" y="83"/>
                    <a:pt x="119" y="82"/>
                    <a:pt x="121" y="80"/>
                  </a:cubicBezTo>
                  <a:cubicBezTo>
                    <a:pt x="122" y="79"/>
                    <a:pt x="124" y="78"/>
                    <a:pt x="125" y="77"/>
                  </a:cubicBezTo>
                  <a:cubicBezTo>
                    <a:pt x="128" y="74"/>
                    <a:pt x="132" y="73"/>
                    <a:pt x="135" y="71"/>
                  </a:cubicBezTo>
                  <a:cubicBezTo>
                    <a:pt x="138" y="69"/>
                    <a:pt x="140" y="67"/>
                    <a:pt x="142" y="66"/>
                  </a:cubicBezTo>
                  <a:cubicBezTo>
                    <a:pt x="149" y="62"/>
                    <a:pt x="149" y="62"/>
                    <a:pt x="149" y="62"/>
                  </a:cubicBezTo>
                  <a:cubicBezTo>
                    <a:pt x="149" y="62"/>
                    <a:pt x="149" y="62"/>
                    <a:pt x="149" y="62"/>
                  </a:cubicBezTo>
                  <a:cubicBezTo>
                    <a:pt x="149" y="62"/>
                    <a:pt x="149" y="62"/>
                    <a:pt x="149" y="62"/>
                  </a:cubicBezTo>
                  <a:cubicBezTo>
                    <a:pt x="149" y="62"/>
                    <a:pt x="149" y="62"/>
                    <a:pt x="149" y="62"/>
                  </a:cubicBezTo>
                  <a:cubicBezTo>
                    <a:pt x="149" y="62"/>
                    <a:pt x="149" y="62"/>
                    <a:pt x="149" y="62"/>
                  </a:cubicBezTo>
                  <a:cubicBezTo>
                    <a:pt x="149" y="62"/>
                    <a:pt x="149" y="62"/>
                    <a:pt x="149" y="62"/>
                  </a:cubicBezTo>
                  <a:cubicBezTo>
                    <a:pt x="149" y="62"/>
                    <a:pt x="149" y="62"/>
                    <a:pt x="149" y="62"/>
                  </a:cubicBezTo>
                  <a:cubicBezTo>
                    <a:pt x="149" y="62"/>
                    <a:pt x="149" y="62"/>
                    <a:pt x="149" y="62"/>
                  </a:cubicBezTo>
                  <a:cubicBezTo>
                    <a:pt x="149" y="62"/>
                    <a:pt x="149" y="62"/>
                    <a:pt x="149" y="62"/>
                  </a:cubicBezTo>
                  <a:cubicBezTo>
                    <a:pt x="149" y="63"/>
                    <a:pt x="148" y="63"/>
                    <a:pt x="148" y="64"/>
                  </a:cubicBezTo>
                  <a:cubicBezTo>
                    <a:pt x="148" y="64"/>
                    <a:pt x="149" y="63"/>
                    <a:pt x="149" y="63"/>
                  </a:cubicBezTo>
                  <a:cubicBezTo>
                    <a:pt x="149" y="64"/>
                    <a:pt x="149" y="64"/>
                    <a:pt x="149" y="64"/>
                  </a:cubicBezTo>
                  <a:cubicBezTo>
                    <a:pt x="149" y="64"/>
                    <a:pt x="148" y="65"/>
                    <a:pt x="148" y="65"/>
                  </a:cubicBezTo>
                  <a:cubicBezTo>
                    <a:pt x="147" y="66"/>
                    <a:pt x="146" y="67"/>
                    <a:pt x="146" y="67"/>
                  </a:cubicBezTo>
                  <a:cubicBezTo>
                    <a:pt x="145" y="67"/>
                    <a:pt x="145" y="67"/>
                    <a:pt x="145" y="67"/>
                  </a:cubicBezTo>
                  <a:cubicBezTo>
                    <a:pt x="138" y="73"/>
                    <a:pt x="129" y="77"/>
                    <a:pt x="122" y="83"/>
                  </a:cubicBezTo>
                  <a:cubicBezTo>
                    <a:pt x="122" y="84"/>
                    <a:pt x="122" y="84"/>
                    <a:pt x="122" y="84"/>
                  </a:cubicBezTo>
                  <a:cubicBezTo>
                    <a:pt x="121" y="85"/>
                    <a:pt x="121" y="85"/>
                    <a:pt x="120" y="86"/>
                  </a:cubicBezTo>
                  <a:cubicBezTo>
                    <a:pt x="120" y="87"/>
                    <a:pt x="120" y="87"/>
                    <a:pt x="120" y="87"/>
                  </a:cubicBezTo>
                  <a:cubicBezTo>
                    <a:pt x="120" y="88"/>
                    <a:pt x="119" y="89"/>
                    <a:pt x="119" y="91"/>
                  </a:cubicBezTo>
                  <a:cubicBezTo>
                    <a:pt x="119" y="91"/>
                    <a:pt x="119" y="91"/>
                    <a:pt x="119" y="91"/>
                  </a:cubicBezTo>
                  <a:cubicBezTo>
                    <a:pt x="120" y="90"/>
                    <a:pt x="121" y="90"/>
                    <a:pt x="122" y="89"/>
                  </a:cubicBezTo>
                  <a:cubicBezTo>
                    <a:pt x="123" y="90"/>
                    <a:pt x="123" y="90"/>
                    <a:pt x="123" y="90"/>
                  </a:cubicBezTo>
                  <a:cubicBezTo>
                    <a:pt x="124" y="90"/>
                    <a:pt x="124" y="90"/>
                    <a:pt x="125" y="89"/>
                  </a:cubicBezTo>
                  <a:cubicBezTo>
                    <a:pt x="126" y="89"/>
                    <a:pt x="126" y="89"/>
                    <a:pt x="126" y="89"/>
                  </a:cubicBezTo>
                  <a:cubicBezTo>
                    <a:pt x="127" y="89"/>
                    <a:pt x="128" y="89"/>
                    <a:pt x="128" y="89"/>
                  </a:cubicBezTo>
                  <a:cubicBezTo>
                    <a:pt x="129" y="89"/>
                    <a:pt x="129" y="88"/>
                    <a:pt x="130" y="88"/>
                  </a:cubicBezTo>
                  <a:cubicBezTo>
                    <a:pt x="130" y="88"/>
                    <a:pt x="130" y="88"/>
                    <a:pt x="130" y="88"/>
                  </a:cubicBezTo>
                  <a:cubicBezTo>
                    <a:pt x="130" y="89"/>
                    <a:pt x="130" y="89"/>
                    <a:pt x="129" y="90"/>
                  </a:cubicBezTo>
                  <a:cubicBezTo>
                    <a:pt x="130" y="90"/>
                    <a:pt x="131" y="90"/>
                    <a:pt x="131" y="90"/>
                  </a:cubicBezTo>
                  <a:cubicBezTo>
                    <a:pt x="131" y="91"/>
                    <a:pt x="131" y="91"/>
                    <a:pt x="131" y="91"/>
                  </a:cubicBezTo>
                  <a:cubicBezTo>
                    <a:pt x="131" y="91"/>
                    <a:pt x="123" y="95"/>
                    <a:pt x="122" y="95"/>
                  </a:cubicBezTo>
                  <a:cubicBezTo>
                    <a:pt x="122" y="95"/>
                    <a:pt x="122" y="94"/>
                    <a:pt x="122" y="94"/>
                  </a:cubicBezTo>
                  <a:cubicBezTo>
                    <a:pt x="121" y="94"/>
                    <a:pt x="121" y="94"/>
                    <a:pt x="120" y="94"/>
                  </a:cubicBezTo>
                  <a:cubicBezTo>
                    <a:pt x="119" y="94"/>
                    <a:pt x="119" y="94"/>
                    <a:pt x="119" y="94"/>
                  </a:cubicBezTo>
                  <a:cubicBezTo>
                    <a:pt x="119" y="94"/>
                    <a:pt x="119" y="94"/>
                    <a:pt x="118" y="94"/>
                  </a:cubicBezTo>
                  <a:cubicBezTo>
                    <a:pt x="117" y="94"/>
                    <a:pt x="117" y="94"/>
                    <a:pt x="117" y="94"/>
                  </a:cubicBezTo>
                  <a:cubicBezTo>
                    <a:pt x="116" y="95"/>
                    <a:pt x="115" y="95"/>
                    <a:pt x="114" y="96"/>
                  </a:cubicBezTo>
                  <a:cubicBezTo>
                    <a:pt x="126" y="98"/>
                    <a:pt x="143" y="99"/>
                    <a:pt x="165" y="100"/>
                  </a:cubicBezTo>
                  <a:cubicBezTo>
                    <a:pt x="174" y="101"/>
                    <a:pt x="183" y="101"/>
                    <a:pt x="193" y="102"/>
                  </a:cubicBezTo>
                  <a:moveTo>
                    <a:pt x="493" y="58"/>
                  </a:moveTo>
                  <a:cubicBezTo>
                    <a:pt x="492" y="57"/>
                    <a:pt x="491" y="57"/>
                    <a:pt x="490" y="56"/>
                  </a:cubicBezTo>
                  <a:cubicBezTo>
                    <a:pt x="489" y="55"/>
                    <a:pt x="489" y="55"/>
                    <a:pt x="488" y="55"/>
                  </a:cubicBezTo>
                  <a:cubicBezTo>
                    <a:pt x="488" y="55"/>
                    <a:pt x="488" y="55"/>
                    <a:pt x="488" y="55"/>
                  </a:cubicBezTo>
                  <a:cubicBezTo>
                    <a:pt x="488" y="55"/>
                    <a:pt x="488" y="55"/>
                    <a:pt x="488" y="55"/>
                  </a:cubicBezTo>
                  <a:cubicBezTo>
                    <a:pt x="488" y="55"/>
                    <a:pt x="488" y="55"/>
                    <a:pt x="488" y="55"/>
                  </a:cubicBezTo>
                  <a:cubicBezTo>
                    <a:pt x="487" y="55"/>
                    <a:pt x="486" y="55"/>
                    <a:pt x="486" y="54"/>
                  </a:cubicBezTo>
                  <a:cubicBezTo>
                    <a:pt x="487" y="55"/>
                    <a:pt x="488" y="56"/>
                    <a:pt x="489" y="56"/>
                  </a:cubicBezTo>
                  <a:cubicBezTo>
                    <a:pt x="489" y="56"/>
                    <a:pt x="489" y="57"/>
                    <a:pt x="489" y="57"/>
                  </a:cubicBezTo>
                  <a:cubicBezTo>
                    <a:pt x="490" y="57"/>
                    <a:pt x="490" y="57"/>
                    <a:pt x="491" y="58"/>
                  </a:cubicBezTo>
                  <a:cubicBezTo>
                    <a:pt x="490" y="57"/>
                    <a:pt x="490" y="57"/>
                    <a:pt x="488" y="56"/>
                  </a:cubicBezTo>
                  <a:cubicBezTo>
                    <a:pt x="487" y="55"/>
                    <a:pt x="485" y="54"/>
                    <a:pt x="483" y="53"/>
                  </a:cubicBezTo>
                  <a:cubicBezTo>
                    <a:pt x="483" y="53"/>
                    <a:pt x="482" y="52"/>
                    <a:pt x="482" y="52"/>
                  </a:cubicBezTo>
                  <a:cubicBezTo>
                    <a:pt x="481" y="52"/>
                    <a:pt x="481" y="52"/>
                    <a:pt x="481" y="52"/>
                  </a:cubicBezTo>
                  <a:cubicBezTo>
                    <a:pt x="480" y="51"/>
                    <a:pt x="476" y="49"/>
                    <a:pt x="476" y="49"/>
                  </a:cubicBezTo>
                  <a:cubicBezTo>
                    <a:pt x="473" y="48"/>
                    <a:pt x="472" y="48"/>
                    <a:pt x="465" y="44"/>
                  </a:cubicBezTo>
                  <a:cubicBezTo>
                    <a:pt x="465" y="44"/>
                    <a:pt x="465" y="44"/>
                    <a:pt x="465" y="44"/>
                  </a:cubicBezTo>
                  <a:cubicBezTo>
                    <a:pt x="465" y="44"/>
                    <a:pt x="465" y="44"/>
                    <a:pt x="465" y="44"/>
                  </a:cubicBezTo>
                  <a:cubicBezTo>
                    <a:pt x="464" y="44"/>
                    <a:pt x="463" y="44"/>
                    <a:pt x="462" y="43"/>
                  </a:cubicBezTo>
                  <a:cubicBezTo>
                    <a:pt x="461" y="43"/>
                    <a:pt x="461" y="43"/>
                    <a:pt x="461" y="43"/>
                  </a:cubicBezTo>
                  <a:cubicBezTo>
                    <a:pt x="462" y="44"/>
                    <a:pt x="462" y="44"/>
                    <a:pt x="462" y="44"/>
                  </a:cubicBezTo>
                  <a:cubicBezTo>
                    <a:pt x="461" y="44"/>
                    <a:pt x="461" y="44"/>
                    <a:pt x="461" y="44"/>
                  </a:cubicBezTo>
                  <a:cubicBezTo>
                    <a:pt x="457" y="42"/>
                    <a:pt x="457" y="42"/>
                    <a:pt x="456" y="42"/>
                  </a:cubicBezTo>
                  <a:cubicBezTo>
                    <a:pt x="459" y="46"/>
                    <a:pt x="463" y="46"/>
                    <a:pt x="466" y="49"/>
                  </a:cubicBezTo>
                  <a:cubicBezTo>
                    <a:pt x="465" y="49"/>
                    <a:pt x="465" y="49"/>
                    <a:pt x="465" y="49"/>
                  </a:cubicBezTo>
                  <a:cubicBezTo>
                    <a:pt x="464" y="48"/>
                    <a:pt x="463" y="48"/>
                    <a:pt x="462" y="47"/>
                  </a:cubicBezTo>
                  <a:cubicBezTo>
                    <a:pt x="462" y="47"/>
                    <a:pt x="461" y="47"/>
                    <a:pt x="461" y="47"/>
                  </a:cubicBezTo>
                  <a:cubicBezTo>
                    <a:pt x="460" y="47"/>
                    <a:pt x="459" y="46"/>
                    <a:pt x="458" y="46"/>
                  </a:cubicBezTo>
                  <a:cubicBezTo>
                    <a:pt x="458" y="45"/>
                    <a:pt x="458" y="45"/>
                    <a:pt x="458" y="45"/>
                  </a:cubicBezTo>
                  <a:cubicBezTo>
                    <a:pt x="458" y="45"/>
                    <a:pt x="458" y="44"/>
                    <a:pt x="457" y="44"/>
                  </a:cubicBezTo>
                  <a:cubicBezTo>
                    <a:pt x="457" y="44"/>
                    <a:pt x="457" y="44"/>
                    <a:pt x="457" y="44"/>
                  </a:cubicBezTo>
                  <a:cubicBezTo>
                    <a:pt x="456" y="44"/>
                    <a:pt x="456" y="44"/>
                    <a:pt x="455" y="44"/>
                  </a:cubicBezTo>
                  <a:cubicBezTo>
                    <a:pt x="458" y="46"/>
                    <a:pt x="458" y="46"/>
                    <a:pt x="458" y="46"/>
                  </a:cubicBezTo>
                  <a:cubicBezTo>
                    <a:pt x="458" y="47"/>
                    <a:pt x="458" y="47"/>
                    <a:pt x="458" y="47"/>
                  </a:cubicBezTo>
                  <a:cubicBezTo>
                    <a:pt x="457" y="46"/>
                    <a:pt x="456" y="46"/>
                    <a:pt x="455" y="46"/>
                  </a:cubicBezTo>
                  <a:cubicBezTo>
                    <a:pt x="455" y="46"/>
                    <a:pt x="455" y="46"/>
                    <a:pt x="454" y="46"/>
                  </a:cubicBezTo>
                  <a:cubicBezTo>
                    <a:pt x="454" y="47"/>
                    <a:pt x="454" y="47"/>
                    <a:pt x="454" y="47"/>
                  </a:cubicBezTo>
                  <a:cubicBezTo>
                    <a:pt x="454" y="47"/>
                    <a:pt x="454" y="47"/>
                    <a:pt x="451" y="46"/>
                  </a:cubicBezTo>
                  <a:cubicBezTo>
                    <a:pt x="451" y="46"/>
                    <a:pt x="451" y="46"/>
                    <a:pt x="451" y="46"/>
                  </a:cubicBezTo>
                  <a:cubicBezTo>
                    <a:pt x="451" y="46"/>
                    <a:pt x="452" y="47"/>
                    <a:pt x="452" y="47"/>
                  </a:cubicBezTo>
                  <a:cubicBezTo>
                    <a:pt x="454" y="48"/>
                    <a:pt x="455" y="49"/>
                    <a:pt x="455" y="49"/>
                  </a:cubicBezTo>
                  <a:cubicBezTo>
                    <a:pt x="455" y="49"/>
                    <a:pt x="455" y="49"/>
                    <a:pt x="455" y="49"/>
                  </a:cubicBezTo>
                  <a:cubicBezTo>
                    <a:pt x="455" y="49"/>
                    <a:pt x="455" y="49"/>
                    <a:pt x="455" y="49"/>
                  </a:cubicBezTo>
                  <a:cubicBezTo>
                    <a:pt x="454" y="49"/>
                    <a:pt x="454" y="48"/>
                    <a:pt x="453" y="48"/>
                  </a:cubicBezTo>
                  <a:cubicBezTo>
                    <a:pt x="453" y="48"/>
                    <a:pt x="444" y="42"/>
                    <a:pt x="441" y="41"/>
                  </a:cubicBezTo>
                  <a:cubicBezTo>
                    <a:pt x="440" y="41"/>
                    <a:pt x="440" y="41"/>
                    <a:pt x="439" y="40"/>
                  </a:cubicBezTo>
                  <a:cubicBezTo>
                    <a:pt x="438" y="40"/>
                    <a:pt x="437" y="40"/>
                    <a:pt x="436" y="40"/>
                  </a:cubicBezTo>
                  <a:cubicBezTo>
                    <a:pt x="436" y="41"/>
                    <a:pt x="436" y="41"/>
                    <a:pt x="436" y="41"/>
                  </a:cubicBezTo>
                  <a:cubicBezTo>
                    <a:pt x="436" y="41"/>
                    <a:pt x="435" y="41"/>
                    <a:pt x="435" y="41"/>
                  </a:cubicBezTo>
                  <a:cubicBezTo>
                    <a:pt x="435" y="41"/>
                    <a:pt x="434" y="41"/>
                    <a:pt x="434" y="42"/>
                  </a:cubicBezTo>
                  <a:cubicBezTo>
                    <a:pt x="434" y="42"/>
                    <a:pt x="434" y="42"/>
                    <a:pt x="434" y="42"/>
                  </a:cubicBezTo>
                  <a:cubicBezTo>
                    <a:pt x="432" y="42"/>
                    <a:pt x="431" y="41"/>
                    <a:pt x="430" y="41"/>
                  </a:cubicBezTo>
                  <a:cubicBezTo>
                    <a:pt x="430" y="41"/>
                    <a:pt x="429" y="41"/>
                    <a:pt x="429" y="41"/>
                  </a:cubicBezTo>
                  <a:cubicBezTo>
                    <a:pt x="427" y="40"/>
                    <a:pt x="427" y="40"/>
                    <a:pt x="426" y="40"/>
                  </a:cubicBezTo>
                  <a:cubicBezTo>
                    <a:pt x="425" y="39"/>
                    <a:pt x="424" y="39"/>
                    <a:pt x="422" y="38"/>
                  </a:cubicBezTo>
                  <a:cubicBezTo>
                    <a:pt x="422" y="38"/>
                    <a:pt x="422" y="38"/>
                    <a:pt x="422" y="38"/>
                  </a:cubicBezTo>
                  <a:cubicBezTo>
                    <a:pt x="421" y="38"/>
                    <a:pt x="421" y="38"/>
                    <a:pt x="421" y="38"/>
                  </a:cubicBezTo>
                  <a:cubicBezTo>
                    <a:pt x="420" y="37"/>
                    <a:pt x="420" y="37"/>
                    <a:pt x="419" y="36"/>
                  </a:cubicBezTo>
                  <a:cubicBezTo>
                    <a:pt x="419" y="36"/>
                    <a:pt x="419" y="36"/>
                    <a:pt x="419" y="36"/>
                  </a:cubicBezTo>
                  <a:cubicBezTo>
                    <a:pt x="417" y="36"/>
                    <a:pt x="416" y="36"/>
                    <a:pt x="415" y="36"/>
                  </a:cubicBezTo>
                  <a:cubicBezTo>
                    <a:pt x="414" y="36"/>
                    <a:pt x="414" y="36"/>
                    <a:pt x="414" y="36"/>
                  </a:cubicBezTo>
                  <a:cubicBezTo>
                    <a:pt x="416" y="37"/>
                    <a:pt x="416" y="37"/>
                    <a:pt x="416" y="38"/>
                  </a:cubicBezTo>
                  <a:cubicBezTo>
                    <a:pt x="416" y="39"/>
                    <a:pt x="416" y="39"/>
                    <a:pt x="416" y="39"/>
                  </a:cubicBezTo>
                  <a:cubicBezTo>
                    <a:pt x="415" y="38"/>
                    <a:pt x="415" y="38"/>
                    <a:pt x="413" y="36"/>
                  </a:cubicBezTo>
                  <a:cubicBezTo>
                    <a:pt x="413" y="36"/>
                    <a:pt x="413" y="36"/>
                    <a:pt x="413" y="36"/>
                  </a:cubicBezTo>
                  <a:cubicBezTo>
                    <a:pt x="410" y="34"/>
                    <a:pt x="405" y="35"/>
                    <a:pt x="402" y="34"/>
                  </a:cubicBezTo>
                  <a:cubicBezTo>
                    <a:pt x="402" y="35"/>
                    <a:pt x="402" y="35"/>
                    <a:pt x="403" y="36"/>
                  </a:cubicBezTo>
                  <a:cubicBezTo>
                    <a:pt x="403" y="36"/>
                    <a:pt x="402" y="36"/>
                    <a:pt x="402" y="36"/>
                  </a:cubicBezTo>
                  <a:cubicBezTo>
                    <a:pt x="402" y="37"/>
                    <a:pt x="402" y="37"/>
                    <a:pt x="402" y="37"/>
                  </a:cubicBezTo>
                  <a:cubicBezTo>
                    <a:pt x="404" y="38"/>
                    <a:pt x="406" y="39"/>
                    <a:pt x="408" y="40"/>
                  </a:cubicBezTo>
                  <a:cubicBezTo>
                    <a:pt x="408" y="40"/>
                    <a:pt x="408" y="40"/>
                    <a:pt x="408" y="40"/>
                  </a:cubicBezTo>
                  <a:cubicBezTo>
                    <a:pt x="405" y="40"/>
                    <a:pt x="403" y="40"/>
                    <a:pt x="403" y="40"/>
                  </a:cubicBezTo>
                  <a:cubicBezTo>
                    <a:pt x="403" y="40"/>
                    <a:pt x="403" y="40"/>
                    <a:pt x="404" y="40"/>
                  </a:cubicBezTo>
                  <a:cubicBezTo>
                    <a:pt x="404" y="41"/>
                    <a:pt x="404" y="41"/>
                    <a:pt x="404" y="41"/>
                  </a:cubicBezTo>
                  <a:cubicBezTo>
                    <a:pt x="406" y="41"/>
                    <a:pt x="406" y="41"/>
                    <a:pt x="406" y="42"/>
                  </a:cubicBezTo>
                  <a:cubicBezTo>
                    <a:pt x="406" y="42"/>
                    <a:pt x="406" y="42"/>
                    <a:pt x="403" y="41"/>
                  </a:cubicBezTo>
                  <a:cubicBezTo>
                    <a:pt x="402" y="40"/>
                    <a:pt x="402" y="40"/>
                    <a:pt x="402" y="40"/>
                  </a:cubicBezTo>
                  <a:cubicBezTo>
                    <a:pt x="401" y="40"/>
                    <a:pt x="401" y="40"/>
                    <a:pt x="400" y="40"/>
                  </a:cubicBezTo>
                  <a:cubicBezTo>
                    <a:pt x="400" y="40"/>
                    <a:pt x="400" y="41"/>
                    <a:pt x="400" y="41"/>
                  </a:cubicBezTo>
                  <a:cubicBezTo>
                    <a:pt x="398" y="41"/>
                    <a:pt x="395" y="40"/>
                    <a:pt x="395" y="40"/>
                  </a:cubicBezTo>
                  <a:cubicBezTo>
                    <a:pt x="395" y="40"/>
                    <a:pt x="395" y="40"/>
                    <a:pt x="395" y="40"/>
                  </a:cubicBezTo>
                  <a:cubicBezTo>
                    <a:pt x="394" y="40"/>
                    <a:pt x="394" y="40"/>
                    <a:pt x="394" y="40"/>
                  </a:cubicBezTo>
                  <a:cubicBezTo>
                    <a:pt x="394" y="41"/>
                    <a:pt x="394" y="41"/>
                    <a:pt x="394" y="41"/>
                  </a:cubicBezTo>
                  <a:cubicBezTo>
                    <a:pt x="395" y="42"/>
                    <a:pt x="395" y="42"/>
                    <a:pt x="396" y="44"/>
                  </a:cubicBezTo>
                  <a:cubicBezTo>
                    <a:pt x="396" y="44"/>
                    <a:pt x="395" y="44"/>
                    <a:pt x="395" y="44"/>
                  </a:cubicBezTo>
                  <a:cubicBezTo>
                    <a:pt x="392" y="42"/>
                    <a:pt x="389" y="41"/>
                    <a:pt x="386" y="39"/>
                  </a:cubicBezTo>
                  <a:cubicBezTo>
                    <a:pt x="386" y="39"/>
                    <a:pt x="386" y="39"/>
                    <a:pt x="386" y="39"/>
                  </a:cubicBezTo>
                  <a:cubicBezTo>
                    <a:pt x="386" y="38"/>
                    <a:pt x="381" y="33"/>
                    <a:pt x="378" y="32"/>
                  </a:cubicBezTo>
                  <a:cubicBezTo>
                    <a:pt x="377" y="32"/>
                    <a:pt x="377" y="32"/>
                    <a:pt x="377" y="32"/>
                  </a:cubicBezTo>
                  <a:cubicBezTo>
                    <a:pt x="377" y="32"/>
                    <a:pt x="377" y="32"/>
                    <a:pt x="377" y="32"/>
                  </a:cubicBezTo>
                  <a:cubicBezTo>
                    <a:pt x="377" y="32"/>
                    <a:pt x="377" y="32"/>
                    <a:pt x="377" y="32"/>
                  </a:cubicBezTo>
                  <a:cubicBezTo>
                    <a:pt x="377" y="32"/>
                    <a:pt x="377" y="32"/>
                    <a:pt x="377" y="32"/>
                  </a:cubicBezTo>
                  <a:cubicBezTo>
                    <a:pt x="377" y="32"/>
                    <a:pt x="377" y="32"/>
                    <a:pt x="377" y="32"/>
                  </a:cubicBezTo>
                  <a:cubicBezTo>
                    <a:pt x="377" y="32"/>
                    <a:pt x="377" y="32"/>
                    <a:pt x="377" y="32"/>
                  </a:cubicBezTo>
                  <a:cubicBezTo>
                    <a:pt x="377" y="32"/>
                    <a:pt x="377" y="32"/>
                    <a:pt x="377" y="32"/>
                  </a:cubicBezTo>
                  <a:cubicBezTo>
                    <a:pt x="377" y="32"/>
                    <a:pt x="377" y="32"/>
                    <a:pt x="377" y="32"/>
                  </a:cubicBezTo>
                  <a:cubicBezTo>
                    <a:pt x="378" y="33"/>
                    <a:pt x="378" y="33"/>
                    <a:pt x="378" y="33"/>
                  </a:cubicBezTo>
                  <a:cubicBezTo>
                    <a:pt x="374" y="34"/>
                    <a:pt x="373" y="31"/>
                    <a:pt x="370" y="31"/>
                  </a:cubicBezTo>
                  <a:cubicBezTo>
                    <a:pt x="369" y="31"/>
                    <a:pt x="369" y="31"/>
                    <a:pt x="369" y="31"/>
                  </a:cubicBezTo>
                  <a:cubicBezTo>
                    <a:pt x="370" y="32"/>
                    <a:pt x="370" y="33"/>
                    <a:pt x="371" y="34"/>
                  </a:cubicBezTo>
                  <a:cubicBezTo>
                    <a:pt x="372" y="34"/>
                    <a:pt x="372" y="34"/>
                    <a:pt x="373" y="35"/>
                  </a:cubicBezTo>
                  <a:cubicBezTo>
                    <a:pt x="372" y="35"/>
                    <a:pt x="372" y="35"/>
                    <a:pt x="372" y="35"/>
                  </a:cubicBezTo>
                  <a:cubicBezTo>
                    <a:pt x="388" y="53"/>
                    <a:pt x="402" y="76"/>
                    <a:pt x="413" y="103"/>
                  </a:cubicBezTo>
                  <a:cubicBezTo>
                    <a:pt x="432" y="103"/>
                    <a:pt x="450" y="102"/>
                    <a:pt x="466" y="101"/>
                  </a:cubicBezTo>
                  <a:cubicBezTo>
                    <a:pt x="467" y="100"/>
                    <a:pt x="466" y="99"/>
                    <a:pt x="467" y="98"/>
                  </a:cubicBezTo>
                  <a:cubicBezTo>
                    <a:pt x="468" y="98"/>
                    <a:pt x="468" y="98"/>
                    <a:pt x="469" y="99"/>
                  </a:cubicBezTo>
                  <a:cubicBezTo>
                    <a:pt x="469" y="98"/>
                    <a:pt x="469" y="98"/>
                    <a:pt x="469" y="98"/>
                  </a:cubicBezTo>
                  <a:cubicBezTo>
                    <a:pt x="470" y="98"/>
                    <a:pt x="470" y="98"/>
                    <a:pt x="470" y="98"/>
                  </a:cubicBezTo>
                  <a:cubicBezTo>
                    <a:pt x="471" y="99"/>
                    <a:pt x="471" y="99"/>
                    <a:pt x="471" y="99"/>
                  </a:cubicBezTo>
                  <a:cubicBezTo>
                    <a:pt x="471" y="99"/>
                    <a:pt x="471" y="99"/>
                    <a:pt x="471" y="99"/>
                  </a:cubicBezTo>
                  <a:cubicBezTo>
                    <a:pt x="472" y="98"/>
                    <a:pt x="472" y="98"/>
                    <a:pt x="472" y="98"/>
                  </a:cubicBezTo>
                  <a:cubicBezTo>
                    <a:pt x="472" y="98"/>
                    <a:pt x="472" y="98"/>
                    <a:pt x="473" y="98"/>
                  </a:cubicBezTo>
                  <a:cubicBezTo>
                    <a:pt x="475" y="99"/>
                    <a:pt x="475" y="99"/>
                    <a:pt x="476" y="98"/>
                  </a:cubicBezTo>
                  <a:cubicBezTo>
                    <a:pt x="477" y="98"/>
                    <a:pt x="477" y="98"/>
                    <a:pt x="477" y="98"/>
                  </a:cubicBezTo>
                  <a:cubicBezTo>
                    <a:pt x="479" y="98"/>
                    <a:pt x="480" y="98"/>
                    <a:pt x="482" y="98"/>
                  </a:cubicBezTo>
                  <a:cubicBezTo>
                    <a:pt x="482" y="97"/>
                    <a:pt x="482" y="97"/>
                    <a:pt x="481" y="97"/>
                  </a:cubicBezTo>
                  <a:cubicBezTo>
                    <a:pt x="480" y="95"/>
                    <a:pt x="480" y="95"/>
                    <a:pt x="480" y="94"/>
                  </a:cubicBezTo>
                  <a:cubicBezTo>
                    <a:pt x="481" y="95"/>
                    <a:pt x="481" y="95"/>
                    <a:pt x="482" y="95"/>
                  </a:cubicBezTo>
                  <a:cubicBezTo>
                    <a:pt x="486" y="94"/>
                    <a:pt x="486" y="99"/>
                    <a:pt x="489" y="100"/>
                  </a:cubicBezTo>
                  <a:cubicBezTo>
                    <a:pt x="490" y="100"/>
                    <a:pt x="490" y="100"/>
                    <a:pt x="491" y="99"/>
                  </a:cubicBezTo>
                  <a:cubicBezTo>
                    <a:pt x="491" y="99"/>
                    <a:pt x="491" y="99"/>
                    <a:pt x="491" y="97"/>
                  </a:cubicBezTo>
                  <a:cubicBezTo>
                    <a:pt x="491" y="97"/>
                    <a:pt x="491" y="97"/>
                    <a:pt x="494" y="99"/>
                  </a:cubicBezTo>
                  <a:cubicBezTo>
                    <a:pt x="493" y="98"/>
                    <a:pt x="493" y="98"/>
                    <a:pt x="493" y="98"/>
                  </a:cubicBezTo>
                  <a:cubicBezTo>
                    <a:pt x="494" y="98"/>
                    <a:pt x="494" y="98"/>
                    <a:pt x="494" y="98"/>
                  </a:cubicBezTo>
                  <a:cubicBezTo>
                    <a:pt x="495" y="98"/>
                    <a:pt x="495" y="98"/>
                    <a:pt x="496" y="98"/>
                  </a:cubicBezTo>
                  <a:cubicBezTo>
                    <a:pt x="496" y="98"/>
                    <a:pt x="496" y="98"/>
                    <a:pt x="494" y="96"/>
                  </a:cubicBezTo>
                  <a:cubicBezTo>
                    <a:pt x="493" y="96"/>
                    <a:pt x="493" y="96"/>
                    <a:pt x="493" y="96"/>
                  </a:cubicBezTo>
                  <a:cubicBezTo>
                    <a:pt x="492" y="95"/>
                    <a:pt x="491" y="95"/>
                    <a:pt x="491" y="94"/>
                  </a:cubicBezTo>
                  <a:cubicBezTo>
                    <a:pt x="491" y="93"/>
                    <a:pt x="491" y="93"/>
                    <a:pt x="491" y="93"/>
                  </a:cubicBezTo>
                  <a:cubicBezTo>
                    <a:pt x="491" y="93"/>
                    <a:pt x="491" y="93"/>
                    <a:pt x="491" y="93"/>
                  </a:cubicBezTo>
                  <a:cubicBezTo>
                    <a:pt x="490" y="90"/>
                    <a:pt x="490" y="90"/>
                    <a:pt x="490" y="89"/>
                  </a:cubicBezTo>
                  <a:cubicBezTo>
                    <a:pt x="489" y="88"/>
                    <a:pt x="489" y="86"/>
                    <a:pt x="488" y="84"/>
                  </a:cubicBezTo>
                  <a:cubicBezTo>
                    <a:pt x="488" y="83"/>
                    <a:pt x="488" y="83"/>
                    <a:pt x="488" y="83"/>
                  </a:cubicBezTo>
                  <a:cubicBezTo>
                    <a:pt x="489" y="84"/>
                    <a:pt x="489" y="84"/>
                    <a:pt x="489" y="84"/>
                  </a:cubicBezTo>
                  <a:cubicBezTo>
                    <a:pt x="490" y="84"/>
                    <a:pt x="490" y="84"/>
                    <a:pt x="490" y="84"/>
                  </a:cubicBezTo>
                  <a:cubicBezTo>
                    <a:pt x="490" y="83"/>
                    <a:pt x="490" y="83"/>
                    <a:pt x="490" y="83"/>
                  </a:cubicBezTo>
                  <a:cubicBezTo>
                    <a:pt x="490" y="83"/>
                    <a:pt x="490" y="83"/>
                    <a:pt x="490" y="83"/>
                  </a:cubicBezTo>
                  <a:cubicBezTo>
                    <a:pt x="491" y="84"/>
                    <a:pt x="493" y="84"/>
                    <a:pt x="494" y="85"/>
                  </a:cubicBezTo>
                  <a:cubicBezTo>
                    <a:pt x="494" y="86"/>
                    <a:pt x="494" y="86"/>
                    <a:pt x="494" y="86"/>
                  </a:cubicBezTo>
                  <a:cubicBezTo>
                    <a:pt x="496" y="87"/>
                    <a:pt x="498" y="89"/>
                    <a:pt x="498" y="89"/>
                  </a:cubicBezTo>
                  <a:cubicBezTo>
                    <a:pt x="498" y="87"/>
                    <a:pt x="497" y="84"/>
                    <a:pt x="497" y="84"/>
                  </a:cubicBezTo>
                  <a:cubicBezTo>
                    <a:pt x="497" y="84"/>
                    <a:pt x="497" y="84"/>
                    <a:pt x="497" y="84"/>
                  </a:cubicBezTo>
                  <a:cubicBezTo>
                    <a:pt x="497" y="83"/>
                    <a:pt x="497" y="83"/>
                    <a:pt x="494" y="80"/>
                  </a:cubicBezTo>
                  <a:cubicBezTo>
                    <a:pt x="494" y="79"/>
                    <a:pt x="494" y="79"/>
                    <a:pt x="494" y="79"/>
                  </a:cubicBezTo>
                  <a:cubicBezTo>
                    <a:pt x="495" y="78"/>
                    <a:pt x="495" y="78"/>
                    <a:pt x="495" y="78"/>
                  </a:cubicBezTo>
                  <a:cubicBezTo>
                    <a:pt x="496" y="79"/>
                    <a:pt x="496" y="79"/>
                    <a:pt x="496" y="79"/>
                  </a:cubicBezTo>
                  <a:cubicBezTo>
                    <a:pt x="497" y="81"/>
                    <a:pt x="497" y="81"/>
                    <a:pt x="497" y="81"/>
                  </a:cubicBezTo>
                  <a:cubicBezTo>
                    <a:pt x="497" y="82"/>
                    <a:pt x="503" y="90"/>
                    <a:pt x="503" y="90"/>
                  </a:cubicBezTo>
                  <a:cubicBezTo>
                    <a:pt x="505" y="92"/>
                    <a:pt x="504" y="96"/>
                    <a:pt x="505" y="99"/>
                  </a:cubicBezTo>
                  <a:cubicBezTo>
                    <a:pt x="507" y="99"/>
                    <a:pt x="509" y="98"/>
                    <a:pt x="511" y="98"/>
                  </a:cubicBezTo>
                  <a:cubicBezTo>
                    <a:pt x="511" y="97"/>
                    <a:pt x="509" y="95"/>
                    <a:pt x="508" y="94"/>
                  </a:cubicBezTo>
                  <a:cubicBezTo>
                    <a:pt x="508" y="94"/>
                    <a:pt x="508" y="94"/>
                    <a:pt x="508" y="94"/>
                  </a:cubicBezTo>
                  <a:cubicBezTo>
                    <a:pt x="506" y="92"/>
                    <a:pt x="506" y="92"/>
                    <a:pt x="506" y="91"/>
                  </a:cubicBezTo>
                  <a:cubicBezTo>
                    <a:pt x="507" y="91"/>
                    <a:pt x="507" y="91"/>
                    <a:pt x="509" y="93"/>
                  </a:cubicBezTo>
                  <a:cubicBezTo>
                    <a:pt x="509" y="92"/>
                    <a:pt x="509" y="92"/>
                    <a:pt x="509" y="92"/>
                  </a:cubicBezTo>
                  <a:cubicBezTo>
                    <a:pt x="509" y="92"/>
                    <a:pt x="509" y="91"/>
                    <a:pt x="509" y="91"/>
                  </a:cubicBezTo>
                  <a:cubicBezTo>
                    <a:pt x="509" y="91"/>
                    <a:pt x="509" y="91"/>
                    <a:pt x="510" y="92"/>
                  </a:cubicBezTo>
                  <a:cubicBezTo>
                    <a:pt x="511" y="92"/>
                    <a:pt x="511" y="92"/>
                    <a:pt x="511" y="92"/>
                  </a:cubicBezTo>
                  <a:cubicBezTo>
                    <a:pt x="511" y="91"/>
                    <a:pt x="511" y="91"/>
                    <a:pt x="510" y="90"/>
                  </a:cubicBezTo>
                  <a:cubicBezTo>
                    <a:pt x="510" y="89"/>
                    <a:pt x="510" y="89"/>
                    <a:pt x="510" y="89"/>
                  </a:cubicBezTo>
                  <a:cubicBezTo>
                    <a:pt x="511" y="89"/>
                    <a:pt x="511" y="89"/>
                    <a:pt x="511" y="89"/>
                  </a:cubicBezTo>
                  <a:cubicBezTo>
                    <a:pt x="512" y="89"/>
                    <a:pt x="512" y="89"/>
                    <a:pt x="513" y="89"/>
                  </a:cubicBezTo>
                  <a:cubicBezTo>
                    <a:pt x="515" y="92"/>
                    <a:pt x="515" y="92"/>
                    <a:pt x="517" y="92"/>
                  </a:cubicBezTo>
                  <a:cubicBezTo>
                    <a:pt x="515" y="89"/>
                    <a:pt x="511" y="88"/>
                    <a:pt x="511" y="84"/>
                  </a:cubicBezTo>
                  <a:cubicBezTo>
                    <a:pt x="511" y="84"/>
                    <a:pt x="511" y="84"/>
                    <a:pt x="511" y="84"/>
                  </a:cubicBezTo>
                  <a:cubicBezTo>
                    <a:pt x="512" y="82"/>
                    <a:pt x="509" y="78"/>
                    <a:pt x="508" y="76"/>
                  </a:cubicBezTo>
                  <a:cubicBezTo>
                    <a:pt x="508" y="76"/>
                    <a:pt x="508" y="76"/>
                    <a:pt x="511" y="78"/>
                  </a:cubicBezTo>
                  <a:cubicBezTo>
                    <a:pt x="511" y="78"/>
                    <a:pt x="511" y="78"/>
                    <a:pt x="511" y="78"/>
                  </a:cubicBezTo>
                  <a:cubicBezTo>
                    <a:pt x="511" y="77"/>
                    <a:pt x="510" y="76"/>
                    <a:pt x="509" y="75"/>
                  </a:cubicBezTo>
                  <a:cubicBezTo>
                    <a:pt x="508" y="75"/>
                    <a:pt x="508" y="75"/>
                    <a:pt x="506" y="73"/>
                  </a:cubicBezTo>
                  <a:cubicBezTo>
                    <a:pt x="504" y="72"/>
                    <a:pt x="504" y="72"/>
                    <a:pt x="501" y="70"/>
                  </a:cubicBezTo>
                  <a:cubicBezTo>
                    <a:pt x="501" y="69"/>
                    <a:pt x="501" y="69"/>
                    <a:pt x="498" y="67"/>
                  </a:cubicBezTo>
                  <a:cubicBezTo>
                    <a:pt x="497" y="67"/>
                    <a:pt x="497" y="67"/>
                    <a:pt x="497" y="68"/>
                  </a:cubicBezTo>
                  <a:cubicBezTo>
                    <a:pt x="496" y="67"/>
                    <a:pt x="496" y="67"/>
                    <a:pt x="496" y="67"/>
                  </a:cubicBezTo>
                  <a:cubicBezTo>
                    <a:pt x="495" y="67"/>
                    <a:pt x="495" y="66"/>
                    <a:pt x="495" y="66"/>
                  </a:cubicBezTo>
                  <a:cubicBezTo>
                    <a:pt x="495" y="65"/>
                    <a:pt x="495" y="65"/>
                    <a:pt x="495" y="65"/>
                  </a:cubicBezTo>
                  <a:cubicBezTo>
                    <a:pt x="495" y="66"/>
                    <a:pt x="496" y="66"/>
                    <a:pt x="496" y="66"/>
                  </a:cubicBezTo>
                  <a:cubicBezTo>
                    <a:pt x="496" y="66"/>
                    <a:pt x="497" y="66"/>
                    <a:pt x="497" y="66"/>
                  </a:cubicBezTo>
                  <a:cubicBezTo>
                    <a:pt x="497" y="65"/>
                    <a:pt x="495" y="63"/>
                    <a:pt x="492" y="61"/>
                  </a:cubicBezTo>
                  <a:cubicBezTo>
                    <a:pt x="491" y="60"/>
                    <a:pt x="490" y="60"/>
                    <a:pt x="489" y="59"/>
                  </a:cubicBezTo>
                  <a:cubicBezTo>
                    <a:pt x="490" y="59"/>
                    <a:pt x="490" y="59"/>
                    <a:pt x="494" y="62"/>
                  </a:cubicBezTo>
                  <a:cubicBezTo>
                    <a:pt x="495" y="62"/>
                    <a:pt x="495" y="62"/>
                    <a:pt x="495" y="62"/>
                  </a:cubicBezTo>
                  <a:cubicBezTo>
                    <a:pt x="497" y="63"/>
                    <a:pt x="497" y="63"/>
                    <a:pt x="499" y="65"/>
                  </a:cubicBezTo>
                  <a:cubicBezTo>
                    <a:pt x="499" y="65"/>
                    <a:pt x="500" y="65"/>
                    <a:pt x="500" y="65"/>
                  </a:cubicBezTo>
                  <a:cubicBezTo>
                    <a:pt x="501" y="65"/>
                    <a:pt x="502" y="66"/>
                    <a:pt x="503" y="67"/>
                  </a:cubicBezTo>
                  <a:cubicBezTo>
                    <a:pt x="504" y="67"/>
                    <a:pt x="504" y="67"/>
                    <a:pt x="504" y="67"/>
                  </a:cubicBezTo>
                  <a:cubicBezTo>
                    <a:pt x="503" y="67"/>
                    <a:pt x="503" y="67"/>
                    <a:pt x="500" y="65"/>
                  </a:cubicBezTo>
                  <a:cubicBezTo>
                    <a:pt x="500" y="64"/>
                    <a:pt x="500" y="64"/>
                    <a:pt x="500" y="64"/>
                  </a:cubicBezTo>
                  <a:cubicBezTo>
                    <a:pt x="500" y="64"/>
                    <a:pt x="500" y="64"/>
                    <a:pt x="495" y="60"/>
                  </a:cubicBezTo>
                  <a:cubicBezTo>
                    <a:pt x="496" y="61"/>
                    <a:pt x="496" y="61"/>
                    <a:pt x="497" y="61"/>
                  </a:cubicBezTo>
                  <a:cubicBezTo>
                    <a:pt x="497" y="61"/>
                    <a:pt x="497" y="61"/>
                    <a:pt x="497" y="61"/>
                  </a:cubicBezTo>
                  <a:cubicBezTo>
                    <a:pt x="495" y="60"/>
                    <a:pt x="493" y="58"/>
                    <a:pt x="493" y="58"/>
                  </a:cubicBezTo>
                  <a:moveTo>
                    <a:pt x="97" y="94"/>
                  </a:moveTo>
                  <a:cubicBezTo>
                    <a:pt x="97" y="94"/>
                    <a:pt x="97" y="94"/>
                    <a:pt x="97" y="94"/>
                  </a:cubicBezTo>
                  <a:cubicBezTo>
                    <a:pt x="96" y="94"/>
                    <a:pt x="95" y="94"/>
                    <a:pt x="95" y="93"/>
                  </a:cubicBezTo>
                  <a:cubicBezTo>
                    <a:pt x="94" y="93"/>
                    <a:pt x="94" y="93"/>
                    <a:pt x="94" y="93"/>
                  </a:cubicBezTo>
                  <a:cubicBezTo>
                    <a:pt x="94" y="94"/>
                    <a:pt x="94" y="94"/>
                    <a:pt x="93" y="95"/>
                  </a:cubicBezTo>
                  <a:cubicBezTo>
                    <a:pt x="93" y="95"/>
                    <a:pt x="93" y="95"/>
                    <a:pt x="93" y="95"/>
                  </a:cubicBezTo>
                  <a:cubicBezTo>
                    <a:pt x="93" y="95"/>
                    <a:pt x="93" y="95"/>
                    <a:pt x="93" y="95"/>
                  </a:cubicBezTo>
                  <a:cubicBezTo>
                    <a:pt x="93" y="95"/>
                    <a:pt x="93" y="95"/>
                    <a:pt x="93" y="95"/>
                  </a:cubicBezTo>
                  <a:cubicBezTo>
                    <a:pt x="93" y="96"/>
                    <a:pt x="93" y="96"/>
                    <a:pt x="93" y="96"/>
                  </a:cubicBezTo>
                  <a:cubicBezTo>
                    <a:pt x="92" y="96"/>
                    <a:pt x="92" y="97"/>
                    <a:pt x="92" y="97"/>
                  </a:cubicBezTo>
                  <a:cubicBezTo>
                    <a:pt x="93" y="97"/>
                    <a:pt x="93" y="97"/>
                    <a:pt x="93" y="97"/>
                  </a:cubicBezTo>
                  <a:cubicBezTo>
                    <a:pt x="92" y="97"/>
                    <a:pt x="92" y="97"/>
                    <a:pt x="92" y="97"/>
                  </a:cubicBezTo>
                  <a:cubicBezTo>
                    <a:pt x="93" y="97"/>
                    <a:pt x="93" y="97"/>
                    <a:pt x="93" y="97"/>
                  </a:cubicBezTo>
                  <a:cubicBezTo>
                    <a:pt x="93" y="97"/>
                    <a:pt x="93" y="97"/>
                    <a:pt x="94" y="97"/>
                  </a:cubicBezTo>
                  <a:cubicBezTo>
                    <a:pt x="94" y="96"/>
                    <a:pt x="94" y="96"/>
                    <a:pt x="94" y="96"/>
                  </a:cubicBezTo>
                  <a:cubicBezTo>
                    <a:pt x="94" y="96"/>
                    <a:pt x="94" y="96"/>
                    <a:pt x="94" y="96"/>
                  </a:cubicBezTo>
                  <a:cubicBezTo>
                    <a:pt x="95" y="96"/>
                    <a:pt x="95" y="96"/>
                    <a:pt x="95" y="96"/>
                  </a:cubicBezTo>
                  <a:cubicBezTo>
                    <a:pt x="95" y="96"/>
                    <a:pt x="95" y="96"/>
                    <a:pt x="95" y="96"/>
                  </a:cubicBezTo>
                  <a:cubicBezTo>
                    <a:pt x="95" y="96"/>
                    <a:pt x="95" y="96"/>
                    <a:pt x="97" y="94"/>
                  </a:cubicBezTo>
                  <a:moveTo>
                    <a:pt x="105" y="96"/>
                  </a:moveTo>
                  <a:cubicBezTo>
                    <a:pt x="103" y="95"/>
                    <a:pt x="101" y="95"/>
                    <a:pt x="99" y="94"/>
                  </a:cubicBezTo>
                  <a:cubicBezTo>
                    <a:pt x="98" y="95"/>
                    <a:pt x="97" y="96"/>
                    <a:pt x="97" y="97"/>
                  </a:cubicBezTo>
                  <a:cubicBezTo>
                    <a:pt x="96" y="97"/>
                    <a:pt x="96" y="97"/>
                    <a:pt x="96" y="97"/>
                  </a:cubicBezTo>
                  <a:cubicBezTo>
                    <a:pt x="95" y="99"/>
                    <a:pt x="95" y="99"/>
                    <a:pt x="94" y="100"/>
                  </a:cubicBezTo>
                  <a:cubicBezTo>
                    <a:pt x="94" y="100"/>
                    <a:pt x="93" y="101"/>
                    <a:pt x="93" y="102"/>
                  </a:cubicBezTo>
                  <a:cubicBezTo>
                    <a:pt x="92" y="103"/>
                    <a:pt x="92" y="103"/>
                    <a:pt x="92" y="103"/>
                  </a:cubicBezTo>
                  <a:cubicBezTo>
                    <a:pt x="92" y="103"/>
                    <a:pt x="92" y="103"/>
                    <a:pt x="92" y="103"/>
                  </a:cubicBezTo>
                  <a:cubicBezTo>
                    <a:pt x="91" y="105"/>
                    <a:pt x="90" y="106"/>
                    <a:pt x="89" y="107"/>
                  </a:cubicBezTo>
                  <a:cubicBezTo>
                    <a:pt x="89" y="108"/>
                    <a:pt x="88" y="109"/>
                    <a:pt x="87" y="110"/>
                  </a:cubicBezTo>
                  <a:cubicBezTo>
                    <a:pt x="87" y="110"/>
                    <a:pt x="87" y="110"/>
                    <a:pt x="87" y="110"/>
                  </a:cubicBezTo>
                  <a:cubicBezTo>
                    <a:pt x="86" y="110"/>
                    <a:pt x="86" y="111"/>
                    <a:pt x="86" y="111"/>
                  </a:cubicBezTo>
                  <a:cubicBezTo>
                    <a:pt x="86" y="112"/>
                    <a:pt x="87" y="112"/>
                    <a:pt x="87" y="112"/>
                  </a:cubicBezTo>
                  <a:cubicBezTo>
                    <a:pt x="89" y="110"/>
                    <a:pt x="90" y="108"/>
                    <a:pt x="91" y="108"/>
                  </a:cubicBezTo>
                  <a:cubicBezTo>
                    <a:pt x="91" y="109"/>
                    <a:pt x="91" y="109"/>
                    <a:pt x="91" y="109"/>
                  </a:cubicBezTo>
                  <a:cubicBezTo>
                    <a:pt x="91" y="109"/>
                    <a:pt x="91" y="109"/>
                    <a:pt x="91" y="109"/>
                  </a:cubicBezTo>
                  <a:cubicBezTo>
                    <a:pt x="91" y="109"/>
                    <a:pt x="91" y="109"/>
                    <a:pt x="91" y="109"/>
                  </a:cubicBezTo>
                  <a:cubicBezTo>
                    <a:pt x="93" y="108"/>
                    <a:pt x="93" y="108"/>
                    <a:pt x="93" y="108"/>
                  </a:cubicBezTo>
                  <a:cubicBezTo>
                    <a:pt x="94" y="107"/>
                    <a:pt x="94" y="107"/>
                    <a:pt x="95" y="106"/>
                  </a:cubicBezTo>
                  <a:cubicBezTo>
                    <a:pt x="95" y="106"/>
                    <a:pt x="96" y="106"/>
                    <a:pt x="96" y="106"/>
                  </a:cubicBezTo>
                  <a:cubicBezTo>
                    <a:pt x="97" y="105"/>
                    <a:pt x="97" y="105"/>
                    <a:pt x="98" y="104"/>
                  </a:cubicBezTo>
                  <a:cubicBezTo>
                    <a:pt x="97" y="104"/>
                    <a:pt x="97" y="104"/>
                    <a:pt x="97" y="104"/>
                  </a:cubicBezTo>
                  <a:cubicBezTo>
                    <a:pt x="97" y="104"/>
                    <a:pt x="97" y="104"/>
                    <a:pt x="96" y="104"/>
                  </a:cubicBezTo>
                  <a:cubicBezTo>
                    <a:pt x="97" y="104"/>
                    <a:pt x="97" y="104"/>
                    <a:pt x="97" y="103"/>
                  </a:cubicBezTo>
                  <a:cubicBezTo>
                    <a:pt x="97" y="103"/>
                    <a:pt x="97" y="103"/>
                    <a:pt x="97" y="103"/>
                  </a:cubicBezTo>
                  <a:cubicBezTo>
                    <a:pt x="97" y="103"/>
                    <a:pt x="97" y="103"/>
                    <a:pt x="97" y="103"/>
                  </a:cubicBezTo>
                  <a:cubicBezTo>
                    <a:pt x="98" y="102"/>
                    <a:pt x="98" y="102"/>
                    <a:pt x="99" y="101"/>
                  </a:cubicBezTo>
                  <a:cubicBezTo>
                    <a:pt x="101" y="100"/>
                    <a:pt x="103" y="97"/>
                    <a:pt x="105" y="96"/>
                  </a:cubicBezTo>
                  <a:moveTo>
                    <a:pt x="150" y="240"/>
                  </a:moveTo>
                  <a:cubicBezTo>
                    <a:pt x="158" y="188"/>
                    <a:pt x="173" y="140"/>
                    <a:pt x="193" y="102"/>
                  </a:cubicBezTo>
                  <a:cubicBezTo>
                    <a:pt x="183" y="101"/>
                    <a:pt x="174" y="101"/>
                    <a:pt x="165" y="100"/>
                  </a:cubicBezTo>
                  <a:cubicBezTo>
                    <a:pt x="143" y="99"/>
                    <a:pt x="126" y="98"/>
                    <a:pt x="114" y="97"/>
                  </a:cubicBezTo>
                  <a:cubicBezTo>
                    <a:pt x="113" y="97"/>
                    <a:pt x="112" y="96"/>
                    <a:pt x="112" y="96"/>
                  </a:cubicBezTo>
                  <a:cubicBezTo>
                    <a:pt x="112" y="97"/>
                    <a:pt x="112" y="97"/>
                    <a:pt x="112" y="97"/>
                  </a:cubicBezTo>
                  <a:cubicBezTo>
                    <a:pt x="112" y="97"/>
                    <a:pt x="112" y="97"/>
                    <a:pt x="112" y="97"/>
                  </a:cubicBezTo>
                  <a:cubicBezTo>
                    <a:pt x="112" y="97"/>
                    <a:pt x="112" y="97"/>
                    <a:pt x="112" y="97"/>
                  </a:cubicBezTo>
                  <a:cubicBezTo>
                    <a:pt x="112" y="97"/>
                    <a:pt x="112" y="97"/>
                    <a:pt x="112" y="97"/>
                  </a:cubicBezTo>
                  <a:cubicBezTo>
                    <a:pt x="112" y="97"/>
                    <a:pt x="112" y="97"/>
                    <a:pt x="112" y="97"/>
                  </a:cubicBezTo>
                  <a:cubicBezTo>
                    <a:pt x="112" y="97"/>
                    <a:pt x="112" y="97"/>
                    <a:pt x="112" y="97"/>
                  </a:cubicBezTo>
                  <a:cubicBezTo>
                    <a:pt x="112" y="97"/>
                    <a:pt x="112" y="97"/>
                    <a:pt x="112" y="97"/>
                  </a:cubicBezTo>
                  <a:cubicBezTo>
                    <a:pt x="112" y="97"/>
                    <a:pt x="112" y="97"/>
                    <a:pt x="112" y="97"/>
                  </a:cubicBezTo>
                  <a:cubicBezTo>
                    <a:pt x="108" y="99"/>
                    <a:pt x="108" y="99"/>
                    <a:pt x="108" y="100"/>
                  </a:cubicBezTo>
                  <a:cubicBezTo>
                    <a:pt x="109" y="100"/>
                    <a:pt x="109" y="100"/>
                    <a:pt x="112" y="98"/>
                  </a:cubicBezTo>
                  <a:cubicBezTo>
                    <a:pt x="113" y="99"/>
                    <a:pt x="113" y="99"/>
                    <a:pt x="107" y="106"/>
                  </a:cubicBezTo>
                  <a:cubicBezTo>
                    <a:pt x="106" y="106"/>
                    <a:pt x="106" y="106"/>
                    <a:pt x="106" y="106"/>
                  </a:cubicBezTo>
                  <a:cubicBezTo>
                    <a:pt x="106" y="106"/>
                    <a:pt x="106" y="106"/>
                    <a:pt x="105" y="105"/>
                  </a:cubicBezTo>
                  <a:cubicBezTo>
                    <a:pt x="106" y="105"/>
                    <a:pt x="106" y="104"/>
                    <a:pt x="107" y="104"/>
                  </a:cubicBezTo>
                  <a:cubicBezTo>
                    <a:pt x="107" y="104"/>
                    <a:pt x="106" y="104"/>
                    <a:pt x="106" y="104"/>
                  </a:cubicBezTo>
                  <a:cubicBezTo>
                    <a:pt x="107" y="103"/>
                    <a:pt x="107" y="103"/>
                    <a:pt x="108" y="102"/>
                  </a:cubicBezTo>
                  <a:cubicBezTo>
                    <a:pt x="107" y="102"/>
                    <a:pt x="107" y="102"/>
                    <a:pt x="107" y="102"/>
                  </a:cubicBezTo>
                  <a:cubicBezTo>
                    <a:pt x="104" y="104"/>
                    <a:pt x="96" y="112"/>
                    <a:pt x="95" y="115"/>
                  </a:cubicBezTo>
                  <a:cubicBezTo>
                    <a:pt x="94" y="116"/>
                    <a:pt x="94" y="116"/>
                    <a:pt x="94" y="116"/>
                  </a:cubicBezTo>
                  <a:cubicBezTo>
                    <a:pt x="94" y="115"/>
                    <a:pt x="94" y="115"/>
                    <a:pt x="93" y="115"/>
                  </a:cubicBezTo>
                  <a:cubicBezTo>
                    <a:pt x="93" y="115"/>
                    <a:pt x="93" y="115"/>
                    <a:pt x="89" y="119"/>
                  </a:cubicBezTo>
                  <a:cubicBezTo>
                    <a:pt x="89" y="119"/>
                    <a:pt x="89" y="119"/>
                    <a:pt x="89" y="119"/>
                  </a:cubicBezTo>
                  <a:cubicBezTo>
                    <a:pt x="89" y="117"/>
                    <a:pt x="89" y="117"/>
                    <a:pt x="89" y="115"/>
                  </a:cubicBezTo>
                  <a:cubicBezTo>
                    <a:pt x="88" y="116"/>
                    <a:pt x="82" y="119"/>
                    <a:pt x="81" y="120"/>
                  </a:cubicBezTo>
                  <a:cubicBezTo>
                    <a:pt x="81" y="119"/>
                    <a:pt x="81" y="119"/>
                    <a:pt x="81" y="119"/>
                  </a:cubicBezTo>
                  <a:cubicBezTo>
                    <a:pt x="82" y="118"/>
                    <a:pt x="82" y="118"/>
                    <a:pt x="83" y="116"/>
                  </a:cubicBezTo>
                  <a:cubicBezTo>
                    <a:pt x="83" y="116"/>
                    <a:pt x="83" y="116"/>
                    <a:pt x="83" y="116"/>
                  </a:cubicBezTo>
                  <a:cubicBezTo>
                    <a:pt x="82" y="117"/>
                    <a:pt x="82" y="117"/>
                    <a:pt x="82" y="117"/>
                  </a:cubicBezTo>
                  <a:cubicBezTo>
                    <a:pt x="81" y="117"/>
                    <a:pt x="81" y="117"/>
                    <a:pt x="81" y="117"/>
                  </a:cubicBezTo>
                  <a:cubicBezTo>
                    <a:pt x="80" y="117"/>
                    <a:pt x="80" y="117"/>
                    <a:pt x="78" y="119"/>
                  </a:cubicBezTo>
                  <a:cubicBezTo>
                    <a:pt x="78" y="119"/>
                    <a:pt x="78" y="119"/>
                    <a:pt x="78" y="119"/>
                  </a:cubicBezTo>
                  <a:cubicBezTo>
                    <a:pt x="78" y="118"/>
                    <a:pt x="78" y="118"/>
                    <a:pt x="79" y="116"/>
                  </a:cubicBezTo>
                  <a:cubicBezTo>
                    <a:pt x="79" y="117"/>
                    <a:pt x="79" y="117"/>
                    <a:pt x="79" y="117"/>
                  </a:cubicBezTo>
                  <a:cubicBezTo>
                    <a:pt x="78" y="116"/>
                    <a:pt x="78" y="116"/>
                    <a:pt x="78" y="116"/>
                  </a:cubicBezTo>
                  <a:cubicBezTo>
                    <a:pt x="79" y="116"/>
                    <a:pt x="79" y="116"/>
                    <a:pt x="79" y="115"/>
                  </a:cubicBezTo>
                  <a:cubicBezTo>
                    <a:pt x="80" y="115"/>
                    <a:pt x="80" y="114"/>
                    <a:pt x="80" y="114"/>
                  </a:cubicBezTo>
                  <a:cubicBezTo>
                    <a:pt x="81" y="114"/>
                    <a:pt x="81" y="114"/>
                    <a:pt x="81" y="114"/>
                  </a:cubicBezTo>
                  <a:cubicBezTo>
                    <a:pt x="81" y="114"/>
                    <a:pt x="81" y="114"/>
                    <a:pt x="81" y="115"/>
                  </a:cubicBezTo>
                  <a:cubicBezTo>
                    <a:pt x="82" y="115"/>
                    <a:pt x="82" y="115"/>
                    <a:pt x="82" y="115"/>
                  </a:cubicBezTo>
                  <a:cubicBezTo>
                    <a:pt x="84" y="113"/>
                    <a:pt x="88" y="108"/>
                    <a:pt x="88" y="108"/>
                  </a:cubicBezTo>
                  <a:cubicBezTo>
                    <a:pt x="88" y="108"/>
                    <a:pt x="88" y="108"/>
                    <a:pt x="88" y="108"/>
                  </a:cubicBezTo>
                  <a:cubicBezTo>
                    <a:pt x="87" y="108"/>
                    <a:pt x="87" y="108"/>
                    <a:pt x="85" y="110"/>
                  </a:cubicBezTo>
                  <a:cubicBezTo>
                    <a:pt x="84" y="110"/>
                    <a:pt x="84" y="110"/>
                    <a:pt x="84" y="110"/>
                  </a:cubicBezTo>
                  <a:cubicBezTo>
                    <a:pt x="84" y="110"/>
                    <a:pt x="84" y="110"/>
                    <a:pt x="84" y="110"/>
                  </a:cubicBezTo>
                  <a:cubicBezTo>
                    <a:pt x="85" y="109"/>
                    <a:pt x="85" y="109"/>
                    <a:pt x="87" y="107"/>
                  </a:cubicBezTo>
                  <a:cubicBezTo>
                    <a:pt x="88" y="106"/>
                    <a:pt x="88" y="106"/>
                    <a:pt x="88" y="106"/>
                  </a:cubicBezTo>
                  <a:cubicBezTo>
                    <a:pt x="89" y="103"/>
                    <a:pt x="91" y="102"/>
                    <a:pt x="93" y="100"/>
                  </a:cubicBezTo>
                  <a:cubicBezTo>
                    <a:pt x="91" y="101"/>
                    <a:pt x="87" y="104"/>
                    <a:pt x="87" y="104"/>
                  </a:cubicBezTo>
                  <a:cubicBezTo>
                    <a:pt x="87" y="105"/>
                    <a:pt x="87" y="105"/>
                    <a:pt x="86" y="105"/>
                  </a:cubicBezTo>
                  <a:cubicBezTo>
                    <a:pt x="84" y="108"/>
                    <a:pt x="82" y="110"/>
                    <a:pt x="79" y="113"/>
                  </a:cubicBezTo>
                  <a:cubicBezTo>
                    <a:pt x="79" y="114"/>
                    <a:pt x="79" y="114"/>
                    <a:pt x="78" y="114"/>
                  </a:cubicBezTo>
                  <a:cubicBezTo>
                    <a:pt x="78" y="115"/>
                    <a:pt x="77" y="115"/>
                    <a:pt x="77" y="116"/>
                  </a:cubicBezTo>
                  <a:cubicBezTo>
                    <a:pt x="76" y="117"/>
                    <a:pt x="76" y="118"/>
                    <a:pt x="75" y="119"/>
                  </a:cubicBezTo>
                  <a:cubicBezTo>
                    <a:pt x="74" y="120"/>
                    <a:pt x="74" y="120"/>
                    <a:pt x="74" y="121"/>
                  </a:cubicBezTo>
                  <a:cubicBezTo>
                    <a:pt x="73" y="121"/>
                    <a:pt x="73" y="121"/>
                    <a:pt x="73" y="121"/>
                  </a:cubicBezTo>
                  <a:cubicBezTo>
                    <a:pt x="73" y="121"/>
                    <a:pt x="73" y="121"/>
                    <a:pt x="72" y="121"/>
                  </a:cubicBezTo>
                  <a:cubicBezTo>
                    <a:pt x="72" y="121"/>
                    <a:pt x="72" y="121"/>
                    <a:pt x="72" y="121"/>
                  </a:cubicBezTo>
                  <a:cubicBezTo>
                    <a:pt x="71" y="120"/>
                    <a:pt x="71" y="120"/>
                    <a:pt x="71" y="120"/>
                  </a:cubicBezTo>
                  <a:cubicBezTo>
                    <a:pt x="70" y="122"/>
                    <a:pt x="69" y="123"/>
                    <a:pt x="67" y="124"/>
                  </a:cubicBezTo>
                  <a:cubicBezTo>
                    <a:pt x="67" y="124"/>
                    <a:pt x="67" y="124"/>
                    <a:pt x="67" y="124"/>
                  </a:cubicBezTo>
                  <a:cubicBezTo>
                    <a:pt x="67" y="124"/>
                    <a:pt x="67" y="124"/>
                    <a:pt x="67" y="124"/>
                  </a:cubicBezTo>
                  <a:cubicBezTo>
                    <a:pt x="66" y="125"/>
                    <a:pt x="66" y="125"/>
                    <a:pt x="65" y="126"/>
                  </a:cubicBezTo>
                  <a:cubicBezTo>
                    <a:pt x="65" y="126"/>
                    <a:pt x="65" y="126"/>
                    <a:pt x="65" y="126"/>
                  </a:cubicBezTo>
                  <a:cubicBezTo>
                    <a:pt x="64" y="127"/>
                    <a:pt x="64" y="128"/>
                    <a:pt x="63" y="129"/>
                  </a:cubicBezTo>
                  <a:cubicBezTo>
                    <a:pt x="62" y="130"/>
                    <a:pt x="62" y="130"/>
                    <a:pt x="60" y="132"/>
                  </a:cubicBezTo>
                  <a:cubicBezTo>
                    <a:pt x="59" y="133"/>
                    <a:pt x="59" y="133"/>
                    <a:pt x="59" y="132"/>
                  </a:cubicBezTo>
                  <a:cubicBezTo>
                    <a:pt x="58" y="134"/>
                    <a:pt x="57" y="136"/>
                    <a:pt x="56" y="137"/>
                  </a:cubicBezTo>
                  <a:cubicBezTo>
                    <a:pt x="55" y="138"/>
                    <a:pt x="55" y="138"/>
                    <a:pt x="55" y="138"/>
                  </a:cubicBezTo>
                  <a:cubicBezTo>
                    <a:pt x="54" y="138"/>
                    <a:pt x="54" y="139"/>
                    <a:pt x="53" y="140"/>
                  </a:cubicBezTo>
                  <a:cubicBezTo>
                    <a:pt x="53" y="140"/>
                    <a:pt x="53" y="140"/>
                    <a:pt x="53" y="140"/>
                  </a:cubicBezTo>
                  <a:cubicBezTo>
                    <a:pt x="53" y="139"/>
                    <a:pt x="53" y="139"/>
                    <a:pt x="53" y="138"/>
                  </a:cubicBezTo>
                  <a:cubicBezTo>
                    <a:pt x="54" y="138"/>
                    <a:pt x="54" y="138"/>
                    <a:pt x="54" y="138"/>
                  </a:cubicBezTo>
                  <a:cubicBezTo>
                    <a:pt x="53" y="138"/>
                    <a:pt x="52" y="139"/>
                    <a:pt x="52" y="140"/>
                  </a:cubicBezTo>
                  <a:cubicBezTo>
                    <a:pt x="50" y="142"/>
                    <a:pt x="50" y="142"/>
                    <a:pt x="50" y="142"/>
                  </a:cubicBezTo>
                  <a:cubicBezTo>
                    <a:pt x="50" y="143"/>
                    <a:pt x="50" y="143"/>
                    <a:pt x="50" y="143"/>
                  </a:cubicBezTo>
                  <a:cubicBezTo>
                    <a:pt x="50" y="144"/>
                    <a:pt x="50" y="144"/>
                    <a:pt x="49" y="144"/>
                  </a:cubicBezTo>
                  <a:cubicBezTo>
                    <a:pt x="49" y="144"/>
                    <a:pt x="49" y="143"/>
                    <a:pt x="50" y="143"/>
                  </a:cubicBezTo>
                  <a:cubicBezTo>
                    <a:pt x="49" y="143"/>
                    <a:pt x="49" y="143"/>
                    <a:pt x="48" y="145"/>
                  </a:cubicBezTo>
                  <a:cubicBezTo>
                    <a:pt x="48" y="146"/>
                    <a:pt x="48" y="146"/>
                    <a:pt x="48" y="146"/>
                  </a:cubicBezTo>
                  <a:cubicBezTo>
                    <a:pt x="47" y="146"/>
                    <a:pt x="47" y="147"/>
                    <a:pt x="47" y="147"/>
                  </a:cubicBezTo>
                  <a:cubicBezTo>
                    <a:pt x="47" y="148"/>
                    <a:pt x="47" y="148"/>
                    <a:pt x="47" y="148"/>
                  </a:cubicBezTo>
                  <a:cubicBezTo>
                    <a:pt x="46" y="149"/>
                    <a:pt x="45" y="150"/>
                    <a:pt x="44" y="152"/>
                  </a:cubicBezTo>
                  <a:cubicBezTo>
                    <a:pt x="44" y="153"/>
                    <a:pt x="43" y="155"/>
                    <a:pt x="42" y="156"/>
                  </a:cubicBezTo>
                  <a:cubicBezTo>
                    <a:pt x="36" y="167"/>
                    <a:pt x="36" y="167"/>
                    <a:pt x="34" y="171"/>
                  </a:cubicBezTo>
                  <a:cubicBezTo>
                    <a:pt x="33" y="172"/>
                    <a:pt x="33" y="172"/>
                    <a:pt x="33" y="172"/>
                  </a:cubicBezTo>
                  <a:cubicBezTo>
                    <a:pt x="33" y="173"/>
                    <a:pt x="33" y="173"/>
                    <a:pt x="33" y="173"/>
                  </a:cubicBezTo>
                  <a:cubicBezTo>
                    <a:pt x="33" y="172"/>
                    <a:pt x="33" y="171"/>
                    <a:pt x="34" y="170"/>
                  </a:cubicBezTo>
                  <a:cubicBezTo>
                    <a:pt x="34" y="169"/>
                    <a:pt x="34" y="169"/>
                    <a:pt x="34" y="169"/>
                  </a:cubicBezTo>
                  <a:cubicBezTo>
                    <a:pt x="34" y="169"/>
                    <a:pt x="34" y="168"/>
                    <a:pt x="34" y="168"/>
                  </a:cubicBezTo>
                  <a:cubicBezTo>
                    <a:pt x="35" y="168"/>
                    <a:pt x="35" y="168"/>
                    <a:pt x="35" y="168"/>
                  </a:cubicBezTo>
                  <a:cubicBezTo>
                    <a:pt x="30" y="178"/>
                    <a:pt x="23" y="192"/>
                    <a:pt x="19" y="203"/>
                  </a:cubicBezTo>
                  <a:cubicBezTo>
                    <a:pt x="19" y="203"/>
                    <a:pt x="19" y="203"/>
                    <a:pt x="19" y="203"/>
                  </a:cubicBezTo>
                  <a:cubicBezTo>
                    <a:pt x="19" y="204"/>
                    <a:pt x="18" y="204"/>
                    <a:pt x="18" y="205"/>
                  </a:cubicBezTo>
                  <a:cubicBezTo>
                    <a:pt x="18" y="206"/>
                    <a:pt x="18" y="207"/>
                    <a:pt x="17" y="208"/>
                  </a:cubicBezTo>
                  <a:cubicBezTo>
                    <a:pt x="17" y="208"/>
                    <a:pt x="17" y="208"/>
                    <a:pt x="18" y="207"/>
                  </a:cubicBezTo>
                  <a:cubicBezTo>
                    <a:pt x="18" y="207"/>
                    <a:pt x="18" y="207"/>
                    <a:pt x="18" y="207"/>
                  </a:cubicBezTo>
                  <a:cubicBezTo>
                    <a:pt x="19" y="204"/>
                    <a:pt x="19" y="200"/>
                    <a:pt x="23" y="198"/>
                  </a:cubicBezTo>
                  <a:cubicBezTo>
                    <a:pt x="23" y="197"/>
                    <a:pt x="24" y="196"/>
                    <a:pt x="24" y="195"/>
                  </a:cubicBezTo>
                  <a:cubicBezTo>
                    <a:pt x="25" y="191"/>
                    <a:pt x="25" y="191"/>
                    <a:pt x="27" y="187"/>
                  </a:cubicBezTo>
                  <a:cubicBezTo>
                    <a:pt x="29" y="183"/>
                    <a:pt x="31" y="182"/>
                    <a:pt x="31" y="182"/>
                  </a:cubicBezTo>
                  <a:cubicBezTo>
                    <a:pt x="32" y="181"/>
                    <a:pt x="33" y="180"/>
                    <a:pt x="33" y="179"/>
                  </a:cubicBezTo>
                  <a:cubicBezTo>
                    <a:pt x="33" y="179"/>
                    <a:pt x="33" y="179"/>
                    <a:pt x="33" y="178"/>
                  </a:cubicBezTo>
                  <a:cubicBezTo>
                    <a:pt x="33" y="178"/>
                    <a:pt x="36" y="174"/>
                    <a:pt x="36" y="172"/>
                  </a:cubicBezTo>
                  <a:cubicBezTo>
                    <a:pt x="37" y="173"/>
                    <a:pt x="37" y="173"/>
                    <a:pt x="37" y="173"/>
                  </a:cubicBezTo>
                  <a:cubicBezTo>
                    <a:pt x="37" y="173"/>
                    <a:pt x="37" y="173"/>
                    <a:pt x="37" y="173"/>
                  </a:cubicBezTo>
                  <a:cubicBezTo>
                    <a:pt x="37" y="173"/>
                    <a:pt x="37" y="173"/>
                    <a:pt x="37" y="173"/>
                  </a:cubicBezTo>
                  <a:cubicBezTo>
                    <a:pt x="37" y="173"/>
                    <a:pt x="37" y="173"/>
                    <a:pt x="37" y="173"/>
                  </a:cubicBezTo>
                  <a:cubicBezTo>
                    <a:pt x="37" y="173"/>
                    <a:pt x="37" y="173"/>
                    <a:pt x="37" y="173"/>
                  </a:cubicBezTo>
                  <a:cubicBezTo>
                    <a:pt x="37" y="173"/>
                    <a:pt x="37" y="173"/>
                    <a:pt x="37" y="173"/>
                  </a:cubicBezTo>
                  <a:cubicBezTo>
                    <a:pt x="37" y="173"/>
                    <a:pt x="37" y="173"/>
                    <a:pt x="37" y="173"/>
                  </a:cubicBezTo>
                  <a:cubicBezTo>
                    <a:pt x="37" y="173"/>
                    <a:pt x="37" y="173"/>
                    <a:pt x="37" y="173"/>
                  </a:cubicBezTo>
                  <a:cubicBezTo>
                    <a:pt x="37" y="173"/>
                    <a:pt x="37" y="174"/>
                    <a:pt x="37" y="175"/>
                  </a:cubicBezTo>
                  <a:cubicBezTo>
                    <a:pt x="38" y="175"/>
                    <a:pt x="38" y="175"/>
                    <a:pt x="38" y="175"/>
                  </a:cubicBezTo>
                  <a:cubicBezTo>
                    <a:pt x="38" y="174"/>
                    <a:pt x="38" y="174"/>
                    <a:pt x="40" y="171"/>
                  </a:cubicBezTo>
                  <a:cubicBezTo>
                    <a:pt x="41" y="171"/>
                    <a:pt x="41" y="171"/>
                    <a:pt x="41" y="171"/>
                  </a:cubicBezTo>
                  <a:cubicBezTo>
                    <a:pt x="42" y="170"/>
                    <a:pt x="42" y="170"/>
                    <a:pt x="43" y="168"/>
                  </a:cubicBezTo>
                  <a:cubicBezTo>
                    <a:pt x="44" y="172"/>
                    <a:pt x="41" y="175"/>
                    <a:pt x="41" y="178"/>
                  </a:cubicBezTo>
                  <a:cubicBezTo>
                    <a:pt x="41" y="179"/>
                    <a:pt x="41" y="180"/>
                    <a:pt x="41" y="180"/>
                  </a:cubicBezTo>
                  <a:cubicBezTo>
                    <a:pt x="40" y="186"/>
                    <a:pt x="40" y="186"/>
                    <a:pt x="41" y="186"/>
                  </a:cubicBezTo>
                  <a:cubicBezTo>
                    <a:pt x="39" y="199"/>
                    <a:pt x="39" y="199"/>
                    <a:pt x="39" y="201"/>
                  </a:cubicBezTo>
                  <a:cubicBezTo>
                    <a:pt x="37" y="201"/>
                    <a:pt x="35" y="202"/>
                    <a:pt x="33" y="202"/>
                  </a:cubicBezTo>
                  <a:cubicBezTo>
                    <a:pt x="33" y="202"/>
                    <a:pt x="33" y="203"/>
                    <a:pt x="33" y="203"/>
                  </a:cubicBezTo>
                  <a:cubicBezTo>
                    <a:pt x="33" y="205"/>
                    <a:pt x="32" y="206"/>
                    <a:pt x="32" y="208"/>
                  </a:cubicBezTo>
                  <a:cubicBezTo>
                    <a:pt x="33" y="208"/>
                    <a:pt x="33" y="208"/>
                    <a:pt x="33" y="208"/>
                  </a:cubicBezTo>
                  <a:cubicBezTo>
                    <a:pt x="34" y="208"/>
                    <a:pt x="34" y="208"/>
                    <a:pt x="35" y="208"/>
                  </a:cubicBezTo>
                  <a:cubicBezTo>
                    <a:pt x="35" y="207"/>
                    <a:pt x="36" y="206"/>
                    <a:pt x="36" y="205"/>
                  </a:cubicBezTo>
                  <a:cubicBezTo>
                    <a:pt x="39" y="203"/>
                    <a:pt x="43" y="196"/>
                    <a:pt x="43" y="196"/>
                  </a:cubicBezTo>
                  <a:cubicBezTo>
                    <a:pt x="43" y="195"/>
                    <a:pt x="43" y="195"/>
                    <a:pt x="43" y="195"/>
                  </a:cubicBezTo>
                  <a:cubicBezTo>
                    <a:pt x="43" y="195"/>
                    <a:pt x="43" y="195"/>
                    <a:pt x="42" y="195"/>
                  </a:cubicBezTo>
                  <a:cubicBezTo>
                    <a:pt x="42" y="194"/>
                    <a:pt x="42" y="194"/>
                    <a:pt x="42" y="193"/>
                  </a:cubicBezTo>
                  <a:cubicBezTo>
                    <a:pt x="43" y="193"/>
                    <a:pt x="43" y="193"/>
                    <a:pt x="43" y="193"/>
                  </a:cubicBezTo>
                  <a:cubicBezTo>
                    <a:pt x="44" y="192"/>
                    <a:pt x="44" y="192"/>
                    <a:pt x="44" y="192"/>
                  </a:cubicBezTo>
                  <a:cubicBezTo>
                    <a:pt x="45" y="193"/>
                    <a:pt x="45" y="193"/>
                    <a:pt x="45" y="194"/>
                  </a:cubicBezTo>
                  <a:cubicBezTo>
                    <a:pt x="45" y="194"/>
                    <a:pt x="45" y="194"/>
                    <a:pt x="47" y="189"/>
                  </a:cubicBezTo>
                  <a:cubicBezTo>
                    <a:pt x="46" y="189"/>
                    <a:pt x="46" y="189"/>
                    <a:pt x="46" y="189"/>
                  </a:cubicBezTo>
                  <a:cubicBezTo>
                    <a:pt x="46" y="187"/>
                    <a:pt x="46" y="183"/>
                    <a:pt x="46" y="183"/>
                  </a:cubicBezTo>
                  <a:cubicBezTo>
                    <a:pt x="45" y="183"/>
                    <a:pt x="45" y="183"/>
                    <a:pt x="45" y="183"/>
                  </a:cubicBezTo>
                  <a:cubicBezTo>
                    <a:pt x="45" y="180"/>
                    <a:pt x="46" y="177"/>
                    <a:pt x="46" y="174"/>
                  </a:cubicBezTo>
                  <a:cubicBezTo>
                    <a:pt x="46" y="174"/>
                    <a:pt x="46" y="174"/>
                    <a:pt x="46" y="174"/>
                  </a:cubicBezTo>
                  <a:cubicBezTo>
                    <a:pt x="47" y="173"/>
                    <a:pt x="47" y="172"/>
                    <a:pt x="48" y="171"/>
                  </a:cubicBezTo>
                  <a:cubicBezTo>
                    <a:pt x="47" y="171"/>
                    <a:pt x="47" y="170"/>
                    <a:pt x="47" y="170"/>
                  </a:cubicBezTo>
                  <a:cubicBezTo>
                    <a:pt x="47" y="170"/>
                    <a:pt x="47" y="169"/>
                    <a:pt x="48" y="168"/>
                  </a:cubicBezTo>
                  <a:cubicBezTo>
                    <a:pt x="48" y="167"/>
                    <a:pt x="48" y="167"/>
                    <a:pt x="48" y="167"/>
                  </a:cubicBezTo>
                  <a:cubicBezTo>
                    <a:pt x="49" y="166"/>
                    <a:pt x="49" y="166"/>
                    <a:pt x="49" y="166"/>
                  </a:cubicBezTo>
                  <a:cubicBezTo>
                    <a:pt x="50" y="163"/>
                    <a:pt x="50" y="163"/>
                    <a:pt x="51" y="163"/>
                  </a:cubicBezTo>
                  <a:cubicBezTo>
                    <a:pt x="51" y="164"/>
                    <a:pt x="51" y="164"/>
                    <a:pt x="51" y="164"/>
                  </a:cubicBezTo>
                  <a:cubicBezTo>
                    <a:pt x="51" y="164"/>
                    <a:pt x="49" y="169"/>
                    <a:pt x="50" y="178"/>
                  </a:cubicBezTo>
                  <a:cubicBezTo>
                    <a:pt x="50" y="180"/>
                    <a:pt x="52" y="182"/>
                    <a:pt x="51" y="184"/>
                  </a:cubicBezTo>
                  <a:cubicBezTo>
                    <a:pt x="50" y="189"/>
                    <a:pt x="48" y="193"/>
                    <a:pt x="47" y="197"/>
                  </a:cubicBezTo>
                  <a:cubicBezTo>
                    <a:pt x="47" y="197"/>
                    <a:pt x="47" y="197"/>
                    <a:pt x="48" y="197"/>
                  </a:cubicBezTo>
                  <a:cubicBezTo>
                    <a:pt x="48" y="199"/>
                    <a:pt x="47" y="200"/>
                    <a:pt x="47" y="202"/>
                  </a:cubicBezTo>
                  <a:cubicBezTo>
                    <a:pt x="46" y="202"/>
                    <a:pt x="46" y="202"/>
                    <a:pt x="46" y="202"/>
                  </a:cubicBezTo>
                  <a:cubicBezTo>
                    <a:pt x="46" y="201"/>
                    <a:pt x="46" y="201"/>
                    <a:pt x="46" y="201"/>
                  </a:cubicBezTo>
                  <a:cubicBezTo>
                    <a:pt x="46" y="201"/>
                    <a:pt x="45" y="201"/>
                    <a:pt x="45" y="201"/>
                  </a:cubicBezTo>
                  <a:cubicBezTo>
                    <a:pt x="45" y="203"/>
                    <a:pt x="45" y="205"/>
                    <a:pt x="45" y="206"/>
                  </a:cubicBezTo>
                  <a:cubicBezTo>
                    <a:pt x="45" y="205"/>
                    <a:pt x="46" y="205"/>
                    <a:pt x="46" y="205"/>
                  </a:cubicBezTo>
                  <a:cubicBezTo>
                    <a:pt x="47" y="204"/>
                    <a:pt x="47" y="204"/>
                    <a:pt x="47" y="204"/>
                  </a:cubicBezTo>
                  <a:cubicBezTo>
                    <a:pt x="46" y="206"/>
                    <a:pt x="46" y="208"/>
                    <a:pt x="45" y="210"/>
                  </a:cubicBezTo>
                  <a:cubicBezTo>
                    <a:pt x="46" y="211"/>
                    <a:pt x="46" y="211"/>
                    <a:pt x="47" y="211"/>
                  </a:cubicBezTo>
                  <a:cubicBezTo>
                    <a:pt x="47" y="211"/>
                    <a:pt x="47" y="211"/>
                    <a:pt x="48" y="211"/>
                  </a:cubicBezTo>
                  <a:cubicBezTo>
                    <a:pt x="48" y="210"/>
                    <a:pt x="49" y="210"/>
                    <a:pt x="49" y="209"/>
                  </a:cubicBezTo>
                  <a:cubicBezTo>
                    <a:pt x="49" y="208"/>
                    <a:pt x="49" y="208"/>
                    <a:pt x="49" y="208"/>
                  </a:cubicBezTo>
                  <a:cubicBezTo>
                    <a:pt x="49" y="207"/>
                    <a:pt x="50" y="206"/>
                    <a:pt x="51" y="205"/>
                  </a:cubicBezTo>
                  <a:cubicBezTo>
                    <a:pt x="51" y="206"/>
                    <a:pt x="51" y="206"/>
                    <a:pt x="51" y="206"/>
                  </a:cubicBezTo>
                  <a:cubicBezTo>
                    <a:pt x="52" y="207"/>
                    <a:pt x="52" y="207"/>
                    <a:pt x="52" y="207"/>
                  </a:cubicBezTo>
                  <a:cubicBezTo>
                    <a:pt x="53" y="206"/>
                    <a:pt x="53" y="206"/>
                    <a:pt x="54" y="203"/>
                  </a:cubicBezTo>
                  <a:cubicBezTo>
                    <a:pt x="54" y="203"/>
                    <a:pt x="55" y="203"/>
                    <a:pt x="55" y="203"/>
                  </a:cubicBezTo>
                  <a:cubicBezTo>
                    <a:pt x="56" y="202"/>
                    <a:pt x="55" y="200"/>
                    <a:pt x="55" y="200"/>
                  </a:cubicBezTo>
                  <a:cubicBezTo>
                    <a:pt x="54" y="202"/>
                    <a:pt x="54" y="202"/>
                    <a:pt x="54" y="203"/>
                  </a:cubicBezTo>
                  <a:cubicBezTo>
                    <a:pt x="53" y="203"/>
                    <a:pt x="53" y="203"/>
                    <a:pt x="53" y="202"/>
                  </a:cubicBezTo>
                  <a:cubicBezTo>
                    <a:pt x="53" y="201"/>
                    <a:pt x="53" y="201"/>
                    <a:pt x="54" y="197"/>
                  </a:cubicBezTo>
                  <a:cubicBezTo>
                    <a:pt x="52" y="196"/>
                    <a:pt x="53" y="194"/>
                    <a:pt x="53" y="194"/>
                  </a:cubicBezTo>
                  <a:cubicBezTo>
                    <a:pt x="53" y="193"/>
                    <a:pt x="53" y="193"/>
                    <a:pt x="53" y="193"/>
                  </a:cubicBezTo>
                  <a:cubicBezTo>
                    <a:pt x="54" y="192"/>
                    <a:pt x="54" y="192"/>
                    <a:pt x="54" y="192"/>
                  </a:cubicBezTo>
                  <a:cubicBezTo>
                    <a:pt x="54" y="192"/>
                    <a:pt x="54" y="192"/>
                    <a:pt x="54" y="192"/>
                  </a:cubicBezTo>
                  <a:cubicBezTo>
                    <a:pt x="54" y="193"/>
                    <a:pt x="55" y="194"/>
                    <a:pt x="55" y="194"/>
                  </a:cubicBezTo>
                  <a:cubicBezTo>
                    <a:pt x="56" y="194"/>
                    <a:pt x="56" y="194"/>
                    <a:pt x="56" y="194"/>
                  </a:cubicBezTo>
                  <a:cubicBezTo>
                    <a:pt x="56" y="194"/>
                    <a:pt x="56" y="194"/>
                    <a:pt x="56" y="194"/>
                  </a:cubicBezTo>
                  <a:cubicBezTo>
                    <a:pt x="57" y="193"/>
                    <a:pt x="57" y="191"/>
                    <a:pt x="58" y="190"/>
                  </a:cubicBezTo>
                  <a:cubicBezTo>
                    <a:pt x="59" y="190"/>
                    <a:pt x="60" y="190"/>
                    <a:pt x="60" y="191"/>
                  </a:cubicBezTo>
                  <a:cubicBezTo>
                    <a:pt x="60" y="191"/>
                    <a:pt x="61" y="192"/>
                    <a:pt x="61" y="192"/>
                  </a:cubicBezTo>
                  <a:cubicBezTo>
                    <a:pt x="61" y="192"/>
                    <a:pt x="61" y="192"/>
                    <a:pt x="62" y="193"/>
                  </a:cubicBezTo>
                  <a:cubicBezTo>
                    <a:pt x="61" y="193"/>
                    <a:pt x="61" y="194"/>
                    <a:pt x="61" y="194"/>
                  </a:cubicBezTo>
                  <a:cubicBezTo>
                    <a:pt x="61" y="195"/>
                    <a:pt x="61" y="195"/>
                    <a:pt x="61" y="195"/>
                  </a:cubicBezTo>
                  <a:cubicBezTo>
                    <a:pt x="61" y="196"/>
                    <a:pt x="61" y="196"/>
                    <a:pt x="61" y="196"/>
                  </a:cubicBezTo>
                  <a:cubicBezTo>
                    <a:pt x="58" y="198"/>
                    <a:pt x="60" y="202"/>
                    <a:pt x="59" y="204"/>
                  </a:cubicBezTo>
                  <a:cubicBezTo>
                    <a:pt x="59" y="205"/>
                    <a:pt x="59" y="205"/>
                    <a:pt x="59" y="206"/>
                  </a:cubicBezTo>
                  <a:cubicBezTo>
                    <a:pt x="58" y="206"/>
                    <a:pt x="58" y="207"/>
                    <a:pt x="58" y="207"/>
                  </a:cubicBezTo>
                  <a:cubicBezTo>
                    <a:pt x="58" y="207"/>
                    <a:pt x="58" y="207"/>
                    <a:pt x="58" y="209"/>
                  </a:cubicBezTo>
                  <a:cubicBezTo>
                    <a:pt x="58" y="210"/>
                    <a:pt x="58" y="210"/>
                    <a:pt x="58" y="210"/>
                  </a:cubicBezTo>
                  <a:cubicBezTo>
                    <a:pt x="58" y="210"/>
                    <a:pt x="58" y="210"/>
                    <a:pt x="58" y="210"/>
                  </a:cubicBezTo>
                  <a:cubicBezTo>
                    <a:pt x="58" y="211"/>
                    <a:pt x="58" y="211"/>
                    <a:pt x="58" y="211"/>
                  </a:cubicBezTo>
                  <a:cubicBezTo>
                    <a:pt x="58" y="211"/>
                    <a:pt x="58" y="211"/>
                    <a:pt x="58" y="211"/>
                  </a:cubicBezTo>
                  <a:cubicBezTo>
                    <a:pt x="59" y="212"/>
                    <a:pt x="59" y="212"/>
                    <a:pt x="59" y="212"/>
                  </a:cubicBezTo>
                  <a:cubicBezTo>
                    <a:pt x="59" y="212"/>
                    <a:pt x="58" y="213"/>
                    <a:pt x="58" y="214"/>
                  </a:cubicBezTo>
                  <a:cubicBezTo>
                    <a:pt x="58" y="214"/>
                    <a:pt x="58" y="214"/>
                    <a:pt x="58" y="214"/>
                  </a:cubicBezTo>
                  <a:cubicBezTo>
                    <a:pt x="57" y="215"/>
                    <a:pt x="57" y="215"/>
                    <a:pt x="57" y="215"/>
                  </a:cubicBezTo>
                  <a:cubicBezTo>
                    <a:pt x="57" y="216"/>
                    <a:pt x="57" y="216"/>
                    <a:pt x="57" y="217"/>
                  </a:cubicBezTo>
                  <a:cubicBezTo>
                    <a:pt x="57" y="218"/>
                    <a:pt x="57" y="218"/>
                    <a:pt x="57" y="218"/>
                  </a:cubicBezTo>
                  <a:cubicBezTo>
                    <a:pt x="57" y="218"/>
                    <a:pt x="57" y="218"/>
                    <a:pt x="57" y="218"/>
                  </a:cubicBezTo>
                  <a:cubicBezTo>
                    <a:pt x="57" y="218"/>
                    <a:pt x="58" y="217"/>
                    <a:pt x="58" y="217"/>
                  </a:cubicBezTo>
                  <a:cubicBezTo>
                    <a:pt x="58" y="216"/>
                    <a:pt x="58" y="216"/>
                    <a:pt x="58" y="216"/>
                  </a:cubicBezTo>
                  <a:cubicBezTo>
                    <a:pt x="59" y="215"/>
                    <a:pt x="59" y="214"/>
                    <a:pt x="59" y="214"/>
                  </a:cubicBezTo>
                  <a:cubicBezTo>
                    <a:pt x="59" y="213"/>
                    <a:pt x="59" y="213"/>
                    <a:pt x="59" y="213"/>
                  </a:cubicBezTo>
                  <a:cubicBezTo>
                    <a:pt x="60" y="212"/>
                    <a:pt x="60" y="212"/>
                    <a:pt x="60" y="212"/>
                  </a:cubicBezTo>
                  <a:cubicBezTo>
                    <a:pt x="60" y="212"/>
                    <a:pt x="60" y="212"/>
                    <a:pt x="60" y="212"/>
                  </a:cubicBezTo>
                  <a:cubicBezTo>
                    <a:pt x="60" y="213"/>
                    <a:pt x="60" y="213"/>
                    <a:pt x="60" y="213"/>
                  </a:cubicBezTo>
                  <a:cubicBezTo>
                    <a:pt x="60" y="213"/>
                    <a:pt x="60" y="213"/>
                    <a:pt x="60" y="213"/>
                  </a:cubicBezTo>
                  <a:cubicBezTo>
                    <a:pt x="60" y="214"/>
                    <a:pt x="60" y="214"/>
                    <a:pt x="60" y="214"/>
                  </a:cubicBezTo>
                  <a:cubicBezTo>
                    <a:pt x="61" y="214"/>
                    <a:pt x="61" y="215"/>
                    <a:pt x="61" y="215"/>
                  </a:cubicBezTo>
                  <a:cubicBezTo>
                    <a:pt x="61" y="216"/>
                    <a:pt x="61" y="216"/>
                    <a:pt x="61" y="216"/>
                  </a:cubicBezTo>
                  <a:cubicBezTo>
                    <a:pt x="61" y="216"/>
                    <a:pt x="61" y="216"/>
                    <a:pt x="61" y="216"/>
                  </a:cubicBezTo>
                  <a:cubicBezTo>
                    <a:pt x="61" y="217"/>
                    <a:pt x="61" y="217"/>
                    <a:pt x="61" y="217"/>
                  </a:cubicBezTo>
                  <a:cubicBezTo>
                    <a:pt x="61" y="217"/>
                    <a:pt x="61" y="217"/>
                    <a:pt x="61" y="217"/>
                  </a:cubicBezTo>
                  <a:cubicBezTo>
                    <a:pt x="62" y="217"/>
                    <a:pt x="62" y="217"/>
                    <a:pt x="62" y="217"/>
                  </a:cubicBezTo>
                  <a:cubicBezTo>
                    <a:pt x="63" y="217"/>
                    <a:pt x="63" y="217"/>
                    <a:pt x="63" y="217"/>
                  </a:cubicBezTo>
                  <a:cubicBezTo>
                    <a:pt x="63" y="217"/>
                    <a:pt x="63" y="217"/>
                    <a:pt x="63" y="217"/>
                  </a:cubicBezTo>
                  <a:cubicBezTo>
                    <a:pt x="64" y="217"/>
                    <a:pt x="64" y="217"/>
                    <a:pt x="64" y="217"/>
                  </a:cubicBezTo>
                  <a:cubicBezTo>
                    <a:pt x="64" y="217"/>
                    <a:pt x="64" y="217"/>
                    <a:pt x="64" y="217"/>
                  </a:cubicBezTo>
                  <a:cubicBezTo>
                    <a:pt x="64" y="216"/>
                    <a:pt x="64" y="216"/>
                    <a:pt x="64" y="216"/>
                  </a:cubicBezTo>
                  <a:cubicBezTo>
                    <a:pt x="64" y="216"/>
                    <a:pt x="64" y="216"/>
                    <a:pt x="64" y="216"/>
                  </a:cubicBezTo>
                  <a:cubicBezTo>
                    <a:pt x="65" y="214"/>
                    <a:pt x="65" y="214"/>
                    <a:pt x="65" y="213"/>
                  </a:cubicBezTo>
                  <a:cubicBezTo>
                    <a:pt x="66" y="213"/>
                    <a:pt x="66" y="213"/>
                    <a:pt x="66" y="213"/>
                  </a:cubicBezTo>
                  <a:cubicBezTo>
                    <a:pt x="66" y="212"/>
                    <a:pt x="66" y="212"/>
                    <a:pt x="66" y="212"/>
                  </a:cubicBezTo>
                  <a:cubicBezTo>
                    <a:pt x="66" y="212"/>
                    <a:pt x="67" y="212"/>
                    <a:pt x="67" y="212"/>
                  </a:cubicBezTo>
                  <a:cubicBezTo>
                    <a:pt x="68" y="213"/>
                    <a:pt x="68" y="213"/>
                    <a:pt x="68" y="213"/>
                  </a:cubicBezTo>
                  <a:cubicBezTo>
                    <a:pt x="68" y="214"/>
                    <a:pt x="68" y="214"/>
                    <a:pt x="68" y="215"/>
                  </a:cubicBezTo>
                  <a:cubicBezTo>
                    <a:pt x="68" y="215"/>
                    <a:pt x="68" y="216"/>
                    <a:pt x="69" y="216"/>
                  </a:cubicBezTo>
                  <a:cubicBezTo>
                    <a:pt x="69" y="216"/>
                    <a:pt x="69" y="216"/>
                    <a:pt x="69" y="216"/>
                  </a:cubicBezTo>
                  <a:cubicBezTo>
                    <a:pt x="69" y="217"/>
                    <a:pt x="69" y="217"/>
                    <a:pt x="69" y="217"/>
                  </a:cubicBezTo>
                  <a:cubicBezTo>
                    <a:pt x="69" y="217"/>
                    <a:pt x="69" y="217"/>
                    <a:pt x="69" y="217"/>
                  </a:cubicBezTo>
                  <a:cubicBezTo>
                    <a:pt x="69" y="217"/>
                    <a:pt x="69" y="217"/>
                    <a:pt x="69" y="217"/>
                  </a:cubicBezTo>
                  <a:cubicBezTo>
                    <a:pt x="71" y="217"/>
                    <a:pt x="72" y="217"/>
                    <a:pt x="73" y="218"/>
                  </a:cubicBezTo>
                  <a:cubicBezTo>
                    <a:pt x="73" y="217"/>
                    <a:pt x="74" y="216"/>
                    <a:pt x="74" y="216"/>
                  </a:cubicBezTo>
                  <a:cubicBezTo>
                    <a:pt x="74" y="215"/>
                    <a:pt x="74" y="215"/>
                    <a:pt x="74" y="215"/>
                  </a:cubicBezTo>
                  <a:cubicBezTo>
                    <a:pt x="74" y="215"/>
                    <a:pt x="74" y="214"/>
                    <a:pt x="74" y="214"/>
                  </a:cubicBezTo>
                  <a:cubicBezTo>
                    <a:pt x="75" y="213"/>
                    <a:pt x="75" y="213"/>
                    <a:pt x="75" y="213"/>
                  </a:cubicBezTo>
                  <a:cubicBezTo>
                    <a:pt x="76" y="213"/>
                    <a:pt x="76" y="213"/>
                    <a:pt x="76" y="213"/>
                  </a:cubicBezTo>
                  <a:cubicBezTo>
                    <a:pt x="76" y="213"/>
                    <a:pt x="76" y="213"/>
                    <a:pt x="76" y="213"/>
                  </a:cubicBezTo>
                  <a:cubicBezTo>
                    <a:pt x="76" y="214"/>
                    <a:pt x="77" y="214"/>
                    <a:pt x="77" y="214"/>
                  </a:cubicBezTo>
                  <a:cubicBezTo>
                    <a:pt x="77" y="214"/>
                    <a:pt x="77" y="215"/>
                    <a:pt x="77" y="215"/>
                  </a:cubicBezTo>
                  <a:cubicBezTo>
                    <a:pt x="78" y="215"/>
                    <a:pt x="78" y="215"/>
                    <a:pt x="78" y="215"/>
                  </a:cubicBezTo>
                  <a:cubicBezTo>
                    <a:pt x="79" y="215"/>
                    <a:pt x="79" y="215"/>
                    <a:pt x="79" y="215"/>
                  </a:cubicBezTo>
                  <a:cubicBezTo>
                    <a:pt x="79" y="215"/>
                    <a:pt x="79" y="215"/>
                    <a:pt x="79" y="215"/>
                  </a:cubicBezTo>
                  <a:cubicBezTo>
                    <a:pt x="79" y="214"/>
                    <a:pt x="79" y="214"/>
                    <a:pt x="79" y="214"/>
                  </a:cubicBezTo>
                  <a:cubicBezTo>
                    <a:pt x="80" y="214"/>
                    <a:pt x="80" y="214"/>
                    <a:pt x="80" y="214"/>
                  </a:cubicBezTo>
                  <a:cubicBezTo>
                    <a:pt x="80" y="215"/>
                    <a:pt x="80" y="215"/>
                    <a:pt x="80" y="216"/>
                  </a:cubicBezTo>
                  <a:cubicBezTo>
                    <a:pt x="80" y="216"/>
                    <a:pt x="80" y="216"/>
                    <a:pt x="80" y="216"/>
                  </a:cubicBezTo>
                  <a:cubicBezTo>
                    <a:pt x="79" y="218"/>
                    <a:pt x="79" y="218"/>
                    <a:pt x="79" y="219"/>
                  </a:cubicBezTo>
                  <a:cubicBezTo>
                    <a:pt x="77" y="222"/>
                    <a:pt x="77" y="224"/>
                    <a:pt x="77" y="225"/>
                  </a:cubicBezTo>
                  <a:cubicBezTo>
                    <a:pt x="77" y="225"/>
                    <a:pt x="77" y="225"/>
                    <a:pt x="77" y="225"/>
                  </a:cubicBezTo>
                  <a:cubicBezTo>
                    <a:pt x="77" y="227"/>
                    <a:pt x="77" y="227"/>
                    <a:pt x="76" y="228"/>
                  </a:cubicBezTo>
                  <a:cubicBezTo>
                    <a:pt x="76" y="228"/>
                    <a:pt x="76" y="228"/>
                    <a:pt x="76" y="228"/>
                  </a:cubicBezTo>
                  <a:cubicBezTo>
                    <a:pt x="76" y="229"/>
                    <a:pt x="76" y="229"/>
                    <a:pt x="76" y="229"/>
                  </a:cubicBezTo>
                  <a:cubicBezTo>
                    <a:pt x="75" y="229"/>
                    <a:pt x="75" y="230"/>
                    <a:pt x="75" y="230"/>
                  </a:cubicBezTo>
                  <a:cubicBezTo>
                    <a:pt x="75" y="231"/>
                    <a:pt x="75" y="231"/>
                    <a:pt x="75" y="231"/>
                  </a:cubicBezTo>
                  <a:cubicBezTo>
                    <a:pt x="72" y="234"/>
                    <a:pt x="72" y="234"/>
                    <a:pt x="72" y="234"/>
                  </a:cubicBezTo>
                  <a:cubicBezTo>
                    <a:pt x="72" y="234"/>
                    <a:pt x="72" y="234"/>
                    <a:pt x="72" y="234"/>
                  </a:cubicBezTo>
                  <a:cubicBezTo>
                    <a:pt x="71" y="235"/>
                    <a:pt x="71" y="235"/>
                    <a:pt x="71" y="235"/>
                  </a:cubicBezTo>
                  <a:cubicBezTo>
                    <a:pt x="71" y="235"/>
                    <a:pt x="71" y="235"/>
                    <a:pt x="71" y="235"/>
                  </a:cubicBezTo>
                  <a:cubicBezTo>
                    <a:pt x="83" y="237"/>
                    <a:pt x="97" y="238"/>
                    <a:pt x="112" y="239"/>
                  </a:cubicBezTo>
                  <a:cubicBezTo>
                    <a:pt x="124" y="239"/>
                    <a:pt x="137" y="240"/>
                    <a:pt x="150" y="240"/>
                  </a:cubicBezTo>
                  <a:moveTo>
                    <a:pt x="501" y="152"/>
                  </a:moveTo>
                  <a:cubicBezTo>
                    <a:pt x="498" y="146"/>
                    <a:pt x="493" y="142"/>
                    <a:pt x="490" y="136"/>
                  </a:cubicBezTo>
                  <a:cubicBezTo>
                    <a:pt x="490" y="136"/>
                    <a:pt x="490" y="135"/>
                    <a:pt x="489" y="135"/>
                  </a:cubicBezTo>
                  <a:cubicBezTo>
                    <a:pt x="489" y="135"/>
                    <a:pt x="488" y="132"/>
                    <a:pt x="487" y="131"/>
                  </a:cubicBezTo>
                  <a:cubicBezTo>
                    <a:pt x="487" y="131"/>
                    <a:pt x="487" y="131"/>
                    <a:pt x="487" y="131"/>
                  </a:cubicBezTo>
                  <a:cubicBezTo>
                    <a:pt x="487" y="131"/>
                    <a:pt x="487" y="131"/>
                    <a:pt x="487" y="131"/>
                  </a:cubicBezTo>
                  <a:cubicBezTo>
                    <a:pt x="487" y="131"/>
                    <a:pt x="487" y="131"/>
                    <a:pt x="487" y="131"/>
                  </a:cubicBezTo>
                  <a:cubicBezTo>
                    <a:pt x="487" y="131"/>
                    <a:pt x="487" y="131"/>
                    <a:pt x="487" y="131"/>
                  </a:cubicBezTo>
                  <a:cubicBezTo>
                    <a:pt x="487" y="131"/>
                    <a:pt x="487" y="131"/>
                    <a:pt x="487" y="131"/>
                  </a:cubicBezTo>
                  <a:cubicBezTo>
                    <a:pt x="487" y="131"/>
                    <a:pt x="487" y="131"/>
                    <a:pt x="487" y="131"/>
                  </a:cubicBezTo>
                  <a:cubicBezTo>
                    <a:pt x="487" y="131"/>
                    <a:pt x="487" y="131"/>
                    <a:pt x="487" y="131"/>
                  </a:cubicBezTo>
                  <a:cubicBezTo>
                    <a:pt x="487" y="131"/>
                    <a:pt x="487" y="131"/>
                    <a:pt x="487" y="131"/>
                  </a:cubicBezTo>
                  <a:cubicBezTo>
                    <a:pt x="485" y="130"/>
                    <a:pt x="484" y="127"/>
                    <a:pt x="483" y="125"/>
                  </a:cubicBezTo>
                  <a:cubicBezTo>
                    <a:pt x="482" y="125"/>
                    <a:pt x="482" y="125"/>
                    <a:pt x="481" y="125"/>
                  </a:cubicBezTo>
                  <a:cubicBezTo>
                    <a:pt x="483" y="127"/>
                    <a:pt x="484" y="129"/>
                    <a:pt x="485" y="131"/>
                  </a:cubicBezTo>
                  <a:cubicBezTo>
                    <a:pt x="484" y="131"/>
                    <a:pt x="484" y="131"/>
                    <a:pt x="483" y="131"/>
                  </a:cubicBezTo>
                  <a:cubicBezTo>
                    <a:pt x="483" y="131"/>
                    <a:pt x="483" y="132"/>
                    <a:pt x="484" y="132"/>
                  </a:cubicBezTo>
                  <a:cubicBezTo>
                    <a:pt x="484" y="133"/>
                    <a:pt x="484" y="133"/>
                    <a:pt x="484" y="133"/>
                  </a:cubicBezTo>
                  <a:cubicBezTo>
                    <a:pt x="484" y="133"/>
                    <a:pt x="484" y="133"/>
                    <a:pt x="485" y="134"/>
                  </a:cubicBezTo>
                  <a:cubicBezTo>
                    <a:pt x="485" y="134"/>
                    <a:pt x="485" y="135"/>
                    <a:pt x="486" y="136"/>
                  </a:cubicBezTo>
                  <a:cubicBezTo>
                    <a:pt x="486" y="136"/>
                    <a:pt x="485" y="136"/>
                    <a:pt x="485" y="136"/>
                  </a:cubicBezTo>
                  <a:cubicBezTo>
                    <a:pt x="484" y="136"/>
                    <a:pt x="484" y="136"/>
                    <a:pt x="482" y="132"/>
                  </a:cubicBezTo>
                  <a:cubicBezTo>
                    <a:pt x="482" y="132"/>
                    <a:pt x="482" y="131"/>
                    <a:pt x="482" y="131"/>
                  </a:cubicBezTo>
                  <a:cubicBezTo>
                    <a:pt x="479" y="129"/>
                    <a:pt x="476" y="128"/>
                    <a:pt x="473" y="126"/>
                  </a:cubicBezTo>
                  <a:cubicBezTo>
                    <a:pt x="472" y="125"/>
                    <a:pt x="472" y="125"/>
                    <a:pt x="471" y="125"/>
                  </a:cubicBezTo>
                  <a:cubicBezTo>
                    <a:pt x="472" y="127"/>
                    <a:pt x="472" y="128"/>
                    <a:pt x="473" y="129"/>
                  </a:cubicBezTo>
                  <a:cubicBezTo>
                    <a:pt x="472" y="129"/>
                    <a:pt x="471" y="129"/>
                    <a:pt x="470" y="129"/>
                  </a:cubicBezTo>
                  <a:cubicBezTo>
                    <a:pt x="470" y="129"/>
                    <a:pt x="469" y="126"/>
                    <a:pt x="466" y="126"/>
                  </a:cubicBezTo>
                  <a:cubicBezTo>
                    <a:pt x="467" y="126"/>
                    <a:pt x="467" y="126"/>
                    <a:pt x="467" y="126"/>
                  </a:cubicBezTo>
                  <a:cubicBezTo>
                    <a:pt x="467" y="127"/>
                    <a:pt x="467" y="127"/>
                    <a:pt x="467" y="128"/>
                  </a:cubicBezTo>
                  <a:cubicBezTo>
                    <a:pt x="468" y="129"/>
                    <a:pt x="468" y="129"/>
                    <a:pt x="468" y="129"/>
                  </a:cubicBezTo>
                  <a:cubicBezTo>
                    <a:pt x="467" y="129"/>
                    <a:pt x="467" y="129"/>
                    <a:pt x="466" y="129"/>
                  </a:cubicBezTo>
                  <a:cubicBezTo>
                    <a:pt x="466" y="128"/>
                    <a:pt x="466" y="128"/>
                    <a:pt x="466" y="128"/>
                  </a:cubicBezTo>
                  <a:cubicBezTo>
                    <a:pt x="465" y="125"/>
                    <a:pt x="465" y="125"/>
                    <a:pt x="463" y="124"/>
                  </a:cubicBezTo>
                  <a:cubicBezTo>
                    <a:pt x="463" y="124"/>
                    <a:pt x="463" y="125"/>
                    <a:pt x="463" y="125"/>
                  </a:cubicBezTo>
                  <a:cubicBezTo>
                    <a:pt x="462" y="125"/>
                    <a:pt x="462" y="125"/>
                    <a:pt x="462" y="125"/>
                  </a:cubicBezTo>
                  <a:cubicBezTo>
                    <a:pt x="461" y="125"/>
                    <a:pt x="461" y="125"/>
                    <a:pt x="461" y="125"/>
                  </a:cubicBezTo>
                  <a:cubicBezTo>
                    <a:pt x="459" y="124"/>
                    <a:pt x="460" y="123"/>
                    <a:pt x="460" y="122"/>
                  </a:cubicBezTo>
                  <a:cubicBezTo>
                    <a:pt x="462" y="121"/>
                    <a:pt x="461" y="117"/>
                    <a:pt x="464" y="117"/>
                  </a:cubicBezTo>
                  <a:cubicBezTo>
                    <a:pt x="464" y="115"/>
                    <a:pt x="462" y="114"/>
                    <a:pt x="464" y="112"/>
                  </a:cubicBezTo>
                  <a:cubicBezTo>
                    <a:pt x="463" y="110"/>
                    <a:pt x="463" y="110"/>
                    <a:pt x="464" y="108"/>
                  </a:cubicBezTo>
                  <a:cubicBezTo>
                    <a:pt x="464" y="108"/>
                    <a:pt x="464" y="108"/>
                    <a:pt x="464" y="108"/>
                  </a:cubicBezTo>
                  <a:cubicBezTo>
                    <a:pt x="465" y="107"/>
                    <a:pt x="465" y="107"/>
                    <a:pt x="464" y="103"/>
                  </a:cubicBezTo>
                  <a:cubicBezTo>
                    <a:pt x="465" y="102"/>
                    <a:pt x="465" y="102"/>
                    <a:pt x="465" y="102"/>
                  </a:cubicBezTo>
                  <a:cubicBezTo>
                    <a:pt x="465" y="102"/>
                    <a:pt x="466" y="102"/>
                    <a:pt x="466" y="102"/>
                  </a:cubicBezTo>
                  <a:cubicBezTo>
                    <a:pt x="450" y="102"/>
                    <a:pt x="432" y="103"/>
                    <a:pt x="413" y="103"/>
                  </a:cubicBezTo>
                  <a:cubicBezTo>
                    <a:pt x="426" y="132"/>
                    <a:pt x="436" y="166"/>
                    <a:pt x="443" y="204"/>
                  </a:cubicBezTo>
                  <a:cubicBezTo>
                    <a:pt x="444" y="204"/>
                    <a:pt x="444" y="204"/>
                    <a:pt x="445" y="204"/>
                  </a:cubicBezTo>
                  <a:cubicBezTo>
                    <a:pt x="446" y="204"/>
                    <a:pt x="446" y="204"/>
                    <a:pt x="446" y="204"/>
                  </a:cubicBezTo>
                  <a:cubicBezTo>
                    <a:pt x="446" y="204"/>
                    <a:pt x="446" y="204"/>
                    <a:pt x="446" y="204"/>
                  </a:cubicBezTo>
                  <a:cubicBezTo>
                    <a:pt x="446" y="204"/>
                    <a:pt x="446" y="204"/>
                    <a:pt x="446" y="204"/>
                  </a:cubicBezTo>
                  <a:cubicBezTo>
                    <a:pt x="446" y="204"/>
                    <a:pt x="446" y="204"/>
                    <a:pt x="446" y="204"/>
                  </a:cubicBezTo>
                  <a:cubicBezTo>
                    <a:pt x="446" y="204"/>
                    <a:pt x="446" y="204"/>
                    <a:pt x="446" y="204"/>
                  </a:cubicBezTo>
                  <a:cubicBezTo>
                    <a:pt x="446" y="204"/>
                    <a:pt x="446" y="204"/>
                    <a:pt x="446" y="204"/>
                  </a:cubicBezTo>
                  <a:cubicBezTo>
                    <a:pt x="446" y="204"/>
                    <a:pt x="446" y="204"/>
                    <a:pt x="446" y="204"/>
                  </a:cubicBezTo>
                  <a:cubicBezTo>
                    <a:pt x="446" y="204"/>
                    <a:pt x="446" y="204"/>
                    <a:pt x="446" y="204"/>
                  </a:cubicBezTo>
                  <a:cubicBezTo>
                    <a:pt x="449" y="205"/>
                    <a:pt x="449" y="206"/>
                    <a:pt x="449" y="207"/>
                  </a:cubicBezTo>
                  <a:cubicBezTo>
                    <a:pt x="450" y="208"/>
                    <a:pt x="450" y="208"/>
                    <a:pt x="450" y="208"/>
                  </a:cubicBezTo>
                  <a:cubicBezTo>
                    <a:pt x="450" y="209"/>
                    <a:pt x="450" y="209"/>
                    <a:pt x="449" y="210"/>
                  </a:cubicBezTo>
                  <a:cubicBezTo>
                    <a:pt x="449" y="212"/>
                    <a:pt x="449" y="213"/>
                    <a:pt x="449" y="215"/>
                  </a:cubicBezTo>
                  <a:cubicBezTo>
                    <a:pt x="450" y="215"/>
                    <a:pt x="450" y="215"/>
                    <a:pt x="451" y="215"/>
                  </a:cubicBezTo>
                  <a:cubicBezTo>
                    <a:pt x="451" y="214"/>
                    <a:pt x="451" y="214"/>
                    <a:pt x="451" y="214"/>
                  </a:cubicBezTo>
                  <a:cubicBezTo>
                    <a:pt x="454" y="211"/>
                    <a:pt x="456" y="219"/>
                    <a:pt x="458" y="221"/>
                  </a:cubicBezTo>
                  <a:cubicBezTo>
                    <a:pt x="458" y="223"/>
                    <a:pt x="459" y="225"/>
                    <a:pt x="459" y="227"/>
                  </a:cubicBezTo>
                  <a:cubicBezTo>
                    <a:pt x="459" y="228"/>
                    <a:pt x="458" y="229"/>
                    <a:pt x="458" y="231"/>
                  </a:cubicBezTo>
                  <a:cubicBezTo>
                    <a:pt x="458" y="232"/>
                    <a:pt x="458" y="233"/>
                    <a:pt x="458" y="234"/>
                  </a:cubicBezTo>
                  <a:cubicBezTo>
                    <a:pt x="460" y="234"/>
                    <a:pt x="461" y="234"/>
                    <a:pt x="463" y="234"/>
                  </a:cubicBezTo>
                  <a:cubicBezTo>
                    <a:pt x="464" y="233"/>
                    <a:pt x="465" y="232"/>
                    <a:pt x="466" y="231"/>
                  </a:cubicBezTo>
                  <a:cubicBezTo>
                    <a:pt x="467" y="230"/>
                    <a:pt x="469" y="229"/>
                    <a:pt x="470" y="228"/>
                  </a:cubicBezTo>
                  <a:cubicBezTo>
                    <a:pt x="471" y="228"/>
                    <a:pt x="471" y="228"/>
                    <a:pt x="472" y="227"/>
                  </a:cubicBezTo>
                  <a:cubicBezTo>
                    <a:pt x="471" y="223"/>
                    <a:pt x="471" y="223"/>
                    <a:pt x="471" y="222"/>
                  </a:cubicBezTo>
                  <a:cubicBezTo>
                    <a:pt x="471" y="221"/>
                    <a:pt x="471" y="220"/>
                    <a:pt x="471" y="219"/>
                  </a:cubicBezTo>
                  <a:cubicBezTo>
                    <a:pt x="469" y="219"/>
                    <a:pt x="463" y="211"/>
                    <a:pt x="463" y="211"/>
                  </a:cubicBezTo>
                  <a:cubicBezTo>
                    <a:pt x="462" y="210"/>
                    <a:pt x="462" y="210"/>
                    <a:pt x="461" y="202"/>
                  </a:cubicBezTo>
                  <a:cubicBezTo>
                    <a:pt x="462" y="202"/>
                    <a:pt x="462" y="202"/>
                    <a:pt x="464" y="202"/>
                  </a:cubicBezTo>
                  <a:cubicBezTo>
                    <a:pt x="464" y="202"/>
                    <a:pt x="464" y="202"/>
                    <a:pt x="465" y="202"/>
                  </a:cubicBezTo>
                  <a:cubicBezTo>
                    <a:pt x="465" y="202"/>
                    <a:pt x="466" y="202"/>
                    <a:pt x="466" y="201"/>
                  </a:cubicBezTo>
                  <a:cubicBezTo>
                    <a:pt x="465" y="199"/>
                    <a:pt x="465" y="196"/>
                    <a:pt x="464" y="193"/>
                  </a:cubicBezTo>
                  <a:cubicBezTo>
                    <a:pt x="464" y="191"/>
                    <a:pt x="464" y="191"/>
                    <a:pt x="465" y="190"/>
                  </a:cubicBezTo>
                  <a:cubicBezTo>
                    <a:pt x="468" y="191"/>
                    <a:pt x="466" y="186"/>
                    <a:pt x="468" y="185"/>
                  </a:cubicBezTo>
                  <a:cubicBezTo>
                    <a:pt x="471" y="184"/>
                    <a:pt x="472" y="189"/>
                    <a:pt x="475" y="188"/>
                  </a:cubicBezTo>
                  <a:cubicBezTo>
                    <a:pt x="477" y="186"/>
                    <a:pt x="478" y="184"/>
                    <a:pt x="478" y="184"/>
                  </a:cubicBezTo>
                  <a:cubicBezTo>
                    <a:pt x="481" y="184"/>
                    <a:pt x="481" y="184"/>
                    <a:pt x="484" y="175"/>
                  </a:cubicBezTo>
                  <a:cubicBezTo>
                    <a:pt x="486" y="171"/>
                    <a:pt x="483" y="167"/>
                    <a:pt x="487" y="164"/>
                  </a:cubicBezTo>
                  <a:cubicBezTo>
                    <a:pt x="487" y="163"/>
                    <a:pt x="487" y="163"/>
                    <a:pt x="487" y="163"/>
                  </a:cubicBezTo>
                  <a:cubicBezTo>
                    <a:pt x="490" y="162"/>
                    <a:pt x="489" y="159"/>
                    <a:pt x="490" y="157"/>
                  </a:cubicBezTo>
                  <a:cubicBezTo>
                    <a:pt x="490" y="157"/>
                    <a:pt x="489" y="156"/>
                    <a:pt x="489" y="156"/>
                  </a:cubicBezTo>
                  <a:cubicBezTo>
                    <a:pt x="489" y="156"/>
                    <a:pt x="489" y="156"/>
                    <a:pt x="489" y="156"/>
                  </a:cubicBezTo>
                  <a:cubicBezTo>
                    <a:pt x="489" y="154"/>
                    <a:pt x="489" y="154"/>
                    <a:pt x="488" y="153"/>
                  </a:cubicBezTo>
                  <a:cubicBezTo>
                    <a:pt x="488" y="153"/>
                    <a:pt x="488" y="152"/>
                    <a:pt x="488" y="152"/>
                  </a:cubicBezTo>
                  <a:cubicBezTo>
                    <a:pt x="488" y="150"/>
                    <a:pt x="488" y="150"/>
                    <a:pt x="487" y="148"/>
                  </a:cubicBezTo>
                  <a:cubicBezTo>
                    <a:pt x="487" y="147"/>
                    <a:pt x="487" y="147"/>
                    <a:pt x="487" y="146"/>
                  </a:cubicBezTo>
                  <a:cubicBezTo>
                    <a:pt x="486" y="146"/>
                    <a:pt x="486" y="146"/>
                    <a:pt x="486" y="146"/>
                  </a:cubicBezTo>
                  <a:cubicBezTo>
                    <a:pt x="486" y="145"/>
                    <a:pt x="486" y="145"/>
                    <a:pt x="486" y="145"/>
                  </a:cubicBezTo>
                  <a:cubicBezTo>
                    <a:pt x="485" y="143"/>
                    <a:pt x="485" y="138"/>
                    <a:pt x="485" y="138"/>
                  </a:cubicBezTo>
                  <a:cubicBezTo>
                    <a:pt x="485" y="138"/>
                    <a:pt x="485" y="138"/>
                    <a:pt x="485" y="138"/>
                  </a:cubicBezTo>
                  <a:cubicBezTo>
                    <a:pt x="486" y="139"/>
                    <a:pt x="486" y="139"/>
                    <a:pt x="487" y="139"/>
                  </a:cubicBezTo>
                  <a:cubicBezTo>
                    <a:pt x="487" y="139"/>
                    <a:pt x="492" y="143"/>
                    <a:pt x="499" y="169"/>
                  </a:cubicBezTo>
                  <a:cubicBezTo>
                    <a:pt x="500" y="169"/>
                    <a:pt x="500" y="169"/>
                    <a:pt x="501" y="169"/>
                  </a:cubicBezTo>
                  <a:cubicBezTo>
                    <a:pt x="501" y="169"/>
                    <a:pt x="501" y="169"/>
                    <a:pt x="501" y="169"/>
                  </a:cubicBezTo>
                  <a:cubicBezTo>
                    <a:pt x="501" y="168"/>
                    <a:pt x="501" y="168"/>
                    <a:pt x="501" y="167"/>
                  </a:cubicBezTo>
                  <a:cubicBezTo>
                    <a:pt x="501" y="167"/>
                    <a:pt x="501" y="166"/>
                    <a:pt x="501" y="166"/>
                  </a:cubicBezTo>
                  <a:cubicBezTo>
                    <a:pt x="502" y="165"/>
                    <a:pt x="502" y="165"/>
                    <a:pt x="502" y="165"/>
                  </a:cubicBezTo>
                  <a:cubicBezTo>
                    <a:pt x="503" y="168"/>
                    <a:pt x="503" y="168"/>
                    <a:pt x="506" y="169"/>
                  </a:cubicBezTo>
                  <a:cubicBezTo>
                    <a:pt x="505" y="166"/>
                    <a:pt x="502" y="165"/>
                    <a:pt x="500" y="162"/>
                  </a:cubicBezTo>
                  <a:cubicBezTo>
                    <a:pt x="499" y="159"/>
                    <a:pt x="499" y="156"/>
                    <a:pt x="497" y="154"/>
                  </a:cubicBezTo>
                  <a:cubicBezTo>
                    <a:pt x="498" y="153"/>
                    <a:pt x="498" y="153"/>
                    <a:pt x="498" y="152"/>
                  </a:cubicBezTo>
                  <a:cubicBezTo>
                    <a:pt x="498" y="152"/>
                    <a:pt x="498" y="152"/>
                    <a:pt x="498" y="152"/>
                  </a:cubicBezTo>
                  <a:cubicBezTo>
                    <a:pt x="499" y="152"/>
                    <a:pt x="500" y="153"/>
                    <a:pt x="501" y="153"/>
                  </a:cubicBezTo>
                  <a:cubicBezTo>
                    <a:pt x="501" y="153"/>
                    <a:pt x="501" y="152"/>
                    <a:pt x="501" y="152"/>
                  </a:cubicBezTo>
                  <a:moveTo>
                    <a:pt x="524" y="113"/>
                  </a:moveTo>
                  <a:cubicBezTo>
                    <a:pt x="523" y="111"/>
                    <a:pt x="523" y="111"/>
                    <a:pt x="523" y="111"/>
                  </a:cubicBezTo>
                  <a:cubicBezTo>
                    <a:pt x="518" y="107"/>
                    <a:pt x="518" y="107"/>
                    <a:pt x="516" y="105"/>
                  </a:cubicBezTo>
                  <a:cubicBezTo>
                    <a:pt x="516" y="105"/>
                    <a:pt x="516" y="105"/>
                    <a:pt x="516" y="104"/>
                  </a:cubicBezTo>
                  <a:cubicBezTo>
                    <a:pt x="516" y="103"/>
                    <a:pt x="515" y="103"/>
                    <a:pt x="515" y="103"/>
                  </a:cubicBezTo>
                  <a:cubicBezTo>
                    <a:pt x="515" y="103"/>
                    <a:pt x="515" y="103"/>
                    <a:pt x="515" y="103"/>
                  </a:cubicBezTo>
                  <a:cubicBezTo>
                    <a:pt x="515" y="103"/>
                    <a:pt x="515" y="103"/>
                    <a:pt x="515" y="103"/>
                  </a:cubicBezTo>
                  <a:cubicBezTo>
                    <a:pt x="514" y="104"/>
                    <a:pt x="514" y="104"/>
                    <a:pt x="514" y="104"/>
                  </a:cubicBezTo>
                  <a:cubicBezTo>
                    <a:pt x="511" y="99"/>
                    <a:pt x="511" y="99"/>
                    <a:pt x="511" y="98"/>
                  </a:cubicBezTo>
                  <a:cubicBezTo>
                    <a:pt x="509" y="98"/>
                    <a:pt x="507" y="99"/>
                    <a:pt x="505" y="99"/>
                  </a:cubicBezTo>
                  <a:cubicBezTo>
                    <a:pt x="506" y="99"/>
                    <a:pt x="507" y="101"/>
                    <a:pt x="506" y="102"/>
                  </a:cubicBezTo>
                  <a:cubicBezTo>
                    <a:pt x="506" y="102"/>
                    <a:pt x="506" y="102"/>
                    <a:pt x="506" y="102"/>
                  </a:cubicBezTo>
                  <a:cubicBezTo>
                    <a:pt x="505" y="103"/>
                    <a:pt x="505" y="103"/>
                    <a:pt x="505" y="104"/>
                  </a:cubicBezTo>
                  <a:cubicBezTo>
                    <a:pt x="504" y="104"/>
                    <a:pt x="504" y="104"/>
                    <a:pt x="504" y="104"/>
                  </a:cubicBezTo>
                  <a:cubicBezTo>
                    <a:pt x="504" y="104"/>
                    <a:pt x="504" y="105"/>
                    <a:pt x="505" y="105"/>
                  </a:cubicBezTo>
                  <a:cubicBezTo>
                    <a:pt x="505" y="106"/>
                    <a:pt x="506" y="106"/>
                    <a:pt x="507" y="108"/>
                  </a:cubicBezTo>
                  <a:cubicBezTo>
                    <a:pt x="507" y="109"/>
                    <a:pt x="507" y="110"/>
                    <a:pt x="508" y="111"/>
                  </a:cubicBezTo>
                  <a:cubicBezTo>
                    <a:pt x="508" y="111"/>
                    <a:pt x="508" y="111"/>
                    <a:pt x="509" y="113"/>
                  </a:cubicBezTo>
                  <a:cubicBezTo>
                    <a:pt x="519" y="128"/>
                    <a:pt x="519" y="128"/>
                    <a:pt x="519" y="128"/>
                  </a:cubicBezTo>
                  <a:cubicBezTo>
                    <a:pt x="519" y="128"/>
                    <a:pt x="519" y="128"/>
                    <a:pt x="519" y="129"/>
                  </a:cubicBezTo>
                  <a:cubicBezTo>
                    <a:pt x="520" y="130"/>
                    <a:pt x="522" y="131"/>
                    <a:pt x="523" y="132"/>
                  </a:cubicBezTo>
                  <a:cubicBezTo>
                    <a:pt x="524" y="135"/>
                    <a:pt x="525" y="137"/>
                    <a:pt x="527" y="139"/>
                  </a:cubicBezTo>
                  <a:cubicBezTo>
                    <a:pt x="527" y="139"/>
                    <a:pt x="527" y="139"/>
                    <a:pt x="527" y="139"/>
                  </a:cubicBezTo>
                  <a:cubicBezTo>
                    <a:pt x="528" y="139"/>
                    <a:pt x="528" y="139"/>
                    <a:pt x="528" y="139"/>
                  </a:cubicBezTo>
                  <a:cubicBezTo>
                    <a:pt x="528" y="139"/>
                    <a:pt x="528" y="139"/>
                    <a:pt x="528" y="139"/>
                  </a:cubicBezTo>
                  <a:cubicBezTo>
                    <a:pt x="528" y="138"/>
                    <a:pt x="528" y="138"/>
                    <a:pt x="529" y="138"/>
                  </a:cubicBezTo>
                  <a:cubicBezTo>
                    <a:pt x="529" y="136"/>
                    <a:pt x="527" y="136"/>
                    <a:pt x="527" y="134"/>
                  </a:cubicBezTo>
                  <a:cubicBezTo>
                    <a:pt x="527" y="133"/>
                    <a:pt x="527" y="132"/>
                    <a:pt x="527" y="131"/>
                  </a:cubicBezTo>
                  <a:cubicBezTo>
                    <a:pt x="526" y="129"/>
                    <a:pt x="526" y="129"/>
                    <a:pt x="526" y="129"/>
                  </a:cubicBezTo>
                  <a:cubicBezTo>
                    <a:pt x="526" y="129"/>
                    <a:pt x="526" y="129"/>
                    <a:pt x="526" y="129"/>
                  </a:cubicBezTo>
                  <a:cubicBezTo>
                    <a:pt x="527" y="129"/>
                    <a:pt x="527" y="129"/>
                    <a:pt x="527" y="129"/>
                  </a:cubicBezTo>
                  <a:cubicBezTo>
                    <a:pt x="528" y="129"/>
                    <a:pt x="528" y="129"/>
                    <a:pt x="528" y="129"/>
                  </a:cubicBezTo>
                  <a:cubicBezTo>
                    <a:pt x="528" y="129"/>
                    <a:pt x="528" y="129"/>
                    <a:pt x="528" y="129"/>
                  </a:cubicBezTo>
                  <a:cubicBezTo>
                    <a:pt x="528" y="129"/>
                    <a:pt x="528" y="128"/>
                    <a:pt x="528" y="128"/>
                  </a:cubicBezTo>
                  <a:cubicBezTo>
                    <a:pt x="527" y="126"/>
                    <a:pt x="526" y="125"/>
                    <a:pt x="525" y="124"/>
                  </a:cubicBezTo>
                  <a:cubicBezTo>
                    <a:pt x="525" y="123"/>
                    <a:pt x="524" y="122"/>
                    <a:pt x="524" y="121"/>
                  </a:cubicBezTo>
                  <a:cubicBezTo>
                    <a:pt x="525" y="121"/>
                    <a:pt x="526" y="121"/>
                    <a:pt x="527" y="121"/>
                  </a:cubicBezTo>
                  <a:cubicBezTo>
                    <a:pt x="527" y="120"/>
                    <a:pt x="526" y="120"/>
                    <a:pt x="526" y="119"/>
                  </a:cubicBezTo>
                  <a:cubicBezTo>
                    <a:pt x="525" y="118"/>
                    <a:pt x="524" y="117"/>
                    <a:pt x="523" y="117"/>
                  </a:cubicBezTo>
                  <a:cubicBezTo>
                    <a:pt x="523" y="116"/>
                    <a:pt x="523" y="116"/>
                    <a:pt x="523" y="116"/>
                  </a:cubicBezTo>
                  <a:cubicBezTo>
                    <a:pt x="522" y="116"/>
                    <a:pt x="522" y="115"/>
                    <a:pt x="522" y="115"/>
                  </a:cubicBezTo>
                  <a:cubicBezTo>
                    <a:pt x="521" y="112"/>
                    <a:pt x="521" y="112"/>
                    <a:pt x="521" y="112"/>
                  </a:cubicBezTo>
                  <a:cubicBezTo>
                    <a:pt x="521" y="112"/>
                    <a:pt x="521" y="112"/>
                    <a:pt x="522" y="113"/>
                  </a:cubicBezTo>
                  <a:cubicBezTo>
                    <a:pt x="523" y="113"/>
                    <a:pt x="523" y="113"/>
                    <a:pt x="523" y="113"/>
                  </a:cubicBezTo>
                  <a:cubicBezTo>
                    <a:pt x="523" y="113"/>
                    <a:pt x="523" y="113"/>
                    <a:pt x="524" y="113"/>
                  </a:cubicBezTo>
                  <a:moveTo>
                    <a:pt x="371" y="34"/>
                  </a:moveTo>
                  <a:cubicBezTo>
                    <a:pt x="370" y="33"/>
                    <a:pt x="370" y="32"/>
                    <a:pt x="369" y="32"/>
                  </a:cubicBezTo>
                  <a:cubicBezTo>
                    <a:pt x="369" y="32"/>
                    <a:pt x="369" y="32"/>
                    <a:pt x="369" y="32"/>
                  </a:cubicBezTo>
                  <a:cubicBezTo>
                    <a:pt x="369" y="32"/>
                    <a:pt x="369" y="32"/>
                    <a:pt x="369" y="32"/>
                  </a:cubicBezTo>
                  <a:cubicBezTo>
                    <a:pt x="369" y="32"/>
                    <a:pt x="369" y="32"/>
                    <a:pt x="369" y="32"/>
                  </a:cubicBezTo>
                  <a:cubicBezTo>
                    <a:pt x="369" y="33"/>
                    <a:pt x="370" y="33"/>
                    <a:pt x="370" y="33"/>
                  </a:cubicBezTo>
                  <a:cubicBezTo>
                    <a:pt x="371" y="34"/>
                    <a:pt x="371" y="34"/>
                    <a:pt x="371" y="34"/>
                  </a:cubicBezTo>
                  <a:cubicBezTo>
                    <a:pt x="371" y="34"/>
                    <a:pt x="371" y="34"/>
                    <a:pt x="371" y="34"/>
                  </a:cubicBezTo>
                  <a:moveTo>
                    <a:pt x="413" y="103"/>
                  </a:moveTo>
                  <a:cubicBezTo>
                    <a:pt x="402" y="76"/>
                    <a:pt x="388" y="53"/>
                    <a:pt x="372" y="35"/>
                  </a:cubicBezTo>
                  <a:cubicBezTo>
                    <a:pt x="372" y="35"/>
                    <a:pt x="371" y="35"/>
                    <a:pt x="370" y="35"/>
                  </a:cubicBezTo>
                  <a:cubicBezTo>
                    <a:pt x="369" y="36"/>
                    <a:pt x="368" y="36"/>
                    <a:pt x="365" y="35"/>
                  </a:cubicBezTo>
                  <a:cubicBezTo>
                    <a:pt x="364" y="35"/>
                    <a:pt x="364" y="35"/>
                    <a:pt x="364" y="35"/>
                  </a:cubicBezTo>
                  <a:cubicBezTo>
                    <a:pt x="363" y="35"/>
                    <a:pt x="363" y="35"/>
                    <a:pt x="363" y="35"/>
                  </a:cubicBezTo>
                  <a:cubicBezTo>
                    <a:pt x="362" y="34"/>
                    <a:pt x="362" y="33"/>
                    <a:pt x="361" y="33"/>
                  </a:cubicBezTo>
                  <a:cubicBezTo>
                    <a:pt x="360" y="32"/>
                    <a:pt x="360" y="32"/>
                    <a:pt x="358" y="33"/>
                  </a:cubicBezTo>
                  <a:cubicBezTo>
                    <a:pt x="358" y="33"/>
                    <a:pt x="358" y="33"/>
                    <a:pt x="358" y="33"/>
                  </a:cubicBezTo>
                  <a:cubicBezTo>
                    <a:pt x="357" y="32"/>
                    <a:pt x="356" y="32"/>
                    <a:pt x="355" y="32"/>
                  </a:cubicBezTo>
                  <a:cubicBezTo>
                    <a:pt x="355" y="33"/>
                    <a:pt x="355" y="33"/>
                    <a:pt x="355" y="33"/>
                  </a:cubicBezTo>
                  <a:cubicBezTo>
                    <a:pt x="354" y="33"/>
                    <a:pt x="354" y="33"/>
                    <a:pt x="354" y="32"/>
                  </a:cubicBezTo>
                  <a:cubicBezTo>
                    <a:pt x="353" y="33"/>
                    <a:pt x="352" y="33"/>
                    <a:pt x="352" y="33"/>
                  </a:cubicBezTo>
                  <a:cubicBezTo>
                    <a:pt x="351" y="33"/>
                    <a:pt x="350" y="32"/>
                    <a:pt x="350" y="31"/>
                  </a:cubicBezTo>
                  <a:cubicBezTo>
                    <a:pt x="349" y="31"/>
                    <a:pt x="349" y="32"/>
                    <a:pt x="349" y="32"/>
                  </a:cubicBezTo>
                  <a:cubicBezTo>
                    <a:pt x="349" y="32"/>
                    <a:pt x="348" y="32"/>
                    <a:pt x="348" y="32"/>
                  </a:cubicBezTo>
                  <a:cubicBezTo>
                    <a:pt x="347" y="31"/>
                    <a:pt x="347" y="31"/>
                    <a:pt x="347" y="31"/>
                  </a:cubicBezTo>
                  <a:cubicBezTo>
                    <a:pt x="348" y="31"/>
                    <a:pt x="348" y="31"/>
                    <a:pt x="348" y="31"/>
                  </a:cubicBezTo>
                  <a:cubicBezTo>
                    <a:pt x="349" y="30"/>
                    <a:pt x="349" y="30"/>
                    <a:pt x="349" y="30"/>
                  </a:cubicBezTo>
                  <a:cubicBezTo>
                    <a:pt x="349" y="29"/>
                    <a:pt x="349" y="29"/>
                    <a:pt x="349" y="29"/>
                  </a:cubicBezTo>
                  <a:cubicBezTo>
                    <a:pt x="348" y="29"/>
                    <a:pt x="348" y="29"/>
                    <a:pt x="348" y="29"/>
                  </a:cubicBezTo>
                  <a:cubicBezTo>
                    <a:pt x="347" y="29"/>
                    <a:pt x="347" y="29"/>
                    <a:pt x="347" y="29"/>
                  </a:cubicBezTo>
                  <a:cubicBezTo>
                    <a:pt x="347" y="30"/>
                    <a:pt x="347" y="30"/>
                    <a:pt x="347" y="30"/>
                  </a:cubicBezTo>
                  <a:cubicBezTo>
                    <a:pt x="345" y="31"/>
                    <a:pt x="345" y="31"/>
                    <a:pt x="344" y="31"/>
                  </a:cubicBezTo>
                  <a:cubicBezTo>
                    <a:pt x="344" y="31"/>
                    <a:pt x="344" y="31"/>
                    <a:pt x="344" y="31"/>
                  </a:cubicBezTo>
                  <a:cubicBezTo>
                    <a:pt x="344" y="32"/>
                    <a:pt x="344" y="32"/>
                    <a:pt x="344" y="32"/>
                  </a:cubicBezTo>
                  <a:cubicBezTo>
                    <a:pt x="345" y="33"/>
                    <a:pt x="345" y="33"/>
                    <a:pt x="345" y="33"/>
                  </a:cubicBezTo>
                  <a:cubicBezTo>
                    <a:pt x="344" y="34"/>
                    <a:pt x="344" y="34"/>
                    <a:pt x="344" y="34"/>
                  </a:cubicBezTo>
                  <a:cubicBezTo>
                    <a:pt x="344" y="34"/>
                    <a:pt x="344" y="34"/>
                    <a:pt x="343" y="34"/>
                  </a:cubicBezTo>
                  <a:cubicBezTo>
                    <a:pt x="343" y="34"/>
                    <a:pt x="342" y="34"/>
                    <a:pt x="341" y="34"/>
                  </a:cubicBezTo>
                  <a:cubicBezTo>
                    <a:pt x="340" y="34"/>
                    <a:pt x="340" y="34"/>
                    <a:pt x="340" y="34"/>
                  </a:cubicBezTo>
                  <a:cubicBezTo>
                    <a:pt x="339" y="34"/>
                    <a:pt x="339" y="34"/>
                    <a:pt x="339" y="34"/>
                  </a:cubicBezTo>
                  <a:cubicBezTo>
                    <a:pt x="339" y="34"/>
                    <a:pt x="339" y="34"/>
                    <a:pt x="339" y="34"/>
                  </a:cubicBezTo>
                  <a:cubicBezTo>
                    <a:pt x="340" y="33"/>
                    <a:pt x="342" y="31"/>
                    <a:pt x="342" y="30"/>
                  </a:cubicBezTo>
                  <a:cubicBezTo>
                    <a:pt x="343" y="30"/>
                    <a:pt x="343" y="30"/>
                    <a:pt x="343" y="30"/>
                  </a:cubicBezTo>
                  <a:cubicBezTo>
                    <a:pt x="344" y="29"/>
                    <a:pt x="344" y="29"/>
                    <a:pt x="344" y="29"/>
                  </a:cubicBezTo>
                  <a:cubicBezTo>
                    <a:pt x="344" y="29"/>
                    <a:pt x="344" y="29"/>
                    <a:pt x="345" y="29"/>
                  </a:cubicBezTo>
                  <a:cubicBezTo>
                    <a:pt x="345" y="29"/>
                    <a:pt x="345" y="28"/>
                    <a:pt x="346" y="28"/>
                  </a:cubicBezTo>
                  <a:cubicBezTo>
                    <a:pt x="346" y="28"/>
                    <a:pt x="346" y="28"/>
                    <a:pt x="346" y="27"/>
                  </a:cubicBezTo>
                  <a:cubicBezTo>
                    <a:pt x="346" y="26"/>
                    <a:pt x="346" y="26"/>
                    <a:pt x="347" y="26"/>
                  </a:cubicBezTo>
                  <a:cubicBezTo>
                    <a:pt x="347" y="26"/>
                    <a:pt x="347" y="26"/>
                    <a:pt x="346" y="26"/>
                  </a:cubicBezTo>
                  <a:cubicBezTo>
                    <a:pt x="346" y="25"/>
                    <a:pt x="346" y="25"/>
                    <a:pt x="347" y="25"/>
                  </a:cubicBezTo>
                  <a:cubicBezTo>
                    <a:pt x="346" y="24"/>
                    <a:pt x="346" y="24"/>
                    <a:pt x="345" y="23"/>
                  </a:cubicBezTo>
                  <a:cubicBezTo>
                    <a:pt x="344" y="23"/>
                    <a:pt x="344" y="23"/>
                    <a:pt x="344" y="23"/>
                  </a:cubicBezTo>
                  <a:cubicBezTo>
                    <a:pt x="343" y="22"/>
                    <a:pt x="342" y="22"/>
                    <a:pt x="341" y="20"/>
                  </a:cubicBezTo>
                  <a:cubicBezTo>
                    <a:pt x="340" y="20"/>
                    <a:pt x="339" y="20"/>
                    <a:pt x="338" y="20"/>
                  </a:cubicBezTo>
                  <a:cubicBezTo>
                    <a:pt x="338" y="20"/>
                    <a:pt x="337" y="20"/>
                    <a:pt x="336" y="21"/>
                  </a:cubicBezTo>
                  <a:cubicBezTo>
                    <a:pt x="336" y="20"/>
                    <a:pt x="335" y="20"/>
                    <a:pt x="334" y="20"/>
                  </a:cubicBezTo>
                  <a:cubicBezTo>
                    <a:pt x="334" y="20"/>
                    <a:pt x="334" y="21"/>
                    <a:pt x="335" y="21"/>
                  </a:cubicBezTo>
                  <a:cubicBezTo>
                    <a:pt x="334" y="21"/>
                    <a:pt x="334" y="21"/>
                    <a:pt x="334" y="21"/>
                  </a:cubicBezTo>
                  <a:cubicBezTo>
                    <a:pt x="333" y="21"/>
                    <a:pt x="333" y="21"/>
                    <a:pt x="333" y="21"/>
                  </a:cubicBezTo>
                  <a:cubicBezTo>
                    <a:pt x="333" y="20"/>
                    <a:pt x="333" y="20"/>
                    <a:pt x="333" y="20"/>
                  </a:cubicBezTo>
                  <a:cubicBezTo>
                    <a:pt x="333" y="20"/>
                    <a:pt x="333" y="20"/>
                    <a:pt x="333" y="19"/>
                  </a:cubicBezTo>
                  <a:cubicBezTo>
                    <a:pt x="332" y="19"/>
                    <a:pt x="332" y="19"/>
                    <a:pt x="331" y="19"/>
                  </a:cubicBezTo>
                  <a:cubicBezTo>
                    <a:pt x="331" y="19"/>
                    <a:pt x="331" y="19"/>
                    <a:pt x="330" y="19"/>
                  </a:cubicBezTo>
                  <a:cubicBezTo>
                    <a:pt x="330" y="19"/>
                    <a:pt x="330" y="18"/>
                    <a:pt x="330" y="18"/>
                  </a:cubicBezTo>
                  <a:cubicBezTo>
                    <a:pt x="330" y="18"/>
                    <a:pt x="330" y="17"/>
                    <a:pt x="330" y="17"/>
                  </a:cubicBezTo>
                  <a:cubicBezTo>
                    <a:pt x="329" y="17"/>
                    <a:pt x="328" y="17"/>
                    <a:pt x="327" y="17"/>
                  </a:cubicBezTo>
                  <a:cubicBezTo>
                    <a:pt x="326" y="17"/>
                    <a:pt x="325" y="18"/>
                    <a:pt x="325" y="18"/>
                  </a:cubicBezTo>
                  <a:cubicBezTo>
                    <a:pt x="325" y="19"/>
                    <a:pt x="325" y="19"/>
                    <a:pt x="325" y="19"/>
                  </a:cubicBezTo>
                  <a:cubicBezTo>
                    <a:pt x="325" y="19"/>
                    <a:pt x="324" y="20"/>
                    <a:pt x="324" y="20"/>
                  </a:cubicBezTo>
                  <a:cubicBezTo>
                    <a:pt x="324" y="20"/>
                    <a:pt x="325" y="21"/>
                    <a:pt x="325" y="21"/>
                  </a:cubicBezTo>
                  <a:cubicBezTo>
                    <a:pt x="324" y="21"/>
                    <a:pt x="323" y="21"/>
                    <a:pt x="322" y="21"/>
                  </a:cubicBezTo>
                  <a:cubicBezTo>
                    <a:pt x="321" y="22"/>
                    <a:pt x="321" y="22"/>
                    <a:pt x="321" y="22"/>
                  </a:cubicBezTo>
                  <a:cubicBezTo>
                    <a:pt x="321" y="22"/>
                    <a:pt x="321" y="22"/>
                    <a:pt x="321" y="22"/>
                  </a:cubicBezTo>
                  <a:cubicBezTo>
                    <a:pt x="321" y="22"/>
                    <a:pt x="321" y="22"/>
                    <a:pt x="321" y="22"/>
                  </a:cubicBezTo>
                  <a:cubicBezTo>
                    <a:pt x="321" y="22"/>
                    <a:pt x="321" y="22"/>
                    <a:pt x="321" y="22"/>
                  </a:cubicBezTo>
                  <a:cubicBezTo>
                    <a:pt x="321" y="22"/>
                    <a:pt x="321" y="22"/>
                    <a:pt x="321" y="22"/>
                  </a:cubicBezTo>
                  <a:cubicBezTo>
                    <a:pt x="321" y="22"/>
                    <a:pt x="321" y="22"/>
                    <a:pt x="321" y="22"/>
                  </a:cubicBezTo>
                  <a:cubicBezTo>
                    <a:pt x="321" y="22"/>
                    <a:pt x="321" y="22"/>
                    <a:pt x="321" y="22"/>
                  </a:cubicBezTo>
                  <a:cubicBezTo>
                    <a:pt x="321" y="22"/>
                    <a:pt x="321" y="22"/>
                    <a:pt x="321" y="22"/>
                  </a:cubicBezTo>
                  <a:cubicBezTo>
                    <a:pt x="321" y="22"/>
                    <a:pt x="321" y="22"/>
                    <a:pt x="321" y="22"/>
                  </a:cubicBezTo>
                  <a:cubicBezTo>
                    <a:pt x="321" y="23"/>
                    <a:pt x="321" y="23"/>
                    <a:pt x="317" y="22"/>
                  </a:cubicBezTo>
                  <a:cubicBezTo>
                    <a:pt x="317" y="22"/>
                    <a:pt x="316" y="22"/>
                    <a:pt x="316" y="22"/>
                  </a:cubicBezTo>
                  <a:cubicBezTo>
                    <a:pt x="316" y="22"/>
                    <a:pt x="316" y="22"/>
                    <a:pt x="315" y="22"/>
                  </a:cubicBezTo>
                  <a:cubicBezTo>
                    <a:pt x="315" y="23"/>
                    <a:pt x="314" y="23"/>
                    <a:pt x="314" y="24"/>
                  </a:cubicBezTo>
                  <a:cubicBezTo>
                    <a:pt x="313" y="24"/>
                    <a:pt x="313" y="24"/>
                    <a:pt x="312" y="24"/>
                  </a:cubicBezTo>
                  <a:cubicBezTo>
                    <a:pt x="311" y="24"/>
                    <a:pt x="310" y="25"/>
                    <a:pt x="309" y="25"/>
                  </a:cubicBezTo>
                  <a:cubicBezTo>
                    <a:pt x="309" y="25"/>
                    <a:pt x="308" y="25"/>
                    <a:pt x="308" y="25"/>
                  </a:cubicBezTo>
                  <a:cubicBezTo>
                    <a:pt x="306" y="26"/>
                    <a:pt x="300" y="29"/>
                    <a:pt x="300" y="29"/>
                  </a:cubicBezTo>
                  <a:cubicBezTo>
                    <a:pt x="301" y="29"/>
                    <a:pt x="301" y="30"/>
                    <a:pt x="302" y="30"/>
                  </a:cubicBezTo>
                  <a:cubicBezTo>
                    <a:pt x="302" y="31"/>
                    <a:pt x="302" y="31"/>
                    <a:pt x="302" y="31"/>
                  </a:cubicBezTo>
                  <a:cubicBezTo>
                    <a:pt x="298" y="32"/>
                    <a:pt x="298" y="32"/>
                    <a:pt x="297" y="32"/>
                  </a:cubicBezTo>
                  <a:cubicBezTo>
                    <a:pt x="296" y="32"/>
                    <a:pt x="296" y="32"/>
                    <a:pt x="294" y="32"/>
                  </a:cubicBezTo>
                  <a:cubicBezTo>
                    <a:pt x="293" y="32"/>
                    <a:pt x="292" y="32"/>
                    <a:pt x="292" y="32"/>
                  </a:cubicBezTo>
                  <a:cubicBezTo>
                    <a:pt x="291" y="32"/>
                    <a:pt x="291" y="32"/>
                    <a:pt x="291" y="32"/>
                  </a:cubicBezTo>
                  <a:cubicBezTo>
                    <a:pt x="289" y="33"/>
                    <a:pt x="289" y="33"/>
                    <a:pt x="288" y="33"/>
                  </a:cubicBezTo>
                  <a:cubicBezTo>
                    <a:pt x="288" y="33"/>
                    <a:pt x="287" y="33"/>
                    <a:pt x="287" y="34"/>
                  </a:cubicBezTo>
                  <a:cubicBezTo>
                    <a:pt x="287" y="34"/>
                    <a:pt x="288" y="35"/>
                    <a:pt x="288" y="36"/>
                  </a:cubicBezTo>
                  <a:cubicBezTo>
                    <a:pt x="288" y="36"/>
                    <a:pt x="288" y="36"/>
                    <a:pt x="288" y="36"/>
                  </a:cubicBezTo>
                  <a:cubicBezTo>
                    <a:pt x="287" y="36"/>
                    <a:pt x="287" y="37"/>
                    <a:pt x="287" y="37"/>
                  </a:cubicBezTo>
                  <a:cubicBezTo>
                    <a:pt x="288" y="37"/>
                    <a:pt x="288" y="38"/>
                    <a:pt x="288" y="38"/>
                  </a:cubicBezTo>
                  <a:cubicBezTo>
                    <a:pt x="289" y="38"/>
                    <a:pt x="289" y="38"/>
                    <a:pt x="289" y="38"/>
                  </a:cubicBezTo>
                  <a:cubicBezTo>
                    <a:pt x="289" y="38"/>
                    <a:pt x="290" y="38"/>
                    <a:pt x="290" y="38"/>
                  </a:cubicBezTo>
                  <a:cubicBezTo>
                    <a:pt x="290" y="39"/>
                    <a:pt x="290" y="39"/>
                    <a:pt x="290" y="39"/>
                  </a:cubicBezTo>
                  <a:cubicBezTo>
                    <a:pt x="290" y="40"/>
                    <a:pt x="290" y="40"/>
                    <a:pt x="290" y="40"/>
                  </a:cubicBezTo>
                  <a:cubicBezTo>
                    <a:pt x="290" y="40"/>
                    <a:pt x="289" y="40"/>
                    <a:pt x="289" y="41"/>
                  </a:cubicBezTo>
                  <a:cubicBezTo>
                    <a:pt x="288" y="40"/>
                    <a:pt x="287" y="40"/>
                    <a:pt x="286" y="39"/>
                  </a:cubicBezTo>
                  <a:cubicBezTo>
                    <a:pt x="286" y="38"/>
                    <a:pt x="286" y="38"/>
                    <a:pt x="286" y="38"/>
                  </a:cubicBezTo>
                  <a:cubicBezTo>
                    <a:pt x="285" y="38"/>
                    <a:pt x="284" y="38"/>
                    <a:pt x="283" y="38"/>
                  </a:cubicBezTo>
                  <a:cubicBezTo>
                    <a:pt x="283" y="37"/>
                    <a:pt x="283" y="37"/>
                    <a:pt x="283" y="37"/>
                  </a:cubicBezTo>
                  <a:cubicBezTo>
                    <a:pt x="280" y="36"/>
                    <a:pt x="279" y="38"/>
                    <a:pt x="279" y="38"/>
                  </a:cubicBezTo>
                  <a:cubicBezTo>
                    <a:pt x="280" y="38"/>
                    <a:pt x="280" y="38"/>
                    <a:pt x="281" y="39"/>
                  </a:cubicBezTo>
                  <a:cubicBezTo>
                    <a:pt x="281" y="39"/>
                    <a:pt x="280" y="39"/>
                    <a:pt x="280" y="40"/>
                  </a:cubicBezTo>
                  <a:cubicBezTo>
                    <a:pt x="280" y="39"/>
                    <a:pt x="279" y="39"/>
                    <a:pt x="279" y="39"/>
                  </a:cubicBezTo>
                  <a:cubicBezTo>
                    <a:pt x="278" y="39"/>
                    <a:pt x="278" y="39"/>
                    <a:pt x="278" y="39"/>
                  </a:cubicBezTo>
                  <a:cubicBezTo>
                    <a:pt x="277" y="39"/>
                    <a:pt x="277" y="40"/>
                    <a:pt x="276" y="40"/>
                  </a:cubicBezTo>
                  <a:cubicBezTo>
                    <a:pt x="276" y="41"/>
                    <a:pt x="276" y="41"/>
                    <a:pt x="276" y="41"/>
                  </a:cubicBezTo>
                  <a:cubicBezTo>
                    <a:pt x="277" y="41"/>
                    <a:pt x="277" y="41"/>
                    <a:pt x="277" y="41"/>
                  </a:cubicBezTo>
                  <a:cubicBezTo>
                    <a:pt x="277" y="41"/>
                    <a:pt x="277" y="41"/>
                    <a:pt x="277" y="41"/>
                  </a:cubicBezTo>
                  <a:cubicBezTo>
                    <a:pt x="277" y="41"/>
                    <a:pt x="277" y="41"/>
                    <a:pt x="277" y="41"/>
                  </a:cubicBezTo>
                  <a:cubicBezTo>
                    <a:pt x="277" y="41"/>
                    <a:pt x="277" y="41"/>
                    <a:pt x="277" y="41"/>
                  </a:cubicBezTo>
                  <a:cubicBezTo>
                    <a:pt x="277" y="41"/>
                    <a:pt x="277" y="41"/>
                    <a:pt x="277" y="41"/>
                  </a:cubicBezTo>
                  <a:cubicBezTo>
                    <a:pt x="277" y="41"/>
                    <a:pt x="277" y="41"/>
                    <a:pt x="277" y="41"/>
                  </a:cubicBezTo>
                  <a:cubicBezTo>
                    <a:pt x="277" y="41"/>
                    <a:pt x="277" y="41"/>
                    <a:pt x="277" y="41"/>
                  </a:cubicBezTo>
                  <a:cubicBezTo>
                    <a:pt x="278" y="41"/>
                    <a:pt x="278" y="41"/>
                    <a:pt x="278" y="41"/>
                  </a:cubicBezTo>
                  <a:cubicBezTo>
                    <a:pt x="279" y="42"/>
                    <a:pt x="279" y="42"/>
                    <a:pt x="280" y="44"/>
                  </a:cubicBezTo>
                  <a:cubicBezTo>
                    <a:pt x="279" y="44"/>
                    <a:pt x="279" y="44"/>
                    <a:pt x="275" y="42"/>
                  </a:cubicBezTo>
                  <a:cubicBezTo>
                    <a:pt x="274" y="42"/>
                    <a:pt x="274" y="41"/>
                    <a:pt x="274" y="41"/>
                  </a:cubicBezTo>
                  <a:cubicBezTo>
                    <a:pt x="275" y="40"/>
                    <a:pt x="275" y="40"/>
                    <a:pt x="275" y="39"/>
                  </a:cubicBezTo>
                  <a:cubicBezTo>
                    <a:pt x="277" y="36"/>
                    <a:pt x="277" y="36"/>
                    <a:pt x="277" y="35"/>
                  </a:cubicBezTo>
                  <a:cubicBezTo>
                    <a:pt x="276" y="35"/>
                    <a:pt x="276" y="35"/>
                    <a:pt x="276" y="35"/>
                  </a:cubicBezTo>
                  <a:cubicBezTo>
                    <a:pt x="276" y="35"/>
                    <a:pt x="276" y="35"/>
                    <a:pt x="276" y="35"/>
                  </a:cubicBezTo>
                  <a:cubicBezTo>
                    <a:pt x="276" y="35"/>
                    <a:pt x="276" y="35"/>
                    <a:pt x="276" y="35"/>
                  </a:cubicBezTo>
                  <a:cubicBezTo>
                    <a:pt x="276" y="35"/>
                    <a:pt x="276" y="35"/>
                    <a:pt x="276" y="35"/>
                  </a:cubicBezTo>
                  <a:cubicBezTo>
                    <a:pt x="276" y="35"/>
                    <a:pt x="276" y="35"/>
                    <a:pt x="276" y="35"/>
                  </a:cubicBezTo>
                  <a:cubicBezTo>
                    <a:pt x="276" y="35"/>
                    <a:pt x="276" y="35"/>
                    <a:pt x="276" y="35"/>
                  </a:cubicBezTo>
                  <a:cubicBezTo>
                    <a:pt x="276" y="35"/>
                    <a:pt x="276" y="35"/>
                    <a:pt x="276" y="35"/>
                  </a:cubicBezTo>
                  <a:cubicBezTo>
                    <a:pt x="276" y="35"/>
                    <a:pt x="276" y="35"/>
                    <a:pt x="276" y="35"/>
                  </a:cubicBezTo>
                  <a:cubicBezTo>
                    <a:pt x="275" y="37"/>
                    <a:pt x="275" y="37"/>
                    <a:pt x="274" y="38"/>
                  </a:cubicBezTo>
                  <a:cubicBezTo>
                    <a:pt x="274" y="39"/>
                    <a:pt x="274" y="39"/>
                    <a:pt x="274" y="39"/>
                  </a:cubicBezTo>
                  <a:cubicBezTo>
                    <a:pt x="272" y="39"/>
                    <a:pt x="269" y="41"/>
                    <a:pt x="269" y="41"/>
                  </a:cubicBezTo>
                  <a:cubicBezTo>
                    <a:pt x="269" y="42"/>
                    <a:pt x="269" y="42"/>
                    <a:pt x="269" y="42"/>
                  </a:cubicBezTo>
                  <a:cubicBezTo>
                    <a:pt x="269" y="46"/>
                    <a:pt x="269" y="46"/>
                    <a:pt x="267" y="47"/>
                  </a:cubicBezTo>
                  <a:cubicBezTo>
                    <a:pt x="267" y="48"/>
                    <a:pt x="267" y="48"/>
                    <a:pt x="267" y="48"/>
                  </a:cubicBezTo>
                  <a:cubicBezTo>
                    <a:pt x="267" y="49"/>
                    <a:pt x="266" y="50"/>
                    <a:pt x="266" y="51"/>
                  </a:cubicBezTo>
                  <a:cubicBezTo>
                    <a:pt x="267" y="52"/>
                    <a:pt x="268" y="52"/>
                    <a:pt x="269" y="52"/>
                  </a:cubicBezTo>
                  <a:cubicBezTo>
                    <a:pt x="269" y="52"/>
                    <a:pt x="270" y="51"/>
                    <a:pt x="271" y="50"/>
                  </a:cubicBezTo>
                  <a:cubicBezTo>
                    <a:pt x="271" y="50"/>
                    <a:pt x="271" y="50"/>
                    <a:pt x="271" y="50"/>
                  </a:cubicBezTo>
                  <a:cubicBezTo>
                    <a:pt x="275" y="55"/>
                    <a:pt x="275" y="56"/>
                    <a:pt x="272" y="58"/>
                  </a:cubicBezTo>
                  <a:cubicBezTo>
                    <a:pt x="273" y="58"/>
                    <a:pt x="273" y="58"/>
                    <a:pt x="273" y="59"/>
                  </a:cubicBezTo>
                  <a:cubicBezTo>
                    <a:pt x="274" y="59"/>
                    <a:pt x="275" y="59"/>
                    <a:pt x="275" y="59"/>
                  </a:cubicBezTo>
                  <a:cubicBezTo>
                    <a:pt x="275" y="60"/>
                    <a:pt x="275" y="60"/>
                    <a:pt x="275" y="60"/>
                  </a:cubicBezTo>
                  <a:cubicBezTo>
                    <a:pt x="275" y="60"/>
                    <a:pt x="274" y="60"/>
                    <a:pt x="274" y="61"/>
                  </a:cubicBezTo>
                  <a:cubicBezTo>
                    <a:pt x="273" y="61"/>
                    <a:pt x="273" y="61"/>
                    <a:pt x="273" y="61"/>
                  </a:cubicBezTo>
                  <a:cubicBezTo>
                    <a:pt x="272" y="60"/>
                    <a:pt x="272" y="59"/>
                    <a:pt x="271" y="59"/>
                  </a:cubicBezTo>
                  <a:cubicBezTo>
                    <a:pt x="272" y="58"/>
                    <a:pt x="272" y="57"/>
                    <a:pt x="272" y="57"/>
                  </a:cubicBezTo>
                  <a:cubicBezTo>
                    <a:pt x="272" y="57"/>
                    <a:pt x="272" y="56"/>
                    <a:pt x="272" y="56"/>
                  </a:cubicBezTo>
                  <a:cubicBezTo>
                    <a:pt x="271" y="55"/>
                    <a:pt x="271" y="55"/>
                    <a:pt x="271" y="55"/>
                  </a:cubicBezTo>
                  <a:cubicBezTo>
                    <a:pt x="271" y="55"/>
                    <a:pt x="272" y="54"/>
                    <a:pt x="272" y="54"/>
                  </a:cubicBezTo>
                  <a:cubicBezTo>
                    <a:pt x="269" y="53"/>
                    <a:pt x="265" y="51"/>
                    <a:pt x="260" y="62"/>
                  </a:cubicBezTo>
                  <a:cubicBezTo>
                    <a:pt x="259" y="63"/>
                    <a:pt x="259" y="63"/>
                    <a:pt x="256" y="64"/>
                  </a:cubicBezTo>
                  <a:cubicBezTo>
                    <a:pt x="255" y="65"/>
                    <a:pt x="255" y="65"/>
                    <a:pt x="255" y="65"/>
                  </a:cubicBezTo>
                  <a:cubicBezTo>
                    <a:pt x="254" y="66"/>
                    <a:pt x="254" y="66"/>
                    <a:pt x="252" y="65"/>
                  </a:cubicBezTo>
                  <a:cubicBezTo>
                    <a:pt x="250" y="65"/>
                    <a:pt x="249" y="65"/>
                    <a:pt x="248" y="65"/>
                  </a:cubicBezTo>
                  <a:cubicBezTo>
                    <a:pt x="248" y="64"/>
                    <a:pt x="248" y="64"/>
                    <a:pt x="248" y="64"/>
                  </a:cubicBezTo>
                  <a:cubicBezTo>
                    <a:pt x="251" y="61"/>
                    <a:pt x="256" y="62"/>
                    <a:pt x="259" y="59"/>
                  </a:cubicBezTo>
                  <a:cubicBezTo>
                    <a:pt x="260" y="59"/>
                    <a:pt x="261" y="58"/>
                    <a:pt x="263" y="54"/>
                  </a:cubicBezTo>
                  <a:cubicBezTo>
                    <a:pt x="263" y="54"/>
                    <a:pt x="262" y="54"/>
                    <a:pt x="261" y="53"/>
                  </a:cubicBezTo>
                  <a:cubicBezTo>
                    <a:pt x="261" y="53"/>
                    <a:pt x="261" y="53"/>
                    <a:pt x="263" y="49"/>
                  </a:cubicBezTo>
                  <a:cubicBezTo>
                    <a:pt x="264" y="49"/>
                    <a:pt x="264" y="49"/>
                    <a:pt x="264" y="49"/>
                  </a:cubicBezTo>
                  <a:cubicBezTo>
                    <a:pt x="266" y="45"/>
                    <a:pt x="266" y="45"/>
                    <a:pt x="266" y="42"/>
                  </a:cubicBezTo>
                  <a:cubicBezTo>
                    <a:pt x="267" y="41"/>
                    <a:pt x="268" y="40"/>
                    <a:pt x="268" y="39"/>
                  </a:cubicBezTo>
                  <a:cubicBezTo>
                    <a:pt x="269" y="39"/>
                    <a:pt x="269" y="39"/>
                    <a:pt x="270" y="39"/>
                  </a:cubicBezTo>
                  <a:cubicBezTo>
                    <a:pt x="271" y="36"/>
                    <a:pt x="271" y="36"/>
                    <a:pt x="271" y="36"/>
                  </a:cubicBezTo>
                  <a:cubicBezTo>
                    <a:pt x="271" y="36"/>
                    <a:pt x="270" y="35"/>
                    <a:pt x="269" y="35"/>
                  </a:cubicBezTo>
                  <a:cubicBezTo>
                    <a:pt x="269" y="35"/>
                    <a:pt x="269" y="35"/>
                    <a:pt x="268" y="35"/>
                  </a:cubicBezTo>
                  <a:cubicBezTo>
                    <a:pt x="267" y="35"/>
                    <a:pt x="265" y="36"/>
                    <a:pt x="264" y="36"/>
                  </a:cubicBezTo>
                  <a:cubicBezTo>
                    <a:pt x="261" y="39"/>
                    <a:pt x="259" y="41"/>
                    <a:pt x="257" y="42"/>
                  </a:cubicBezTo>
                  <a:cubicBezTo>
                    <a:pt x="256" y="42"/>
                    <a:pt x="256" y="42"/>
                    <a:pt x="256" y="42"/>
                  </a:cubicBezTo>
                  <a:cubicBezTo>
                    <a:pt x="255" y="42"/>
                    <a:pt x="255" y="42"/>
                    <a:pt x="255" y="42"/>
                  </a:cubicBezTo>
                  <a:cubicBezTo>
                    <a:pt x="254" y="43"/>
                    <a:pt x="254" y="43"/>
                    <a:pt x="254" y="43"/>
                  </a:cubicBezTo>
                  <a:cubicBezTo>
                    <a:pt x="254" y="44"/>
                    <a:pt x="254" y="44"/>
                    <a:pt x="254" y="44"/>
                  </a:cubicBezTo>
                  <a:cubicBezTo>
                    <a:pt x="254" y="46"/>
                    <a:pt x="252" y="47"/>
                    <a:pt x="252" y="47"/>
                  </a:cubicBezTo>
                  <a:cubicBezTo>
                    <a:pt x="252" y="47"/>
                    <a:pt x="251" y="48"/>
                    <a:pt x="251" y="48"/>
                  </a:cubicBezTo>
                  <a:cubicBezTo>
                    <a:pt x="252" y="49"/>
                    <a:pt x="252" y="50"/>
                    <a:pt x="252" y="51"/>
                  </a:cubicBezTo>
                  <a:cubicBezTo>
                    <a:pt x="252" y="51"/>
                    <a:pt x="252" y="52"/>
                    <a:pt x="252" y="52"/>
                  </a:cubicBezTo>
                  <a:cubicBezTo>
                    <a:pt x="253" y="54"/>
                    <a:pt x="253" y="54"/>
                    <a:pt x="251" y="56"/>
                  </a:cubicBezTo>
                  <a:cubicBezTo>
                    <a:pt x="250" y="56"/>
                    <a:pt x="250" y="56"/>
                    <a:pt x="250" y="56"/>
                  </a:cubicBezTo>
                  <a:cubicBezTo>
                    <a:pt x="250" y="56"/>
                    <a:pt x="249" y="56"/>
                    <a:pt x="249" y="56"/>
                  </a:cubicBezTo>
                  <a:cubicBezTo>
                    <a:pt x="249" y="55"/>
                    <a:pt x="248" y="55"/>
                    <a:pt x="248" y="55"/>
                  </a:cubicBezTo>
                  <a:cubicBezTo>
                    <a:pt x="248" y="54"/>
                    <a:pt x="249" y="54"/>
                    <a:pt x="249" y="53"/>
                  </a:cubicBezTo>
                  <a:cubicBezTo>
                    <a:pt x="247" y="52"/>
                    <a:pt x="247" y="52"/>
                    <a:pt x="246" y="51"/>
                  </a:cubicBezTo>
                  <a:cubicBezTo>
                    <a:pt x="245" y="51"/>
                    <a:pt x="245" y="51"/>
                    <a:pt x="244" y="50"/>
                  </a:cubicBezTo>
                  <a:cubicBezTo>
                    <a:pt x="242" y="49"/>
                    <a:pt x="242" y="49"/>
                    <a:pt x="241" y="49"/>
                  </a:cubicBezTo>
                  <a:cubicBezTo>
                    <a:pt x="241" y="49"/>
                    <a:pt x="241" y="48"/>
                    <a:pt x="241" y="48"/>
                  </a:cubicBezTo>
                  <a:cubicBezTo>
                    <a:pt x="240" y="48"/>
                    <a:pt x="239" y="48"/>
                    <a:pt x="238" y="48"/>
                  </a:cubicBezTo>
                  <a:cubicBezTo>
                    <a:pt x="238" y="47"/>
                    <a:pt x="237" y="46"/>
                    <a:pt x="237" y="45"/>
                  </a:cubicBezTo>
                  <a:cubicBezTo>
                    <a:pt x="237" y="45"/>
                    <a:pt x="237" y="45"/>
                    <a:pt x="237" y="44"/>
                  </a:cubicBezTo>
                  <a:cubicBezTo>
                    <a:pt x="236" y="44"/>
                    <a:pt x="236" y="44"/>
                    <a:pt x="236" y="44"/>
                  </a:cubicBezTo>
                  <a:cubicBezTo>
                    <a:pt x="236" y="44"/>
                    <a:pt x="236" y="44"/>
                    <a:pt x="233" y="48"/>
                  </a:cubicBezTo>
                  <a:cubicBezTo>
                    <a:pt x="234" y="48"/>
                    <a:pt x="234" y="48"/>
                    <a:pt x="234" y="48"/>
                  </a:cubicBezTo>
                  <a:cubicBezTo>
                    <a:pt x="235" y="52"/>
                    <a:pt x="235" y="52"/>
                    <a:pt x="233" y="53"/>
                  </a:cubicBezTo>
                  <a:cubicBezTo>
                    <a:pt x="232" y="53"/>
                    <a:pt x="232" y="53"/>
                    <a:pt x="232" y="53"/>
                  </a:cubicBezTo>
                  <a:cubicBezTo>
                    <a:pt x="230" y="54"/>
                    <a:pt x="230" y="55"/>
                    <a:pt x="228" y="55"/>
                  </a:cubicBezTo>
                  <a:cubicBezTo>
                    <a:pt x="229" y="54"/>
                    <a:pt x="230" y="53"/>
                    <a:pt x="231" y="52"/>
                  </a:cubicBezTo>
                  <a:cubicBezTo>
                    <a:pt x="231" y="51"/>
                    <a:pt x="230" y="51"/>
                    <a:pt x="230" y="51"/>
                  </a:cubicBezTo>
                  <a:cubicBezTo>
                    <a:pt x="229" y="52"/>
                    <a:pt x="229" y="52"/>
                    <a:pt x="227" y="53"/>
                  </a:cubicBezTo>
                  <a:cubicBezTo>
                    <a:pt x="226" y="53"/>
                    <a:pt x="226" y="53"/>
                    <a:pt x="226" y="53"/>
                  </a:cubicBezTo>
                  <a:cubicBezTo>
                    <a:pt x="213" y="67"/>
                    <a:pt x="203" y="83"/>
                    <a:pt x="193" y="102"/>
                  </a:cubicBezTo>
                  <a:cubicBezTo>
                    <a:pt x="260" y="104"/>
                    <a:pt x="344" y="105"/>
                    <a:pt x="413" y="103"/>
                  </a:cubicBezTo>
                  <a:moveTo>
                    <a:pt x="157" y="298"/>
                  </a:moveTo>
                  <a:cubicBezTo>
                    <a:pt x="157" y="298"/>
                    <a:pt x="157" y="298"/>
                    <a:pt x="157" y="298"/>
                  </a:cubicBezTo>
                  <a:cubicBezTo>
                    <a:pt x="157" y="296"/>
                    <a:pt x="157" y="295"/>
                    <a:pt x="157" y="295"/>
                  </a:cubicBezTo>
                  <a:cubicBezTo>
                    <a:pt x="156" y="294"/>
                    <a:pt x="155" y="294"/>
                    <a:pt x="155" y="294"/>
                  </a:cubicBezTo>
                  <a:cubicBezTo>
                    <a:pt x="154" y="293"/>
                    <a:pt x="154" y="293"/>
                    <a:pt x="154" y="292"/>
                  </a:cubicBezTo>
                  <a:cubicBezTo>
                    <a:pt x="153" y="292"/>
                    <a:pt x="154" y="291"/>
                    <a:pt x="153" y="290"/>
                  </a:cubicBezTo>
                  <a:cubicBezTo>
                    <a:pt x="153" y="289"/>
                    <a:pt x="151" y="288"/>
                    <a:pt x="150" y="288"/>
                  </a:cubicBezTo>
                  <a:cubicBezTo>
                    <a:pt x="150" y="288"/>
                    <a:pt x="148" y="288"/>
                    <a:pt x="149" y="286"/>
                  </a:cubicBezTo>
                  <a:cubicBezTo>
                    <a:pt x="150" y="284"/>
                    <a:pt x="150" y="283"/>
                    <a:pt x="149" y="283"/>
                  </a:cubicBezTo>
                  <a:cubicBezTo>
                    <a:pt x="149" y="283"/>
                    <a:pt x="148" y="282"/>
                    <a:pt x="148" y="282"/>
                  </a:cubicBezTo>
                  <a:cubicBezTo>
                    <a:pt x="147" y="282"/>
                    <a:pt x="147" y="282"/>
                    <a:pt x="146" y="282"/>
                  </a:cubicBezTo>
                  <a:cubicBezTo>
                    <a:pt x="146" y="285"/>
                    <a:pt x="146" y="285"/>
                    <a:pt x="145" y="285"/>
                  </a:cubicBezTo>
                  <a:cubicBezTo>
                    <a:pt x="145" y="295"/>
                    <a:pt x="144" y="304"/>
                    <a:pt x="144" y="313"/>
                  </a:cubicBezTo>
                  <a:cubicBezTo>
                    <a:pt x="144" y="313"/>
                    <a:pt x="144" y="313"/>
                    <a:pt x="145" y="313"/>
                  </a:cubicBezTo>
                  <a:cubicBezTo>
                    <a:pt x="145" y="313"/>
                    <a:pt x="146" y="313"/>
                    <a:pt x="146" y="313"/>
                  </a:cubicBezTo>
                  <a:cubicBezTo>
                    <a:pt x="146" y="313"/>
                    <a:pt x="147" y="313"/>
                    <a:pt x="147" y="313"/>
                  </a:cubicBezTo>
                  <a:cubicBezTo>
                    <a:pt x="147" y="313"/>
                    <a:pt x="147" y="312"/>
                    <a:pt x="147" y="311"/>
                  </a:cubicBezTo>
                  <a:cubicBezTo>
                    <a:pt x="149" y="307"/>
                    <a:pt x="149" y="306"/>
                    <a:pt x="150" y="306"/>
                  </a:cubicBezTo>
                  <a:cubicBezTo>
                    <a:pt x="151" y="306"/>
                    <a:pt x="151" y="306"/>
                    <a:pt x="151" y="306"/>
                  </a:cubicBezTo>
                  <a:cubicBezTo>
                    <a:pt x="151" y="307"/>
                    <a:pt x="151" y="307"/>
                    <a:pt x="151" y="307"/>
                  </a:cubicBezTo>
                  <a:cubicBezTo>
                    <a:pt x="152" y="308"/>
                    <a:pt x="152" y="308"/>
                    <a:pt x="152" y="308"/>
                  </a:cubicBezTo>
                  <a:cubicBezTo>
                    <a:pt x="152" y="302"/>
                    <a:pt x="153" y="299"/>
                    <a:pt x="154" y="299"/>
                  </a:cubicBezTo>
                  <a:cubicBezTo>
                    <a:pt x="154" y="299"/>
                    <a:pt x="154" y="299"/>
                    <a:pt x="155" y="299"/>
                  </a:cubicBezTo>
                  <a:cubicBezTo>
                    <a:pt x="156" y="299"/>
                    <a:pt x="156" y="298"/>
                    <a:pt x="157" y="298"/>
                  </a:cubicBezTo>
                  <a:moveTo>
                    <a:pt x="443" y="259"/>
                  </a:moveTo>
                  <a:cubicBezTo>
                    <a:pt x="443" y="258"/>
                    <a:pt x="442" y="257"/>
                    <a:pt x="442" y="256"/>
                  </a:cubicBezTo>
                  <a:cubicBezTo>
                    <a:pt x="441" y="256"/>
                    <a:pt x="440" y="256"/>
                    <a:pt x="439" y="256"/>
                  </a:cubicBezTo>
                  <a:cubicBezTo>
                    <a:pt x="439" y="255"/>
                    <a:pt x="439" y="254"/>
                    <a:pt x="439" y="253"/>
                  </a:cubicBezTo>
                  <a:cubicBezTo>
                    <a:pt x="439" y="252"/>
                    <a:pt x="440" y="252"/>
                    <a:pt x="440" y="252"/>
                  </a:cubicBezTo>
                  <a:cubicBezTo>
                    <a:pt x="439" y="249"/>
                    <a:pt x="438" y="246"/>
                    <a:pt x="437" y="243"/>
                  </a:cubicBezTo>
                  <a:cubicBezTo>
                    <a:pt x="346" y="244"/>
                    <a:pt x="237" y="244"/>
                    <a:pt x="150" y="240"/>
                  </a:cubicBezTo>
                  <a:cubicBezTo>
                    <a:pt x="149" y="250"/>
                    <a:pt x="147" y="261"/>
                    <a:pt x="146" y="271"/>
                  </a:cubicBezTo>
                  <a:cubicBezTo>
                    <a:pt x="148" y="276"/>
                    <a:pt x="148" y="276"/>
                    <a:pt x="149" y="276"/>
                  </a:cubicBezTo>
                  <a:cubicBezTo>
                    <a:pt x="151" y="276"/>
                    <a:pt x="152" y="276"/>
                    <a:pt x="154" y="276"/>
                  </a:cubicBezTo>
                  <a:cubicBezTo>
                    <a:pt x="154" y="276"/>
                    <a:pt x="154" y="276"/>
                    <a:pt x="158" y="279"/>
                  </a:cubicBezTo>
                  <a:cubicBezTo>
                    <a:pt x="160" y="279"/>
                    <a:pt x="162" y="279"/>
                    <a:pt x="164" y="279"/>
                  </a:cubicBezTo>
                  <a:cubicBezTo>
                    <a:pt x="164" y="280"/>
                    <a:pt x="165" y="280"/>
                    <a:pt x="165" y="280"/>
                  </a:cubicBezTo>
                  <a:cubicBezTo>
                    <a:pt x="168" y="280"/>
                    <a:pt x="171" y="280"/>
                    <a:pt x="173" y="280"/>
                  </a:cubicBezTo>
                  <a:cubicBezTo>
                    <a:pt x="179" y="280"/>
                    <a:pt x="179" y="280"/>
                    <a:pt x="179" y="280"/>
                  </a:cubicBezTo>
                  <a:cubicBezTo>
                    <a:pt x="181" y="280"/>
                    <a:pt x="182" y="280"/>
                    <a:pt x="184" y="280"/>
                  </a:cubicBezTo>
                  <a:cubicBezTo>
                    <a:pt x="187" y="282"/>
                    <a:pt x="189" y="283"/>
                    <a:pt x="195" y="293"/>
                  </a:cubicBezTo>
                  <a:cubicBezTo>
                    <a:pt x="196" y="293"/>
                    <a:pt x="196" y="293"/>
                    <a:pt x="197" y="293"/>
                  </a:cubicBezTo>
                  <a:cubicBezTo>
                    <a:pt x="198" y="293"/>
                    <a:pt x="198" y="293"/>
                    <a:pt x="203" y="295"/>
                  </a:cubicBezTo>
                  <a:cubicBezTo>
                    <a:pt x="198" y="295"/>
                    <a:pt x="198" y="295"/>
                    <a:pt x="197" y="296"/>
                  </a:cubicBezTo>
                  <a:cubicBezTo>
                    <a:pt x="197" y="297"/>
                    <a:pt x="197" y="297"/>
                    <a:pt x="197" y="298"/>
                  </a:cubicBezTo>
                  <a:cubicBezTo>
                    <a:pt x="201" y="299"/>
                    <a:pt x="202" y="304"/>
                    <a:pt x="206" y="304"/>
                  </a:cubicBezTo>
                  <a:cubicBezTo>
                    <a:pt x="207" y="305"/>
                    <a:pt x="211" y="300"/>
                    <a:pt x="211" y="300"/>
                  </a:cubicBezTo>
                  <a:cubicBezTo>
                    <a:pt x="216" y="300"/>
                    <a:pt x="217" y="308"/>
                    <a:pt x="216" y="312"/>
                  </a:cubicBezTo>
                  <a:cubicBezTo>
                    <a:pt x="216" y="313"/>
                    <a:pt x="216" y="314"/>
                    <a:pt x="216" y="315"/>
                  </a:cubicBezTo>
                  <a:cubicBezTo>
                    <a:pt x="215" y="323"/>
                    <a:pt x="215" y="323"/>
                    <a:pt x="227" y="347"/>
                  </a:cubicBezTo>
                  <a:cubicBezTo>
                    <a:pt x="227" y="349"/>
                    <a:pt x="227" y="349"/>
                    <a:pt x="227" y="349"/>
                  </a:cubicBezTo>
                  <a:cubicBezTo>
                    <a:pt x="226" y="357"/>
                    <a:pt x="232" y="362"/>
                    <a:pt x="234" y="368"/>
                  </a:cubicBezTo>
                  <a:cubicBezTo>
                    <a:pt x="238" y="371"/>
                    <a:pt x="238" y="371"/>
                    <a:pt x="242" y="363"/>
                  </a:cubicBezTo>
                  <a:cubicBezTo>
                    <a:pt x="247" y="362"/>
                    <a:pt x="247" y="360"/>
                    <a:pt x="249" y="344"/>
                  </a:cubicBezTo>
                  <a:cubicBezTo>
                    <a:pt x="249" y="342"/>
                    <a:pt x="249" y="340"/>
                    <a:pt x="249" y="338"/>
                  </a:cubicBezTo>
                  <a:cubicBezTo>
                    <a:pt x="249" y="333"/>
                    <a:pt x="249" y="333"/>
                    <a:pt x="256" y="331"/>
                  </a:cubicBezTo>
                  <a:cubicBezTo>
                    <a:pt x="260" y="324"/>
                    <a:pt x="268" y="321"/>
                    <a:pt x="272" y="313"/>
                  </a:cubicBezTo>
                  <a:cubicBezTo>
                    <a:pt x="273" y="313"/>
                    <a:pt x="274" y="313"/>
                    <a:pt x="275" y="312"/>
                  </a:cubicBezTo>
                  <a:cubicBezTo>
                    <a:pt x="275" y="310"/>
                    <a:pt x="276" y="310"/>
                    <a:pt x="278" y="309"/>
                  </a:cubicBezTo>
                  <a:cubicBezTo>
                    <a:pt x="278" y="309"/>
                    <a:pt x="278" y="309"/>
                    <a:pt x="278" y="309"/>
                  </a:cubicBezTo>
                  <a:cubicBezTo>
                    <a:pt x="278" y="309"/>
                    <a:pt x="278" y="309"/>
                    <a:pt x="278" y="309"/>
                  </a:cubicBezTo>
                  <a:cubicBezTo>
                    <a:pt x="278" y="309"/>
                    <a:pt x="278" y="309"/>
                    <a:pt x="278" y="309"/>
                  </a:cubicBezTo>
                  <a:cubicBezTo>
                    <a:pt x="278" y="309"/>
                    <a:pt x="278" y="309"/>
                    <a:pt x="278" y="309"/>
                  </a:cubicBezTo>
                  <a:cubicBezTo>
                    <a:pt x="278" y="309"/>
                    <a:pt x="278" y="309"/>
                    <a:pt x="278" y="309"/>
                  </a:cubicBezTo>
                  <a:cubicBezTo>
                    <a:pt x="278" y="309"/>
                    <a:pt x="278" y="309"/>
                    <a:pt x="278" y="309"/>
                  </a:cubicBezTo>
                  <a:cubicBezTo>
                    <a:pt x="278" y="309"/>
                    <a:pt x="278" y="309"/>
                    <a:pt x="278" y="309"/>
                  </a:cubicBezTo>
                  <a:cubicBezTo>
                    <a:pt x="278" y="309"/>
                    <a:pt x="278" y="309"/>
                    <a:pt x="278" y="309"/>
                  </a:cubicBezTo>
                  <a:cubicBezTo>
                    <a:pt x="281" y="309"/>
                    <a:pt x="281" y="309"/>
                    <a:pt x="281" y="303"/>
                  </a:cubicBezTo>
                  <a:cubicBezTo>
                    <a:pt x="283" y="302"/>
                    <a:pt x="285" y="302"/>
                    <a:pt x="286" y="302"/>
                  </a:cubicBezTo>
                  <a:cubicBezTo>
                    <a:pt x="287" y="302"/>
                    <a:pt x="287" y="302"/>
                    <a:pt x="288" y="303"/>
                  </a:cubicBezTo>
                  <a:cubicBezTo>
                    <a:pt x="289" y="303"/>
                    <a:pt x="289" y="303"/>
                    <a:pt x="289" y="303"/>
                  </a:cubicBezTo>
                  <a:cubicBezTo>
                    <a:pt x="291" y="302"/>
                    <a:pt x="293" y="301"/>
                    <a:pt x="295" y="300"/>
                  </a:cubicBezTo>
                  <a:cubicBezTo>
                    <a:pt x="297" y="299"/>
                    <a:pt x="298" y="299"/>
                    <a:pt x="300" y="299"/>
                  </a:cubicBezTo>
                  <a:cubicBezTo>
                    <a:pt x="300" y="298"/>
                    <a:pt x="300" y="297"/>
                    <a:pt x="300" y="296"/>
                  </a:cubicBezTo>
                  <a:cubicBezTo>
                    <a:pt x="301" y="296"/>
                    <a:pt x="302" y="296"/>
                    <a:pt x="303" y="296"/>
                  </a:cubicBezTo>
                  <a:cubicBezTo>
                    <a:pt x="305" y="301"/>
                    <a:pt x="306" y="305"/>
                    <a:pt x="308" y="309"/>
                  </a:cubicBezTo>
                  <a:cubicBezTo>
                    <a:pt x="312" y="312"/>
                    <a:pt x="312" y="312"/>
                    <a:pt x="313" y="313"/>
                  </a:cubicBezTo>
                  <a:cubicBezTo>
                    <a:pt x="313" y="314"/>
                    <a:pt x="313" y="314"/>
                    <a:pt x="313" y="315"/>
                  </a:cubicBezTo>
                  <a:cubicBezTo>
                    <a:pt x="313" y="316"/>
                    <a:pt x="313" y="317"/>
                    <a:pt x="313" y="318"/>
                  </a:cubicBezTo>
                  <a:cubicBezTo>
                    <a:pt x="313" y="318"/>
                    <a:pt x="313" y="318"/>
                    <a:pt x="313" y="318"/>
                  </a:cubicBezTo>
                  <a:cubicBezTo>
                    <a:pt x="314" y="317"/>
                    <a:pt x="315" y="317"/>
                    <a:pt x="317" y="319"/>
                  </a:cubicBezTo>
                  <a:cubicBezTo>
                    <a:pt x="316" y="332"/>
                    <a:pt x="316" y="332"/>
                    <a:pt x="320" y="332"/>
                  </a:cubicBezTo>
                  <a:cubicBezTo>
                    <a:pt x="321" y="332"/>
                    <a:pt x="321" y="332"/>
                    <a:pt x="322" y="332"/>
                  </a:cubicBezTo>
                  <a:cubicBezTo>
                    <a:pt x="323" y="331"/>
                    <a:pt x="323" y="331"/>
                    <a:pt x="326" y="329"/>
                  </a:cubicBezTo>
                  <a:cubicBezTo>
                    <a:pt x="327" y="329"/>
                    <a:pt x="327" y="328"/>
                    <a:pt x="327" y="328"/>
                  </a:cubicBezTo>
                  <a:cubicBezTo>
                    <a:pt x="327" y="328"/>
                    <a:pt x="327" y="327"/>
                    <a:pt x="327" y="327"/>
                  </a:cubicBezTo>
                  <a:cubicBezTo>
                    <a:pt x="328" y="327"/>
                    <a:pt x="328" y="326"/>
                    <a:pt x="329" y="326"/>
                  </a:cubicBezTo>
                  <a:cubicBezTo>
                    <a:pt x="334" y="328"/>
                    <a:pt x="331" y="335"/>
                    <a:pt x="335" y="338"/>
                  </a:cubicBezTo>
                  <a:cubicBezTo>
                    <a:pt x="336" y="339"/>
                    <a:pt x="336" y="339"/>
                    <a:pt x="334" y="342"/>
                  </a:cubicBezTo>
                  <a:cubicBezTo>
                    <a:pt x="338" y="356"/>
                    <a:pt x="338" y="356"/>
                    <a:pt x="335" y="358"/>
                  </a:cubicBezTo>
                  <a:cubicBezTo>
                    <a:pt x="335" y="359"/>
                    <a:pt x="335" y="359"/>
                    <a:pt x="335" y="362"/>
                  </a:cubicBezTo>
                  <a:cubicBezTo>
                    <a:pt x="335" y="363"/>
                    <a:pt x="335" y="363"/>
                    <a:pt x="335" y="363"/>
                  </a:cubicBezTo>
                  <a:cubicBezTo>
                    <a:pt x="332" y="375"/>
                    <a:pt x="345" y="379"/>
                    <a:pt x="347" y="388"/>
                  </a:cubicBezTo>
                  <a:cubicBezTo>
                    <a:pt x="347" y="390"/>
                    <a:pt x="347" y="392"/>
                    <a:pt x="346" y="394"/>
                  </a:cubicBezTo>
                  <a:cubicBezTo>
                    <a:pt x="349" y="401"/>
                    <a:pt x="360" y="405"/>
                    <a:pt x="360" y="405"/>
                  </a:cubicBezTo>
                  <a:cubicBezTo>
                    <a:pt x="361" y="405"/>
                    <a:pt x="361" y="405"/>
                    <a:pt x="361" y="405"/>
                  </a:cubicBezTo>
                  <a:cubicBezTo>
                    <a:pt x="362" y="405"/>
                    <a:pt x="362" y="404"/>
                    <a:pt x="362" y="404"/>
                  </a:cubicBezTo>
                  <a:cubicBezTo>
                    <a:pt x="362" y="403"/>
                    <a:pt x="361" y="402"/>
                    <a:pt x="360" y="402"/>
                  </a:cubicBezTo>
                  <a:cubicBezTo>
                    <a:pt x="358" y="398"/>
                    <a:pt x="357" y="388"/>
                    <a:pt x="357" y="387"/>
                  </a:cubicBezTo>
                  <a:cubicBezTo>
                    <a:pt x="357" y="387"/>
                    <a:pt x="357" y="387"/>
                    <a:pt x="357" y="386"/>
                  </a:cubicBezTo>
                  <a:cubicBezTo>
                    <a:pt x="357" y="385"/>
                    <a:pt x="357" y="385"/>
                    <a:pt x="357" y="385"/>
                  </a:cubicBezTo>
                  <a:cubicBezTo>
                    <a:pt x="357" y="383"/>
                    <a:pt x="357" y="382"/>
                    <a:pt x="357" y="381"/>
                  </a:cubicBezTo>
                  <a:cubicBezTo>
                    <a:pt x="348" y="382"/>
                    <a:pt x="349" y="371"/>
                    <a:pt x="343" y="368"/>
                  </a:cubicBezTo>
                  <a:cubicBezTo>
                    <a:pt x="343" y="368"/>
                    <a:pt x="343" y="367"/>
                    <a:pt x="342" y="367"/>
                  </a:cubicBezTo>
                  <a:cubicBezTo>
                    <a:pt x="342" y="366"/>
                    <a:pt x="342" y="366"/>
                    <a:pt x="342" y="365"/>
                  </a:cubicBezTo>
                  <a:cubicBezTo>
                    <a:pt x="342" y="364"/>
                    <a:pt x="341" y="364"/>
                    <a:pt x="340" y="363"/>
                  </a:cubicBezTo>
                  <a:cubicBezTo>
                    <a:pt x="340" y="361"/>
                    <a:pt x="340" y="360"/>
                    <a:pt x="340" y="358"/>
                  </a:cubicBezTo>
                  <a:cubicBezTo>
                    <a:pt x="342" y="354"/>
                    <a:pt x="346" y="345"/>
                    <a:pt x="346" y="345"/>
                  </a:cubicBezTo>
                  <a:cubicBezTo>
                    <a:pt x="348" y="346"/>
                    <a:pt x="349" y="349"/>
                    <a:pt x="351" y="350"/>
                  </a:cubicBezTo>
                  <a:cubicBezTo>
                    <a:pt x="352" y="351"/>
                    <a:pt x="352" y="351"/>
                    <a:pt x="352" y="351"/>
                  </a:cubicBezTo>
                  <a:cubicBezTo>
                    <a:pt x="353" y="350"/>
                    <a:pt x="354" y="350"/>
                    <a:pt x="355" y="350"/>
                  </a:cubicBezTo>
                  <a:cubicBezTo>
                    <a:pt x="361" y="361"/>
                    <a:pt x="361" y="361"/>
                    <a:pt x="366" y="362"/>
                  </a:cubicBezTo>
                  <a:cubicBezTo>
                    <a:pt x="366" y="363"/>
                    <a:pt x="366" y="363"/>
                    <a:pt x="366" y="364"/>
                  </a:cubicBezTo>
                  <a:cubicBezTo>
                    <a:pt x="364" y="367"/>
                    <a:pt x="365" y="370"/>
                    <a:pt x="366" y="372"/>
                  </a:cubicBezTo>
                  <a:cubicBezTo>
                    <a:pt x="369" y="369"/>
                    <a:pt x="376" y="360"/>
                    <a:pt x="376" y="360"/>
                  </a:cubicBezTo>
                  <a:cubicBezTo>
                    <a:pt x="378" y="360"/>
                    <a:pt x="387" y="361"/>
                    <a:pt x="387" y="347"/>
                  </a:cubicBezTo>
                  <a:cubicBezTo>
                    <a:pt x="387" y="345"/>
                    <a:pt x="387" y="344"/>
                    <a:pt x="387" y="343"/>
                  </a:cubicBezTo>
                  <a:cubicBezTo>
                    <a:pt x="387" y="339"/>
                    <a:pt x="385" y="336"/>
                    <a:pt x="385" y="333"/>
                  </a:cubicBezTo>
                  <a:cubicBezTo>
                    <a:pt x="383" y="332"/>
                    <a:pt x="383" y="332"/>
                    <a:pt x="379" y="327"/>
                  </a:cubicBezTo>
                  <a:cubicBezTo>
                    <a:pt x="375" y="325"/>
                    <a:pt x="374" y="321"/>
                    <a:pt x="372" y="318"/>
                  </a:cubicBezTo>
                  <a:cubicBezTo>
                    <a:pt x="372" y="313"/>
                    <a:pt x="372" y="313"/>
                    <a:pt x="375" y="311"/>
                  </a:cubicBezTo>
                  <a:cubicBezTo>
                    <a:pt x="376" y="303"/>
                    <a:pt x="376" y="303"/>
                    <a:pt x="389" y="302"/>
                  </a:cubicBezTo>
                  <a:cubicBezTo>
                    <a:pt x="390" y="302"/>
                    <a:pt x="390" y="303"/>
                    <a:pt x="390" y="303"/>
                  </a:cubicBezTo>
                  <a:cubicBezTo>
                    <a:pt x="389" y="306"/>
                    <a:pt x="389" y="308"/>
                    <a:pt x="389" y="310"/>
                  </a:cubicBezTo>
                  <a:cubicBezTo>
                    <a:pt x="384" y="316"/>
                    <a:pt x="384" y="316"/>
                    <a:pt x="385" y="318"/>
                  </a:cubicBezTo>
                  <a:cubicBezTo>
                    <a:pt x="388" y="319"/>
                    <a:pt x="391" y="318"/>
                    <a:pt x="393" y="318"/>
                  </a:cubicBezTo>
                  <a:cubicBezTo>
                    <a:pt x="394" y="316"/>
                    <a:pt x="395" y="313"/>
                    <a:pt x="395" y="310"/>
                  </a:cubicBezTo>
                  <a:cubicBezTo>
                    <a:pt x="394" y="310"/>
                    <a:pt x="394" y="310"/>
                    <a:pt x="393" y="310"/>
                  </a:cubicBezTo>
                  <a:cubicBezTo>
                    <a:pt x="393" y="307"/>
                    <a:pt x="393" y="305"/>
                    <a:pt x="393" y="303"/>
                  </a:cubicBezTo>
                  <a:cubicBezTo>
                    <a:pt x="393" y="303"/>
                    <a:pt x="394" y="303"/>
                    <a:pt x="394" y="303"/>
                  </a:cubicBezTo>
                  <a:cubicBezTo>
                    <a:pt x="395" y="303"/>
                    <a:pt x="396" y="303"/>
                    <a:pt x="396" y="303"/>
                  </a:cubicBezTo>
                  <a:cubicBezTo>
                    <a:pt x="400" y="300"/>
                    <a:pt x="400" y="300"/>
                    <a:pt x="403" y="300"/>
                  </a:cubicBezTo>
                  <a:cubicBezTo>
                    <a:pt x="403" y="300"/>
                    <a:pt x="404" y="300"/>
                    <a:pt x="404" y="300"/>
                  </a:cubicBezTo>
                  <a:cubicBezTo>
                    <a:pt x="418" y="303"/>
                    <a:pt x="441" y="276"/>
                    <a:pt x="443" y="259"/>
                  </a:cubicBezTo>
                  <a:moveTo>
                    <a:pt x="89" y="93"/>
                  </a:moveTo>
                  <a:cubicBezTo>
                    <a:pt x="90" y="92"/>
                    <a:pt x="90" y="92"/>
                    <a:pt x="90" y="92"/>
                  </a:cubicBezTo>
                  <a:cubicBezTo>
                    <a:pt x="90" y="92"/>
                    <a:pt x="88" y="93"/>
                    <a:pt x="85" y="97"/>
                  </a:cubicBezTo>
                  <a:cubicBezTo>
                    <a:pt x="85" y="97"/>
                    <a:pt x="85" y="97"/>
                    <a:pt x="85" y="97"/>
                  </a:cubicBezTo>
                  <a:cubicBezTo>
                    <a:pt x="86" y="96"/>
                    <a:pt x="86" y="96"/>
                    <a:pt x="87" y="95"/>
                  </a:cubicBezTo>
                  <a:cubicBezTo>
                    <a:pt x="87" y="95"/>
                    <a:pt x="87" y="95"/>
                    <a:pt x="87" y="95"/>
                  </a:cubicBezTo>
                  <a:cubicBezTo>
                    <a:pt x="87" y="95"/>
                    <a:pt x="87" y="95"/>
                    <a:pt x="87" y="95"/>
                  </a:cubicBezTo>
                  <a:cubicBezTo>
                    <a:pt x="88" y="94"/>
                    <a:pt x="89" y="93"/>
                    <a:pt x="89" y="93"/>
                  </a:cubicBezTo>
                  <a:moveTo>
                    <a:pt x="64" y="126"/>
                  </a:moveTo>
                  <a:cubicBezTo>
                    <a:pt x="64" y="126"/>
                    <a:pt x="65" y="125"/>
                    <a:pt x="65" y="125"/>
                  </a:cubicBezTo>
                  <a:cubicBezTo>
                    <a:pt x="66" y="123"/>
                    <a:pt x="66" y="122"/>
                    <a:pt x="67" y="121"/>
                  </a:cubicBezTo>
                  <a:cubicBezTo>
                    <a:pt x="66" y="122"/>
                    <a:pt x="66" y="123"/>
                    <a:pt x="65" y="123"/>
                  </a:cubicBezTo>
                  <a:cubicBezTo>
                    <a:pt x="65" y="123"/>
                    <a:pt x="65" y="123"/>
                    <a:pt x="68" y="119"/>
                  </a:cubicBezTo>
                  <a:cubicBezTo>
                    <a:pt x="68" y="119"/>
                    <a:pt x="68" y="119"/>
                    <a:pt x="68" y="119"/>
                  </a:cubicBezTo>
                  <a:cubicBezTo>
                    <a:pt x="69" y="118"/>
                    <a:pt x="69" y="118"/>
                    <a:pt x="72" y="113"/>
                  </a:cubicBezTo>
                  <a:cubicBezTo>
                    <a:pt x="72" y="113"/>
                    <a:pt x="79" y="105"/>
                    <a:pt x="80" y="104"/>
                  </a:cubicBezTo>
                  <a:cubicBezTo>
                    <a:pt x="80" y="104"/>
                    <a:pt x="80" y="104"/>
                    <a:pt x="80" y="103"/>
                  </a:cubicBezTo>
                  <a:cubicBezTo>
                    <a:pt x="81" y="102"/>
                    <a:pt x="82" y="102"/>
                    <a:pt x="83" y="101"/>
                  </a:cubicBezTo>
                  <a:cubicBezTo>
                    <a:pt x="84" y="100"/>
                    <a:pt x="84" y="99"/>
                    <a:pt x="85" y="98"/>
                  </a:cubicBezTo>
                  <a:cubicBezTo>
                    <a:pt x="85" y="97"/>
                    <a:pt x="85" y="97"/>
                    <a:pt x="85" y="97"/>
                  </a:cubicBezTo>
                  <a:cubicBezTo>
                    <a:pt x="87" y="96"/>
                    <a:pt x="89" y="94"/>
                    <a:pt x="90" y="93"/>
                  </a:cubicBezTo>
                  <a:cubicBezTo>
                    <a:pt x="90" y="93"/>
                    <a:pt x="90" y="93"/>
                    <a:pt x="90" y="93"/>
                  </a:cubicBezTo>
                  <a:cubicBezTo>
                    <a:pt x="90" y="93"/>
                    <a:pt x="90" y="93"/>
                    <a:pt x="90" y="93"/>
                  </a:cubicBezTo>
                  <a:cubicBezTo>
                    <a:pt x="90" y="93"/>
                    <a:pt x="90" y="93"/>
                    <a:pt x="90" y="93"/>
                  </a:cubicBezTo>
                  <a:cubicBezTo>
                    <a:pt x="90" y="92"/>
                    <a:pt x="90" y="92"/>
                    <a:pt x="90" y="92"/>
                  </a:cubicBezTo>
                  <a:cubicBezTo>
                    <a:pt x="89" y="93"/>
                    <a:pt x="88" y="94"/>
                    <a:pt x="87" y="95"/>
                  </a:cubicBezTo>
                  <a:cubicBezTo>
                    <a:pt x="84" y="98"/>
                    <a:pt x="84" y="98"/>
                    <a:pt x="84" y="98"/>
                  </a:cubicBezTo>
                  <a:cubicBezTo>
                    <a:pt x="84" y="98"/>
                    <a:pt x="85" y="97"/>
                    <a:pt x="85" y="97"/>
                  </a:cubicBezTo>
                  <a:cubicBezTo>
                    <a:pt x="84" y="98"/>
                    <a:pt x="82" y="100"/>
                    <a:pt x="81" y="101"/>
                  </a:cubicBezTo>
                  <a:cubicBezTo>
                    <a:pt x="81" y="102"/>
                    <a:pt x="81" y="102"/>
                    <a:pt x="81" y="102"/>
                  </a:cubicBezTo>
                  <a:cubicBezTo>
                    <a:pt x="79" y="103"/>
                    <a:pt x="78" y="105"/>
                    <a:pt x="77" y="106"/>
                  </a:cubicBezTo>
                  <a:cubicBezTo>
                    <a:pt x="77" y="106"/>
                    <a:pt x="77" y="106"/>
                    <a:pt x="77" y="106"/>
                  </a:cubicBezTo>
                  <a:cubicBezTo>
                    <a:pt x="77" y="106"/>
                    <a:pt x="77" y="106"/>
                    <a:pt x="77" y="106"/>
                  </a:cubicBezTo>
                  <a:cubicBezTo>
                    <a:pt x="76" y="107"/>
                    <a:pt x="76" y="107"/>
                    <a:pt x="76" y="108"/>
                  </a:cubicBezTo>
                  <a:cubicBezTo>
                    <a:pt x="76" y="108"/>
                    <a:pt x="76" y="108"/>
                    <a:pt x="76" y="108"/>
                  </a:cubicBezTo>
                  <a:cubicBezTo>
                    <a:pt x="76" y="107"/>
                    <a:pt x="76" y="107"/>
                    <a:pt x="77" y="106"/>
                  </a:cubicBezTo>
                  <a:cubicBezTo>
                    <a:pt x="75" y="108"/>
                    <a:pt x="73" y="110"/>
                    <a:pt x="72" y="112"/>
                  </a:cubicBezTo>
                  <a:cubicBezTo>
                    <a:pt x="72" y="112"/>
                    <a:pt x="72" y="112"/>
                    <a:pt x="72" y="112"/>
                  </a:cubicBezTo>
                  <a:cubicBezTo>
                    <a:pt x="73" y="112"/>
                    <a:pt x="73" y="112"/>
                    <a:pt x="73" y="112"/>
                  </a:cubicBezTo>
                  <a:cubicBezTo>
                    <a:pt x="71" y="113"/>
                    <a:pt x="70" y="115"/>
                    <a:pt x="69" y="117"/>
                  </a:cubicBezTo>
                  <a:cubicBezTo>
                    <a:pt x="68" y="118"/>
                    <a:pt x="67" y="120"/>
                    <a:pt x="65" y="121"/>
                  </a:cubicBezTo>
                  <a:cubicBezTo>
                    <a:pt x="66" y="120"/>
                    <a:pt x="66" y="120"/>
                    <a:pt x="66" y="120"/>
                  </a:cubicBezTo>
                  <a:cubicBezTo>
                    <a:pt x="66" y="120"/>
                    <a:pt x="66" y="120"/>
                    <a:pt x="66" y="120"/>
                  </a:cubicBezTo>
                  <a:cubicBezTo>
                    <a:pt x="66" y="120"/>
                    <a:pt x="65" y="120"/>
                    <a:pt x="65" y="120"/>
                  </a:cubicBezTo>
                  <a:cubicBezTo>
                    <a:pt x="64" y="121"/>
                    <a:pt x="64" y="121"/>
                    <a:pt x="64" y="121"/>
                  </a:cubicBezTo>
                  <a:cubicBezTo>
                    <a:pt x="64" y="122"/>
                    <a:pt x="64" y="122"/>
                    <a:pt x="64" y="123"/>
                  </a:cubicBezTo>
                  <a:cubicBezTo>
                    <a:pt x="64" y="122"/>
                    <a:pt x="64" y="122"/>
                    <a:pt x="64" y="122"/>
                  </a:cubicBezTo>
                  <a:cubicBezTo>
                    <a:pt x="64" y="123"/>
                    <a:pt x="64" y="123"/>
                    <a:pt x="62" y="124"/>
                  </a:cubicBezTo>
                  <a:cubicBezTo>
                    <a:pt x="62" y="124"/>
                    <a:pt x="62" y="124"/>
                    <a:pt x="62" y="124"/>
                  </a:cubicBezTo>
                  <a:cubicBezTo>
                    <a:pt x="62" y="125"/>
                    <a:pt x="62" y="125"/>
                    <a:pt x="61" y="126"/>
                  </a:cubicBezTo>
                  <a:cubicBezTo>
                    <a:pt x="61" y="126"/>
                    <a:pt x="61" y="126"/>
                    <a:pt x="61" y="126"/>
                  </a:cubicBezTo>
                  <a:cubicBezTo>
                    <a:pt x="61" y="126"/>
                    <a:pt x="61" y="126"/>
                    <a:pt x="61" y="126"/>
                  </a:cubicBezTo>
                  <a:cubicBezTo>
                    <a:pt x="61" y="126"/>
                    <a:pt x="61" y="126"/>
                    <a:pt x="61" y="126"/>
                  </a:cubicBezTo>
                  <a:cubicBezTo>
                    <a:pt x="61" y="126"/>
                    <a:pt x="61" y="126"/>
                    <a:pt x="61" y="126"/>
                  </a:cubicBezTo>
                  <a:cubicBezTo>
                    <a:pt x="61" y="126"/>
                    <a:pt x="61" y="126"/>
                    <a:pt x="61" y="126"/>
                  </a:cubicBezTo>
                  <a:cubicBezTo>
                    <a:pt x="61" y="126"/>
                    <a:pt x="61" y="126"/>
                    <a:pt x="61" y="126"/>
                  </a:cubicBezTo>
                  <a:cubicBezTo>
                    <a:pt x="61" y="125"/>
                    <a:pt x="61" y="125"/>
                    <a:pt x="61" y="125"/>
                  </a:cubicBezTo>
                  <a:cubicBezTo>
                    <a:pt x="61" y="125"/>
                    <a:pt x="61" y="125"/>
                    <a:pt x="61" y="125"/>
                  </a:cubicBezTo>
                  <a:cubicBezTo>
                    <a:pt x="60" y="127"/>
                    <a:pt x="60" y="128"/>
                    <a:pt x="59" y="128"/>
                  </a:cubicBezTo>
                  <a:cubicBezTo>
                    <a:pt x="60" y="128"/>
                    <a:pt x="60" y="128"/>
                    <a:pt x="60" y="127"/>
                  </a:cubicBezTo>
                  <a:cubicBezTo>
                    <a:pt x="58" y="130"/>
                    <a:pt x="58" y="130"/>
                    <a:pt x="57" y="131"/>
                  </a:cubicBezTo>
                  <a:cubicBezTo>
                    <a:pt x="57" y="131"/>
                    <a:pt x="57" y="131"/>
                    <a:pt x="57" y="131"/>
                  </a:cubicBezTo>
                  <a:cubicBezTo>
                    <a:pt x="57" y="132"/>
                    <a:pt x="54" y="135"/>
                    <a:pt x="54" y="136"/>
                  </a:cubicBezTo>
                  <a:cubicBezTo>
                    <a:pt x="54" y="135"/>
                    <a:pt x="54" y="135"/>
                    <a:pt x="54" y="135"/>
                  </a:cubicBezTo>
                  <a:cubicBezTo>
                    <a:pt x="55" y="135"/>
                    <a:pt x="55" y="135"/>
                    <a:pt x="55" y="134"/>
                  </a:cubicBezTo>
                  <a:cubicBezTo>
                    <a:pt x="55" y="135"/>
                    <a:pt x="55" y="135"/>
                    <a:pt x="55" y="135"/>
                  </a:cubicBezTo>
                  <a:cubicBezTo>
                    <a:pt x="55" y="135"/>
                    <a:pt x="55" y="135"/>
                    <a:pt x="55" y="135"/>
                  </a:cubicBezTo>
                  <a:cubicBezTo>
                    <a:pt x="55" y="134"/>
                    <a:pt x="56" y="134"/>
                    <a:pt x="56" y="133"/>
                  </a:cubicBezTo>
                  <a:cubicBezTo>
                    <a:pt x="56" y="133"/>
                    <a:pt x="56" y="133"/>
                    <a:pt x="56" y="133"/>
                  </a:cubicBezTo>
                  <a:cubicBezTo>
                    <a:pt x="57" y="133"/>
                    <a:pt x="57" y="133"/>
                    <a:pt x="57" y="133"/>
                  </a:cubicBezTo>
                  <a:cubicBezTo>
                    <a:pt x="56" y="133"/>
                    <a:pt x="56" y="133"/>
                    <a:pt x="56" y="133"/>
                  </a:cubicBezTo>
                  <a:cubicBezTo>
                    <a:pt x="57" y="133"/>
                    <a:pt x="57" y="133"/>
                    <a:pt x="57" y="133"/>
                  </a:cubicBezTo>
                  <a:cubicBezTo>
                    <a:pt x="57" y="133"/>
                    <a:pt x="57" y="132"/>
                    <a:pt x="58" y="132"/>
                  </a:cubicBezTo>
                  <a:cubicBezTo>
                    <a:pt x="58" y="133"/>
                    <a:pt x="57" y="133"/>
                    <a:pt x="57" y="134"/>
                  </a:cubicBezTo>
                  <a:cubicBezTo>
                    <a:pt x="57" y="134"/>
                    <a:pt x="57" y="134"/>
                    <a:pt x="57" y="134"/>
                  </a:cubicBezTo>
                  <a:cubicBezTo>
                    <a:pt x="58" y="133"/>
                    <a:pt x="58" y="133"/>
                    <a:pt x="58" y="133"/>
                  </a:cubicBezTo>
                  <a:cubicBezTo>
                    <a:pt x="58" y="133"/>
                    <a:pt x="58" y="133"/>
                    <a:pt x="59" y="132"/>
                  </a:cubicBezTo>
                  <a:cubicBezTo>
                    <a:pt x="59" y="132"/>
                    <a:pt x="59" y="132"/>
                    <a:pt x="59" y="132"/>
                  </a:cubicBezTo>
                  <a:cubicBezTo>
                    <a:pt x="59" y="132"/>
                    <a:pt x="59" y="132"/>
                    <a:pt x="59" y="132"/>
                  </a:cubicBezTo>
                  <a:cubicBezTo>
                    <a:pt x="60" y="131"/>
                    <a:pt x="60" y="130"/>
                    <a:pt x="61" y="129"/>
                  </a:cubicBezTo>
                  <a:cubicBezTo>
                    <a:pt x="61" y="129"/>
                    <a:pt x="61" y="129"/>
                    <a:pt x="61" y="129"/>
                  </a:cubicBezTo>
                  <a:cubicBezTo>
                    <a:pt x="62" y="128"/>
                    <a:pt x="63" y="127"/>
                    <a:pt x="64" y="126"/>
                  </a:cubicBezTo>
                  <a:cubicBezTo>
                    <a:pt x="64" y="126"/>
                    <a:pt x="64" y="126"/>
                    <a:pt x="64" y="126"/>
                  </a:cubicBezTo>
                  <a:moveTo>
                    <a:pt x="71" y="113"/>
                  </a:moveTo>
                  <a:cubicBezTo>
                    <a:pt x="71" y="113"/>
                    <a:pt x="71" y="113"/>
                    <a:pt x="71" y="113"/>
                  </a:cubicBezTo>
                  <a:cubicBezTo>
                    <a:pt x="71" y="113"/>
                    <a:pt x="71" y="113"/>
                    <a:pt x="71" y="113"/>
                  </a:cubicBezTo>
                  <a:cubicBezTo>
                    <a:pt x="71" y="113"/>
                    <a:pt x="71" y="113"/>
                    <a:pt x="71" y="113"/>
                  </a:cubicBezTo>
                  <a:cubicBezTo>
                    <a:pt x="71" y="113"/>
                    <a:pt x="71" y="113"/>
                    <a:pt x="71" y="113"/>
                  </a:cubicBezTo>
                  <a:moveTo>
                    <a:pt x="70" y="114"/>
                  </a:moveTo>
                  <a:cubicBezTo>
                    <a:pt x="72" y="112"/>
                    <a:pt x="73" y="111"/>
                    <a:pt x="74" y="109"/>
                  </a:cubicBezTo>
                  <a:cubicBezTo>
                    <a:pt x="74" y="109"/>
                    <a:pt x="74" y="109"/>
                    <a:pt x="74" y="109"/>
                  </a:cubicBezTo>
                  <a:cubicBezTo>
                    <a:pt x="74" y="109"/>
                    <a:pt x="73" y="110"/>
                    <a:pt x="73" y="110"/>
                  </a:cubicBezTo>
                  <a:cubicBezTo>
                    <a:pt x="73" y="110"/>
                    <a:pt x="74" y="109"/>
                    <a:pt x="74" y="109"/>
                  </a:cubicBezTo>
                  <a:cubicBezTo>
                    <a:pt x="74" y="109"/>
                    <a:pt x="74" y="109"/>
                    <a:pt x="74" y="109"/>
                  </a:cubicBezTo>
                  <a:cubicBezTo>
                    <a:pt x="71" y="112"/>
                    <a:pt x="71" y="112"/>
                    <a:pt x="61" y="125"/>
                  </a:cubicBezTo>
                  <a:cubicBezTo>
                    <a:pt x="59" y="127"/>
                    <a:pt x="59" y="127"/>
                    <a:pt x="59" y="127"/>
                  </a:cubicBezTo>
                  <a:cubicBezTo>
                    <a:pt x="59" y="127"/>
                    <a:pt x="59" y="127"/>
                    <a:pt x="59" y="127"/>
                  </a:cubicBezTo>
                  <a:cubicBezTo>
                    <a:pt x="60" y="126"/>
                    <a:pt x="61" y="126"/>
                    <a:pt x="61" y="125"/>
                  </a:cubicBezTo>
                  <a:cubicBezTo>
                    <a:pt x="61" y="125"/>
                    <a:pt x="61" y="125"/>
                    <a:pt x="61" y="125"/>
                  </a:cubicBezTo>
                  <a:cubicBezTo>
                    <a:pt x="61" y="125"/>
                    <a:pt x="62" y="124"/>
                    <a:pt x="62" y="124"/>
                  </a:cubicBezTo>
                  <a:cubicBezTo>
                    <a:pt x="64" y="122"/>
                    <a:pt x="68" y="117"/>
                    <a:pt x="68" y="117"/>
                  </a:cubicBezTo>
                  <a:cubicBezTo>
                    <a:pt x="68" y="116"/>
                    <a:pt x="69" y="116"/>
                    <a:pt x="69" y="115"/>
                  </a:cubicBezTo>
                  <a:cubicBezTo>
                    <a:pt x="69" y="115"/>
                    <a:pt x="69" y="115"/>
                    <a:pt x="70" y="114"/>
                  </a:cubicBezTo>
                  <a:moveTo>
                    <a:pt x="142" y="474"/>
                  </a:moveTo>
                  <a:cubicBezTo>
                    <a:pt x="142" y="473"/>
                    <a:pt x="142" y="473"/>
                    <a:pt x="142" y="473"/>
                  </a:cubicBezTo>
                  <a:cubicBezTo>
                    <a:pt x="137" y="462"/>
                    <a:pt x="137" y="462"/>
                    <a:pt x="132" y="460"/>
                  </a:cubicBezTo>
                  <a:cubicBezTo>
                    <a:pt x="133" y="464"/>
                    <a:pt x="133" y="464"/>
                    <a:pt x="133" y="464"/>
                  </a:cubicBezTo>
                  <a:cubicBezTo>
                    <a:pt x="133" y="464"/>
                    <a:pt x="133" y="466"/>
                    <a:pt x="131" y="467"/>
                  </a:cubicBezTo>
                  <a:cubicBezTo>
                    <a:pt x="130" y="469"/>
                    <a:pt x="132" y="470"/>
                    <a:pt x="132" y="471"/>
                  </a:cubicBezTo>
                  <a:cubicBezTo>
                    <a:pt x="131" y="471"/>
                    <a:pt x="131" y="471"/>
                    <a:pt x="131" y="472"/>
                  </a:cubicBezTo>
                  <a:cubicBezTo>
                    <a:pt x="131" y="473"/>
                    <a:pt x="132" y="474"/>
                    <a:pt x="131" y="475"/>
                  </a:cubicBezTo>
                  <a:cubicBezTo>
                    <a:pt x="125" y="475"/>
                    <a:pt x="125" y="475"/>
                    <a:pt x="124" y="476"/>
                  </a:cubicBezTo>
                  <a:cubicBezTo>
                    <a:pt x="124" y="476"/>
                    <a:pt x="124" y="476"/>
                    <a:pt x="125" y="479"/>
                  </a:cubicBezTo>
                  <a:cubicBezTo>
                    <a:pt x="125" y="479"/>
                    <a:pt x="125" y="479"/>
                    <a:pt x="125" y="482"/>
                  </a:cubicBezTo>
                  <a:cubicBezTo>
                    <a:pt x="125" y="482"/>
                    <a:pt x="127" y="487"/>
                    <a:pt x="129" y="488"/>
                  </a:cubicBezTo>
                  <a:cubicBezTo>
                    <a:pt x="129" y="489"/>
                    <a:pt x="130" y="489"/>
                    <a:pt x="131" y="492"/>
                  </a:cubicBezTo>
                  <a:cubicBezTo>
                    <a:pt x="131" y="493"/>
                    <a:pt x="131" y="493"/>
                    <a:pt x="131" y="493"/>
                  </a:cubicBezTo>
                  <a:cubicBezTo>
                    <a:pt x="130" y="492"/>
                    <a:pt x="130" y="492"/>
                    <a:pt x="130" y="492"/>
                  </a:cubicBezTo>
                  <a:cubicBezTo>
                    <a:pt x="130" y="495"/>
                    <a:pt x="132" y="497"/>
                    <a:pt x="132" y="500"/>
                  </a:cubicBezTo>
                  <a:cubicBezTo>
                    <a:pt x="132" y="500"/>
                    <a:pt x="132" y="501"/>
                    <a:pt x="132" y="501"/>
                  </a:cubicBezTo>
                  <a:cubicBezTo>
                    <a:pt x="133" y="502"/>
                    <a:pt x="135" y="503"/>
                    <a:pt x="135" y="505"/>
                  </a:cubicBezTo>
                  <a:cubicBezTo>
                    <a:pt x="136" y="505"/>
                    <a:pt x="136" y="506"/>
                    <a:pt x="136" y="506"/>
                  </a:cubicBezTo>
                  <a:cubicBezTo>
                    <a:pt x="138" y="509"/>
                    <a:pt x="138" y="509"/>
                    <a:pt x="139" y="511"/>
                  </a:cubicBezTo>
                  <a:cubicBezTo>
                    <a:pt x="140" y="511"/>
                    <a:pt x="142" y="510"/>
                    <a:pt x="143" y="511"/>
                  </a:cubicBezTo>
                  <a:cubicBezTo>
                    <a:pt x="143" y="511"/>
                    <a:pt x="143" y="512"/>
                    <a:pt x="144" y="512"/>
                  </a:cubicBezTo>
                  <a:cubicBezTo>
                    <a:pt x="145" y="512"/>
                    <a:pt x="150" y="513"/>
                    <a:pt x="150" y="512"/>
                  </a:cubicBezTo>
                  <a:cubicBezTo>
                    <a:pt x="151" y="508"/>
                    <a:pt x="148" y="506"/>
                    <a:pt x="147" y="503"/>
                  </a:cubicBezTo>
                  <a:cubicBezTo>
                    <a:pt x="146" y="501"/>
                    <a:pt x="147" y="500"/>
                    <a:pt x="146" y="498"/>
                  </a:cubicBezTo>
                  <a:cubicBezTo>
                    <a:pt x="145" y="496"/>
                    <a:pt x="144" y="494"/>
                    <a:pt x="144" y="492"/>
                  </a:cubicBezTo>
                  <a:cubicBezTo>
                    <a:pt x="144" y="492"/>
                    <a:pt x="144" y="492"/>
                    <a:pt x="144" y="492"/>
                  </a:cubicBezTo>
                  <a:cubicBezTo>
                    <a:pt x="144" y="492"/>
                    <a:pt x="147" y="490"/>
                    <a:pt x="147" y="489"/>
                  </a:cubicBezTo>
                  <a:cubicBezTo>
                    <a:pt x="147" y="487"/>
                    <a:pt x="144" y="486"/>
                    <a:pt x="144" y="484"/>
                  </a:cubicBezTo>
                  <a:cubicBezTo>
                    <a:pt x="143" y="483"/>
                    <a:pt x="144" y="482"/>
                    <a:pt x="143" y="481"/>
                  </a:cubicBezTo>
                  <a:cubicBezTo>
                    <a:pt x="143" y="480"/>
                    <a:pt x="143" y="480"/>
                    <a:pt x="143" y="479"/>
                  </a:cubicBezTo>
                  <a:cubicBezTo>
                    <a:pt x="142" y="479"/>
                    <a:pt x="142" y="478"/>
                    <a:pt x="142" y="477"/>
                  </a:cubicBezTo>
                  <a:cubicBezTo>
                    <a:pt x="142" y="477"/>
                    <a:pt x="142" y="477"/>
                    <a:pt x="141" y="477"/>
                  </a:cubicBezTo>
                  <a:cubicBezTo>
                    <a:pt x="141" y="476"/>
                    <a:pt x="141" y="476"/>
                    <a:pt x="141" y="476"/>
                  </a:cubicBezTo>
                  <a:cubicBezTo>
                    <a:pt x="142" y="476"/>
                    <a:pt x="142" y="476"/>
                    <a:pt x="142" y="474"/>
                  </a:cubicBezTo>
                  <a:moveTo>
                    <a:pt x="119" y="354"/>
                  </a:moveTo>
                  <a:cubicBezTo>
                    <a:pt x="118" y="353"/>
                    <a:pt x="118" y="351"/>
                    <a:pt x="117" y="350"/>
                  </a:cubicBezTo>
                  <a:cubicBezTo>
                    <a:pt x="112" y="349"/>
                    <a:pt x="109" y="355"/>
                    <a:pt x="103" y="353"/>
                  </a:cubicBezTo>
                  <a:cubicBezTo>
                    <a:pt x="102" y="353"/>
                    <a:pt x="102" y="353"/>
                    <a:pt x="101" y="353"/>
                  </a:cubicBezTo>
                  <a:cubicBezTo>
                    <a:pt x="97" y="353"/>
                    <a:pt x="96" y="353"/>
                    <a:pt x="93" y="352"/>
                  </a:cubicBezTo>
                  <a:cubicBezTo>
                    <a:pt x="91" y="347"/>
                    <a:pt x="91" y="347"/>
                    <a:pt x="91" y="345"/>
                  </a:cubicBezTo>
                  <a:cubicBezTo>
                    <a:pt x="90" y="345"/>
                    <a:pt x="90" y="345"/>
                    <a:pt x="89" y="344"/>
                  </a:cubicBezTo>
                  <a:cubicBezTo>
                    <a:pt x="87" y="339"/>
                    <a:pt x="87" y="339"/>
                    <a:pt x="85" y="338"/>
                  </a:cubicBezTo>
                  <a:cubicBezTo>
                    <a:pt x="69" y="311"/>
                    <a:pt x="69" y="311"/>
                    <a:pt x="70" y="306"/>
                  </a:cubicBezTo>
                  <a:cubicBezTo>
                    <a:pt x="70" y="306"/>
                    <a:pt x="70" y="305"/>
                    <a:pt x="70" y="303"/>
                  </a:cubicBezTo>
                  <a:cubicBezTo>
                    <a:pt x="68" y="264"/>
                    <a:pt x="58" y="244"/>
                    <a:pt x="57" y="242"/>
                  </a:cubicBezTo>
                  <a:cubicBezTo>
                    <a:pt x="57" y="242"/>
                    <a:pt x="57" y="242"/>
                    <a:pt x="55" y="243"/>
                  </a:cubicBezTo>
                  <a:cubicBezTo>
                    <a:pt x="55" y="243"/>
                    <a:pt x="54" y="243"/>
                    <a:pt x="54" y="244"/>
                  </a:cubicBezTo>
                  <a:cubicBezTo>
                    <a:pt x="53" y="244"/>
                    <a:pt x="53" y="244"/>
                    <a:pt x="53" y="244"/>
                  </a:cubicBezTo>
                  <a:cubicBezTo>
                    <a:pt x="50" y="242"/>
                    <a:pt x="47" y="240"/>
                    <a:pt x="44" y="240"/>
                  </a:cubicBezTo>
                  <a:cubicBezTo>
                    <a:pt x="41" y="233"/>
                    <a:pt x="41" y="233"/>
                    <a:pt x="40" y="231"/>
                  </a:cubicBezTo>
                  <a:cubicBezTo>
                    <a:pt x="39" y="232"/>
                    <a:pt x="38" y="232"/>
                    <a:pt x="38" y="232"/>
                  </a:cubicBezTo>
                  <a:cubicBezTo>
                    <a:pt x="37" y="232"/>
                    <a:pt x="37" y="231"/>
                    <a:pt x="36" y="231"/>
                  </a:cubicBezTo>
                  <a:cubicBezTo>
                    <a:pt x="33" y="243"/>
                    <a:pt x="33" y="243"/>
                    <a:pt x="32" y="244"/>
                  </a:cubicBezTo>
                  <a:cubicBezTo>
                    <a:pt x="32" y="244"/>
                    <a:pt x="32" y="244"/>
                    <a:pt x="31" y="244"/>
                  </a:cubicBezTo>
                  <a:cubicBezTo>
                    <a:pt x="30" y="243"/>
                    <a:pt x="30" y="241"/>
                    <a:pt x="29" y="239"/>
                  </a:cubicBezTo>
                  <a:cubicBezTo>
                    <a:pt x="28" y="239"/>
                    <a:pt x="27" y="239"/>
                    <a:pt x="26" y="237"/>
                  </a:cubicBezTo>
                  <a:cubicBezTo>
                    <a:pt x="27" y="232"/>
                    <a:pt x="25" y="231"/>
                    <a:pt x="23" y="230"/>
                  </a:cubicBezTo>
                  <a:cubicBezTo>
                    <a:pt x="22" y="221"/>
                    <a:pt x="30" y="214"/>
                    <a:pt x="28" y="206"/>
                  </a:cubicBezTo>
                  <a:cubicBezTo>
                    <a:pt x="27" y="206"/>
                    <a:pt x="25" y="207"/>
                    <a:pt x="24" y="207"/>
                  </a:cubicBezTo>
                  <a:cubicBezTo>
                    <a:pt x="23" y="208"/>
                    <a:pt x="23" y="208"/>
                    <a:pt x="23" y="208"/>
                  </a:cubicBezTo>
                  <a:cubicBezTo>
                    <a:pt x="23" y="207"/>
                    <a:pt x="23" y="206"/>
                    <a:pt x="22" y="205"/>
                  </a:cubicBezTo>
                  <a:cubicBezTo>
                    <a:pt x="21" y="206"/>
                    <a:pt x="21" y="207"/>
                    <a:pt x="20" y="208"/>
                  </a:cubicBezTo>
                  <a:cubicBezTo>
                    <a:pt x="20" y="208"/>
                    <a:pt x="19" y="208"/>
                    <a:pt x="19" y="208"/>
                  </a:cubicBezTo>
                  <a:cubicBezTo>
                    <a:pt x="17" y="212"/>
                    <a:pt x="17" y="212"/>
                    <a:pt x="16" y="213"/>
                  </a:cubicBezTo>
                  <a:cubicBezTo>
                    <a:pt x="16" y="213"/>
                    <a:pt x="16" y="213"/>
                    <a:pt x="16" y="212"/>
                  </a:cubicBezTo>
                  <a:cubicBezTo>
                    <a:pt x="16" y="212"/>
                    <a:pt x="16" y="212"/>
                    <a:pt x="16" y="212"/>
                  </a:cubicBezTo>
                  <a:cubicBezTo>
                    <a:pt x="16" y="211"/>
                    <a:pt x="16" y="210"/>
                    <a:pt x="17" y="210"/>
                  </a:cubicBezTo>
                  <a:cubicBezTo>
                    <a:pt x="17" y="210"/>
                    <a:pt x="17" y="209"/>
                    <a:pt x="17" y="209"/>
                  </a:cubicBezTo>
                  <a:cubicBezTo>
                    <a:pt x="16" y="212"/>
                    <a:pt x="16" y="212"/>
                    <a:pt x="14" y="218"/>
                  </a:cubicBezTo>
                  <a:cubicBezTo>
                    <a:pt x="11" y="229"/>
                    <a:pt x="7" y="245"/>
                    <a:pt x="5" y="257"/>
                  </a:cubicBezTo>
                  <a:cubicBezTo>
                    <a:pt x="2" y="273"/>
                    <a:pt x="2" y="273"/>
                    <a:pt x="0" y="307"/>
                  </a:cubicBezTo>
                  <a:cubicBezTo>
                    <a:pt x="0" y="315"/>
                    <a:pt x="1" y="326"/>
                    <a:pt x="2" y="334"/>
                  </a:cubicBezTo>
                  <a:cubicBezTo>
                    <a:pt x="3" y="344"/>
                    <a:pt x="5" y="358"/>
                    <a:pt x="6" y="368"/>
                  </a:cubicBezTo>
                  <a:cubicBezTo>
                    <a:pt x="6" y="367"/>
                    <a:pt x="6" y="367"/>
                    <a:pt x="6" y="367"/>
                  </a:cubicBezTo>
                  <a:cubicBezTo>
                    <a:pt x="6" y="367"/>
                    <a:pt x="6" y="367"/>
                    <a:pt x="7" y="368"/>
                  </a:cubicBezTo>
                  <a:cubicBezTo>
                    <a:pt x="7" y="368"/>
                    <a:pt x="7" y="369"/>
                    <a:pt x="8" y="369"/>
                  </a:cubicBezTo>
                  <a:cubicBezTo>
                    <a:pt x="7" y="368"/>
                    <a:pt x="8" y="367"/>
                    <a:pt x="8" y="366"/>
                  </a:cubicBezTo>
                  <a:cubicBezTo>
                    <a:pt x="8" y="366"/>
                    <a:pt x="8" y="366"/>
                    <a:pt x="8" y="365"/>
                  </a:cubicBezTo>
                  <a:cubicBezTo>
                    <a:pt x="9" y="365"/>
                    <a:pt x="9" y="364"/>
                    <a:pt x="9" y="364"/>
                  </a:cubicBezTo>
                  <a:cubicBezTo>
                    <a:pt x="12" y="373"/>
                    <a:pt x="12" y="373"/>
                    <a:pt x="13" y="374"/>
                  </a:cubicBezTo>
                  <a:cubicBezTo>
                    <a:pt x="14" y="375"/>
                    <a:pt x="15" y="375"/>
                    <a:pt x="16" y="375"/>
                  </a:cubicBezTo>
                  <a:cubicBezTo>
                    <a:pt x="17" y="377"/>
                    <a:pt x="17" y="379"/>
                    <a:pt x="18" y="381"/>
                  </a:cubicBezTo>
                  <a:cubicBezTo>
                    <a:pt x="21" y="402"/>
                    <a:pt x="33" y="419"/>
                    <a:pt x="40" y="438"/>
                  </a:cubicBezTo>
                  <a:cubicBezTo>
                    <a:pt x="40" y="439"/>
                    <a:pt x="40" y="439"/>
                    <a:pt x="41" y="440"/>
                  </a:cubicBezTo>
                  <a:cubicBezTo>
                    <a:pt x="60" y="482"/>
                    <a:pt x="60" y="482"/>
                    <a:pt x="75" y="497"/>
                  </a:cubicBezTo>
                  <a:cubicBezTo>
                    <a:pt x="77" y="500"/>
                    <a:pt x="79" y="503"/>
                    <a:pt x="81" y="505"/>
                  </a:cubicBezTo>
                  <a:cubicBezTo>
                    <a:pt x="91" y="516"/>
                    <a:pt x="109" y="532"/>
                    <a:pt x="109" y="532"/>
                  </a:cubicBezTo>
                  <a:cubicBezTo>
                    <a:pt x="110" y="533"/>
                    <a:pt x="110" y="533"/>
                    <a:pt x="110" y="533"/>
                  </a:cubicBezTo>
                  <a:cubicBezTo>
                    <a:pt x="111" y="536"/>
                    <a:pt x="112" y="536"/>
                    <a:pt x="114" y="537"/>
                  </a:cubicBezTo>
                  <a:cubicBezTo>
                    <a:pt x="114" y="537"/>
                    <a:pt x="114" y="537"/>
                    <a:pt x="115" y="538"/>
                  </a:cubicBezTo>
                  <a:cubicBezTo>
                    <a:pt x="116" y="539"/>
                    <a:pt x="117" y="540"/>
                    <a:pt x="119" y="541"/>
                  </a:cubicBezTo>
                  <a:cubicBezTo>
                    <a:pt x="120" y="541"/>
                    <a:pt x="121" y="542"/>
                    <a:pt x="123" y="540"/>
                  </a:cubicBezTo>
                  <a:cubicBezTo>
                    <a:pt x="124" y="540"/>
                    <a:pt x="125" y="541"/>
                    <a:pt x="126" y="540"/>
                  </a:cubicBezTo>
                  <a:cubicBezTo>
                    <a:pt x="126" y="539"/>
                    <a:pt x="126" y="537"/>
                    <a:pt x="126" y="536"/>
                  </a:cubicBezTo>
                  <a:cubicBezTo>
                    <a:pt x="114" y="510"/>
                    <a:pt x="114" y="510"/>
                    <a:pt x="114" y="510"/>
                  </a:cubicBezTo>
                  <a:cubicBezTo>
                    <a:pt x="114" y="510"/>
                    <a:pt x="115" y="510"/>
                    <a:pt x="115" y="510"/>
                  </a:cubicBezTo>
                  <a:cubicBezTo>
                    <a:pt x="115" y="506"/>
                    <a:pt x="115" y="506"/>
                    <a:pt x="116" y="505"/>
                  </a:cubicBezTo>
                  <a:cubicBezTo>
                    <a:pt x="105" y="489"/>
                    <a:pt x="105" y="489"/>
                    <a:pt x="105" y="479"/>
                  </a:cubicBezTo>
                  <a:cubicBezTo>
                    <a:pt x="105" y="479"/>
                    <a:pt x="107" y="478"/>
                    <a:pt x="108" y="478"/>
                  </a:cubicBezTo>
                  <a:cubicBezTo>
                    <a:pt x="110" y="475"/>
                    <a:pt x="110" y="475"/>
                    <a:pt x="108" y="466"/>
                  </a:cubicBezTo>
                  <a:cubicBezTo>
                    <a:pt x="108" y="466"/>
                    <a:pt x="107" y="465"/>
                    <a:pt x="107" y="463"/>
                  </a:cubicBezTo>
                  <a:cubicBezTo>
                    <a:pt x="106" y="462"/>
                    <a:pt x="105" y="460"/>
                    <a:pt x="105" y="459"/>
                  </a:cubicBezTo>
                  <a:cubicBezTo>
                    <a:pt x="103" y="456"/>
                    <a:pt x="102" y="452"/>
                    <a:pt x="100" y="448"/>
                  </a:cubicBezTo>
                  <a:cubicBezTo>
                    <a:pt x="95" y="443"/>
                    <a:pt x="94" y="436"/>
                    <a:pt x="91" y="430"/>
                  </a:cubicBezTo>
                  <a:cubicBezTo>
                    <a:pt x="91" y="430"/>
                    <a:pt x="91" y="430"/>
                    <a:pt x="90" y="428"/>
                  </a:cubicBezTo>
                  <a:cubicBezTo>
                    <a:pt x="90" y="427"/>
                    <a:pt x="90" y="426"/>
                    <a:pt x="90" y="425"/>
                  </a:cubicBezTo>
                  <a:cubicBezTo>
                    <a:pt x="105" y="390"/>
                    <a:pt x="105" y="390"/>
                    <a:pt x="105" y="390"/>
                  </a:cubicBezTo>
                  <a:cubicBezTo>
                    <a:pt x="116" y="385"/>
                    <a:pt x="118" y="365"/>
                    <a:pt x="119" y="354"/>
                  </a:cubicBezTo>
                  <a:moveTo>
                    <a:pt x="286" y="1"/>
                  </a:moveTo>
                  <a:cubicBezTo>
                    <a:pt x="286" y="1"/>
                    <a:pt x="286" y="1"/>
                    <a:pt x="286" y="1"/>
                  </a:cubicBezTo>
                  <a:cubicBezTo>
                    <a:pt x="286" y="1"/>
                    <a:pt x="286" y="1"/>
                    <a:pt x="286" y="1"/>
                  </a:cubicBezTo>
                  <a:cubicBezTo>
                    <a:pt x="286" y="1"/>
                    <a:pt x="286" y="1"/>
                    <a:pt x="286" y="1"/>
                  </a:cubicBezTo>
                  <a:moveTo>
                    <a:pt x="270" y="3"/>
                  </a:moveTo>
                  <a:cubicBezTo>
                    <a:pt x="268" y="3"/>
                    <a:pt x="267" y="3"/>
                    <a:pt x="265" y="3"/>
                  </a:cubicBezTo>
                  <a:cubicBezTo>
                    <a:pt x="265" y="3"/>
                    <a:pt x="265" y="3"/>
                    <a:pt x="265" y="3"/>
                  </a:cubicBezTo>
                  <a:cubicBezTo>
                    <a:pt x="263" y="4"/>
                    <a:pt x="262" y="4"/>
                    <a:pt x="260" y="4"/>
                  </a:cubicBezTo>
                  <a:cubicBezTo>
                    <a:pt x="260" y="4"/>
                    <a:pt x="260" y="4"/>
                    <a:pt x="260" y="4"/>
                  </a:cubicBezTo>
                  <a:cubicBezTo>
                    <a:pt x="261" y="4"/>
                    <a:pt x="261" y="4"/>
                    <a:pt x="261" y="4"/>
                  </a:cubicBezTo>
                  <a:cubicBezTo>
                    <a:pt x="260" y="4"/>
                    <a:pt x="260" y="4"/>
                    <a:pt x="259" y="4"/>
                  </a:cubicBezTo>
                  <a:cubicBezTo>
                    <a:pt x="259" y="4"/>
                    <a:pt x="259" y="4"/>
                    <a:pt x="259" y="4"/>
                  </a:cubicBezTo>
                  <a:cubicBezTo>
                    <a:pt x="257" y="5"/>
                    <a:pt x="257" y="5"/>
                    <a:pt x="257" y="5"/>
                  </a:cubicBezTo>
                  <a:cubicBezTo>
                    <a:pt x="250" y="6"/>
                    <a:pt x="249" y="6"/>
                    <a:pt x="244" y="7"/>
                  </a:cubicBezTo>
                  <a:cubicBezTo>
                    <a:pt x="244" y="7"/>
                    <a:pt x="244" y="7"/>
                    <a:pt x="244" y="7"/>
                  </a:cubicBezTo>
                  <a:cubicBezTo>
                    <a:pt x="243" y="7"/>
                    <a:pt x="242" y="8"/>
                    <a:pt x="241" y="8"/>
                  </a:cubicBezTo>
                  <a:cubicBezTo>
                    <a:pt x="241" y="8"/>
                    <a:pt x="241" y="8"/>
                    <a:pt x="241" y="8"/>
                  </a:cubicBezTo>
                  <a:cubicBezTo>
                    <a:pt x="237" y="9"/>
                    <a:pt x="235" y="9"/>
                    <a:pt x="234" y="9"/>
                  </a:cubicBezTo>
                  <a:cubicBezTo>
                    <a:pt x="233" y="10"/>
                    <a:pt x="231" y="10"/>
                    <a:pt x="229" y="11"/>
                  </a:cubicBezTo>
                  <a:cubicBezTo>
                    <a:pt x="230" y="10"/>
                    <a:pt x="231" y="10"/>
                    <a:pt x="232" y="10"/>
                  </a:cubicBezTo>
                  <a:cubicBezTo>
                    <a:pt x="231" y="10"/>
                    <a:pt x="228" y="11"/>
                    <a:pt x="228" y="11"/>
                  </a:cubicBezTo>
                  <a:cubicBezTo>
                    <a:pt x="228" y="11"/>
                    <a:pt x="228" y="11"/>
                    <a:pt x="228" y="11"/>
                  </a:cubicBezTo>
                  <a:cubicBezTo>
                    <a:pt x="228" y="11"/>
                    <a:pt x="228" y="11"/>
                    <a:pt x="228" y="11"/>
                  </a:cubicBezTo>
                  <a:cubicBezTo>
                    <a:pt x="227" y="11"/>
                    <a:pt x="226" y="12"/>
                    <a:pt x="225" y="12"/>
                  </a:cubicBezTo>
                  <a:cubicBezTo>
                    <a:pt x="225" y="12"/>
                    <a:pt x="225" y="12"/>
                    <a:pt x="225" y="12"/>
                  </a:cubicBezTo>
                  <a:cubicBezTo>
                    <a:pt x="225" y="12"/>
                    <a:pt x="225" y="12"/>
                    <a:pt x="225" y="12"/>
                  </a:cubicBezTo>
                  <a:cubicBezTo>
                    <a:pt x="224" y="12"/>
                    <a:pt x="224" y="12"/>
                    <a:pt x="223" y="12"/>
                  </a:cubicBezTo>
                  <a:cubicBezTo>
                    <a:pt x="223" y="13"/>
                    <a:pt x="222" y="13"/>
                    <a:pt x="222" y="13"/>
                  </a:cubicBezTo>
                  <a:cubicBezTo>
                    <a:pt x="222" y="13"/>
                    <a:pt x="221" y="13"/>
                    <a:pt x="220" y="13"/>
                  </a:cubicBezTo>
                  <a:cubicBezTo>
                    <a:pt x="220" y="13"/>
                    <a:pt x="220" y="14"/>
                    <a:pt x="219" y="14"/>
                  </a:cubicBezTo>
                  <a:cubicBezTo>
                    <a:pt x="220" y="13"/>
                    <a:pt x="220" y="13"/>
                    <a:pt x="220" y="13"/>
                  </a:cubicBezTo>
                  <a:cubicBezTo>
                    <a:pt x="221" y="13"/>
                    <a:pt x="221" y="13"/>
                    <a:pt x="221" y="13"/>
                  </a:cubicBezTo>
                  <a:cubicBezTo>
                    <a:pt x="235" y="9"/>
                    <a:pt x="250" y="5"/>
                    <a:pt x="279" y="2"/>
                  </a:cubicBezTo>
                  <a:cubicBezTo>
                    <a:pt x="279" y="2"/>
                    <a:pt x="279" y="2"/>
                    <a:pt x="279" y="2"/>
                  </a:cubicBezTo>
                  <a:cubicBezTo>
                    <a:pt x="279" y="2"/>
                    <a:pt x="280" y="1"/>
                    <a:pt x="280" y="1"/>
                  </a:cubicBezTo>
                  <a:cubicBezTo>
                    <a:pt x="281" y="1"/>
                    <a:pt x="281" y="1"/>
                    <a:pt x="281" y="1"/>
                  </a:cubicBezTo>
                  <a:cubicBezTo>
                    <a:pt x="281" y="1"/>
                    <a:pt x="281" y="1"/>
                    <a:pt x="281" y="1"/>
                  </a:cubicBezTo>
                  <a:cubicBezTo>
                    <a:pt x="282" y="1"/>
                    <a:pt x="282" y="1"/>
                    <a:pt x="282" y="1"/>
                  </a:cubicBezTo>
                  <a:cubicBezTo>
                    <a:pt x="282" y="1"/>
                    <a:pt x="283" y="1"/>
                    <a:pt x="283" y="1"/>
                  </a:cubicBezTo>
                  <a:cubicBezTo>
                    <a:pt x="284" y="1"/>
                    <a:pt x="284" y="1"/>
                    <a:pt x="284" y="1"/>
                  </a:cubicBezTo>
                  <a:cubicBezTo>
                    <a:pt x="285" y="1"/>
                    <a:pt x="285" y="1"/>
                    <a:pt x="285" y="1"/>
                  </a:cubicBezTo>
                  <a:cubicBezTo>
                    <a:pt x="285" y="1"/>
                    <a:pt x="285" y="1"/>
                    <a:pt x="285" y="1"/>
                  </a:cubicBezTo>
                  <a:cubicBezTo>
                    <a:pt x="285" y="1"/>
                    <a:pt x="285" y="1"/>
                    <a:pt x="285" y="1"/>
                  </a:cubicBezTo>
                  <a:cubicBezTo>
                    <a:pt x="285" y="1"/>
                    <a:pt x="285" y="1"/>
                    <a:pt x="285" y="1"/>
                  </a:cubicBezTo>
                  <a:cubicBezTo>
                    <a:pt x="285" y="1"/>
                    <a:pt x="285" y="1"/>
                    <a:pt x="285" y="1"/>
                  </a:cubicBezTo>
                  <a:cubicBezTo>
                    <a:pt x="286" y="1"/>
                    <a:pt x="286" y="1"/>
                    <a:pt x="286" y="1"/>
                  </a:cubicBezTo>
                  <a:cubicBezTo>
                    <a:pt x="286" y="1"/>
                    <a:pt x="286" y="1"/>
                    <a:pt x="287" y="1"/>
                  </a:cubicBezTo>
                  <a:cubicBezTo>
                    <a:pt x="287" y="1"/>
                    <a:pt x="287" y="1"/>
                    <a:pt x="287" y="1"/>
                  </a:cubicBezTo>
                  <a:cubicBezTo>
                    <a:pt x="288" y="1"/>
                    <a:pt x="288" y="1"/>
                    <a:pt x="289" y="1"/>
                  </a:cubicBezTo>
                  <a:cubicBezTo>
                    <a:pt x="289" y="1"/>
                    <a:pt x="289" y="1"/>
                    <a:pt x="289" y="1"/>
                  </a:cubicBezTo>
                  <a:cubicBezTo>
                    <a:pt x="289" y="1"/>
                    <a:pt x="289" y="1"/>
                    <a:pt x="289" y="1"/>
                  </a:cubicBezTo>
                  <a:cubicBezTo>
                    <a:pt x="289" y="1"/>
                    <a:pt x="289" y="1"/>
                    <a:pt x="289" y="1"/>
                  </a:cubicBezTo>
                  <a:cubicBezTo>
                    <a:pt x="289" y="1"/>
                    <a:pt x="289" y="1"/>
                    <a:pt x="289" y="1"/>
                  </a:cubicBezTo>
                  <a:cubicBezTo>
                    <a:pt x="289" y="1"/>
                    <a:pt x="289" y="1"/>
                    <a:pt x="289" y="1"/>
                  </a:cubicBezTo>
                  <a:cubicBezTo>
                    <a:pt x="289" y="1"/>
                    <a:pt x="289" y="1"/>
                    <a:pt x="289" y="1"/>
                  </a:cubicBezTo>
                  <a:cubicBezTo>
                    <a:pt x="289" y="1"/>
                    <a:pt x="289" y="1"/>
                    <a:pt x="289" y="1"/>
                  </a:cubicBezTo>
                  <a:cubicBezTo>
                    <a:pt x="288" y="1"/>
                    <a:pt x="288" y="1"/>
                    <a:pt x="288" y="1"/>
                  </a:cubicBezTo>
                  <a:cubicBezTo>
                    <a:pt x="288" y="1"/>
                    <a:pt x="288" y="1"/>
                    <a:pt x="288" y="1"/>
                  </a:cubicBezTo>
                  <a:cubicBezTo>
                    <a:pt x="288" y="1"/>
                    <a:pt x="288" y="1"/>
                    <a:pt x="288" y="1"/>
                  </a:cubicBezTo>
                  <a:cubicBezTo>
                    <a:pt x="288" y="1"/>
                    <a:pt x="288" y="1"/>
                    <a:pt x="288" y="1"/>
                  </a:cubicBezTo>
                  <a:cubicBezTo>
                    <a:pt x="287" y="1"/>
                    <a:pt x="287" y="1"/>
                    <a:pt x="287" y="1"/>
                  </a:cubicBezTo>
                  <a:cubicBezTo>
                    <a:pt x="287" y="1"/>
                    <a:pt x="287" y="1"/>
                    <a:pt x="287" y="1"/>
                  </a:cubicBezTo>
                  <a:cubicBezTo>
                    <a:pt x="287" y="1"/>
                    <a:pt x="287" y="1"/>
                    <a:pt x="287" y="1"/>
                  </a:cubicBezTo>
                  <a:cubicBezTo>
                    <a:pt x="287" y="1"/>
                    <a:pt x="288" y="1"/>
                    <a:pt x="289" y="1"/>
                  </a:cubicBezTo>
                  <a:cubicBezTo>
                    <a:pt x="290" y="1"/>
                    <a:pt x="290" y="1"/>
                    <a:pt x="290" y="1"/>
                  </a:cubicBezTo>
                  <a:cubicBezTo>
                    <a:pt x="290" y="1"/>
                    <a:pt x="290" y="1"/>
                    <a:pt x="290" y="1"/>
                  </a:cubicBezTo>
                  <a:cubicBezTo>
                    <a:pt x="291" y="1"/>
                    <a:pt x="291" y="1"/>
                    <a:pt x="291" y="1"/>
                  </a:cubicBezTo>
                  <a:cubicBezTo>
                    <a:pt x="291" y="1"/>
                    <a:pt x="291" y="1"/>
                    <a:pt x="291" y="1"/>
                  </a:cubicBezTo>
                  <a:cubicBezTo>
                    <a:pt x="291" y="0"/>
                    <a:pt x="291" y="0"/>
                    <a:pt x="291" y="0"/>
                  </a:cubicBezTo>
                  <a:cubicBezTo>
                    <a:pt x="291" y="0"/>
                    <a:pt x="291" y="0"/>
                    <a:pt x="291" y="0"/>
                  </a:cubicBezTo>
                  <a:cubicBezTo>
                    <a:pt x="292" y="0"/>
                    <a:pt x="293" y="0"/>
                    <a:pt x="293" y="0"/>
                  </a:cubicBezTo>
                  <a:cubicBezTo>
                    <a:pt x="293" y="0"/>
                    <a:pt x="293" y="0"/>
                    <a:pt x="293" y="0"/>
                  </a:cubicBezTo>
                  <a:cubicBezTo>
                    <a:pt x="293" y="0"/>
                    <a:pt x="293" y="0"/>
                    <a:pt x="293" y="0"/>
                  </a:cubicBezTo>
                  <a:cubicBezTo>
                    <a:pt x="293" y="0"/>
                    <a:pt x="293" y="0"/>
                    <a:pt x="293" y="0"/>
                  </a:cubicBezTo>
                  <a:cubicBezTo>
                    <a:pt x="293" y="0"/>
                    <a:pt x="293" y="0"/>
                    <a:pt x="293" y="0"/>
                  </a:cubicBezTo>
                  <a:cubicBezTo>
                    <a:pt x="293" y="0"/>
                    <a:pt x="293" y="0"/>
                    <a:pt x="293" y="0"/>
                  </a:cubicBezTo>
                  <a:cubicBezTo>
                    <a:pt x="293" y="0"/>
                    <a:pt x="293" y="0"/>
                    <a:pt x="293" y="0"/>
                  </a:cubicBezTo>
                  <a:cubicBezTo>
                    <a:pt x="293" y="0"/>
                    <a:pt x="294" y="0"/>
                    <a:pt x="294" y="0"/>
                  </a:cubicBezTo>
                  <a:cubicBezTo>
                    <a:pt x="293" y="0"/>
                    <a:pt x="292" y="0"/>
                    <a:pt x="291" y="0"/>
                  </a:cubicBezTo>
                  <a:cubicBezTo>
                    <a:pt x="291" y="1"/>
                    <a:pt x="291" y="1"/>
                    <a:pt x="291" y="1"/>
                  </a:cubicBezTo>
                  <a:cubicBezTo>
                    <a:pt x="291" y="1"/>
                    <a:pt x="291" y="1"/>
                    <a:pt x="290" y="1"/>
                  </a:cubicBezTo>
                  <a:cubicBezTo>
                    <a:pt x="292" y="0"/>
                    <a:pt x="294" y="0"/>
                    <a:pt x="295" y="0"/>
                  </a:cubicBezTo>
                  <a:cubicBezTo>
                    <a:pt x="295" y="0"/>
                    <a:pt x="295" y="0"/>
                    <a:pt x="295" y="0"/>
                  </a:cubicBezTo>
                  <a:cubicBezTo>
                    <a:pt x="295" y="0"/>
                    <a:pt x="295" y="0"/>
                    <a:pt x="295" y="0"/>
                  </a:cubicBezTo>
                  <a:cubicBezTo>
                    <a:pt x="296" y="0"/>
                    <a:pt x="296" y="0"/>
                    <a:pt x="297" y="0"/>
                  </a:cubicBezTo>
                  <a:cubicBezTo>
                    <a:pt x="297" y="0"/>
                    <a:pt x="296" y="0"/>
                    <a:pt x="296" y="0"/>
                  </a:cubicBezTo>
                  <a:cubicBezTo>
                    <a:pt x="296" y="0"/>
                    <a:pt x="296" y="0"/>
                    <a:pt x="296" y="0"/>
                  </a:cubicBezTo>
                  <a:cubicBezTo>
                    <a:pt x="295" y="0"/>
                    <a:pt x="295" y="0"/>
                    <a:pt x="294" y="0"/>
                  </a:cubicBezTo>
                  <a:cubicBezTo>
                    <a:pt x="294" y="0"/>
                    <a:pt x="294" y="0"/>
                    <a:pt x="294" y="0"/>
                  </a:cubicBezTo>
                  <a:cubicBezTo>
                    <a:pt x="293" y="1"/>
                    <a:pt x="292" y="1"/>
                    <a:pt x="291" y="1"/>
                  </a:cubicBezTo>
                  <a:cubicBezTo>
                    <a:pt x="291" y="1"/>
                    <a:pt x="292" y="1"/>
                    <a:pt x="292" y="1"/>
                  </a:cubicBezTo>
                  <a:cubicBezTo>
                    <a:pt x="291" y="1"/>
                    <a:pt x="291" y="1"/>
                    <a:pt x="290" y="1"/>
                  </a:cubicBezTo>
                  <a:cubicBezTo>
                    <a:pt x="290" y="1"/>
                    <a:pt x="290" y="1"/>
                    <a:pt x="290" y="1"/>
                  </a:cubicBezTo>
                  <a:cubicBezTo>
                    <a:pt x="289" y="1"/>
                    <a:pt x="289" y="1"/>
                    <a:pt x="289" y="1"/>
                  </a:cubicBezTo>
                  <a:cubicBezTo>
                    <a:pt x="289" y="1"/>
                    <a:pt x="289" y="1"/>
                    <a:pt x="289" y="1"/>
                  </a:cubicBezTo>
                  <a:cubicBezTo>
                    <a:pt x="289" y="1"/>
                    <a:pt x="289" y="1"/>
                    <a:pt x="290" y="1"/>
                  </a:cubicBezTo>
                  <a:cubicBezTo>
                    <a:pt x="290" y="1"/>
                    <a:pt x="290" y="1"/>
                    <a:pt x="290" y="1"/>
                  </a:cubicBezTo>
                  <a:cubicBezTo>
                    <a:pt x="290" y="1"/>
                    <a:pt x="290" y="1"/>
                    <a:pt x="290" y="1"/>
                  </a:cubicBezTo>
                  <a:cubicBezTo>
                    <a:pt x="290" y="1"/>
                    <a:pt x="290" y="1"/>
                    <a:pt x="290" y="1"/>
                  </a:cubicBezTo>
                  <a:cubicBezTo>
                    <a:pt x="289" y="1"/>
                    <a:pt x="289" y="1"/>
                    <a:pt x="289" y="1"/>
                  </a:cubicBezTo>
                  <a:cubicBezTo>
                    <a:pt x="289" y="1"/>
                    <a:pt x="289" y="1"/>
                    <a:pt x="288" y="1"/>
                  </a:cubicBezTo>
                  <a:cubicBezTo>
                    <a:pt x="288" y="1"/>
                    <a:pt x="288" y="1"/>
                    <a:pt x="288" y="1"/>
                  </a:cubicBezTo>
                  <a:cubicBezTo>
                    <a:pt x="288" y="1"/>
                    <a:pt x="288" y="1"/>
                    <a:pt x="288" y="1"/>
                  </a:cubicBezTo>
                  <a:cubicBezTo>
                    <a:pt x="288" y="1"/>
                    <a:pt x="288" y="1"/>
                    <a:pt x="288" y="1"/>
                  </a:cubicBezTo>
                  <a:cubicBezTo>
                    <a:pt x="287" y="1"/>
                    <a:pt x="286" y="1"/>
                    <a:pt x="284" y="1"/>
                  </a:cubicBezTo>
                  <a:cubicBezTo>
                    <a:pt x="284" y="1"/>
                    <a:pt x="284" y="1"/>
                    <a:pt x="284" y="1"/>
                  </a:cubicBezTo>
                  <a:cubicBezTo>
                    <a:pt x="285" y="1"/>
                    <a:pt x="285" y="1"/>
                    <a:pt x="285" y="1"/>
                  </a:cubicBezTo>
                  <a:cubicBezTo>
                    <a:pt x="284" y="1"/>
                    <a:pt x="284" y="1"/>
                    <a:pt x="284" y="1"/>
                  </a:cubicBezTo>
                  <a:cubicBezTo>
                    <a:pt x="284" y="1"/>
                    <a:pt x="283" y="1"/>
                    <a:pt x="282" y="1"/>
                  </a:cubicBezTo>
                  <a:cubicBezTo>
                    <a:pt x="281" y="1"/>
                    <a:pt x="280" y="1"/>
                    <a:pt x="279" y="2"/>
                  </a:cubicBezTo>
                  <a:cubicBezTo>
                    <a:pt x="280" y="1"/>
                    <a:pt x="280" y="1"/>
                    <a:pt x="280" y="1"/>
                  </a:cubicBezTo>
                  <a:cubicBezTo>
                    <a:pt x="279" y="2"/>
                    <a:pt x="279" y="2"/>
                    <a:pt x="278" y="2"/>
                  </a:cubicBezTo>
                  <a:cubicBezTo>
                    <a:pt x="278" y="2"/>
                    <a:pt x="279" y="2"/>
                    <a:pt x="279" y="2"/>
                  </a:cubicBezTo>
                  <a:cubicBezTo>
                    <a:pt x="278" y="2"/>
                    <a:pt x="277" y="2"/>
                    <a:pt x="274" y="2"/>
                  </a:cubicBezTo>
                  <a:cubicBezTo>
                    <a:pt x="275" y="2"/>
                    <a:pt x="275" y="2"/>
                    <a:pt x="275" y="2"/>
                  </a:cubicBezTo>
                  <a:cubicBezTo>
                    <a:pt x="275" y="2"/>
                    <a:pt x="275" y="2"/>
                    <a:pt x="275" y="2"/>
                  </a:cubicBezTo>
                  <a:cubicBezTo>
                    <a:pt x="275" y="2"/>
                    <a:pt x="275" y="2"/>
                    <a:pt x="275" y="2"/>
                  </a:cubicBezTo>
                  <a:cubicBezTo>
                    <a:pt x="275" y="2"/>
                    <a:pt x="275" y="2"/>
                    <a:pt x="275" y="2"/>
                  </a:cubicBezTo>
                  <a:cubicBezTo>
                    <a:pt x="275" y="2"/>
                    <a:pt x="275" y="2"/>
                    <a:pt x="275" y="2"/>
                  </a:cubicBezTo>
                  <a:cubicBezTo>
                    <a:pt x="275" y="2"/>
                    <a:pt x="275" y="2"/>
                    <a:pt x="275" y="2"/>
                  </a:cubicBezTo>
                  <a:cubicBezTo>
                    <a:pt x="275" y="2"/>
                    <a:pt x="275" y="2"/>
                    <a:pt x="275" y="2"/>
                  </a:cubicBezTo>
                  <a:cubicBezTo>
                    <a:pt x="275" y="2"/>
                    <a:pt x="275" y="2"/>
                    <a:pt x="275" y="2"/>
                  </a:cubicBezTo>
                  <a:cubicBezTo>
                    <a:pt x="275" y="2"/>
                    <a:pt x="275" y="2"/>
                    <a:pt x="275" y="2"/>
                  </a:cubicBezTo>
                  <a:cubicBezTo>
                    <a:pt x="275" y="2"/>
                    <a:pt x="275" y="2"/>
                    <a:pt x="275" y="2"/>
                  </a:cubicBezTo>
                  <a:cubicBezTo>
                    <a:pt x="275" y="2"/>
                    <a:pt x="275" y="2"/>
                    <a:pt x="275" y="2"/>
                  </a:cubicBezTo>
                  <a:cubicBezTo>
                    <a:pt x="275" y="2"/>
                    <a:pt x="275" y="2"/>
                    <a:pt x="275" y="2"/>
                  </a:cubicBezTo>
                  <a:cubicBezTo>
                    <a:pt x="275" y="2"/>
                    <a:pt x="275" y="2"/>
                    <a:pt x="275" y="2"/>
                  </a:cubicBezTo>
                  <a:cubicBezTo>
                    <a:pt x="275" y="2"/>
                    <a:pt x="275" y="2"/>
                    <a:pt x="275" y="2"/>
                  </a:cubicBezTo>
                  <a:cubicBezTo>
                    <a:pt x="275" y="2"/>
                    <a:pt x="275" y="2"/>
                    <a:pt x="275" y="2"/>
                  </a:cubicBezTo>
                  <a:cubicBezTo>
                    <a:pt x="275" y="2"/>
                    <a:pt x="275" y="2"/>
                    <a:pt x="275" y="2"/>
                  </a:cubicBezTo>
                  <a:cubicBezTo>
                    <a:pt x="275" y="2"/>
                    <a:pt x="275" y="2"/>
                    <a:pt x="275" y="2"/>
                  </a:cubicBezTo>
                  <a:cubicBezTo>
                    <a:pt x="276" y="2"/>
                    <a:pt x="276" y="2"/>
                    <a:pt x="277" y="2"/>
                  </a:cubicBezTo>
                  <a:cubicBezTo>
                    <a:pt x="276" y="2"/>
                    <a:pt x="276" y="2"/>
                    <a:pt x="276" y="2"/>
                  </a:cubicBezTo>
                  <a:cubicBezTo>
                    <a:pt x="276" y="2"/>
                    <a:pt x="276" y="2"/>
                    <a:pt x="276" y="2"/>
                  </a:cubicBezTo>
                  <a:cubicBezTo>
                    <a:pt x="276" y="2"/>
                    <a:pt x="276" y="2"/>
                    <a:pt x="276" y="2"/>
                  </a:cubicBezTo>
                  <a:cubicBezTo>
                    <a:pt x="276" y="2"/>
                    <a:pt x="275" y="2"/>
                    <a:pt x="275" y="2"/>
                  </a:cubicBezTo>
                  <a:cubicBezTo>
                    <a:pt x="274" y="2"/>
                    <a:pt x="274" y="2"/>
                    <a:pt x="274" y="2"/>
                  </a:cubicBezTo>
                  <a:cubicBezTo>
                    <a:pt x="274" y="2"/>
                    <a:pt x="274" y="2"/>
                    <a:pt x="274" y="2"/>
                  </a:cubicBezTo>
                  <a:cubicBezTo>
                    <a:pt x="273" y="2"/>
                    <a:pt x="272" y="2"/>
                    <a:pt x="270" y="3"/>
                  </a:cubicBezTo>
                  <a:cubicBezTo>
                    <a:pt x="271" y="2"/>
                    <a:pt x="271" y="2"/>
                    <a:pt x="272" y="2"/>
                  </a:cubicBezTo>
                  <a:cubicBezTo>
                    <a:pt x="271" y="2"/>
                    <a:pt x="271" y="2"/>
                    <a:pt x="271" y="2"/>
                  </a:cubicBezTo>
                  <a:cubicBezTo>
                    <a:pt x="273" y="2"/>
                    <a:pt x="275" y="2"/>
                    <a:pt x="277" y="2"/>
                  </a:cubicBezTo>
                  <a:cubicBezTo>
                    <a:pt x="276" y="2"/>
                    <a:pt x="276" y="2"/>
                    <a:pt x="276" y="2"/>
                  </a:cubicBezTo>
                  <a:cubicBezTo>
                    <a:pt x="276" y="2"/>
                    <a:pt x="276" y="2"/>
                    <a:pt x="276" y="2"/>
                  </a:cubicBezTo>
                  <a:cubicBezTo>
                    <a:pt x="274" y="2"/>
                    <a:pt x="273" y="2"/>
                    <a:pt x="271" y="3"/>
                  </a:cubicBezTo>
                  <a:cubicBezTo>
                    <a:pt x="270" y="3"/>
                    <a:pt x="269" y="3"/>
                    <a:pt x="268" y="3"/>
                  </a:cubicBezTo>
                  <a:cubicBezTo>
                    <a:pt x="266" y="3"/>
                    <a:pt x="264" y="3"/>
                    <a:pt x="261" y="4"/>
                  </a:cubicBezTo>
                  <a:cubicBezTo>
                    <a:pt x="263" y="4"/>
                    <a:pt x="264" y="3"/>
                    <a:pt x="266" y="3"/>
                  </a:cubicBezTo>
                  <a:cubicBezTo>
                    <a:pt x="267" y="3"/>
                    <a:pt x="267" y="3"/>
                    <a:pt x="267" y="3"/>
                  </a:cubicBezTo>
                  <a:cubicBezTo>
                    <a:pt x="267" y="3"/>
                    <a:pt x="267" y="3"/>
                    <a:pt x="267" y="3"/>
                  </a:cubicBezTo>
                  <a:cubicBezTo>
                    <a:pt x="267" y="3"/>
                    <a:pt x="267" y="3"/>
                    <a:pt x="267" y="3"/>
                  </a:cubicBezTo>
                  <a:cubicBezTo>
                    <a:pt x="267" y="3"/>
                    <a:pt x="267" y="3"/>
                    <a:pt x="267" y="3"/>
                  </a:cubicBezTo>
                  <a:cubicBezTo>
                    <a:pt x="267" y="3"/>
                    <a:pt x="267" y="3"/>
                    <a:pt x="267" y="3"/>
                  </a:cubicBezTo>
                  <a:cubicBezTo>
                    <a:pt x="267" y="3"/>
                    <a:pt x="267" y="3"/>
                    <a:pt x="267" y="3"/>
                  </a:cubicBezTo>
                  <a:cubicBezTo>
                    <a:pt x="267" y="3"/>
                    <a:pt x="267" y="3"/>
                    <a:pt x="267" y="3"/>
                  </a:cubicBezTo>
                  <a:cubicBezTo>
                    <a:pt x="267" y="3"/>
                    <a:pt x="267" y="3"/>
                    <a:pt x="267" y="3"/>
                  </a:cubicBezTo>
                  <a:cubicBezTo>
                    <a:pt x="268" y="3"/>
                    <a:pt x="269" y="3"/>
                    <a:pt x="270" y="3"/>
                  </a:cubicBezTo>
                  <a:cubicBezTo>
                    <a:pt x="269" y="3"/>
                    <a:pt x="269" y="3"/>
                    <a:pt x="268" y="3"/>
                  </a:cubicBezTo>
                  <a:cubicBezTo>
                    <a:pt x="270" y="3"/>
                    <a:pt x="271" y="3"/>
                    <a:pt x="273" y="2"/>
                  </a:cubicBezTo>
                  <a:cubicBezTo>
                    <a:pt x="273" y="2"/>
                    <a:pt x="273" y="2"/>
                    <a:pt x="273" y="2"/>
                  </a:cubicBezTo>
                  <a:cubicBezTo>
                    <a:pt x="273" y="2"/>
                    <a:pt x="273" y="2"/>
                    <a:pt x="273" y="2"/>
                  </a:cubicBezTo>
                  <a:cubicBezTo>
                    <a:pt x="273" y="2"/>
                    <a:pt x="273" y="2"/>
                    <a:pt x="273" y="2"/>
                  </a:cubicBezTo>
                  <a:cubicBezTo>
                    <a:pt x="273" y="2"/>
                    <a:pt x="273" y="2"/>
                    <a:pt x="273" y="2"/>
                  </a:cubicBezTo>
                  <a:cubicBezTo>
                    <a:pt x="273" y="2"/>
                    <a:pt x="273" y="2"/>
                    <a:pt x="273" y="2"/>
                  </a:cubicBezTo>
                  <a:cubicBezTo>
                    <a:pt x="274" y="2"/>
                    <a:pt x="274" y="2"/>
                    <a:pt x="274" y="2"/>
                  </a:cubicBezTo>
                  <a:cubicBezTo>
                    <a:pt x="273" y="2"/>
                    <a:pt x="273" y="2"/>
                    <a:pt x="273" y="2"/>
                  </a:cubicBezTo>
                  <a:cubicBezTo>
                    <a:pt x="272" y="2"/>
                    <a:pt x="272" y="3"/>
                    <a:pt x="272" y="3"/>
                  </a:cubicBezTo>
                  <a:cubicBezTo>
                    <a:pt x="272" y="3"/>
                    <a:pt x="272" y="2"/>
                    <a:pt x="273" y="2"/>
                  </a:cubicBezTo>
                  <a:cubicBezTo>
                    <a:pt x="272" y="3"/>
                    <a:pt x="271" y="3"/>
                    <a:pt x="270" y="3"/>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3" name="Oval 22">
              <a:extLst>
                <a:ext uri="{FF2B5EF4-FFF2-40B4-BE49-F238E27FC236}">
                  <a16:creationId xmlns:a16="http://schemas.microsoft.com/office/drawing/2014/main" id="{6617ACD4-F8CA-9344-AB3E-7FC3FD39E8A4}"/>
                </a:ext>
              </a:extLst>
            </p:cNvPr>
            <p:cNvSpPr>
              <a:spLocks noChangeArrowheads="1"/>
            </p:cNvSpPr>
            <p:nvPr/>
          </p:nvSpPr>
          <p:spPr bwMode="auto">
            <a:xfrm>
              <a:off x="5534164" y="3935608"/>
              <a:ext cx="254853" cy="254853"/>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4" name="Rectangle 23">
              <a:extLst>
                <a:ext uri="{FF2B5EF4-FFF2-40B4-BE49-F238E27FC236}">
                  <a16:creationId xmlns:a16="http://schemas.microsoft.com/office/drawing/2014/main" id="{46A363D6-DB45-AB4B-9537-819CBFDAD73B}"/>
                </a:ext>
              </a:extLst>
            </p:cNvPr>
            <p:cNvSpPr>
              <a:spLocks noChangeArrowheads="1"/>
            </p:cNvSpPr>
            <p:nvPr/>
          </p:nvSpPr>
          <p:spPr bwMode="auto">
            <a:xfrm>
              <a:off x="5624324" y="3816597"/>
              <a:ext cx="74532" cy="16950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5" name="Rectangle 24">
              <a:extLst>
                <a:ext uri="{FF2B5EF4-FFF2-40B4-BE49-F238E27FC236}">
                  <a16:creationId xmlns:a16="http://schemas.microsoft.com/office/drawing/2014/main" id="{0FF52881-54A5-5A49-9656-E640ADB9E598}"/>
                </a:ext>
              </a:extLst>
            </p:cNvPr>
            <p:cNvSpPr>
              <a:spLocks noChangeArrowheads="1"/>
            </p:cNvSpPr>
            <p:nvPr/>
          </p:nvSpPr>
          <p:spPr bwMode="auto">
            <a:xfrm>
              <a:off x="5612302" y="3816597"/>
              <a:ext cx="98575" cy="26447"/>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6" name="Freeform 25">
              <a:extLst>
                <a:ext uri="{FF2B5EF4-FFF2-40B4-BE49-F238E27FC236}">
                  <a16:creationId xmlns:a16="http://schemas.microsoft.com/office/drawing/2014/main" id="{FB406DAB-BC53-B649-9ED8-24B2DA966F7D}"/>
                </a:ext>
              </a:extLst>
            </p:cNvPr>
            <p:cNvSpPr>
              <a:spLocks/>
            </p:cNvSpPr>
            <p:nvPr/>
          </p:nvSpPr>
          <p:spPr bwMode="auto">
            <a:xfrm>
              <a:off x="6058295" y="3536499"/>
              <a:ext cx="665983" cy="364247"/>
            </a:xfrm>
            <a:custGeom>
              <a:avLst/>
              <a:gdLst>
                <a:gd name="T0" fmla="*/ 554 w 554"/>
                <a:gd name="T1" fmla="*/ 152 h 303"/>
                <a:gd name="T2" fmla="*/ 278 w 554"/>
                <a:gd name="T3" fmla="*/ 303 h 303"/>
                <a:gd name="T4" fmla="*/ 0 w 554"/>
                <a:gd name="T5" fmla="*/ 152 h 303"/>
                <a:gd name="T6" fmla="*/ 278 w 554"/>
                <a:gd name="T7" fmla="*/ 0 h 303"/>
                <a:gd name="T8" fmla="*/ 554 w 554"/>
                <a:gd name="T9" fmla="*/ 152 h 303"/>
              </a:gdLst>
              <a:ahLst/>
              <a:cxnLst>
                <a:cxn ang="0">
                  <a:pos x="T0" y="T1"/>
                </a:cxn>
                <a:cxn ang="0">
                  <a:pos x="T2" y="T3"/>
                </a:cxn>
                <a:cxn ang="0">
                  <a:pos x="T4" y="T5"/>
                </a:cxn>
                <a:cxn ang="0">
                  <a:pos x="T6" y="T7"/>
                </a:cxn>
                <a:cxn ang="0">
                  <a:pos x="T8" y="T9"/>
                </a:cxn>
              </a:cxnLst>
              <a:rect l="0" t="0" r="r" b="b"/>
              <a:pathLst>
                <a:path w="554" h="303">
                  <a:moveTo>
                    <a:pt x="554" y="152"/>
                  </a:moveTo>
                  <a:lnTo>
                    <a:pt x="278" y="303"/>
                  </a:lnTo>
                  <a:lnTo>
                    <a:pt x="0" y="152"/>
                  </a:lnTo>
                  <a:lnTo>
                    <a:pt x="278" y="0"/>
                  </a:lnTo>
                  <a:lnTo>
                    <a:pt x="554" y="1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7" name="Freeform 26">
              <a:extLst>
                <a:ext uri="{FF2B5EF4-FFF2-40B4-BE49-F238E27FC236}">
                  <a16:creationId xmlns:a16="http://schemas.microsoft.com/office/drawing/2014/main" id="{C8B0D18E-D99C-FE41-9DCD-4BD577A16891}"/>
                </a:ext>
              </a:extLst>
            </p:cNvPr>
            <p:cNvSpPr>
              <a:spLocks/>
            </p:cNvSpPr>
            <p:nvPr/>
          </p:nvSpPr>
          <p:spPr bwMode="auto">
            <a:xfrm>
              <a:off x="6183317" y="3808181"/>
              <a:ext cx="417142" cy="305342"/>
            </a:xfrm>
            <a:custGeom>
              <a:avLst/>
              <a:gdLst>
                <a:gd name="T0" fmla="*/ 174 w 347"/>
                <a:gd name="T1" fmla="*/ 95 h 254"/>
                <a:gd name="T2" fmla="*/ 0 w 347"/>
                <a:gd name="T3" fmla="*/ 0 h 254"/>
                <a:gd name="T4" fmla="*/ 0 w 347"/>
                <a:gd name="T5" fmla="*/ 254 h 254"/>
                <a:gd name="T6" fmla="*/ 347 w 347"/>
                <a:gd name="T7" fmla="*/ 254 h 254"/>
                <a:gd name="T8" fmla="*/ 347 w 347"/>
                <a:gd name="T9" fmla="*/ 0 h 254"/>
                <a:gd name="T10" fmla="*/ 174 w 347"/>
                <a:gd name="T11" fmla="*/ 95 h 254"/>
              </a:gdLst>
              <a:ahLst/>
              <a:cxnLst>
                <a:cxn ang="0">
                  <a:pos x="T0" y="T1"/>
                </a:cxn>
                <a:cxn ang="0">
                  <a:pos x="T2" y="T3"/>
                </a:cxn>
                <a:cxn ang="0">
                  <a:pos x="T4" y="T5"/>
                </a:cxn>
                <a:cxn ang="0">
                  <a:pos x="T6" y="T7"/>
                </a:cxn>
                <a:cxn ang="0">
                  <a:pos x="T8" y="T9"/>
                </a:cxn>
                <a:cxn ang="0">
                  <a:pos x="T10" y="T11"/>
                </a:cxn>
              </a:cxnLst>
              <a:rect l="0" t="0" r="r" b="b"/>
              <a:pathLst>
                <a:path w="347" h="254">
                  <a:moveTo>
                    <a:pt x="174" y="95"/>
                  </a:moveTo>
                  <a:lnTo>
                    <a:pt x="0" y="0"/>
                  </a:lnTo>
                  <a:lnTo>
                    <a:pt x="0" y="254"/>
                  </a:lnTo>
                  <a:lnTo>
                    <a:pt x="347" y="254"/>
                  </a:lnTo>
                  <a:lnTo>
                    <a:pt x="347" y="0"/>
                  </a:lnTo>
                  <a:lnTo>
                    <a:pt x="174" y="9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8" name="Rectangle 27">
              <a:extLst>
                <a:ext uri="{FF2B5EF4-FFF2-40B4-BE49-F238E27FC236}">
                  <a16:creationId xmlns:a16="http://schemas.microsoft.com/office/drawing/2014/main" id="{4967A845-7623-D746-991E-791A92185C3C}"/>
                </a:ext>
              </a:extLst>
            </p:cNvPr>
            <p:cNvSpPr>
              <a:spLocks noChangeArrowheads="1"/>
            </p:cNvSpPr>
            <p:nvPr/>
          </p:nvSpPr>
          <p:spPr bwMode="auto">
            <a:xfrm>
              <a:off x="6647342" y="3719223"/>
              <a:ext cx="26447" cy="2248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9" name="Rectangle 28">
              <a:extLst>
                <a:ext uri="{FF2B5EF4-FFF2-40B4-BE49-F238E27FC236}">
                  <a16:creationId xmlns:a16="http://schemas.microsoft.com/office/drawing/2014/main" id="{054673B7-A718-3F4B-BAAB-719B40B28806}"/>
                </a:ext>
              </a:extLst>
            </p:cNvPr>
            <p:cNvSpPr>
              <a:spLocks noChangeArrowheads="1"/>
            </p:cNvSpPr>
            <p:nvPr/>
          </p:nvSpPr>
          <p:spPr bwMode="auto">
            <a:xfrm>
              <a:off x="6634118" y="3925991"/>
              <a:ext cx="51692" cy="181523"/>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grpSp>
          <p:nvGrpSpPr>
            <p:cNvPr id="30" name="Group 29">
              <a:extLst>
                <a:ext uri="{FF2B5EF4-FFF2-40B4-BE49-F238E27FC236}">
                  <a16:creationId xmlns:a16="http://schemas.microsoft.com/office/drawing/2014/main" id="{A4C53FD7-044A-554A-8721-BF0687BAE576}"/>
                </a:ext>
              </a:extLst>
            </p:cNvPr>
            <p:cNvGrpSpPr/>
            <p:nvPr/>
          </p:nvGrpSpPr>
          <p:grpSpPr>
            <a:xfrm>
              <a:off x="6647342" y="4274610"/>
              <a:ext cx="308949" cy="406322"/>
              <a:chOff x="6647342" y="4274610"/>
              <a:chExt cx="308949" cy="406322"/>
            </a:xfrm>
          </p:grpSpPr>
          <p:sp>
            <p:nvSpPr>
              <p:cNvPr id="279" name="Oval 31">
                <a:extLst>
                  <a:ext uri="{FF2B5EF4-FFF2-40B4-BE49-F238E27FC236}">
                    <a16:creationId xmlns:a16="http://schemas.microsoft.com/office/drawing/2014/main" id="{9B6F7421-7232-7542-A7B2-6DFBF81D270D}"/>
                  </a:ext>
                </a:extLst>
              </p:cNvPr>
              <p:cNvSpPr>
                <a:spLocks noChangeArrowheads="1"/>
              </p:cNvSpPr>
              <p:nvPr/>
            </p:nvSpPr>
            <p:spPr bwMode="auto">
              <a:xfrm>
                <a:off x="6647342" y="4274610"/>
                <a:ext cx="308949" cy="307747"/>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80" name="Freeform 32">
                <a:extLst>
                  <a:ext uri="{FF2B5EF4-FFF2-40B4-BE49-F238E27FC236}">
                    <a16:creationId xmlns:a16="http://schemas.microsoft.com/office/drawing/2014/main" id="{11871E2D-FCAA-AE48-B3B5-33DAEB030580}"/>
                  </a:ext>
                </a:extLst>
              </p:cNvPr>
              <p:cNvSpPr>
                <a:spLocks/>
              </p:cNvSpPr>
              <p:nvPr/>
            </p:nvSpPr>
            <p:spPr bwMode="auto">
              <a:xfrm>
                <a:off x="6694225" y="4477771"/>
                <a:ext cx="114203" cy="151469"/>
              </a:xfrm>
              <a:custGeom>
                <a:avLst/>
                <a:gdLst>
                  <a:gd name="T0" fmla="*/ 77 w 80"/>
                  <a:gd name="T1" fmla="*/ 27 h 107"/>
                  <a:gd name="T2" fmla="*/ 77 w 80"/>
                  <a:gd name="T3" fmla="*/ 102 h 107"/>
                  <a:gd name="T4" fmla="*/ 31 w 80"/>
                  <a:gd name="T5" fmla="*/ 77 h 107"/>
                  <a:gd name="T6" fmla="*/ 0 w 80"/>
                  <a:gd name="T7" fmla="*/ 38 h 107"/>
                  <a:gd name="T8" fmla="*/ 77 w 80"/>
                  <a:gd name="T9" fmla="*/ 27 h 107"/>
                </a:gdLst>
                <a:ahLst/>
                <a:cxnLst>
                  <a:cxn ang="0">
                    <a:pos x="T0" y="T1"/>
                  </a:cxn>
                  <a:cxn ang="0">
                    <a:pos x="T2" y="T3"/>
                  </a:cxn>
                  <a:cxn ang="0">
                    <a:pos x="T4" y="T5"/>
                  </a:cxn>
                  <a:cxn ang="0">
                    <a:pos x="T6" y="T7"/>
                  </a:cxn>
                  <a:cxn ang="0">
                    <a:pos x="T8" y="T9"/>
                  </a:cxn>
                </a:cxnLst>
                <a:rect l="0" t="0" r="r" b="b"/>
                <a:pathLst>
                  <a:path w="80" h="107">
                    <a:moveTo>
                      <a:pt x="77" y="27"/>
                    </a:moveTo>
                    <a:cubicBezTo>
                      <a:pt x="80" y="29"/>
                      <a:pt x="77" y="102"/>
                      <a:pt x="77" y="102"/>
                    </a:cubicBezTo>
                    <a:cubicBezTo>
                      <a:pt x="77" y="102"/>
                      <a:pt x="47" y="107"/>
                      <a:pt x="31" y="77"/>
                    </a:cubicBezTo>
                    <a:cubicBezTo>
                      <a:pt x="15" y="48"/>
                      <a:pt x="0" y="38"/>
                      <a:pt x="0" y="38"/>
                    </a:cubicBezTo>
                    <a:cubicBezTo>
                      <a:pt x="0" y="38"/>
                      <a:pt x="33" y="0"/>
                      <a:pt x="77" y="2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81" name="Freeform 33">
                <a:extLst>
                  <a:ext uri="{FF2B5EF4-FFF2-40B4-BE49-F238E27FC236}">
                    <a16:creationId xmlns:a16="http://schemas.microsoft.com/office/drawing/2014/main" id="{9B1118FB-F241-E548-BB25-A21D0CF31858}"/>
                  </a:ext>
                </a:extLst>
              </p:cNvPr>
              <p:cNvSpPr>
                <a:spLocks/>
              </p:cNvSpPr>
              <p:nvPr/>
            </p:nvSpPr>
            <p:spPr bwMode="auto">
              <a:xfrm>
                <a:off x="6795204" y="4477771"/>
                <a:ext cx="114203" cy="151469"/>
              </a:xfrm>
              <a:custGeom>
                <a:avLst/>
                <a:gdLst>
                  <a:gd name="T0" fmla="*/ 3 w 80"/>
                  <a:gd name="T1" fmla="*/ 27 h 107"/>
                  <a:gd name="T2" fmla="*/ 3 w 80"/>
                  <a:gd name="T3" fmla="*/ 102 h 107"/>
                  <a:gd name="T4" fmla="*/ 49 w 80"/>
                  <a:gd name="T5" fmla="*/ 77 h 107"/>
                  <a:gd name="T6" fmla="*/ 80 w 80"/>
                  <a:gd name="T7" fmla="*/ 38 h 107"/>
                  <a:gd name="T8" fmla="*/ 3 w 80"/>
                  <a:gd name="T9" fmla="*/ 27 h 107"/>
                </a:gdLst>
                <a:ahLst/>
                <a:cxnLst>
                  <a:cxn ang="0">
                    <a:pos x="T0" y="T1"/>
                  </a:cxn>
                  <a:cxn ang="0">
                    <a:pos x="T2" y="T3"/>
                  </a:cxn>
                  <a:cxn ang="0">
                    <a:pos x="T4" y="T5"/>
                  </a:cxn>
                  <a:cxn ang="0">
                    <a:pos x="T6" y="T7"/>
                  </a:cxn>
                  <a:cxn ang="0">
                    <a:pos x="T8" y="T9"/>
                  </a:cxn>
                </a:cxnLst>
                <a:rect l="0" t="0" r="r" b="b"/>
                <a:pathLst>
                  <a:path w="80" h="107">
                    <a:moveTo>
                      <a:pt x="3" y="27"/>
                    </a:moveTo>
                    <a:cubicBezTo>
                      <a:pt x="0" y="29"/>
                      <a:pt x="3" y="102"/>
                      <a:pt x="3" y="102"/>
                    </a:cubicBezTo>
                    <a:cubicBezTo>
                      <a:pt x="3" y="102"/>
                      <a:pt x="34" y="107"/>
                      <a:pt x="49" y="77"/>
                    </a:cubicBezTo>
                    <a:cubicBezTo>
                      <a:pt x="65" y="48"/>
                      <a:pt x="80" y="38"/>
                      <a:pt x="80" y="38"/>
                    </a:cubicBezTo>
                    <a:cubicBezTo>
                      <a:pt x="80" y="38"/>
                      <a:pt x="47" y="0"/>
                      <a:pt x="3" y="2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82" name="Freeform 34">
                <a:extLst>
                  <a:ext uri="{FF2B5EF4-FFF2-40B4-BE49-F238E27FC236}">
                    <a16:creationId xmlns:a16="http://schemas.microsoft.com/office/drawing/2014/main" id="{13ADA80C-57F2-EE4F-B6A8-787D1D5EB081}"/>
                  </a:ext>
                </a:extLst>
              </p:cNvPr>
              <p:cNvSpPr>
                <a:spLocks/>
              </p:cNvSpPr>
              <p:nvPr/>
            </p:nvSpPr>
            <p:spPr bwMode="auto">
              <a:xfrm>
                <a:off x="6749523" y="4614815"/>
                <a:ext cx="104586" cy="27649"/>
              </a:xfrm>
              <a:custGeom>
                <a:avLst/>
                <a:gdLst>
                  <a:gd name="T0" fmla="*/ 73 w 73"/>
                  <a:gd name="T1" fmla="*/ 10 h 19"/>
                  <a:gd name="T2" fmla="*/ 64 w 73"/>
                  <a:gd name="T3" fmla="*/ 19 h 19"/>
                  <a:gd name="T4" fmla="*/ 9 w 73"/>
                  <a:gd name="T5" fmla="*/ 19 h 19"/>
                  <a:gd name="T6" fmla="*/ 0 w 73"/>
                  <a:gd name="T7" fmla="*/ 10 h 19"/>
                  <a:gd name="T8" fmla="*/ 0 w 73"/>
                  <a:gd name="T9" fmla="*/ 10 h 19"/>
                  <a:gd name="T10" fmla="*/ 9 w 73"/>
                  <a:gd name="T11" fmla="*/ 0 h 19"/>
                  <a:gd name="T12" fmla="*/ 64 w 73"/>
                  <a:gd name="T13" fmla="*/ 0 h 19"/>
                  <a:gd name="T14" fmla="*/ 73 w 73"/>
                  <a:gd name="T15" fmla="*/ 10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19">
                    <a:moveTo>
                      <a:pt x="73" y="10"/>
                    </a:moveTo>
                    <a:cubicBezTo>
                      <a:pt x="73" y="15"/>
                      <a:pt x="69" y="19"/>
                      <a:pt x="64" y="19"/>
                    </a:cubicBezTo>
                    <a:cubicBezTo>
                      <a:pt x="9" y="19"/>
                      <a:pt x="9" y="19"/>
                      <a:pt x="9" y="19"/>
                    </a:cubicBezTo>
                    <a:cubicBezTo>
                      <a:pt x="4" y="19"/>
                      <a:pt x="0" y="15"/>
                      <a:pt x="0" y="10"/>
                    </a:cubicBezTo>
                    <a:cubicBezTo>
                      <a:pt x="0" y="10"/>
                      <a:pt x="0" y="10"/>
                      <a:pt x="0" y="10"/>
                    </a:cubicBezTo>
                    <a:cubicBezTo>
                      <a:pt x="0" y="5"/>
                      <a:pt x="4" y="0"/>
                      <a:pt x="9" y="0"/>
                    </a:cubicBezTo>
                    <a:cubicBezTo>
                      <a:pt x="64" y="0"/>
                      <a:pt x="64" y="0"/>
                      <a:pt x="64" y="0"/>
                    </a:cubicBezTo>
                    <a:cubicBezTo>
                      <a:pt x="69" y="0"/>
                      <a:pt x="73" y="5"/>
                      <a:pt x="73" y="1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83" name="Freeform 35">
                <a:extLst>
                  <a:ext uri="{FF2B5EF4-FFF2-40B4-BE49-F238E27FC236}">
                    <a16:creationId xmlns:a16="http://schemas.microsoft.com/office/drawing/2014/main" id="{23958561-F68C-4F48-A3F2-00708CA38E46}"/>
                  </a:ext>
                </a:extLst>
              </p:cNvPr>
              <p:cNvSpPr>
                <a:spLocks/>
              </p:cNvSpPr>
              <p:nvPr/>
            </p:nvSpPr>
            <p:spPr bwMode="auto">
              <a:xfrm>
                <a:off x="6755534" y="4646070"/>
                <a:ext cx="93767" cy="19234"/>
              </a:xfrm>
              <a:custGeom>
                <a:avLst/>
                <a:gdLst>
                  <a:gd name="T0" fmla="*/ 66 w 66"/>
                  <a:gd name="T1" fmla="*/ 7 h 13"/>
                  <a:gd name="T2" fmla="*/ 57 w 66"/>
                  <a:gd name="T3" fmla="*/ 13 h 13"/>
                  <a:gd name="T4" fmla="*/ 8 w 66"/>
                  <a:gd name="T5" fmla="*/ 13 h 13"/>
                  <a:gd name="T6" fmla="*/ 0 w 66"/>
                  <a:gd name="T7" fmla="*/ 7 h 13"/>
                  <a:gd name="T8" fmla="*/ 0 w 66"/>
                  <a:gd name="T9" fmla="*/ 7 h 13"/>
                  <a:gd name="T10" fmla="*/ 8 w 66"/>
                  <a:gd name="T11" fmla="*/ 0 h 13"/>
                  <a:gd name="T12" fmla="*/ 57 w 66"/>
                  <a:gd name="T13" fmla="*/ 0 h 13"/>
                  <a:gd name="T14" fmla="*/ 66 w 66"/>
                  <a:gd name="T15" fmla="*/ 7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13">
                    <a:moveTo>
                      <a:pt x="66" y="7"/>
                    </a:moveTo>
                    <a:cubicBezTo>
                      <a:pt x="66" y="10"/>
                      <a:pt x="62" y="13"/>
                      <a:pt x="57" y="13"/>
                    </a:cubicBezTo>
                    <a:cubicBezTo>
                      <a:pt x="8" y="13"/>
                      <a:pt x="8" y="13"/>
                      <a:pt x="8" y="13"/>
                    </a:cubicBezTo>
                    <a:cubicBezTo>
                      <a:pt x="3" y="13"/>
                      <a:pt x="0" y="10"/>
                      <a:pt x="0" y="7"/>
                    </a:cubicBezTo>
                    <a:cubicBezTo>
                      <a:pt x="0" y="7"/>
                      <a:pt x="0" y="7"/>
                      <a:pt x="0" y="7"/>
                    </a:cubicBezTo>
                    <a:cubicBezTo>
                      <a:pt x="0" y="3"/>
                      <a:pt x="3" y="0"/>
                      <a:pt x="8" y="0"/>
                    </a:cubicBezTo>
                    <a:cubicBezTo>
                      <a:pt x="57" y="0"/>
                      <a:pt x="57" y="0"/>
                      <a:pt x="57" y="0"/>
                    </a:cubicBezTo>
                    <a:cubicBezTo>
                      <a:pt x="62" y="0"/>
                      <a:pt x="66" y="3"/>
                      <a:pt x="66" y="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84" name="Freeform 36">
                <a:extLst>
                  <a:ext uri="{FF2B5EF4-FFF2-40B4-BE49-F238E27FC236}">
                    <a16:creationId xmlns:a16="http://schemas.microsoft.com/office/drawing/2014/main" id="{AD44666A-904D-6A4B-ACB6-D88CC18CE422}"/>
                  </a:ext>
                </a:extLst>
              </p:cNvPr>
              <p:cNvSpPr>
                <a:spLocks/>
              </p:cNvSpPr>
              <p:nvPr/>
            </p:nvSpPr>
            <p:spPr bwMode="auto">
              <a:xfrm>
                <a:off x="6783183" y="4649676"/>
                <a:ext cx="38468" cy="31256"/>
              </a:xfrm>
              <a:custGeom>
                <a:avLst/>
                <a:gdLst>
                  <a:gd name="T0" fmla="*/ 27 w 27"/>
                  <a:gd name="T1" fmla="*/ 11 h 22"/>
                  <a:gd name="T2" fmla="*/ 16 w 27"/>
                  <a:gd name="T3" fmla="*/ 22 h 22"/>
                  <a:gd name="T4" fmla="*/ 11 w 27"/>
                  <a:gd name="T5" fmla="*/ 22 h 22"/>
                  <a:gd name="T6" fmla="*/ 0 w 27"/>
                  <a:gd name="T7" fmla="*/ 11 h 22"/>
                  <a:gd name="T8" fmla="*/ 0 w 27"/>
                  <a:gd name="T9" fmla="*/ 11 h 22"/>
                  <a:gd name="T10" fmla="*/ 11 w 27"/>
                  <a:gd name="T11" fmla="*/ 0 h 22"/>
                  <a:gd name="T12" fmla="*/ 16 w 27"/>
                  <a:gd name="T13" fmla="*/ 0 h 22"/>
                  <a:gd name="T14" fmla="*/ 27 w 27"/>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22">
                    <a:moveTo>
                      <a:pt x="27" y="11"/>
                    </a:moveTo>
                    <a:cubicBezTo>
                      <a:pt x="27" y="17"/>
                      <a:pt x="22" y="22"/>
                      <a:pt x="16" y="22"/>
                    </a:cubicBezTo>
                    <a:cubicBezTo>
                      <a:pt x="11" y="22"/>
                      <a:pt x="11" y="22"/>
                      <a:pt x="11" y="22"/>
                    </a:cubicBezTo>
                    <a:cubicBezTo>
                      <a:pt x="5" y="22"/>
                      <a:pt x="0" y="17"/>
                      <a:pt x="0" y="11"/>
                    </a:cubicBezTo>
                    <a:cubicBezTo>
                      <a:pt x="0" y="11"/>
                      <a:pt x="0" y="11"/>
                      <a:pt x="0" y="11"/>
                    </a:cubicBezTo>
                    <a:cubicBezTo>
                      <a:pt x="0" y="5"/>
                      <a:pt x="5" y="0"/>
                      <a:pt x="11" y="0"/>
                    </a:cubicBezTo>
                    <a:cubicBezTo>
                      <a:pt x="16" y="0"/>
                      <a:pt x="16" y="0"/>
                      <a:pt x="16" y="0"/>
                    </a:cubicBezTo>
                    <a:cubicBezTo>
                      <a:pt x="22" y="0"/>
                      <a:pt x="27" y="5"/>
                      <a:pt x="27" y="1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grpSp>
        <p:grpSp>
          <p:nvGrpSpPr>
            <p:cNvPr id="31" name="Group 30">
              <a:extLst>
                <a:ext uri="{FF2B5EF4-FFF2-40B4-BE49-F238E27FC236}">
                  <a16:creationId xmlns:a16="http://schemas.microsoft.com/office/drawing/2014/main" id="{DBDAE614-90D3-A44B-9D76-EB079E0071CA}"/>
                </a:ext>
              </a:extLst>
            </p:cNvPr>
            <p:cNvGrpSpPr/>
            <p:nvPr/>
          </p:nvGrpSpPr>
          <p:grpSpPr>
            <a:xfrm>
              <a:off x="7048855" y="3151815"/>
              <a:ext cx="330588" cy="465227"/>
              <a:chOff x="7048855" y="3151815"/>
              <a:chExt cx="330588" cy="465227"/>
            </a:xfrm>
            <a:solidFill>
              <a:schemeClr val="bg1"/>
            </a:solidFill>
          </p:grpSpPr>
          <p:sp>
            <p:nvSpPr>
              <p:cNvPr id="36" name="Rectangle 35">
                <a:extLst>
                  <a:ext uri="{FF2B5EF4-FFF2-40B4-BE49-F238E27FC236}">
                    <a16:creationId xmlns:a16="http://schemas.microsoft.com/office/drawing/2014/main" id="{B3547F94-FB76-964E-ABA9-5BFB3B4AC9C6}"/>
                  </a:ext>
                </a:extLst>
              </p:cNvPr>
              <p:cNvSpPr>
                <a:spLocks noChangeArrowheads="1"/>
              </p:cNvSpPr>
              <p:nvPr/>
            </p:nvSpPr>
            <p:spPr bwMode="auto">
              <a:xfrm>
                <a:off x="7048855" y="3151815"/>
                <a:ext cx="43277" cy="46522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37" name="Rectangle 36">
                <a:extLst>
                  <a:ext uri="{FF2B5EF4-FFF2-40B4-BE49-F238E27FC236}">
                    <a16:creationId xmlns:a16="http://schemas.microsoft.com/office/drawing/2014/main" id="{1430710B-2235-7849-BF79-5F3239082F5D}"/>
                  </a:ext>
                </a:extLst>
              </p:cNvPr>
              <p:cNvSpPr>
                <a:spLocks noChangeArrowheads="1"/>
              </p:cNvSpPr>
              <p:nvPr/>
            </p:nvSpPr>
            <p:spPr bwMode="auto">
              <a:xfrm>
                <a:off x="7048855" y="3151815"/>
                <a:ext cx="15628" cy="46522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38" name="Rectangle 137">
                <a:extLst>
                  <a:ext uri="{FF2B5EF4-FFF2-40B4-BE49-F238E27FC236}">
                    <a16:creationId xmlns:a16="http://schemas.microsoft.com/office/drawing/2014/main" id="{8566936A-58BE-3E44-95D4-BDE8ADD238DC}"/>
                  </a:ext>
                </a:extLst>
              </p:cNvPr>
              <p:cNvSpPr>
                <a:spLocks noChangeArrowheads="1"/>
              </p:cNvSpPr>
              <p:nvPr/>
            </p:nvSpPr>
            <p:spPr bwMode="auto">
              <a:xfrm>
                <a:off x="7083717" y="3350168"/>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39" name="Rectangle 138">
                <a:extLst>
                  <a:ext uri="{FF2B5EF4-FFF2-40B4-BE49-F238E27FC236}">
                    <a16:creationId xmlns:a16="http://schemas.microsoft.com/office/drawing/2014/main" id="{9C0D9F28-E51E-1B46-9210-623C0B1CF740}"/>
                  </a:ext>
                </a:extLst>
              </p:cNvPr>
              <p:cNvSpPr>
                <a:spLocks noChangeArrowheads="1"/>
              </p:cNvSpPr>
              <p:nvPr/>
            </p:nvSpPr>
            <p:spPr bwMode="auto">
              <a:xfrm>
                <a:off x="7083717" y="3352572"/>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40" name="Rectangle 139">
                <a:extLst>
                  <a:ext uri="{FF2B5EF4-FFF2-40B4-BE49-F238E27FC236}">
                    <a16:creationId xmlns:a16="http://schemas.microsoft.com/office/drawing/2014/main" id="{800FBB6D-BFB3-0A4D-8AFE-0E0ABBEA52FA}"/>
                  </a:ext>
                </a:extLst>
              </p:cNvPr>
              <p:cNvSpPr>
                <a:spLocks noChangeArrowheads="1"/>
              </p:cNvSpPr>
              <p:nvPr/>
            </p:nvSpPr>
            <p:spPr bwMode="auto">
              <a:xfrm>
                <a:off x="7075302" y="3353774"/>
                <a:ext cx="16830"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41" name="Rectangle 140">
                <a:extLst>
                  <a:ext uri="{FF2B5EF4-FFF2-40B4-BE49-F238E27FC236}">
                    <a16:creationId xmlns:a16="http://schemas.microsoft.com/office/drawing/2014/main" id="{125347DD-66C7-0149-8050-4C14838947B6}"/>
                  </a:ext>
                </a:extLst>
              </p:cNvPr>
              <p:cNvSpPr>
                <a:spLocks noChangeArrowheads="1"/>
              </p:cNvSpPr>
              <p:nvPr/>
            </p:nvSpPr>
            <p:spPr bwMode="auto">
              <a:xfrm>
                <a:off x="7083717" y="3356178"/>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42" name="Rectangle 141">
                <a:extLst>
                  <a:ext uri="{FF2B5EF4-FFF2-40B4-BE49-F238E27FC236}">
                    <a16:creationId xmlns:a16="http://schemas.microsoft.com/office/drawing/2014/main" id="{6617B72E-FD41-B245-967E-D25D60EF69E5}"/>
                  </a:ext>
                </a:extLst>
              </p:cNvPr>
              <p:cNvSpPr>
                <a:spLocks noChangeArrowheads="1"/>
              </p:cNvSpPr>
              <p:nvPr/>
            </p:nvSpPr>
            <p:spPr bwMode="auto">
              <a:xfrm>
                <a:off x="7083717" y="3357381"/>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43" name="Rectangle 142">
                <a:extLst>
                  <a:ext uri="{FF2B5EF4-FFF2-40B4-BE49-F238E27FC236}">
                    <a16:creationId xmlns:a16="http://schemas.microsoft.com/office/drawing/2014/main" id="{9BFB6FE8-3302-EE4E-AD83-442754433C13}"/>
                  </a:ext>
                </a:extLst>
              </p:cNvPr>
              <p:cNvSpPr>
                <a:spLocks noChangeArrowheads="1"/>
              </p:cNvSpPr>
              <p:nvPr/>
            </p:nvSpPr>
            <p:spPr bwMode="auto">
              <a:xfrm>
                <a:off x="7083717" y="3360987"/>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44" name="Rectangle 143">
                <a:extLst>
                  <a:ext uri="{FF2B5EF4-FFF2-40B4-BE49-F238E27FC236}">
                    <a16:creationId xmlns:a16="http://schemas.microsoft.com/office/drawing/2014/main" id="{2A582D9A-A3FD-6242-8198-EA105C477EA8}"/>
                  </a:ext>
                </a:extLst>
              </p:cNvPr>
              <p:cNvSpPr>
                <a:spLocks noChangeArrowheads="1"/>
              </p:cNvSpPr>
              <p:nvPr/>
            </p:nvSpPr>
            <p:spPr bwMode="auto">
              <a:xfrm>
                <a:off x="7083717" y="3362189"/>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45" name="Rectangle 144">
                <a:extLst>
                  <a:ext uri="{FF2B5EF4-FFF2-40B4-BE49-F238E27FC236}">
                    <a16:creationId xmlns:a16="http://schemas.microsoft.com/office/drawing/2014/main" id="{9125703C-7C7A-ED4A-A306-C998758A2AAC}"/>
                  </a:ext>
                </a:extLst>
              </p:cNvPr>
              <p:cNvSpPr>
                <a:spLocks noChangeArrowheads="1"/>
              </p:cNvSpPr>
              <p:nvPr/>
            </p:nvSpPr>
            <p:spPr bwMode="auto">
              <a:xfrm>
                <a:off x="7082515" y="3363391"/>
                <a:ext cx="9617"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46" name="Rectangle 145">
                <a:extLst>
                  <a:ext uri="{FF2B5EF4-FFF2-40B4-BE49-F238E27FC236}">
                    <a16:creationId xmlns:a16="http://schemas.microsoft.com/office/drawing/2014/main" id="{EB5BC305-F24B-EE4A-BC00-352A749576F9}"/>
                  </a:ext>
                </a:extLst>
              </p:cNvPr>
              <p:cNvSpPr>
                <a:spLocks noChangeArrowheads="1"/>
              </p:cNvSpPr>
              <p:nvPr/>
            </p:nvSpPr>
            <p:spPr bwMode="auto">
              <a:xfrm>
                <a:off x="7083717" y="3365795"/>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47" name="Rectangle 146">
                <a:extLst>
                  <a:ext uri="{FF2B5EF4-FFF2-40B4-BE49-F238E27FC236}">
                    <a16:creationId xmlns:a16="http://schemas.microsoft.com/office/drawing/2014/main" id="{51E2F19C-3C90-9940-A238-4C7A8E01DB80}"/>
                  </a:ext>
                </a:extLst>
              </p:cNvPr>
              <p:cNvSpPr>
                <a:spLocks noChangeArrowheads="1"/>
              </p:cNvSpPr>
              <p:nvPr/>
            </p:nvSpPr>
            <p:spPr bwMode="auto">
              <a:xfrm>
                <a:off x="7083717" y="3368200"/>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48" name="Rectangle 147">
                <a:extLst>
                  <a:ext uri="{FF2B5EF4-FFF2-40B4-BE49-F238E27FC236}">
                    <a16:creationId xmlns:a16="http://schemas.microsoft.com/office/drawing/2014/main" id="{EBB44C8E-49D6-5D46-95F6-5BC19387A0D3}"/>
                  </a:ext>
                </a:extLst>
              </p:cNvPr>
              <p:cNvSpPr>
                <a:spLocks noChangeArrowheads="1"/>
              </p:cNvSpPr>
              <p:nvPr/>
            </p:nvSpPr>
            <p:spPr bwMode="auto">
              <a:xfrm>
                <a:off x="7083717" y="3369402"/>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49" name="Rectangle 148">
                <a:extLst>
                  <a:ext uri="{FF2B5EF4-FFF2-40B4-BE49-F238E27FC236}">
                    <a16:creationId xmlns:a16="http://schemas.microsoft.com/office/drawing/2014/main" id="{FB6FB810-6D5C-9841-AECE-326D7C7E33B7}"/>
                  </a:ext>
                </a:extLst>
              </p:cNvPr>
              <p:cNvSpPr>
                <a:spLocks noChangeArrowheads="1"/>
              </p:cNvSpPr>
              <p:nvPr/>
            </p:nvSpPr>
            <p:spPr bwMode="auto">
              <a:xfrm>
                <a:off x="7083717" y="3371806"/>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50" name="Rectangle 149">
                <a:extLst>
                  <a:ext uri="{FF2B5EF4-FFF2-40B4-BE49-F238E27FC236}">
                    <a16:creationId xmlns:a16="http://schemas.microsoft.com/office/drawing/2014/main" id="{CF0EA594-3730-0C43-940A-30EB7BC612EA}"/>
                  </a:ext>
                </a:extLst>
              </p:cNvPr>
              <p:cNvSpPr>
                <a:spLocks noChangeArrowheads="1"/>
              </p:cNvSpPr>
              <p:nvPr/>
            </p:nvSpPr>
            <p:spPr bwMode="auto">
              <a:xfrm>
                <a:off x="7075302" y="3373008"/>
                <a:ext cx="16830"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51" name="Rectangle 150">
                <a:extLst>
                  <a:ext uri="{FF2B5EF4-FFF2-40B4-BE49-F238E27FC236}">
                    <a16:creationId xmlns:a16="http://schemas.microsoft.com/office/drawing/2014/main" id="{F7696494-BD80-1443-9A7F-FD564EF41D5A}"/>
                  </a:ext>
                </a:extLst>
              </p:cNvPr>
              <p:cNvSpPr>
                <a:spLocks noChangeArrowheads="1"/>
              </p:cNvSpPr>
              <p:nvPr/>
            </p:nvSpPr>
            <p:spPr bwMode="auto">
              <a:xfrm>
                <a:off x="7083717" y="3376615"/>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52" name="Rectangle 151">
                <a:extLst>
                  <a:ext uri="{FF2B5EF4-FFF2-40B4-BE49-F238E27FC236}">
                    <a16:creationId xmlns:a16="http://schemas.microsoft.com/office/drawing/2014/main" id="{5599AB3F-0AE7-1B4D-8169-01C9242D0FF8}"/>
                  </a:ext>
                </a:extLst>
              </p:cNvPr>
              <p:cNvSpPr>
                <a:spLocks noChangeArrowheads="1"/>
              </p:cNvSpPr>
              <p:nvPr/>
            </p:nvSpPr>
            <p:spPr bwMode="auto">
              <a:xfrm>
                <a:off x="7083717" y="3377817"/>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53" name="Rectangle 152">
                <a:extLst>
                  <a:ext uri="{FF2B5EF4-FFF2-40B4-BE49-F238E27FC236}">
                    <a16:creationId xmlns:a16="http://schemas.microsoft.com/office/drawing/2014/main" id="{758BF18C-E19C-0846-B079-F5FA9AC758E7}"/>
                  </a:ext>
                </a:extLst>
              </p:cNvPr>
              <p:cNvSpPr>
                <a:spLocks noChangeArrowheads="1"/>
              </p:cNvSpPr>
              <p:nvPr/>
            </p:nvSpPr>
            <p:spPr bwMode="auto">
              <a:xfrm>
                <a:off x="7083717" y="3379019"/>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55" name="Rectangle 153">
                <a:extLst>
                  <a:ext uri="{FF2B5EF4-FFF2-40B4-BE49-F238E27FC236}">
                    <a16:creationId xmlns:a16="http://schemas.microsoft.com/office/drawing/2014/main" id="{1FF18A9C-2B9C-FA4A-A020-A84EFBCF1C90}"/>
                  </a:ext>
                </a:extLst>
              </p:cNvPr>
              <p:cNvSpPr>
                <a:spLocks noChangeArrowheads="1"/>
              </p:cNvSpPr>
              <p:nvPr/>
            </p:nvSpPr>
            <p:spPr bwMode="auto">
              <a:xfrm>
                <a:off x="7083717" y="3381424"/>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56" name="Rectangle 154">
                <a:extLst>
                  <a:ext uri="{FF2B5EF4-FFF2-40B4-BE49-F238E27FC236}">
                    <a16:creationId xmlns:a16="http://schemas.microsoft.com/office/drawing/2014/main" id="{6D554840-B333-334B-9450-0D0B2A2D1018}"/>
                  </a:ext>
                </a:extLst>
              </p:cNvPr>
              <p:cNvSpPr>
                <a:spLocks noChangeArrowheads="1"/>
              </p:cNvSpPr>
              <p:nvPr/>
            </p:nvSpPr>
            <p:spPr bwMode="auto">
              <a:xfrm>
                <a:off x="7082515" y="3382625"/>
                <a:ext cx="9617" cy="24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57" name="Rectangle 155">
                <a:extLst>
                  <a:ext uri="{FF2B5EF4-FFF2-40B4-BE49-F238E27FC236}">
                    <a16:creationId xmlns:a16="http://schemas.microsoft.com/office/drawing/2014/main" id="{283683B5-8FBB-6D49-9982-56DDFA0A8512}"/>
                  </a:ext>
                </a:extLst>
              </p:cNvPr>
              <p:cNvSpPr>
                <a:spLocks noChangeArrowheads="1"/>
              </p:cNvSpPr>
              <p:nvPr/>
            </p:nvSpPr>
            <p:spPr bwMode="auto">
              <a:xfrm>
                <a:off x="7083717" y="3385030"/>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58" name="Rectangle 156">
                <a:extLst>
                  <a:ext uri="{FF2B5EF4-FFF2-40B4-BE49-F238E27FC236}">
                    <a16:creationId xmlns:a16="http://schemas.microsoft.com/office/drawing/2014/main" id="{6472B5C3-815E-C648-A0BF-544A3285EF53}"/>
                  </a:ext>
                </a:extLst>
              </p:cNvPr>
              <p:cNvSpPr>
                <a:spLocks noChangeArrowheads="1"/>
              </p:cNvSpPr>
              <p:nvPr/>
            </p:nvSpPr>
            <p:spPr bwMode="auto">
              <a:xfrm>
                <a:off x="7083717" y="3387434"/>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59" name="Rectangle 157">
                <a:extLst>
                  <a:ext uri="{FF2B5EF4-FFF2-40B4-BE49-F238E27FC236}">
                    <a16:creationId xmlns:a16="http://schemas.microsoft.com/office/drawing/2014/main" id="{D8555631-32E5-FF44-95A0-158E516AAC3E}"/>
                  </a:ext>
                </a:extLst>
              </p:cNvPr>
              <p:cNvSpPr>
                <a:spLocks noChangeArrowheads="1"/>
              </p:cNvSpPr>
              <p:nvPr/>
            </p:nvSpPr>
            <p:spPr bwMode="auto">
              <a:xfrm>
                <a:off x="7083717" y="3388636"/>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60" name="Rectangle 158">
                <a:extLst>
                  <a:ext uri="{FF2B5EF4-FFF2-40B4-BE49-F238E27FC236}">
                    <a16:creationId xmlns:a16="http://schemas.microsoft.com/office/drawing/2014/main" id="{9E9A026B-AD06-3E4D-9189-F7EB0D5AEDF8}"/>
                  </a:ext>
                </a:extLst>
              </p:cNvPr>
              <p:cNvSpPr>
                <a:spLocks noChangeArrowheads="1"/>
              </p:cNvSpPr>
              <p:nvPr/>
            </p:nvSpPr>
            <p:spPr bwMode="auto">
              <a:xfrm>
                <a:off x="7083717" y="3392242"/>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62" name="Rectangle 159">
                <a:extLst>
                  <a:ext uri="{FF2B5EF4-FFF2-40B4-BE49-F238E27FC236}">
                    <a16:creationId xmlns:a16="http://schemas.microsoft.com/office/drawing/2014/main" id="{C4D5A809-3035-234D-80B3-658086CE5A00}"/>
                  </a:ext>
                </a:extLst>
              </p:cNvPr>
              <p:cNvSpPr>
                <a:spLocks noChangeArrowheads="1"/>
              </p:cNvSpPr>
              <p:nvPr/>
            </p:nvSpPr>
            <p:spPr bwMode="auto">
              <a:xfrm>
                <a:off x="7075302" y="3393445"/>
                <a:ext cx="16830"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63" name="Rectangle 160">
                <a:extLst>
                  <a:ext uri="{FF2B5EF4-FFF2-40B4-BE49-F238E27FC236}">
                    <a16:creationId xmlns:a16="http://schemas.microsoft.com/office/drawing/2014/main" id="{1B789598-7383-344A-883E-342B544949FE}"/>
                  </a:ext>
                </a:extLst>
              </p:cNvPr>
              <p:cNvSpPr>
                <a:spLocks noChangeArrowheads="1"/>
              </p:cNvSpPr>
              <p:nvPr/>
            </p:nvSpPr>
            <p:spPr bwMode="auto">
              <a:xfrm>
                <a:off x="7083717" y="3395849"/>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64" name="Rectangle 161">
                <a:extLst>
                  <a:ext uri="{FF2B5EF4-FFF2-40B4-BE49-F238E27FC236}">
                    <a16:creationId xmlns:a16="http://schemas.microsoft.com/office/drawing/2014/main" id="{E23B92E1-0D9C-9448-97FE-E85266B0C3B0}"/>
                  </a:ext>
                </a:extLst>
              </p:cNvPr>
              <p:cNvSpPr>
                <a:spLocks noChangeArrowheads="1"/>
              </p:cNvSpPr>
              <p:nvPr/>
            </p:nvSpPr>
            <p:spPr bwMode="auto">
              <a:xfrm>
                <a:off x="7083717" y="3397051"/>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65" name="Rectangle 162">
                <a:extLst>
                  <a:ext uri="{FF2B5EF4-FFF2-40B4-BE49-F238E27FC236}">
                    <a16:creationId xmlns:a16="http://schemas.microsoft.com/office/drawing/2014/main" id="{41D9E9CF-2EA2-5940-8BEE-CF1C91E3AB99}"/>
                  </a:ext>
                </a:extLst>
              </p:cNvPr>
              <p:cNvSpPr>
                <a:spLocks noChangeArrowheads="1"/>
              </p:cNvSpPr>
              <p:nvPr/>
            </p:nvSpPr>
            <p:spPr bwMode="auto">
              <a:xfrm>
                <a:off x="7083717" y="3398253"/>
                <a:ext cx="8415" cy="24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66" name="Rectangle 163">
                <a:extLst>
                  <a:ext uri="{FF2B5EF4-FFF2-40B4-BE49-F238E27FC236}">
                    <a16:creationId xmlns:a16="http://schemas.microsoft.com/office/drawing/2014/main" id="{68FC56E7-62E8-E242-AEFD-C444740B6404}"/>
                  </a:ext>
                </a:extLst>
              </p:cNvPr>
              <p:cNvSpPr>
                <a:spLocks noChangeArrowheads="1"/>
              </p:cNvSpPr>
              <p:nvPr/>
            </p:nvSpPr>
            <p:spPr bwMode="auto">
              <a:xfrm>
                <a:off x="7083717" y="3401859"/>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67" name="Rectangle 164">
                <a:extLst>
                  <a:ext uri="{FF2B5EF4-FFF2-40B4-BE49-F238E27FC236}">
                    <a16:creationId xmlns:a16="http://schemas.microsoft.com/office/drawing/2014/main" id="{E3DBCD66-4669-8344-862E-0757C9A345E2}"/>
                  </a:ext>
                </a:extLst>
              </p:cNvPr>
              <p:cNvSpPr>
                <a:spLocks noChangeArrowheads="1"/>
              </p:cNvSpPr>
              <p:nvPr/>
            </p:nvSpPr>
            <p:spPr bwMode="auto">
              <a:xfrm>
                <a:off x="7082515" y="3403062"/>
                <a:ext cx="9617"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68" name="Rectangle 165">
                <a:extLst>
                  <a:ext uri="{FF2B5EF4-FFF2-40B4-BE49-F238E27FC236}">
                    <a16:creationId xmlns:a16="http://schemas.microsoft.com/office/drawing/2014/main" id="{A25AB55D-7992-FA46-A8E2-BB0385A379FF}"/>
                  </a:ext>
                </a:extLst>
              </p:cNvPr>
              <p:cNvSpPr>
                <a:spLocks noChangeArrowheads="1"/>
              </p:cNvSpPr>
              <p:nvPr/>
            </p:nvSpPr>
            <p:spPr bwMode="auto">
              <a:xfrm>
                <a:off x="7083717" y="3404264"/>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69" name="Rectangle 166">
                <a:extLst>
                  <a:ext uri="{FF2B5EF4-FFF2-40B4-BE49-F238E27FC236}">
                    <a16:creationId xmlns:a16="http://schemas.microsoft.com/office/drawing/2014/main" id="{64AC1459-02B7-9547-A167-4F7C3E4F3D2B}"/>
                  </a:ext>
                </a:extLst>
              </p:cNvPr>
              <p:cNvSpPr>
                <a:spLocks noChangeArrowheads="1"/>
              </p:cNvSpPr>
              <p:nvPr/>
            </p:nvSpPr>
            <p:spPr bwMode="auto">
              <a:xfrm>
                <a:off x="7083717" y="3407871"/>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70" name="Rectangle 167">
                <a:extLst>
                  <a:ext uri="{FF2B5EF4-FFF2-40B4-BE49-F238E27FC236}">
                    <a16:creationId xmlns:a16="http://schemas.microsoft.com/office/drawing/2014/main" id="{F2DAEFFF-D517-A249-B35A-71687477E70F}"/>
                  </a:ext>
                </a:extLst>
              </p:cNvPr>
              <p:cNvSpPr>
                <a:spLocks noChangeArrowheads="1"/>
              </p:cNvSpPr>
              <p:nvPr/>
            </p:nvSpPr>
            <p:spPr bwMode="auto">
              <a:xfrm>
                <a:off x="7083717" y="3409072"/>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71" name="Rectangle 168">
                <a:extLst>
                  <a:ext uri="{FF2B5EF4-FFF2-40B4-BE49-F238E27FC236}">
                    <a16:creationId xmlns:a16="http://schemas.microsoft.com/office/drawing/2014/main" id="{9D4F594F-2877-4B4C-A192-7F1D9CC16263}"/>
                  </a:ext>
                </a:extLst>
              </p:cNvPr>
              <p:cNvSpPr>
                <a:spLocks noChangeArrowheads="1"/>
              </p:cNvSpPr>
              <p:nvPr/>
            </p:nvSpPr>
            <p:spPr bwMode="auto">
              <a:xfrm>
                <a:off x="7083717" y="3410275"/>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72" name="Rectangle 169">
                <a:extLst>
                  <a:ext uri="{FF2B5EF4-FFF2-40B4-BE49-F238E27FC236}">
                    <a16:creationId xmlns:a16="http://schemas.microsoft.com/office/drawing/2014/main" id="{BEA4CA60-0AA5-D047-AAEF-34F4120DD937}"/>
                  </a:ext>
                </a:extLst>
              </p:cNvPr>
              <p:cNvSpPr>
                <a:spLocks noChangeArrowheads="1"/>
              </p:cNvSpPr>
              <p:nvPr/>
            </p:nvSpPr>
            <p:spPr bwMode="auto">
              <a:xfrm>
                <a:off x="7075302" y="3412679"/>
                <a:ext cx="16830"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73" name="Rectangle 170">
                <a:extLst>
                  <a:ext uri="{FF2B5EF4-FFF2-40B4-BE49-F238E27FC236}">
                    <a16:creationId xmlns:a16="http://schemas.microsoft.com/office/drawing/2014/main" id="{48692DA1-D20D-5A4E-B59D-3301E5B7BB8C}"/>
                  </a:ext>
                </a:extLst>
              </p:cNvPr>
              <p:cNvSpPr>
                <a:spLocks noChangeArrowheads="1"/>
              </p:cNvSpPr>
              <p:nvPr/>
            </p:nvSpPr>
            <p:spPr bwMode="auto">
              <a:xfrm>
                <a:off x="7083717" y="3413881"/>
                <a:ext cx="8415" cy="24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74" name="Rectangle 171">
                <a:extLst>
                  <a:ext uri="{FF2B5EF4-FFF2-40B4-BE49-F238E27FC236}">
                    <a16:creationId xmlns:a16="http://schemas.microsoft.com/office/drawing/2014/main" id="{1A731E47-1F6D-254E-B6D0-C169BF4CD04A}"/>
                  </a:ext>
                </a:extLst>
              </p:cNvPr>
              <p:cNvSpPr>
                <a:spLocks noChangeArrowheads="1"/>
              </p:cNvSpPr>
              <p:nvPr/>
            </p:nvSpPr>
            <p:spPr bwMode="auto">
              <a:xfrm>
                <a:off x="7083717" y="3417488"/>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75" name="Rectangle 172">
                <a:extLst>
                  <a:ext uri="{FF2B5EF4-FFF2-40B4-BE49-F238E27FC236}">
                    <a16:creationId xmlns:a16="http://schemas.microsoft.com/office/drawing/2014/main" id="{7F92167D-DA23-554F-9629-0C49CA445DE3}"/>
                  </a:ext>
                </a:extLst>
              </p:cNvPr>
              <p:cNvSpPr>
                <a:spLocks noChangeArrowheads="1"/>
              </p:cNvSpPr>
              <p:nvPr/>
            </p:nvSpPr>
            <p:spPr bwMode="auto">
              <a:xfrm>
                <a:off x="7083717" y="3418689"/>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76" name="Rectangle 173">
                <a:extLst>
                  <a:ext uri="{FF2B5EF4-FFF2-40B4-BE49-F238E27FC236}">
                    <a16:creationId xmlns:a16="http://schemas.microsoft.com/office/drawing/2014/main" id="{6E8A9012-C03B-AE4C-BDC6-3D0FAF5E761E}"/>
                  </a:ext>
                </a:extLst>
              </p:cNvPr>
              <p:cNvSpPr>
                <a:spLocks noChangeArrowheads="1"/>
              </p:cNvSpPr>
              <p:nvPr/>
            </p:nvSpPr>
            <p:spPr bwMode="auto">
              <a:xfrm>
                <a:off x="7083717" y="3419892"/>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77" name="Rectangle 174">
                <a:extLst>
                  <a:ext uri="{FF2B5EF4-FFF2-40B4-BE49-F238E27FC236}">
                    <a16:creationId xmlns:a16="http://schemas.microsoft.com/office/drawing/2014/main" id="{B5C847C3-1C0F-DA45-A145-2F1A16203C48}"/>
                  </a:ext>
                </a:extLst>
              </p:cNvPr>
              <p:cNvSpPr>
                <a:spLocks noChangeArrowheads="1"/>
              </p:cNvSpPr>
              <p:nvPr/>
            </p:nvSpPr>
            <p:spPr bwMode="auto">
              <a:xfrm>
                <a:off x="7082515" y="3422296"/>
                <a:ext cx="9617"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78" name="Rectangle 175">
                <a:extLst>
                  <a:ext uri="{FF2B5EF4-FFF2-40B4-BE49-F238E27FC236}">
                    <a16:creationId xmlns:a16="http://schemas.microsoft.com/office/drawing/2014/main" id="{AAE85DCB-E97E-9243-80AA-AD56F37BF3E3}"/>
                  </a:ext>
                </a:extLst>
              </p:cNvPr>
              <p:cNvSpPr>
                <a:spLocks noChangeArrowheads="1"/>
              </p:cNvSpPr>
              <p:nvPr/>
            </p:nvSpPr>
            <p:spPr bwMode="auto">
              <a:xfrm>
                <a:off x="7083717" y="3424700"/>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79" name="Rectangle 176">
                <a:extLst>
                  <a:ext uri="{FF2B5EF4-FFF2-40B4-BE49-F238E27FC236}">
                    <a16:creationId xmlns:a16="http://schemas.microsoft.com/office/drawing/2014/main" id="{50F2817E-2FC9-9B4D-9EA8-CFF0BF969CC2}"/>
                  </a:ext>
                </a:extLst>
              </p:cNvPr>
              <p:cNvSpPr>
                <a:spLocks noChangeArrowheads="1"/>
              </p:cNvSpPr>
              <p:nvPr/>
            </p:nvSpPr>
            <p:spPr bwMode="auto">
              <a:xfrm>
                <a:off x="7083717" y="3427105"/>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80" name="Rectangle 177">
                <a:extLst>
                  <a:ext uri="{FF2B5EF4-FFF2-40B4-BE49-F238E27FC236}">
                    <a16:creationId xmlns:a16="http://schemas.microsoft.com/office/drawing/2014/main" id="{D478019E-E23E-234A-AA79-D87183CEEF64}"/>
                  </a:ext>
                </a:extLst>
              </p:cNvPr>
              <p:cNvSpPr>
                <a:spLocks noChangeArrowheads="1"/>
              </p:cNvSpPr>
              <p:nvPr/>
            </p:nvSpPr>
            <p:spPr bwMode="auto">
              <a:xfrm>
                <a:off x="7083717" y="3428306"/>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81" name="Rectangle 178">
                <a:extLst>
                  <a:ext uri="{FF2B5EF4-FFF2-40B4-BE49-F238E27FC236}">
                    <a16:creationId xmlns:a16="http://schemas.microsoft.com/office/drawing/2014/main" id="{2D47ACA4-90BB-BA4F-958B-F5B1CEEE50B1}"/>
                  </a:ext>
                </a:extLst>
              </p:cNvPr>
              <p:cNvSpPr>
                <a:spLocks noChangeArrowheads="1"/>
              </p:cNvSpPr>
              <p:nvPr/>
            </p:nvSpPr>
            <p:spPr bwMode="auto">
              <a:xfrm>
                <a:off x="7083717" y="3429509"/>
                <a:ext cx="8415" cy="24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82" name="Rectangle 179">
                <a:extLst>
                  <a:ext uri="{FF2B5EF4-FFF2-40B4-BE49-F238E27FC236}">
                    <a16:creationId xmlns:a16="http://schemas.microsoft.com/office/drawing/2014/main" id="{95F7246C-6629-1A40-A031-0C39178814E5}"/>
                  </a:ext>
                </a:extLst>
              </p:cNvPr>
              <p:cNvSpPr>
                <a:spLocks noChangeArrowheads="1"/>
              </p:cNvSpPr>
              <p:nvPr/>
            </p:nvSpPr>
            <p:spPr bwMode="auto">
              <a:xfrm>
                <a:off x="7075302" y="3433115"/>
                <a:ext cx="16830"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83" name="Rectangle 180">
                <a:extLst>
                  <a:ext uri="{FF2B5EF4-FFF2-40B4-BE49-F238E27FC236}">
                    <a16:creationId xmlns:a16="http://schemas.microsoft.com/office/drawing/2014/main" id="{31A2C7D0-D622-F341-A3C2-580A339AD867}"/>
                  </a:ext>
                </a:extLst>
              </p:cNvPr>
              <p:cNvSpPr>
                <a:spLocks noChangeArrowheads="1"/>
              </p:cNvSpPr>
              <p:nvPr/>
            </p:nvSpPr>
            <p:spPr bwMode="auto">
              <a:xfrm>
                <a:off x="7083717" y="3434318"/>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84" name="Rectangle 181">
                <a:extLst>
                  <a:ext uri="{FF2B5EF4-FFF2-40B4-BE49-F238E27FC236}">
                    <a16:creationId xmlns:a16="http://schemas.microsoft.com/office/drawing/2014/main" id="{D5823E64-7885-1D46-8EB1-E9F763939171}"/>
                  </a:ext>
                </a:extLst>
              </p:cNvPr>
              <p:cNvSpPr>
                <a:spLocks noChangeArrowheads="1"/>
              </p:cNvSpPr>
              <p:nvPr/>
            </p:nvSpPr>
            <p:spPr bwMode="auto">
              <a:xfrm>
                <a:off x="7083717" y="3436722"/>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85" name="Rectangle 182">
                <a:extLst>
                  <a:ext uri="{FF2B5EF4-FFF2-40B4-BE49-F238E27FC236}">
                    <a16:creationId xmlns:a16="http://schemas.microsoft.com/office/drawing/2014/main" id="{EFE8FA22-3156-8641-AE00-9E852AF0E9A3}"/>
                  </a:ext>
                </a:extLst>
              </p:cNvPr>
              <p:cNvSpPr>
                <a:spLocks noChangeArrowheads="1"/>
              </p:cNvSpPr>
              <p:nvPr/>
            </p:nvSpPr>
            <p:spPr bwMode="auto">
              <a:xfrm>
                <a:off x="7083717" y="3437924"/>
                <a:ext cx="8415" cy="24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86" name="Rectangle 183">
                <a:extLst>
                  <a:ext uri="{FF2B5EF4-FFF2-40B4-BE49-F238E27FC236}">
                    <a16:creationId xmlns:a16="http://schemas.microsoft.com/office/drawing/2014/main" id="{CEC5D5A0-15F6-3D47-BB03-4D726599FF9B}"/>
                  </a:ext>
                </a:extLst>
              </p:cNvPr>
              <p:cNvSpPr>
                <a:spLocks noChangeArrowheads="1"/>
              </p:cNvSpPr>
              <p:nvPr/>
            </p:nvSpPr>
            <p:spPr bwMode="auto">
              <a:xfrm>
                <a:off x="7083717" y="3440328"/>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87" name="Rectangle 184">
                <a:extLst>
                  <a:ext uri="{FF2B5EF4-FFF2-40B4-BE49-F238E27FC236}">
                    <a16:creationId xmlns:a16="http://schemas.microsoft.com/office/drawing/2014/main" id="{1E63930E-9DEB-2145-BB63-EFBA4C55795B}"/>
                  </a:ext>
                </a:extLst>
              </p:cNvPr>
              <p:cNvSpPr>
                <a:spLocks noChangeArrowheads="1"/>
              </p:cNvSpPr>
              <p:nvPr/>
            </p:nvSpPr>
            <p:spPr bwMode="auto">
              <a:xfrm>
                <a:off x="7082515" y="3442732"/>
                <a:ext cx="9617"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88" name="Rectangle 185">
                <a:extLst>
                  <a:ext uri="{FF2B5EF4-FFF2-40B4-BE49-F238E27FC236}">
                    <a16:creationId xmlns:a16="http://schemas.microsoft.com/office/drawing/2014/main" id="{FE7933CA-B034-D24D-BB80-57063D037BA5}"/>
                  </a:ext>
                </a:extLst>
              </p:cNvPr>
              <p:cNvSpPr>
                <a:spLocks noChangeArrowheads="1"/>
              </p:cNvSpPr>
              <p:nvPr/>
            </p:nvSpPr>
            <p:spPr bwMode="auto">
              <a:xfrm>
                <a:off x="7083717" y="3443935"/>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89" name="Rectangle 186">
                <a:extLst>
                  <a:ext uri="{FF2B5EF4-FFF2-40B4-BE49-F238E27FC236}">
                    <a16:creationId xmlns:a16="http://schemas.microsoft.com/office/drawing/2014/main" id="{0EECCE64-4A42-9943-889B-C4CFE61DFEA1}"/>
                  </a:ext>
                </a:extLst>
              </p:cNvPr>
              <p:cNvSpPr>
                <a:spLocks noChangeArrowheads="1"/>
              </p:cNvSpPr>
              <p:nvPr/>
            </p:nvSpPr>
            <p:spPr bwMode="auto">
              <a:xfrm>
                <a:off x="7083717" y="3445136"/>
                <a:ext cx="8415" cy="24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90" name="Rectangle 187">
                <a:extLst>
                  <a:ext uri="{FF2B5EF4-FFF2-40B4-BE49-F238E27FC236}">
                    <a16:creationId xmlns:a16="http://schemas.microsoft.com/office/drawing/2014/main" id="{3018C056-4565-FB4E-BE59-88D459A05BA6}"/>
                  </a:ext>
                </a:extLst>
              </p:cNvPr>
              <p:cNvSpPr>
                <a:spLocks noChangeArrowheads="1"/>
              </p:cNvSpPr>
              <p:nvPr/>
            </p:nvSpPr>
            <p:spPr bwMode="auto">
              <a:xfrm>
                <a:off x="7083717" y="3448743"/>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91" name="Rectangle 188">
                <a:extLst>
                  <a:ext uri="{FF2B5EF4-FFF2-40B4-BE49-F238E27FC236}">
                    <a16:creationId xmlns:a16="http://schemas.microsoft.com/office/drawing/2014/main" id="{AA204C93-2F65-FB46-85B3-8851FE098257}"/>
                  </a:ext>
                </a:extLst>
              </p:cNvPr>
              <p:cNvSpPr>
                <a:spLocks noChangeArrowheads="1"/>
              </p:cNvSpPr>
              <p:nvPr/>
            </p:nvSpPr>
            <p:spPr bwMode="auto">
              <a:xfrm>
                <a:off x="7083717" y="3449945"/>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92" name="Rectangle 189">
                <a:extLst>
                  <a:ext uri="{FF2B5EF4-FFF2-40B4-BE49-F238E27FC236}">
                    <a16:creationId xmlns:a16="http://schemas.microsoft.com/office/drawing/2014/main" id="{7A33B649-9F47-664C-BA56-3E9A4913E9A7}"/>
                  </a:ext>
                </a:extLst>
              </p:cNvPr>
              <p:cNvSpPr>
                <a:spLocks noChangeArrowheads="1"/>
              </p:cNvSpPr>
              <p:nvPr/>
            </p:nvSpPr>
            <p:spPr bwMode="auto">
              <a:xfrm>
                <a:off x="7075302" y="3451147"/>
                <a:ext cx="16830"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93" name="Rectangle 190">
                <a:extLst>
                  <a:ext uri="{FF2B5EF4-FFF2-40B4-BE49-F238E27FC236}">
                    <a16:creationId xmlns:a16="http://schemas.microsoft.com/office/drawing/2014/main" id="{DB797A5B-65C4-2549-BCCB-0E65E5BE1791}"/>
                  </a:ext>
                </a:extLst>
              </p:cNvPr>
              <p:cNvSpPr>
                <a:spLocks noChangeArrowheads="1"/>
              </p:cNvSpPr>
              <p:nvPr/>
            </p:nvSpPr>
            <p:spPr bwMode="auto">
              <a:xfrm>
                <a:off x="7083717" y="3453552"/>
                <a:ext cx="8415" cy="24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94" name="Rectangle 191">
                <a:extLst>
                  <a:ext uri="{FF2B5EF4-FFF2-40B4-BE49-F238E27FC236}">
                    <a16:creationId xmlns:a16="http://schemas.microsoft.com/office/drawing/2014/main" id="{5D3F52E3-9FD1-1349-BECB-445B4157ACD8}"/>
                  </a:ext>
                </a:extLst>
              </p:cNvPr>
              <p:cNvSpPr>
                <a:spLocks noChangeArrowheads="1"/>
              </p:cNvSpPr>
              <p:nvPr/>
            </p:nvSpPr>
            <p:spPr bwMode="auto">
              <a:xfrm>
                <a:off x="7083717" y="3455956"/>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95" name="Rectangle 192">
                <a:extLst>
                  <a:ext uri="{FF2B5EF4-FFF2-40B4-BE49-F238E27FC236}">
                    <a16:creationId xmlns:a16="http://schemas.microsoft.com/office/drawing/2014/main" id="{1242A085-8CDD-5E42-9DF3-954A7A05E62C}"/>
                  </a:ext>
                </a:extLst>
              </p:cNvPr>
              <p:cNvSpPr>
                <a:spLocks noChangeArrowheads="1"/>
              </p:cNvSpPr>
              <p:nvPr/>
            </p:nvSpPr>
            <p:spPr bwMode="auto">
              <a:xfrm>
                <a:off x="7083717" y="3458360"/>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96" name="Rectangle 193">
                <a:extLst>
                  <a:ext uri="{FF2B5EF4-FFF2-40B4-BE49-F238E27FC236}">
                    <a16:creationId xmlns:a16="http://schemas.microsoft.com/office/drawing/2014/main" id="{E3116C2A-5BA0-FF42-8DDF-3C4D4933C498}"/>
                  </a:ext>
                </a:extLst>
              </p:cNvPr>
              <p:cNvSpPr>
                <a:spLocks noChangeArrowheads="1"/>
              </p:cNvSpPr>
              <p:nvPr/>
            </p:nvSpPr>
            <p:spPr bwMode="auto">
              <a:xfrm>
                <a:off x="7083717" y="3459562"/>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97" name="Rectangle 194">
                <a:extLst>
                  <a:ext uri="{FF2B5EF4-FFF2-40B4-BE49-F238E27FC236}">
                    <a16:creationId xmlns:a16="http://schemas.microsoft.com/office/drawing/2014/main" id="{1503105A-6E59-D54F-8423-429189829657}"/>
                  </a:ext>
                </a:extLst>
              </p:cNvPr>
              <p:cNvSpPr>
                <a:spLocks noChangeArrowheads="1"/>
              </p:cNvSpPr>
              <p:nvPr/>
            </p:nvSpPr>
            <p:spPr bwMode="auto">
              <a:xfrm>
                <a:off x="7082515" y="3463169"/>
                <a:ext cx="9617"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98" name="Rectangle 195">
                <a:extLst>
                  <a:ext uri="{FF2B5EF4-FFF2-40B4-BE49-F238E27FC236}">
                    <a16:creationId xmlns:a16="http://schemas.microsoft.com/office/drawing/2014/main" id="{A200429E-EF5E-FD4E-B03B-BAF6782F496C}"/>
                  </a:ext>
                </a:extLst>
              </p:cNvPr>
              <p:cNvSpPr>
                <a:spLocks noChangeArrowheads="1"/>
              </p:cNvSpPr>
              <p:nvPr/>
            </p:nvSpPr>
            <p:spPr bwMode="auto">
              <a:xfrm>
                <a:off x="7083717" y="3464371"/>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99" name="Rectangle 196">
                <a:extLst>
                  <a:ext uri="{FF2B5EF4-FFF2-40B4-BE49-F238E27FC236}">
                    <a16:creationId xmlns:a16="http://schemas.microsoft.com/office/drawing/2014/main" id="{6CDBA9DE-5768-1747-B67C-0C30888B5F89}"/>
                  </a:ext>
                </a:extLst>
              </p:cNvPr>
              <p:cNvSpPr>
                <a:spLocks noChangeArrowheads="1"/>
              </p:cNvSpPr>
              <p:nvPr/>
            </p:nvSpPr>
            <p:spPr bwMode="auto">
              <a:xfrm>
                <a:off x="7083717" y="3465573"/>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00" name="Rectangle 197">
                <a:extLst>
                  <a:ext uri="{FF2B5EF4-FFF2-40B4-BE49-F238E27FC236}">
                    <a16:creationId xmlns:a16="http://schemas.microsoft.com/office/drawing/2014/main" id="{6F06171A-46EA-F543-9DEA-1DD2B6560FE2}"/>
                  </a:ext>
                </a:extLst>
              </p:cNvPr>
              <p:cNvSpPr>
                <a:spLocks noChangeArrowheads="1"/>
              </p:cNvSpPr>
              <p:nvPr/>
            </p:nvSpPr>
            <p:spPr bwMode="auto">
              <a:xfrm>
                <a:off x="7083717" y="3467977"/>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01" name="Rectangle 198">
                <a:extLst>
                  <a:ext uri="{FF2B5EF4-FFF2-40B4-BE49-F238E27FC236}">
                    <a16:creationId xmlns:a16="http://schemas.microsoft.com/office/drawing/2014/main" id="{D8A558CF-9341-7F44-A558-DC0249D1680A}"/>
                  </a:ext>
                </a:extLst>
              </p:cNvPr>
              <p:cNvSpPr>
                <a:spLocks noChangeArrowheads="1"/>
              </p:cNvSpPr>
              <p:nvPr/>
            </p:nvSpPr>
            <p:spPr bwMode="auto">
              <a:xfrm>
                <a:off x="7083717" y="3469179"/>
                <a:ext cx="8415" cy="24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02" name="Rectangle 199">
                <a:extLst>
                  <a:ext uri="{FF2B5EF4-FFF2-40B4-BE49-F238E27FC236}">
                    <a16:creationId xmlns:a16="http://schemas.microsoft.com/office/drawing/2014/main" id="{639C6A06-1C79-2C44-80DA-ABB85DC19728}"/>
                  </a:ext>
                </a:extLst>
              </p:cNvPr>
              <p:cNvSpPr>
                <a:spLocks noChangeArrowheads="1"/>
              </p:cNvSpPr>
              <p:nvPr/>
            </p:nvSpPr>
            <p:spPr bwMode="auto">
              <a:xfrm>
                <a:off x="7075302" y="3471583"/>
                <a:ext cx="16830"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03" name="Rectangle 200">
                <a:extLst>
                  <a:ext uri="{FF2B5EF4-FFF2-40B4-BE49-F238E27FC236}">
                    <a16:creationId xmlns:a16="http://schemas.microsoft.com/office/drawing/2014/main" id="{E6DDDA5C-6BD0-E34A-A06D-4F81D9140004}"/>
                  </a:ext>
                </a:extLst>
              </p:cNvPr>
              <p:cNvSpPr>
                <a:spLocks noChangeArrowheads="1"/>
              </p:cNvSpPr>
              <p:nvPr/>
            </p:nvSpPr>
            <p:spPr bwMode="auto">
              <a:xfrm>
                <a:off x="7083717" y="3473988"/>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04" name="Rectangle 201">
                <a:extLst>
                  <a:ext uri="{FF2B5EF4-FFF2-40B4-BE49-F238E27FC236}">
                    <a16:creationId xmlns:a16="http://schemas.microsoft.com/office/drawing/2014/main" id="{A7E4F44D-7EC0-554D-8AD3-421549656E98}"/>
                  </a:ext>
                </a:extLst>
              </p:cNvPr>
              <p:cNvSpPr>
                <a:spLocks noChangeArrowheads="1"/>
              </p:cNvSpPr>
              <p:nvPr/>
            </p:nvSpPr>
            <p:spPr bwMode="auto">
              <a:xfrm>
                <a:off x="7083717" y="3475190"/>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05" name="Rectangle 202">
                <a:extLst>
                  <a:ext uri="{FF2B5EF4-FFF2-40B4-BE49-F238E27FC236}">
                    <a16:creationId xmlns:a16="http://schemas.microsoft.com/office/drawing/2014/main" id="{F24B28E8-E143-A740-8962-F1213EE33550}"/>
                  </a:ext>
                </a:extLst>
              </p:cNvPr>
              <p:cNvSpPr>
                <a:spLocks noChangeArrowheads="1"/>
              </p:cNvSpPr>
              <p:nvPr/>
            </p:nvSpPr>
            <p:spPr bwMode="auto">
              <a:xfrm>
                <a:off x="7083717" y="3477594"/>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06" name="Rectangle 203">
                <a:extLst>
                  <a:ext uri="{FF2B5EF4-FFF2-40B4-BE49-F238E27FC236}">
                    <a16:creationId xmlns:a16="http://schemas.microsoft.com/office/drawing/2014/main" id="{5C230EAF-332F-0242-87FF-B2A8F1A6A9F0}"/>
                  </a:ext>
                </a:extLst>
              </p:cNvPr>
              <p:cNvSpPr>
                <a:spLocks noChangeArrowheads="1"/>
              </p:cNvSpPr>
              <p:nvPr/>
            </p:nvSpPr>
            <p:spPr bwMode="auto">
              <a:xfrm>
                <a:off x="7083717" y="3479999"/>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07" name="Rectangle 204">
                <a:extLst>
                  <a:ext uri="{FF2B5EF4-FFF2-40B4-BE49-F238E27FC236}">
                    <a16:creationId xmlns:a16="http://schemas.microsoft.com/office/drawing/2014/main" id="{5E8F2774-55CE-CC4A-B57B-D84A7D81F2EF}"/>
                  </a:ext>
                </a:extLst>
              </p:cNvPr>
              <p:cNvSpPr>
                <a:spLocks noChangeArrowheads="1"/>
              </p:cNvSpPr>
              <p:nvPr/>
            </p:nvSpPr>
            <p:spPr bwMode="auto">
              <a:xfrm>
                <a:off x="7082515" y="3481200"/>
                <a:ext cx="9617"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08" name="Rectangle 206">
                <a:extLst>
                  <a:ext uri="{FF2B5EF4-FFF2-40B4-BE49-F238E27FC236}">
                    <a16:creationId xmlns:a16="http://schemas.microsoft.com/office/drawing/2014/main" id="{B2FDEC04-BCDE-9242-844E-3F35E9542FA8}"/>
                  </a:ext>
                </a:extLst>
              </p:cNvPr>
              <p:cNvSpPr>
                <a:spLocks noChangeArrowheads="1"/>
              </p:cNvSpPr>
              <p:nvPr/>
            </p:nvSpPr>
            <p:spPr bwMode="auto">
              <a:xfrm>
                <a:off x="7083717" y="3483605"/>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09" name="Rectangle 207">
                <a:extLst>
                  <a:ext uri="{FF2B5EF4-FFF2-40B4-BE49-F238E27FC236}">
                    <a16:creationId xmlns:a16="http://schemas.microsoft.com/office/drawing/2014/main" id="{02063E43-A4EE-DF40-B43F-BCF520A15818}"/>
                  </a:ext>
                </a:extLst>
              </p:cNvPr>
              <p:cNvSpPr>
                <a:spLocks noChangeArrowheads="1"/>
              </p:cNvSpPr>
              <p:nvPr/>
            </p:nvSpPr>
            <p:spPr bwMode="auto">
              <a:xfrm>
                <a:off x="7083717" y="3484806"/>
                <a:ext cx="8415" cy="24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10" name="Rectangle 208">
                <a:extLst>
                  <a:ext uri="{FF2B5EF4-FFF2-40B4-BE49-F238E27FC236}">
                    <a16:creationId xmlns:a16="http://schemas.microsoft.com/office/drawing/2014/main" id="{A560C3F0-08DE-E742-A003-79389FDC101B}"/>
                  </a:ext>
                </a:extLst>
              </p:cNvPr>
              <p:cNvSpPr>
                <a:spLocks noChangeArrowheads="1"/>
              </p:cNvSpPr>
              <p:nvPr/>
            </p:nvSpPr>
            <p:spPr bwMode="auto">
              <a:xfrm>
                <a:off x="7083717" y="3487211"/>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11" name="Rectangle 209">
                <a:extLst>
                  <a:ext uri="{FF2B5EF4-FFF2-40B4-BE49-F238E27FC236}">
                    <a16:creationId xmlns:a16="http://schemas.microsoft.com/office/drawing/2014/main" id="{E090BFC7-DC25-BE4C-BCA4-D5E6772C2327}"/>
                  </a:ext>
                </a:extLst>
              </p:cNvPr>
              <p:cNvSpPr>
                <a:spLocks noChangeArrowheads="1"/>
              </p:cNvSpPr>
              <p:nvPr/>
            </p:nvSpPr>
            <p:spPr bwMode="auto">
              <a:xfrm>
                <a:off x="7083717" y="3489615"/>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12" name="Rectangle 210">
                <a:extLst>
                  <a:ext uri="{FF2B5EF4-FFF2-40B4-BE49-F238E27FC236}">
                    <a16:creationId xmlns:a16="http://schemas.microsoft.com/office/drawing/2014/main" id="{37973344-0FFF-194A-A1C4-64A5EA4FEC2C}"/>
                  </a:ext>
                </a:extLst>
              </p:cNvPr>
              <p:cNvSpPr>
                <a:spLocks noChangeArrowheads="1"/>
              </p:cNvSpPr>
              <p:nvPr/>
            </p:nvSpPr>
            <p:spPr bwMode="auto">
              <a:xfrm>
                <a:off x="7075302" y="3490818"/>
                <a:ext cx="16830"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13" name="Rectangle 211">
                <a:extLst>
                  <a:ext uri="{FF2B5EF4-FFF2-40B4-BE49-F238E27FC236}">
                    <a16:creationId xmlns:a16="http://schemas.microsoft.com/office/drawing/2014/main" id="{E68A350A-A16E-4940-8948-89E134992180}"/>
                  </a:ext>
                </a:extLst>
              </p:cNvPr>
              <p:cNvSpPr>
                <a:spLocks noChangeArrowheads="1"/>
              </p:cNvSpPr>
              <p:nvPr/>
            </p:nvSpPr>
            <p:spPr bwMode="auto">
              <a:xfrm>
                <a:off x="7083717" y="3493222"/>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14" name="Rectangle 212">
                <a:extLst>
                  <a:ext uri="{FF2B5EF4-FFF2-40B4-BE49-F238E27FC236}">
                    <a16:creationId xmlns:a16="http://schemas.microsoft.com/office/drawing/2014/main" id="{DC5C91A9-3813-8E4F-842A-B1C8DB25E15B}"/>
                  </a:ext>
                </a:extLst>
              </p:cNvPr>
              <p:cNvSpPr>
                <a:spLocks noChangeArrowheads="1"/>
              </p:cNvSpPr>
              <p:nvPr/>
            </p:nvSpPr>
            <p:spPr bwMode="auto">
              <a:xfrm>
                <a:off x="7083717" y="3495626"/>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15" name="Rectangle 213">
                <a:extLst>
                  <a:ext uri="{FF2B5EF4-FFF2-40B4-BE49-F238E27FC236}">
                    <a16:creationId xmlns:a16="http://schemas.microsoft.com/office/drawing/2014/main" id="{D31B23E9-4274-9242-A91E-CB3D2F2CFB7A}"/>
                  </a:ext>
                </a:extLst>
              </p:cNvPr>
              <p:cNvSpPr>
                <a:spLocks noChangeArrowheads="1"/>
              </p:cNvSpPr>
              <p:nvPr/>
            </p:nvSpPr>
            <p:spPr bwMode="auto">
              <a:xfrm>
                <a:off x="7083717" y="3496828"/>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16" name="Rectangle 214">
                <a:extLst>
                  <a:ext uri="{FF2B5EF4-FFF2-40B4-BE49-F238E27FC236}">
                    <a16:creationId xmlns:a16="http://schemas.microsoft.com/office/drawing/2014/main" id="{FA1AFFFC-B50B-3B49-8F16-DB66BABE57D6}"/>
                  </a:ext>
                </a:extLst>
              </p:cNvPr>
              <p:cNvSpPr>
                <a:spLocks noChangeArrowheads="1"/>
              </p:cNvSpPr>
              <p:nvPr/>
            </p:nvSpPr>
            <p:spPr bwMode="auto">
              <a:xfrm>
                <a:off x="7083717" y="3499232"/>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17" name="Rectangle 215">
                <a:extLst>
                  <a:ext uri="{FF2B5EF4-FFF2-40B4-BE49-F238E27FC236}">
                    <a16:creationId xmlns:a16="http://schemas.microsoft.com/office/drawing/2014/main" id="{92A0184E-A25D-D94E-AED3-5C55A64EFA71}"/>
                  </a:ext>
                </a:extLst>
              </p:cNvPr>
              <p:cNvSpPr>
                <a:spLocks noChangeArrowheads="1"/>
              </p:cNvSpPr>
              <p:nvPr/>
            </p:nvSpPr>
            <p:spPr bwMode="auto">
              <a:xfrm>
                <a:off x="7082515" y="3500435"/>
                <a:ext cx="9617" cy="24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18" name="Rectangle 216">
                <a:extLst>
                  <a:ext uri="{FF2B5EF4-FFF2-40B4-BE49-F238E27FC236}">
                    <a16:creationId xmlns:a16="http://schemas.microsoft.com/office/drawing/2014/main" id="{3B492946-D157-D04D-A277-7F5ECD89006D}"/>
                  </a:ext>
                </a:extLst>
              </p:cNvPr>
              <p:cNvSpPr>
                <a:spLocks noChangeArrowheads="1"/>
              </p:cNvSpPr>
              <p:nvPr/>
            </p:nvSpPr>
            <p:spPr bwMode="auto">
              <a:xfrm>
                <a:off x="7083717" y="3504041"/>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19" name="Rectangle 217">
                <a:extLst>
                  <a:ext uri="{FF2B5EF4-FFF2-40B4-BE49-F238E27FC236}">
                    <a16:creationId xmlns:a16="http://schemas.microsoft.com/office/drawing/2014/main" id="{EBF72915-1F46-FC4C-8A30-966D14BB64F3}"/>
                  </a:ext>
                </a:extLst>
              </p:cNvPr>
              <p:cNvSpPr>
                <a:spLocks noChangeArrowheads="1"/>
              </p:cNvSpPr>
              <p:nvPr/>
            </p:nvSpPr>
            <p:spPr bwMode="auto">
              <a:xfrm>
                <a:off x="7083717" y="3505243"/>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20" name="Rectangle 218">
                <a:extLst>
                  <a:ext uri="{FF2B5EF4-FFF2-40B4-BE49-F238E27FC236}">
                    <a16:creationId xmlns:a16="http://schemas.microsoft.com/office/drawing/2014/main" id="{9A5EA1FC-51B8-A248-B89D-3F66ACE40DE7}"/>
                  </a:ext>
                </a:extLst>
              </p:cNvPr>
              <p:cNvSpPr>
                <a:spLocks noChangeArrowheads="1"/>
              </p:cNvSpPr>
              <p:nvPr/>
            </p:nvSpPr>
            <p:spPr bwMode="auto">
              <a:xfrm>
                <a:off x="7083717" y="3506445"/>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21" name="Rectangle 219">
                <a:extLst>
                  <a:ext uri="{FF2B5EF4-FFF2-40B4-BE49-F238E27FC236}">
                    <a16:creationId xmlns:a16="http://schemas.microsoft.com/office/drawing/2014/main" id="{F5D929F8-313B-B447-8456-8BE77779D10E}"/>
                  </a:ext>
                </a:extLst>
              </p:cNvPr>
              <p:cNvSpPr>
                <a:spLocks noChangeArrowheads="1"/>
              </p:cNvSpPr>
              <p:nvPr/>
            </p:nvSpPr>
            <p:spPr bwMode="auto">
              <a:xfrm>
                <a:off x="7083717" y="3508849"/>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22" name="Rectangle 220">
                <a:extLst>
                  <a:ext uri="{FF2B5EF4-FFF2-40B4-BE49-F238E27FC236}">
                    <a16:creationId xmlns:a16="http://schemas.microsoft.com/office/drawing/2014/main" id="{8903DB6B-F46A-7A41-9E82-168C16B65C52}"/>
                  </a:ext>
                </a:extLst>
              </p:cNvPr>
              <p:cNvSpPr>
                <a:spLocks noChangeArrowheads="1"/>
              </p:cNvSpPr>
              <p:nvPr/>
            </p:nvSpPr>
            <p:spPr bwMode="auto">
              <a:xfrm>
                <a:off x="7075302" y="3511253"/>
                <a:ext cx="16830"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23" name="Rectangle 221">
                <a:extLst>
                  <a:ext uri="{FF2B5EF4-FFF2-40B4-BE49-F238E27FC236}">
                    <a16:creationId xmlns:a16="http://schemas.microsoft.com/office/drawing/2014/main" id="{5F05469F-73F3-DD46-B6F0-E5682E475949}"/>
                  </a:ext>
                </a:extLst>
              </p:cNvPr>
              <p:cNvSpPr>
                <a:spLocks noChangeArrowheads="1"/>
              </p:cNvSpPr>
              <p:nvPr/>
            </p:nvSpPr>
            <p:spPr bwMode="auto">
              <a:xfrm>
                <a:off x="7083717" y="3513658"/>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24" name="Rectangle 222">
                <a:extLst>
                  <a:ext uri="{FF2B5EF4-FFF2-40B4-BE49-F238E27FC236}">
                    <a16:creationId xmlns:a16="http://schemas.microsoft.com/office/drawing/2014/main" id="{C92C31DB-EA82-2441-AA7F-AA290A4DEA8E}"/>
                  </a:ext>
                </a:extLst>
              </p:cNvPr>
              <p:cNvSpPr>
                <a:spLocks noChangeArrowheads="1"/>
              </p:cNvSpPr>
              <p:nvPr/>
            </p:nvSpPr>
            <p:spPr bwMode="auto">
              <a:xfrm>
                <a:off x="7083717" y="3514860"/>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25" name="Rectangle 223">
                <a:extLst>
                  <a:ext uri="{FF2B5EF4-FFF2-40B4-BE49-F238E27FC236}">
                    <a16:creationId xmlns:a16="http://schemas.microsoft.com/office/drawing/2014/main" id="{2A992DF4-B147-114B-9B1B-6EBC6AF4CE80}"/>
                  </a:ext>
                </a:extLst>
              </p:cNvPr>
              <p:cNvSpPr>
                <a:spLocks noChangeArrowheads="1"/>
              </p:cNvSpPr>
              <p:nvPr/>
            </p:nvSpPr>
            <p:spPr bwMode="auto">
              <a:xfrm>
                <a:off x="7083717" y="3516062"/>
                <a:ext cx="8415" cy="24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26" name="Rectangle 224">
                <a:extLst>
                  <a:ext uri="{FF2B5EF4-FFF2-40B4-BE49-F238E27FC236}">
                    <a16:creationId xmlns:a16="http://schemas.microsoft.com/office/drawing/2014/main" id="{B226DD07-677F-B641-882A-C66584A18A66}"/>
                  </a:ext>
                </a:extLst>
              </p:cNvPr>
              <p:cNvSpPr>
                <a:spLocks noChangeArrowheads="1"/>
              </p:cNvSpPr>
              <p:nvPr/>
            </p:nvSpPr>
            <p:spPr bwMode="auto">
              <a:xfrm>
                <a:off x="7083717" y="3519669"/>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27" name="Rectangle 225">
                <a:extLst>
                  <a:ext uri="{FF2B5EF4-FFF2-40B4-BE49-F238E27FC236}">
                    <a16:creationId xmlns:a16="http://schemas.microsoft.com/office/drawing/2014/main" id="{BA80C79B-B150-8E47-B83A-29E8D6CE97FD}"/>
                  </a:ext>
                </a:extLst>
              </p:cNvPr>
              <p:cNvSpPr>
                <a:spLocks noChangeArrowheads="1"/>
              </p:cNvSpPr>
              <p:nvPr/>
            </p:nvSpPr>
            <p:spPr bwMode="auto">
              <a:xfrm>
                <a:off x="7082515" y="3520871"/>
                <a:ext cx="9617"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28" name="Rectangle 226">
                <a:extLst>
                  <a:ext uri="{FF2B5EF4-FFF2-40B4-BE49-F238E27FC236}">
                    <a16:creationId xmlns:a16="http://schemas.microsoft.com/office/drawing/2014/main" id="{BE9095C9-7517-5040-8E38-600C529BBD8C}"/>
                  </a:ext>
                </a:extLst>
              </p:cNvPr>
              <p:cNvSpPr>
                <a:spLocks noChangeArrowheads="1"/>
              </p:cNvSpPr>
              <p:nvPr/>
            </p:nvSpPr>
            <p:spPr bwMode="auto">
              <a:xfrm>
                <a:off x="7083717" y="3522073"/>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29" name="Rectangle 227">
                <a:extLst>
                  <a:ext uri="{FF2B5EF4-FFF2-40B4-BE49-F238E27FC236}">
                    <a16:creationId xmlns:a16="http://schemas.microsoft.com/office/drawing/2014/main" id="{CC70734B-E828-E842-A8DB-33796A9A2F02}"/>
                  </a:ext>
                </a:extLst>
              </p:cNvPr>
              <p:cNvSpPr>
                <a:spLocks noChangeArrowheads="1"/>
              </p:cNvSpPr>
              <p:nvPr/>
            </p:nvSpPr>
            <p:spPr bwMode="auto">
              <a:xfrm>
                <a:off x="7083717" y="3524477"/>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30" name="Rectangle 228">
                <a:extLst>
                  <a:ext uri="{FF2B5EF4-FFF2-40B4-BE49-F238E27FC236}">
                    <a16:creationId xmlns:a16="http://schemas.microsoft.com/office/drawing/2014/main" id="{D4743145-E2F8-064F-A7C4-C5FE75E1257C}"/>
                  </a:ext>
                </a:extLst>
              </p:cNvPr>
              <p:cNvSpPr>
                <a:spLocks noChangeArrowheads="1"/>
              </p:cNvSpPr>
              <p:nvPr/>
            </p:nvSpPr>
            <p:spPr bwMode="auto">
              <a:xfrm>
                <a:off x="7083717" y="3526882"/>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31" name="Rectangle 229">
                <a:extLst>
                  <a:ext uri="{FF2B5EF4-FFF2-40B4-BE49-F238E27FC236}">
                    <a16:creationId xmlns:a16="http://schemas.microsoft.com/office/drawing/2014/main" id="{A86A791F-A650-A742-8AA6-9209B25A109A}"/>
                  </a:ext>
                </a:extLst>
              </p:cNvPr>
              <p:cNvSpPr>
                <a:spLocks noChangeArrowheads="1"/>
              </p:cNvSpPr>
              <p:nvPr/>
            </p:nvSpPr>
            <p:spPr bwMode="auto">
              <a:xfrm>
                <a:off x="7083717" y="3529286"/>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32" name="Rectangle 230">
                <a:extLst>
                  <a:ext uri="{FF2B5EF4-FFF2-40B4-BE49-F238E27FC236}">
                    <a16:creationId xmlns:a16="http://schemas.microsoft.com/office/drawing/2014/main" id="{5D6F91B0-C531-F34E-8A27-C35C7DEF676D}"/>
                  </a:ext>
                </a:extLst>
              </p:cNvPr>
              <p:cNvSpPr>
                <a:spLocks noChangeArrowheads="1"/>
              </p:cNvSpPr>
              <p:nvPr/>
            </p:nvSpPr>
            <p:spPr bwMode="auto">
              <a:xfrm>
                <a:off x="7075302" y="3530488"/>
                <a:ext cx="16830"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33" name="Rectangle 231">
                <a:extLst>
                  <a:ext uri="{FF2B5EF4-FFF2-40B4-BE49-F238E27FC236}">
                    <a16:creationId xmlns:a16="http://schemas.microsoft.com/office/drawing/2014/main" id="{CEC39638-8FAB-F24F-B092-46D9818A2D5C}"/>
                  </a:ext>
                </a:extLst>
              </p:cNvPr>
              <p:cNvSpPr>
                <a:spLocks noChangeArrowheads="1"/>
              </p:cNvSpPr>
              <p:nvPr/>
            </p:nvSpPr>
            <p:spPr bwMode="auto">
              <a:xfrm>
                <a:off x="7083717" y="3531690"/>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34" name="Rectangle 232">
                <a:extLst>
                  <a:ext uri="{FF2B5EF4-FFF2-40B4-BE49-F238E27FC236}">
                    <a16:creationId xmlns:a16="http://schemas.microsoft.com/office/drawing/2014/main" id="{F45F14E8-7072-8347-8A10-BC39B7417294}"/>
                  </a:ext>
                </a:extLst>
              </p:cNvPr>
              <p:cNvSpPr>
                <a:spLocks noChangeArrowheads="1"/>
              </p:cNvSpPr>
              <p:nvPr/>
            </p:nvSpPr>
            <p:spPr bwMode="auto">
              <a:xfrm>
                <a:off x="7083717" y="3535296"/>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35" name="Rectangle 233">
                <a:extLst>
                  <a:ext uri="{FF2B5EF4-FFF2-40B4-BE49-F238E27FC236}">
                    <a16:creationId xmlns:a16="http://schemas.microsoft.com/office/drawing/2014/main" id="{67AC5309-98B2-094E-B5A9-7E40BB4585B3}"/>
                  </a:ext>
                </a:extLst>
              </p:cNvPr>
              <p:cNvSpPr>
                <a:spLocks noChangeArrowheads="1"/>
              </p:cNvSpPr>
              <p:nvPr/>
            </p:nvSpPr>
            <p:spPr bwMode="auto">
              <a:xfrm>
                <a:off x="7083717" y="3536499"/>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36" name="Rectangle 234">
                <a:extLst>
                  <a:ext uri="{FF2B5EF4-FFF2-40B4-BE49-F238E27FC236}">
                    <a16:creationId xmlns:a16="http://schemas.microsoft.com/office/drawing/2014/main" id="{84A07098-2352-3A44-8FC0-3A414A8EC09A}"/>
                  </a:ext>
                </a:extLst>
              </p:cNvPr>
              <p:cNvSpPr>
                <a:spLocks noChangeArrowheads="1"/>
              </p:cNvSpPr>
              <p:nvPr/>
            </p:nvSpPr>
            <p:spPr bwMode="auto">
              <a:xfrm>
                <a:off x="7083717" y="3538903"/>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37" name="Rectangle 235">
                <a:extLst>
                  <a:ext uri="{FF2B5EF4-FFF2-40B4-BE49-F238E27FC236}">
                    <a16:creationId xmlns:a16="http://schemas.microsoft.com/office/drawing/2014/main" id="{EB16E7AA-0A3E-6444-8235-4CEBB49F4F72}"/>
                  </a:ext>
                </a:extLst>
              </p:cNvPr>
              <p:cNvSpPr>
                <a:spLocks noChangeArrowheads="1"/>
              </p:cNvSpPr>
              <p:nvPr/>
            </p:nvSpPr>
            <p:spPr bwMode="auto">
              <a:xfrm>
                <a:off x="7082515" y="3540105"/>
                <a:ext cx="9617" cy="24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38" name="Rectangle 236">
                <a:extLst>
                  <a:ext uri="{FF2B5EF4-FFF2-40B4-BE49-F238E27FC236}">
                    <a16:creationId xmlns:a16="http://schemas.microsoft.com/office/drawing/2014/main" id="{35DC447E-E421-4449-B9B1-B75B4BACAF2E}"/>
                  </a:ext>
                </a:extLst>
              </p:cNvPr>
              <p:cNvSpPr>
                <a:spLocks noChangeArrowheads="1"/>
              </p:cNvSpPr>
              <p:nvPr/>
            </p:nvSpPr>
            <p:spPr bwMode="auto">
              <a:xfrm>
                <a:off x="7083717" y="3542509"/>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39" name="Rectangle 237">
                <a:extLst>
                  <a:ext uri="{FF2B5EF4-FFF2-40B4-BE49-F238E27FC236}">
                    <a16:creationId xmlns:a16="http://schemas.microsoft.com/office/drawing/2014/main" id="{B21B25C7-73FE-9A45-9C09-9F417BEF6E95}"/>
                  </a:ext>
                </a:extLst>
              </p:cNvPr>
              <p:cNvSpPr>
                <a:spLocks noChangeArrowheads="1"/>
              </p:cNvSpPr>
              <p:nvPr/>
            </p:nvSpPr>
            <p:spPr bwMode="auto">
              <a:xfrm>
                <a:off x="7083717" y="3544913"/>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40" name="Rectangle 238">
                <a:extLst>
                  <a:ext uri="{FF2B5EF4-FFF2-40B4-BE49-F238E27FC236}">
                    <a16:creationId xmlns:a16="http://schemas.microsoft.com/office/drawing/2014/main" id="{B0F6DD99-1CB7-994C-B239-F6093AFB5157}"/>
                  </a:ext>
                </a:extLst>
              </p:cNvPr>
              <p:cNvSpPr>
                <a:spLocks noChangeArrowheads="1"/>
              </p:cNvSpPr>
              <p:nvPr/>
            </p:nvSpPr>
            <p:spPr bwMode="auto">
              <a:xfrm>
                <a:off x="7083717" y="3546116"/>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41" name="Rectangle 239">
                <a:extLst>
                  <a:ext uri="{FF2B5EF4-FFF2-40B4-BE49-F238E27FC236}">
                    <a16:creationId xmlns:a16="http://schemas.microsoft.com/office/drawing/2014/main" id="{C975C457-F818-1842-8FE3-DAF477D0AE85}"/>
                  </a:ext>
                </a:extLst>
              </p:cNvPr>
              <p:cNvSpPr>
                <a:spLocks noChangeArrowheads="1"/>
              </p:cNvSpPr>
              <p:nvPr/>
            </p:nvSpPr>
            <p:spPr bwMode="auto">
              <a:xfrm>
                <a:off x="7083717" y="3547318"/>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42" name="Rectangle 240">
                <a:extLst>
                  <a:ext uri="{FF2B5EF4-FFF2-40B4-BE49-F238E27FC236}">
                    <a16:creationId xmlns:a16="http://schemas.microsoft.com/office/drawing/2014/main" id="{00870689-51B5-BB44-9D59-6DDE3F4006F4}"/>
                  </a:ext>
                </a:extLst>
              </p:cNvPr>
              <p:cNvSpPr>
                <a:spLocks noChangeArrowheads="1"/>
              </p:cNvSpPr>
              <p:nvPr/>
            </p:nvSpPr>
            <p:spPr bwMode="auto">
              <a:xfrm>
                <a:off x="7075302" y="3550924"/>
                <a:ext cx="16830"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43" name="Rectangle 241">
                <a:extLst>
                  <a:ext uri="{FF2B5EF4-FFF2-40B4-BE49-F238E27FC236}">
                    <a16:creationId xmlns:a16="http://schemas.microsoft.com/office/drawing/2014/main" id="{A268758B-4699-854C-9E0C-E458AC82F1EF}"/>
                  </a:ext>
                </a:extLst>
              </p:cNvPr>
              <p:cNvSpPr>
                <a:spLocks noChangeArrowheads="1"/>
              </p:cNvSpPr>
              <p:nvPr/>
            </p:nvSpPr>
            <p:spPr bwMode="auto">
              <a:xfrm>
                <a:off x="7083717" y="3552126"/>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44" name="Rectangle 242">
                <a:extLst>
                  <a:ext uri="{FF2B5EF4-FFF2-40B4-BE49-F238E27FC236}">
                    <a16:creationId xmlns:a16="http://schemas.microsoft.com/office/drawing/2014/main" id="{D7BED78D-7195-B348-9D3A-A8D1029C3066}"/>
                  </a:ext>
                </a:extLst>
              </p:cNvPr>
              <p:cNvSpPr>
                <a:spLocks noChangeArrowheads="1"/>
              </p:cNvSpPr>
              <p:nvPr/>
            </p:nvSpPr>
            <p:spPr bwMode="auto">
              <a:xfrm>
                <a:off x="7083717" y="3554530"/>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45" name="Rectangle 243">
                <a:extLst>
                  <a:ext uri="{FF2B5EF4-FFF2-40B4-BE49-F238E27FC236}">
                    <a16:creationId xmlns:a16="http://schemas.microsoft.com/office/drawing/2014/main" id="{99EF88F4-49E4-E644-BD66-90DF791EBC70}"/>
                  </a:ext>
                </a:extLst>
              </p:cNvPr>
              <p:cNvSpPr>
                <a:spLocks noChangeArrowheads="1"/>
              </p:cNvSpPr>
              <p:nvPr/>
            </p:nvSpPr>
            <p:spPr bwMode="auto">
              <a:xfrm>
                <a:off x="7083717" y="3555733"/>
                <a:ext cx="8415" cy="24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46" name="Rectangle 244">
                <a:extLst>
                  <a:ext uri="{FF2B5EF4-FFF2-40B4-BE49-F238E27FC236}">
                    <a16:creationId xmlns:a16="http://schemas.microsoft.com/office/drawing/2014/main" id="{E3888702-E43F-5841-A7D9-B3B5F84CA89B}"/>
                  </a:ext>
                </a:extLst>
              </p:cNvPr>
              <p:cNvSpPr>
                <a:spLocks noChangeArrowheads="1"/>
              </p:cNvSpPr>
              <p:nvPr/>
            </p:nvSpPr>
            <p:spPr bwMode="auto">
              <a:xfrm>
                <a:off x="7083717" y="3558137"/>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47" name="Rectangle 245">
                <a:extLst>
                  <a:ext uri="{FF2B5EF4-FFF2-40B4-BE49-F238E27FC236}">
                    <a16:creationId xmlns:a16="http://schemas.microsoft.com/office/drawing/2014/main" id="{E90B21D0-75FD-9648-9F53-BDB80EEB8E69}"/>
                  </a:ext>
                </a:extLst>
              </p:cNvPr>
              <p:cNvSpPr>
                <a:spLocks noChangeArrowheads="1"/>
              </p:cNvSpPr>
              <p:nvPr/>
            </p:nvSpPr>
            <p:spPr bwMode="auto">
              <a:xfrm>
                <a:off x="7082515" y="3560541"/>
                <a:ext cx="9617"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48" name="Rectangle 246">
                <a:extLst>
                  <a:ext uri="{FF2B5EF4-FFF2-40B4-BE49-F238E27FC236}">
                    <a16:creationId xmlns:a16="http://schemas.microsoft.com/office/drawing/2014/main" id="{985BDCB0-E2F5-3F40-ACDD-EE9885CE4DF4}"/>
                  </a:ext>
                </a:extLst>
              </p:cNvPr>
              <p:cNvSpPr>
                <a:spLocks noChangeArrowheads="1"/>
              </p:cNvSpPr>
              <p:nvPr/>
            </p:nvSpPr>
            <p:spPr bwMode="auto">
              <a:xfrm>
                <a:off x="7083717" y="3561743"/>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49" name="Rectangle 247">
                <a:extLst>
                  <a:ext uri="{FF2B5EF4-FFF2-40B4-BE49-F238E27FC236}">
                    <a16:creationId xmlns:a16="http://schemas.microsoft.com/office/drawing/2014/main" id="{BE04607D-4FB6-304A-AF0E-2E4401DBDB6E}"/>
                  </a:ext>
                </a:extLst>
              </p:cNvPr>
              <p:cNvSpPr>
                <a:spLocks noChangeArrowheads="1"/>
              </p:cNvSpPr>
              <p:nvPr/>
            </p:nvSpPr>
            <p:spPr bwMode="auto">
              <a:xfrm>
                <a:off x="7083717" y="3564147"/>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50" name="Rectangle 248">
                <a:extLst>
                  <a:ext uri="{FF2B5EF4-FFF2-40B4-BE49-F238E27FC236}">
                    <a16:creationId xmlns:a16="http://schemas.microsoft.com/office/drawing/2014/main" id="{2474538E-5971-1248-B80D-4CD646CD21CD}"/>
                  </a:ext>
                </a:extLst>
              </p:cNvPr>
              <p:cNvSpPr>
                <a:spLocks noChangeArrowheads="1"/>
              </p:cNvSpPr>
              <p:nvPr/>
            </p:nvSpPr>
            <p:spPr bwMode="auto">
              <a:xfrm>
                <a:off x="7083717" y="3566552"/>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51" name="Rectangle 249">
                <a:extLst>
                  <a:ext uri="{FF2B5EF4-FFF2-40B4-BE49-F238E27FC236}">
                    <a16:creationId xmlns:a16="http://schemas.microsoft.com/office/drawing/2014/main" id="{84CAAB45-F77D-F941-9237-564BDCEEFC57}"/>
                  </a:ext>
                </a:extLst>
              </p:cNvPr>
              <p:cNvSpPr>
                <a:spLocks noChangeArrowheads="1"/>
              </p:cNvSpPr>
              <p:nvPr/>
            </p:nvSpPr>
            <p:spPr bwMode="auto">
              <a:xfrm>
                <a:off x="7083717" y="3567754"/>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52" name="Rectangle 250">
                <a:extLst>
                  <a:ext uri="{FF2B5EF4-FFF2-40B4-BE49-F238E27FC236}">
                    <a16:creationId xmlns:a16="http://schemas.microsoft.com/office/drawing/2014/main" id="{F790A193-EF5E-984E-989B-CA9A91238B16}"/>
                  </a:ext>
                </a:extLst>
              </p:cNvPr>
              <p:cNvSpPr>
                <a:spLocks noChangeArrowheads="1"/>
              </p:cNvSpPr>
              <p:nvPr/>
            </p:nvSpPr>
            <p:spPr bwMode="auto">
              <a:xfrm>
                <a:off x="7075302" y="3570158"/>
                <a:ext cx="16830"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53" name="Rectangle 251">
                <a:extLst>
                  <a:ext uri="{FF2B5EF4-FFF2-40B4-BE49-F238E27FC236}">
                    <a16:creationId xmlns:a16="http://schemas.microsoft.com/office/drawing/2014/main" id="{BEAB7823-B24E-5549-9C79-A777C6B5BDDD}"/>
                  </a:ext>
                </a:extLst>
              </p:cNvPr>
              <p:cNvSpPr>
                <a:spLocks noChangeArrowheads="1"/>
              </p:cNvSpPr>
              <p:nvPr/>
            </p:nvSpPr>
            <p:spPr bwMode="auto">
              <a:xfrm>
                <a:off x="7083717" y="3571360"/>
                <a:ext cx="8415" cy="24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54" name="Rectangle 252">
                <a:extLst>
                  <a:ext uri="{FF2B5EF4-FFF2-40B4-BE49-F238E27FC236}">
                    <a16:creationId xmlns:a16="http://schemas.microsoft.com/office/drawing/2014/main" id="{FC1FB7EF-B475-374C-892E-18931C963767}"/>
                  </a:ext>
                </a:extLst>
              </p:cNvPr>
              <p:cNvSpPr>
                <a:spLocks noChangeArrowheads="1"/>
              </p:cNvSpPr>
              <p:nvPr/>
            </p:nvSpPr>
            <p:spPr bwMode="auto">
              <a:xfrm>
                <a:off x="7083717" y="3574967"/>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55" name="Rectangle 253">
                <a:extLst>
                  <a:ext uri="{FF2B5EF4-FFF2-40B4-BE49-F238E27FC236}">
                    <a16:creationId xmlns:a16="http://schemas.microsoft.com/office/drawing/2014/main" id="{F59C2097-9776-0246-AFBC-1BD905A6565C}"/>
                  </a:ext>
                </a:extLst>
              </p:cNvPr>
              <p:cNvSpPr>
                <a:spLocks noChangeArrowheads="1"/>
              </p:cNvSpPr>
              <p:nvPr/>
            </p:nvSpPr>
            <p:spPr bwMode="auto">
              <a:xfrm>
                <a:off x="7083717" y="3576169"/>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56" name="Rectangle 254">
                <a:extLst>
                  <a:ext uri="{FF2B5EF4-FFF2-40B4-BE49-F238E27FC236}">
                    <a16:creationId xmlns:a16="http://schemas.microsoft.com/office/drawing/2014/main" id="{FF77861B-58AE-414E-B28E-6E7101C686B2}"/>
                  </a:ext>
                </a:extLst>
              </p:cNvPr>
              <p:cNvSpPr>
                <a:spLocks noChangeArrowheads="1"/>
              </p:cNvSpPr>
              <p:nvPr/>
            </p:nvSpPr>
            <p:spPr bwMode="auto">
              <a:xfrm>
                <a:off x="7083717" y="3577371"/>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57" name="Rectangle 255">
                <a:extLst>
                  <a:ext uri="{FF2B5EF4-FFF2-40B4-BE49-F238E27FC236}">
                    <a16:creationId xmlns:a16="http://schemas.microsoft.com/office/drawing/2014/main" id="{81EDF4E5-2328-0F41-A4A3-350329CD5696}"/>
                  </a:ext>
                </a:extLst>
              </p:cNvPr>
              <p:cNvSpPr>
                <a:spLocks noChangeArrowheads="1"/>
              </p:cNvSpPr>
              <p:nvPr/>
            </p:nvSpPr>
            <p:spPr bwMode="auto">
              <a:xfrm>
                <a:off x="7082515" y="3579776"/>
                <a:ext cx="9617"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58" name="Rectangle 256">
                <a:extLst>
                  <a:ext uri="{FF2B5EF4-FFF2-40B4-BE49-F238E27FC236}">
                    <a16:creationId xmlns:a16="http://schemas.microsoft.com/office/drawing/2014/main" id="{0A8CBEF7-45C4-C147-AB93-D4877AC9C8F4}"/>
                  </a:ext>
                </a:extLst>
              </p:cNvPr>
              <p:cNvSpPr>
                <a:spLocks noChangeArrowheads="1"/>
              </p:cNvSpPr>
              <p:nvPr/>
            </p:nvSpPr>
            <p:spPr bwMode="auto">
              <a:xfrm>
                <a:off x="7083717" y="3582180"/>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59" name="Rectangle 257">
                <a:extLst>
                  <a:ext uri="{FF2B5EF4-FFF2-40B4-BE49-F238E27FC236}">
                    <a16:creationId xmlns:a16="http://schemas.microsoft.com/office/drawing/2014/main" id="{3F19CA3A-4567-E246-BA87-76D0E24CC8E9}"/>
                  </a:ext>
                </a:extLst>
              </p:cNvPr>
              <p:cNvSpPr>
                <a:spLocks noChangeArrowheads="1"/>
              </p:cNvSpPr>
              <p:nvPr/>
            </p:nvSpPr>
            <p:spPr bwMode="auto">
              <a:xfrm>
                <a:off x="7083717" y="3583382"/>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60" name="Rectangle 258">
                <a:extLst>
                  <a:ext uri="{FF2B5EF4-FFF2-40B4-BE49-F238E27FC236}">
                    <a16:creationId xmlns:a16="http://schemas.microsoft.com/office/drawing/2014/main" id="{DD27C59F-697D-5445-BCBD-F5000D53699D}"/>
                  </a:ext>
                </a:extLst>
              </p:cNvPr>
              <p:cNvSpPr>
                <a:spLocks noChangeArrowheads="1"/>
              </p:cNvSpPr>
              <p:nvPr/>
            </p:nvSpPr>
            <p:spPr bwMode="auto">
              <a:xfrm>
                <a:off x="7083717" y="3585786"/>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61" name="Rectangle 259">
                <a:extLst>
                  <a:ext uri="{FF2B5EF4-FFF2-40B4-BE49-F238E27FC236}">
                    <a16:creationId xmlns:a16="http://schemas.microsoft.com/office/drawing/2014/main" id="{C293DB33-73D3-0747-BB5C-68A013B3CA97}"/>
                  </a:ext>
                </a:extLst>
              </p:cNvPr>
              <p:cNvSpPr>
                <a:spLocks noChangeArrowheads="1"/>
              </p:cNvSpPr>
              <p:nvPr/>
            </p:nvSpPr>
            <p:spPr bwMode="auto">
              <a:xfrm>
                <a:off x="7083717" y="3586988"/>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62" name="Rectangle 260">
                <a:extLst>
                  <a:ext uri="{FF2B5EF4-FFF2-40B4-BE49-F238E27FC236}">
                    <a16:creationId xmlns:a16="http://schemas.microsoft.com/office/drawing/2014/main" id="{FF6207C7-F191-4A44-88AC-096C457ABCCB}"/>
                  </a:ext>
                </a:extLst>
              </p:cNvPr>
              <p:cNvSpPr>
                <a:spLocks noChangeArrowheads="1"/>
              </p:cNvSpPr>
              <p:nvPr/>
            </p:nvSpPr>
            <p:spPr bwMode="auto">
              <a:xfrm>
                <a:off x="7075302" y="3588190"/>
                <a:ext cx="16830" cy="24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63" name="Rectangle 261">
                <a:extLst>
                  <a:ext uri="{FF2B5EF4-FFF2-40B4-BE49-F238E27FC236}">
                    <a16:creationId xmlns:a16="http://schemas.microsoft.com/office/drawing/2014/main" id="{38FA0153-F63B-ED4B-A951-71434DBBBEC9}"/>
                  </a:ext>
                </a:extLst>
              </p:cNvPr>
              <p:cNvSpPr>
                <a:spLocks noChangeArrowheads="1"/>
              </p:cNvSpPr>
              <p:nvPr/>
            </p:nvSpPr>
            <p:spPr bwMode="auto">
              <a:xfrm>
                <a:off x="7083717" y="3591797"/>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64" name="Rectangle 262">
                <a:extLst>
                  <a:ext uri="{FF2B5EF4-FFF2-40B4-BE49-F238E27FC236}">
                    <a16:creationId xmlns:a16="http://schemas.microsoft.com/office/drawing/2014/main" id="{5FE91A7E-00F1-7642-8534-3F6C1542EE21}"/>
                  </a:ext>
                </a:extLst>
              </p:cNvPr>
              <p:cNvSpPr>
                <a:spLocks noChangeArrowheads="1"/>
              </p:cNvSpPr>
              <p:nvPr/>
            </p:nvSpPr>
            <p:spPr bwMode="auto">
              <a:xfrm>
                <a:off x="7083717" y="3592999"/>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65" name="Rectangle 263">
                <a:extLst>
                  <a:ext uri="{FF2B5EF4-FFF2-40B4-BE49-F238E27FC236}">
                    <a16:creationId xmlns:a16="http://schemas.microsoft.com/office/drawing/2014/main" id="{AA0632DA-F974-5B4E-BB78-34D7B68D353C}"/>
                  </a:ext>
                </a:extLst>
              </p:cNvPr>
              <p:cNvSpPr>
                <a:spLocks noChangeArrowheads="1"/>
              </p:cNvSpPr>
              <p:nvPr/>
            </p:nvSpPr>
            <p:spPr bwMode="auto">
              <a:xfrm>
                <a:off x="7083717" y="3595403"/>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66" name="Rectangle 264">
                <a:extLst>
                  <a:ext uri="{FF2B5EF4-FFF2-40B4-BE49-F238E27FC236}">
                    <a16:creationId xmlns:a16="http://schemas.microsoft.com/office/drawing/2014/main" id="{F7DF7EA5-BE35-C84E-8E1B-7F052B22F643}"/>
                  </a:ext>
                </a:extLst>
              </p:cNvPr>
              <p:cNvSpPr>
                <a:spLocks noChangeArrowheads="1"/>
              </p:cNvSpPr>
              <p:nvPr/>
            </p:nvSpPr>
            <p:spPr bwMode="auto">
              <a:xfrm>
                <a:off x="7083717" y="3597807"/>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67" name="Rectangle 265">
                <a:extLst>
                  <a:ext uri="{FF2B5EF4-FFF2-40B4-BE49-F238E27FC236}">
                    <a16:creationId xmlns:a16="http://schemas.microsoft.com/office/drawing/2014/main" id="{E540CC27-DEF6-3245-81DE-C2199DDF474B}"/>
                  </a:ext>
                </a:extLst>
              </p:cNvPr>
              <p:cNvSpPr>
                <a:spLocks noChangeArrowheads="1"/>
              </p:cNvSpPr>
              <p:nvPr/>
            </p:nvSpPr>
            <p:spPr bwMode="auto">
              <a:xfrm>
                <a:off x="7082515" y="3599010"/>
                <a:ext cx="9617"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68" name="Rectangle 266">
                <a:extLst>
                  <a:ext uri="{FF2B5EF4-FFF2-40B4-BE49-F238E27FC236}">
                    <a16:creationId xmlns:a16="http://schemas.microsoft.com/office/drawing/2014/main" id="{65820ADF-F419-E043-9553-D64DACC5C78F}"/>
                  </a:ext>
                </a:extLst>
              </p:cNvPr>
              <p:cNvSpPr>
                <a:spLocks noChangeArrowheads="1"/>
              </p:cNvSpPr>
              <p:nvPr/>
            </p:nvSpPr>
            <p:spPr bwMode="auto">
              <a:xfrm>
                <a:off x="7083717" y="3601414"/>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69" name="Rectangle 267">
                <a:extLst>
                  <a:ext uri="{FF2B5EF4-FFF2-40B4-BE49-F238E27FC236}">
                    <a16:creationId xmlns:a16="http://schemas.microsoft.com/office/drawing/2014/main" id="{082EB09F-31A0-D24C-8566-1A6C440F242E}"/>
                  </a:ext>
                </a:extLst>
              </p:cNvPr>
              <p:cNvSpPr>
                <a:spLocks noChangeArrowheads="1"/>
              </p:cNvSpPr>
              <p:nvPr/>
            </p:nvSpPr>
            <p:spPr bwMode="auto">
              <a:xfrm>
                <a:off x="7083717" y="3602616"/>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70" name="Rectangle 268">
                <a:extLst>
                  <a:ext uri="{FF2B5EF4-FFF2-40B4-BE49-F238E27FC236}">
                    <a16:creationId xmlns:a16="http://schemas.microsoft.com/office/drawing/2014/main" id="{C536EE39-FC8A-244E-B260-73A41722E686}"/>
                  </a:ext>
                </a:extLst>
              </p:cNvPr>
              <p:cNvSpPr>
                <a:spLocks noChangeArrowheads="1"/>
              </p:cNvSpPr>
              <p:nvPr/>
            </p:nvSpPr>
            <p:spPr bwMode="auto">
              <a:xfrm>
                <a:off x="7083717" y="3606223"/>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71" name="Rectangle 269">
                <a:extLst>
                  <a:ext uri="{FF2B5EF4-FFF2-40B4-BE49-F238E27FC236}">
                    <a16:creationId xmlns:a16="http://schemas.microsoft.com/office/drawing/2014/main" id="{44992851-F3C4-F746-A9AF-349D4576963F}"/>
                  </a:ext>
                </a:extLst>
              </p:cNvPr>
              <p:cNvSpPr>
                <a:spLocks noChangeArrowheads="1"/>
              </p:cNvSpPr>
              <p:nvPr/>
            </p:nvSpPr>
            <p:spPr bwMode="auto">
              <a:xfrm>
                <a:off x="7083717" y="3607424"/>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72" name="Rectangle 270">
                <a:extLst>
                  <a:ext uri="{FF2B5EF4-FFF2-40B4-BE49-F238E27FC236}">
                    <a16:creationId xmlns:a16="http://schemas.microsoft.com/office/drawing/2014/main" id="{6058EB1C-4F2B-2343-AF4B-BBA0342ABB1D}"/>
                  </a:ext>
                </a:extLst>
              </p:cNvPr>
              <p:cNvSpPr>
                <a:spLocks noChangeArrowheads="1"/>
              </p:cNvSpPr>
              <p:nvPr/>
            </p:nvSpPr>
            <p:spPr bwMode="auto">
              <a:xfrm>
                <a:off x="7075302" y="3608627"/>
                <a:ext cx="16830"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73" name="Freeform 271">
                <a:extLst>
                  <a:ext uri="{FF2B5EF4-FFF2-40B4-BE49-F238E27FC236}">
                    <a16:creationId xmlns:a16="http://schemas.microsoft.com/office/drawing/2014/main" id="{A13DFE7E-1154-E64D-931A-2A37E0652CA4}"/>
                  </a:ext>
                </a:extLst>
              </p:cNvPr>
              <p:cNvSpPr>
                <a:spLocks noEditPoints="1"/>
              </p:cNvSpPr>
              <p:nvPr/>
            </p:nvSpPr>
            <p:spPr bwMode="auto">
              <a:xfrm>
                <a:off x="7122186" y="3153017"/>
                <a:ext cx="257257" cy="456812"/>
              </a:xfrm>
              <a:custGeom>
                <a:avLst/>
                <a:gdLst>
                  <a:gd name="T0" fmla="*/ 0 w 214"/>
                  <a:gd name="T1" fmla="*/ 380 h 380"/>
                  <a:gd name="T2" fmla="*/ 214 w 214"/>
                  <a:gd name="T3" fmla="*/ 380 h 380"/>
                  <a:gd name="T4" fmla="*/ 0 w 214"/>
                  <a:gd name="T5" fmla="*/ 0 h 380"/>
                  <a:gd name="T6" fmla="*/ 0 w 214"/>
                  <a:gd name="T7" fmla="*/ 380 h 380"/>
                  <a:gd name="T8" fmla="*/ 40 w 214"/>
                  <a:gd name="T9" fmla="*/ 338 h 380"/>
                  <a:gd name="T10" fmla="*/ 40 w 214"/>
                  <a:gd name="T11" fmla="*/ 140 h 380"/>
                  <a:gd name="T12" fmla="*/ 151 w 214"/>
                  <a:gd name="T13" fmla="*/ 338 h 380"/>
                  <a:gd name="T14" fmla="*/ 40 w 214"/>
                  <a:gd name="T15" fmla="*/ 338 h 3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4" h="380">
                    <a:moveTo>
                      <a:pt x="0" y="380"/>
                    </a:moveTo>
                    <a:lnTo>
                      <a:pt x="214" y="380"/>
                    </a:lnTo>
                    <a:lnTo>
                      <a:pt x="0" y="0"/>
                    </a:lnTo>
                    <a:lnTo>
                      <a:pt x="0" y="380"/>
                    </a:lnTo>
                    <a:close/>
                    <a:moveTo>
                      <a:pt x="40" y="338"/>
                    </a:moveTo>
                    <a:lnTo>
                      <a:pt x="40" y="140"/>
                    </a:lnTo>
                    <a:lnTo>
                      <a:pt x="151" y="338"/>
                    </a:lnTo>
                    <a:lnTo>
                      <a:pt x="40" y="3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74" name="Rectangle 272">
                <a:extLst>
                  <a:ext uri="{FF2B5EF4-FFF2-40B4-BE49-F238E27FC236}">
                    <a16:creationId xmlns:a16="http://schemas.microsoft.com/office/drawing/2014/main" id="{3EE6FE3F-36DA-9546-A789-4D330D04A6C6}"/>
                  </a:ext>
                </a:extLst>
              </p:cNvPr>
              <p:cNvSpPr>
                <a:spLocks noChangeArrowheads="1"/>
              </p:cNvSpPr>
              <p:nvPr/>
            </p:nvSpPr>
            <p:spPr bwMode="auto">
              <a:xfrm>
                <a:off x="7122186" y="3607424"/>
                <a:ext cx="16830"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75" name="Rectangle 273">
                <a:extLst>
                  <a:ext uri="{FF2B5EF4-FFF2-40B4-BE49-F238E27FC236}">
                    <a16:creationId xmlns:a16="http://schemas.microsoft.com/office/drawing/2014/main" id="{5EB0DECC-2EEA-0E49-9039-5A8FAEF0714D}"/>
                  </a:ext>
                </a:extLst>
              </p:cNvPr>
              <p:cNvSpPr>
                <a:spLocks noChangeArrowheads="1"/>
              </p:cNvSpPr>
              <p:nvPr/>
            </p:nvSpPr>
            <p:spPr bwMode="auto">
              <a:xfrm>
                <a:off x="7122186" y="3603818"/>
                <a:ext cx="8415" cy="24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76" name="Rectangle 274">
                <a:extLst>
                  <a:ext uri="{FF2B5EF4-FFF2-40B4-BE49-F238E27FC236}">
                    <a16:creationId xmlns:a16="http://schemas.microsoft.com/office/drawing/2014/main" id="{D54691D6-2DD6-9C43-9F89-5B68C328254D}"/>
                  </a:ext>
                </a:extLst>
              </p:cNvPr>
              <p:cNvSpPr>
                <a:spLocks noChangeArrowheads="1"/>
              </p:cNvSpPr>
              <p:nvPr/>
            </p:nvSpPr>
            <p:spPr bwMode="auto">
              <a:xfrm>
                <a:off x="7122186" y="3601414"/>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77" name="Rectangle 275">
                <a:extLst>
                  <a:ext uri="{FF2B5EF4-FFF2-40B4-BE49-F238E27FC236}">
                    <a16:creationId xmlns:a16="http://schemas.microsoft.com/office/drawing/2014/main" id="{CD5AFE98-F968-5E41-9463-18487BAF0DB4}"/>
                  </a:ext>
                </a:extLst>
              </p:cNvPr>
              <p:cNvSpPr>
                <a:spLocks noChangeArrowheads="1"/>
              </p:cNvSpPr>
              <p:nvPr/>
            </p:nvSpPr>
            <p:spPr bwMode="auto">
              <a:xfrm>
                <a:off x="7122186" y="3600212"/>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78" name="Rectangle 276">
                <a:extLst>
                  <a:ext uri="{FF2B5EF4-FFF2-40B4-BE49-F238E27FC236}">
                    <a16:creationId xmlns:a16="http://schemas.microsoft.com/office/drawing/2014/main" id="{2CD641B9-A236-D749-AA8A-7127C4F0B5BD}"/>
                  </a:ext>
                </a:extLst>
              </p:cNvPr>
              <p:cNvSpPr>
                <a:spLocks noChangeArrowheads="1"/>
              </p:cNvSpPr>
              <p:nvPr/>
            </p:nvSpPr>
            <p:spPr bwMode="auto">
              <a:xfrm>
                <a:off x="7122186" y="3597807"/>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79" name="Rectangle 277">
                <a:extLst>
                  <a:ext uri="{FF2B5EF4-FFF2-40B4-BE49-F238E27FC236}">
                    <a16:creationId xmlns:a16="http://schemas.microsoft.com/office/drawing/2014/main" id="{1484A56D-0F04-264A-BD3A-E36B78C9EB85}"/>
                  </a:ext>
                </a:extLst>
              </p:cNvPr>
              <p:cNvSpPr>
                <a:spLocks noChangeArrowheads="1"/>
              </p:cNvSpPr>
              <p:nvPr/>
            </p:nvSpPr>
            <p:spPr bwMode="auto">
              <a:xfrm>
                <a:off x="7122186" y="3594201"/>
                <a:ext cx="9617"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80" name="Rectangle 278">
                <a:extLst>
                  <a:ext uri="{FF2B5EF4-FFF2-40B4-BE49-F238E27FC236}">
                    <a16:creationId xmlns:a16="http://schemas.microsoft.com/office/drawing/2014/main" id="{373C34E8-98EA-B242-80C5-322FDFF92D0C}"/>
                  </a:ext>
                </a:extLst>
              </p:cNvPr>
              <p:cNvSpPr>
                <a:spLocks noChangeArrowheads="1"/>
              </p:cNvSpPr>
              <p:nvPr/>
            </p:nvSpPr>
            <p:spPr bwMode="auto">
              <a:xfrm>
                <a:off x="7122186" y="3592999"/>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81" name="Rectangle 279">
                <a:extLst>
                  <a:ext uri="{FF2B5EF4-FFF2-40B4-BE49-F238E27FC236}">
                    <a16:creationId xmlns:a16="http://schemas.microsoft.com/office/drawing/2014/main" id="{F9DB0C67-A684-A048-9D4B-9B635586DBB0}"/>
                  </a:ext>
                </a:extLst>
              </p:cNvPr>
              <p:cNvSpPr>
                <a:spLocks noChangeArrowheads="1"/>
              </p:cNvSpPr>
              <p:nvPr/>
            </p:nvSpPr>
            <p:spPr bwMode="auto">
              <a:xfrm>
                <a:off x="7122186" y="3590594"/>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82" name="Rectangle 280">
                <a:extLst>
                  <a:ext uri="{FF2B5EF4-FFF2-40B4-BE49-F238E27FC236}">
                    <a16:creationId xmlns:a16="http://schemas.microsoft.com/office/drawing/2014/main" id="{41DDC17B-0AF9-5040-966D-F800EF32C193}"/>
                  </a:ext>
                </a:extLst>
              </p:cNvPr>
              <p:cNvSpPr>
                <a:spLocks noChangeArrowheads="1"/>
              </p:cNvSpPr>
              <p:nvPr/>
            </p:nvSpPr>
            <p:spPr bwMode="auto">
              <a:xfrm>
                <a:off x="7122186" y="3586988"/>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83" name="Rectangle 281">
                <a:extLst>
                  <a:ext uri="{FF2B5EF4-FFF2-40B4-BE49-F238E27FC236}">
                    <a16:creationId xmlns:a16="http://schemas.microsoft.com/office/drawing/2014/main" id="{35960DF7-2C2D-E148-8A4E-CBFAD20C9550}"/>
                  </a:ext>
                </a:extLst>
              </p:cNvPr>
              <p:cNvSpPr>
                <a:spLocks noChangeArrowheads="1"/>
              </p:cNvSpPr>
              <p:nvPr/>
            </p:nvSpPr>
            <p:spPr bwMode="auto">
              <a:xfrm>
                <a:off x="7122186" y="3584584"/>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84" name="Rectangle 282">
                <a:extLst>
                  <a:ext uri="{FF2B5EF4-FFF2-40B4-BE49-F238E27FC236}">
                    <a16:creationId xmlns:a16="http://schemas.microsoft.com/office/drawing/2014/main" id="{59E90018-9F56-D94F-9723-0450555DC47C}"/>
                  </a:ext>
                </a:extLst>
              </p:cNvPr>
              <p:cNvSpPr>
                <a:spLocks noChangeArrowheads="1"/>
              </p:cNvSpPr>
              <p:nvPr/>
            </p:nvSpPr>
            <p:spPr bwMode="auto">
              <a:xfrm>
                <a:off x="7122186" y="3583382"/>
                <a:ext cx="16830"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85" name="Rectangle 283">
                <a:extLst>
                  <a:ext uri="{FF2B5EF4-FFF2-40B4-BE49-F238E27FC236}">
                    <a16:creationId xmlns:a16="http://schemas.microsoft.com/office/drawing/2014/main" id="{B1DBAD00-E39F-1C4F-A6FB-174837595B16}"/>
                  </a:ext>
                </a:extLst>
              </p:cNvPr>
              <p:cNvSpPr>
                <a:spLocks noChangeArrowheads="1"/>
              </p:cNvSpPr>
              <p:nvPr/>
            </p:nvSpPr>
            <p:spPr bwMode="auto">
              <a:xfrm>
                <a:off x="7122186" y="3579776"/>
                <a:ext cx="8415" cy="24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86" name="Rectangle 284">
                <a:extLst>
                  <a:ext uri="{FF2B5EF4-FFF2-40B4-BE49-F238E27FC236}">
                    <a16:creationId xmlns:a16="http://schemas.microsoft.com/office/drawing/2014/main" id="{5FC28369-FD85-AA4C-B6F0-FB487417A228}"/>
                  </a:ext>
                </a:extLst>
              </p:cNvPr>
              <p:cNvSpPr>
                <a:spLocks noChangeArrowheads="1"/>
              </p:cNvSpPr>
              <p:nvPr/>
            </p:nvSpPr>
            <p:spPr bwMode="auto">
              <a:xfrm>
                <a:off x="7122186" y="3577371"/>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87" name="Rectangle 285">
                <a:extLst>
                  <a:ext uri="{FF2B5EF4-FFF2-40B4-BE49-F238E27FC236}">
                    <a16:creationId xmlns:a16="http://schemas.microsoft.com/office/drawing/2014/main" id="{7A231264-FFA6-2849-A261-DDD8E5474666}"/>
                  </a:ext>
                </a:extLst>
              </p:cNvPr>
              <p:cNvSpPr>
                <a:spLocks noChangeArrowheads="1"/>
              </p:cNvSpPr>
              <p:nvPr/>
            </p:nvSpPr>
            <p:spPr bwMode="auto">
              <a:xfrm>
                <a:off x="7122186" y="3574967"/>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88" name="Rectangle 286">
                <a:extLst>
                  <a:ext uri="{FF2B5EF4-FFF2-40B4-BE49-F238E27FC236}">
                    <a16:creationId xmlns:a16="http://schemas.microsoft.com/office/drawing/2014/main" id="{A01DB233-81C7-0048-8549-059C431A3CA4}"/>
                  </a:ext>
                </a:extLst>
              </p:cNvPr>
              <p:cNvSpPr>
                <a:spLocks noChangeArrowheads="1"/>
              </p:cNvSpPr>
              <p:nvPr/>
            </p:nvSpPr>
            <p:spPr bwMode="auto">
              <a:xfrm>
                <a:off x="7122186" y="3573765"/>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89" name="Rectangle 287">
                <a:extLst>
                  <a:ext uri="{FF2B5EF4-FFF2-40B4-BE49-F238E27FC236}">
                    <a16:creationId xmlns:a16="http://schemas.microsoft.com/office/drawing/2014/main" id="{E2F71968-A322-584A-99D5-49D1D9B8D906}"/>
                  </a:ext>
                </a:extLst>
              </p:cNvPr>
              <p:cNvSpPr>
                <a:spLocks noChangeArrowheads="1"/>
              </p:cNvSpPr>
              <p:nvPr/>
            </p:nvSpPr>
            <p:spPr bwMode="auto">
              <a:xfrm>
                <a:off x="7122186" y="3570158"/>
                <a:ext cx="9617"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90" name="Rectangle 288">
                <a:extLst>
                  <a:ext uri="{FF2B5EF4-FFF2-40B4-BE49-F238E27FC236}">
                    <a16:creationId xmlns:a16="http://schemas.microsoft.com/office/drawing/2014/main" id="{2D4EC5CD-0144-5046-B7A3-70999356853B}"/>
                  </a:ext>
                </a:extLst>
              </p:cNvPr>
              <p:cNvSpPr>
                <a:spLocks noChangeArrowheads="1"/>
              </p:cNvSpPr>
              <p:nvPr/>
            </p:nvSpPr>
            <p:spPr bwMode="auto">
              <a:xfrm>
                <a:off x="7122186" y="3567754"/>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91" name="Rectangle 289">
                <a:extLst>
                  <a:ext uri="{FF2B5EF4-FFF2-40B4-BE49-F238E27FC236}">
                    <a16:creationId xmlns:a16="http://schemas.microsoft.com/office/drawing/2014/main" id="{F67877FD-3A3E-CC4B-AEC0-BF6BE1E9CD3E}"/>
                  </a:ext>
                </a:extLst>
              </p:cNvPr>
              <p:cNvSpPr>
                <a:spLocks noChangeArrowheads="1"/>
              </p:cNvSpPr>
              <p:nvPr/>
            </p:nvSpPr>
            <p:spPr bwMode="auto">
              <a:xfrm>
                <a:off x="7122186" y="3564147"/>
                <a:ext cx="8415" cy="24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92" name="Rectangle 290">
                <a:extLst>
                  <a:ext uri="{FF2B5EF4-FFF2-40B4-BE49-F238E27FC236}">
                    <a16:creationId xmlns:a16="http://schemas.microsoft.com/office/drawing/2014/main" id="{9E2E2F11-6EBB-1648-850F-3FEC0D63C5B5}"/>
                  </a:ext>
                </a:extLst>
              </p:cNvPr>
              <p:cNvSpPr>
                <a:spLocks noChangeArrowheads="1"/>
              </p:cNvSpPr>
              <p:nvPr/>
            </p:nvSpPr>
            <p:spPr bwMode="auto">
              <a:xfrm>
                <a:off x="7122186" y="3562946"/>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93" name="Rectangle 291">
                <a:extLst>
                  <a:ext uri="{FF2B5EF4-FFF2-40B4-BE49-F238E27FC236}">
                    <a16:creationId xmlns:a16="http://schemas.microsoft.com/office/drawing/2014/main" id="{94C2F503-C667-9645-9D07-616B684F35DD}"/>
                  </a:ext>
                </a:extLst>
              </p:cNvPr>
              <p:cNvSpPr>
                <a:spLocks noChangeArrowheads="1"/>
              </p:cNvSpPr>
              <p:nvPr/>
            </p:nvSpPr>
            <p:spPr bwMode="auto">
              <a:xfrm>
                <a:off x="7122186" y="3560541"/>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94" name="Rectangle 292">
                <a:extLst>
                  <a:ext uri="{FF2B5EF4-FFF2-40B4-BE49-F238E27FC236}">
                    <a16:creationId xmlns:a16="http://schemas.microsoft.com/office/drawing/2014/main" id="{F9A3C543-43B3-2040-99D0-2B59ACEC6C56}"/>
                  </a:ext>
                </a:extLst>
              </p:cNvPr>
              <p:cNvSpPr>
                <a:spLocks noChangeArrowheads="1"/>
              </p:cNvSpPr>
              <p:nvPr/>
            </p:nvSpPr>
            <p:spPr bwMode="auto">
              <a:xfrm>
                <a:off x="7122186" y="3558137"/>
                <a:ext cx="16830"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95" name="Rectangle 293">
                <a:extLst>
                  <a:ext uri="{FF2B5EF4-FFF2-40B4-BE49-F238E27FC236}">
                    <a16:creationId xmlns:a16="http://schemas.microsoft.com/office/drawing/2014/main" id="{A8E55A4C-819E-6547-B6E8-8F39ECDEE7D4}"/>
                  </a:ext>
                </a:extLst>
              </p:cNvPr>
              <p:cNvSpPr>
                <a:spLocks noChangeArrowheads="1"/>
              </p:cNvSpPr>
              <p:nvPr/>
            </p:nvSpPr>
            <p:spPr bwMode="auto">
              <a:xfrm>
                <a:off x="7122186" y="3554530"/>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96" name="Rectangle 294">
                <a:extLst>
                  <a:ext uri="{FF2B5EF4-FFF2-40B4-BE49-F238E27FC236}">
                    <a16:creationId xmlns:a16="http://schemas.microsoft.com/office/drawing/2014/main" id="{E04CC0E9-2BF7-6848-B3FD-1EEB624D7E3E}"/>
                  </a:ext>
                </a:extLst>
              </p:cNvPr>
              <p:cNvSpPr>
                <a:spLocks noChangeArrowheads="1"/>
              </p:cNvSpPr>
              <p:nvPr/>
            </p:nvSpPr>
            <p:spPr bwMode="auto">
              <a:xfrm>
                <a:off x="7122186" y="3553329"/>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97" name="Rectangle 295">
                <a:extLst>
                  <a:ext uri="{FF2B5EF4-FFF2-40B4-BE49-F238E27FC236}">
                    <a16:creationId xmlns:a16="http://schemas.microsoft.com/office/drawing/2014/main" id="{8463487D-3BA2-FF40-95EF-A0B847F14FBC}"/>
                  </a:ext>
                </a:extLst>
              </p:cNvPr>
              <p:cNvSpPr>
                <a:spLocks noChangeArrowheads="1"/>
              </p:cNvSpPr>
              <p:nvPr/>
            </p:nvSpPr>
            <p:spPr bwMode="auto">
              <a:xfrm>
                <a:off x="7122186" y="3550924"/>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98" name="Rectangle 296">
                <a:extLst>
                  <a:ext uri="{FF2B5EF4-FFF2-40B4-BE49-F238E27FC236}">
                    <a16:creationId xmlns:a16="http://schemas.microsoft.com/office/drawing/2014/main" id="{370BD928-60C4-0643-8CFC-D9E553B90B93}"/>
                  </a:ext>
                </a:extLst>
              </p:cNvPr>
              <p:cNvSpPr>
                <a:spLocks noChangeArrowheads="1"/>
              </p:cNvSpPr>
              <p:nvPr/>
            </p:nvSpPr>
            <p:spPr bwMode="auto">
              <a:xfrm>
                <a:off x="7122186" y="3547318"/>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99" name="Rectangle 297">
                <a:extLst>
                  <a:ext uri="{FF2B5EF4-FFF2-40B4-BE49-F238E27FC236}">
                    <a16:creationId xmlns:a16="http://schemas.microsoft.com/office/drawing/2014/main" id="{FEF0A7C0-8482-8F4E-B381-AD702DE70B2C}"/>
                  </a:ext>
                </a:extLst>
              </p:cNvPr>
              <p:cNvSpPr>
                <a:spLocks noChangeArrowheads="1"/>
              </p:cNvSpPr>
              <p:nvPr/>
            </p:nvSpPr>
            <p:spPr bwMode="auto">
              <a:xfrm>
                <a:off x="7122186" y="3546116"/>
                <a:ext cx="9617"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00" name="Rectangle 298">
                <a:extLst>
                  <a:ext uri="{FF2B5EF4-FFF2-40B4-BE49-F238E27FC236}">
                    <a16:creationId xmlns:a16="http://schemas.microsoft.com/office/drawing/2014/main" id="{BE44A69F-7FED-564D-8997-33C2A18E78AC}"/>
                  </a:ext>
                </a:extLst>
              </p:cNvPr>
              <p:cNvSpPr>
                <a:spLocks noChangeArrowheads="1"/>
              </p:cNvSpPr>
              <p:nvPr/>
            </p:nvSpPr>
            <p:spPr bwMode="auto">
              <a:xfrm>
                <a:off x="7122186" y="3543712"/>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01" name="Rectangle 299">
                <a:extLst>
                  <a:ext uri="{FF2B5EF4-FFF2-40B4-BE49-F238E27FC236}">
                    <a16:creationId xmlns:a16="http://schemas.microsoft.com/office/drawing/2014/main" id="{2E602D19-86CA-2242-A934-4D30F213367A}"/>
                  </a:ext>
                </a:extLst>
              </p:cNvPr>
              <p:cNvSpPr>
                <a:spLocks noChangeArrowheads="1"/>
              </p:cNvSpPr>
              <p:nvPr/>
            </p:nvSpPr>
            <p:spPr bwMode="auto">
              <a:xfrm>
                <a:off x="7122186" y="3540105"/>
                <a:ext cx="8415" cy="24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02" name="Rectangle 300">
                <a:extLst>
                  <a:ext uri="{FF2B5EF4-FFF2-40B4-BE49-F238E27FC236}">
                    <a16:creationId xmlns:a16="http://schemas.microsoft.com/office/drawing/2014/main" id="{589175F0-BBB2-C540-976B-9C2EE78EA5CD}"/>
                  </a:ext>
                </a:extLst>
              </p:cNvPr>
              <p:cNvSpPr>
                <a:spLocks noChangeArrowheads="1"/>
              </p:cNvSpPr>
              <p:nvPr/>
            </p:nvSpPr>
            <p:spPr bwMode="auto">
              <a:xfrm>
                <a:off x="7122186" y="3537700"/>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03" name="Rectangle 301">
                <a:extLst>
                  <a:ext uri="{FF2B5EF4-FFF2-40B4-BE49-F238E27FC236}">
                    <a16:creationId xmlns:a16="http://schemas.microsoft.com/office/drawing/2014/main" id="{39068A91-8D06-B142-9591-36393F5A4E4E}"/>
                  </a:ext>
                </a:extLst>
              </p:cNvPr>
              <p:cNvSpPr>
                <a:spLocks noChangeArrowheads="1"/>
              </p:cNvSpPr>
              <p:nvPr/>
            </p:nvSpPr>
            <p:spPr bwMode="auto">
              <a:xfrm>
                <a:off x="7122186" y="3536499"/>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04" name="Rectangle 302">
                <a:extLst>
                  <a:ext uri="{FF2B5EF4-FFF2-40B4-BE49-F238E27FC236}">
                    <a16:creationId xmlns:a16="http://schemas.microsoft.com/office/drawing/2014/main" id="{840C8497-EDE0-934F-A34E-2E2B45163862}"/>
                  </a:ext>
                </a:extLst>
              </p:cNvPr>
              <p:cNvSpPr>
                <a:spLocks noChangeArrowheads="1"/>
              </p:cNvSpPr>
              <p:nvPr/>
            </p:nvSpPr>
            <p:spPr bwMode="auto">
              <a:xfrm>
                <a:off x="7122186" y="3532892"/>
                <a:ext cx="16830" cy="24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05" name="Rectangle 303">
                <a:extLst>
                  <a:ext uri="{FF2B5EF4-FFF2-40B4-BE49-F238E27FC236}">
                    <a16:creationId xmlns:a16="http://schemas.microsoft.com/office/drawing/2014/main" id="{917FAACD-684C-704C-B809-29D315E6FEC6}"/>
                  </a:ext>
                </a:extLst>
              </p:cNvPr>
              <p:cNvSpPr>
                <a:spLocks noChangeArrowheads="1"/>
              </p:cNvSpPr>
              <p:nvPr/>
            </p:nvSpPr>
            <p:spPr bwMode="auto">
              <a:xfrm>
                <a:off x="7122186" y="3530488"/>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06" name="Rectangle 304">
                <a:extLst>
                  <a:ext uri="{FF2B5EF4-FFF2-40B4-BE49-F238E27FC236}">
                    <a16:creationId xmlns:a16="http://schemas.microsoft.com/office/drawing/2014/main" id="{A15E918F-A16D-1C4F-8108-F5E9396F1397}"/>
                  </a:ext>
                </a:extLst>
              </p:cNvPr>
              <p:cNvSpPr>
                <a:spLocks noChangeArrowheads="1"/>
              </p:cNvSpPr>
              <p:nvPr/>
            </p:nvSpPr>
            <p:spPr bwMode="auto">
              <a:xfrm>
                <a:off x="7122186" y="3528083"/>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07" name="Rectangle 305">
                <a:extLst>
                  <a:ext uri="{FF2B5EF4-FFF2-40B4-BE49-F238E27FC236}">
                    <a16:creationId xmlns:a16="http://schemas.microsoft.com/office/drawing/2014/main" id="{E2441785-CDDD-1B4E-AE1B-FD4E563ED7AF}"/>
                  </a:ext>
                </a:extLst>
              </p:cNvPr>
              <p:cNvSpPr>
                <a:spLocks noChangeArrowheads="1"/>
              </p:cNvSpPr>
              <p:nvPr/>
            </p:nvSpPr>
            <p:spPr bwMode="auto">
              <a:xfrm>
                <a:off x="7122186" y="3526882"/>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08" name="Rectangle 306">
                <a:extLst>
                  <a:ext uri="{FF2B5EF4-FFF2-40B4-BE49-F238E27FC236}">
                    <a16:creationId xmlns:a16="http://schemas.microsoft.com/office/drawing/2014/main" id="{0A3D0192-70B9-524D-B2FC-14F1B5AF2EB6}"/>
                  </a:ext>
                </a:extLst>
              </p:cNvPr>
              <p:cNvSpPr>
                <a:spLocks noChangeArrowheads="1"/>
              </p:cNvSpPr>
              <p:nvPr/>
            </p:nvSpPr>
            <p:spPr bwMode="auto">
              <a:xfrm>
                <a:off x="7122186" y="3523275"/>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09" name="Rectangle 307">
                <a:extLst>
                  <a:ext uri="{FF2B5EF4-FFF2-40B4-BE49-F238E27FC236}">
                    <a16:creationId xmlns:a16="http://schemas.microsoft.com/office/drawing/2014/main" id="{1A13861E-D7D8-DB4C-A232-C3AD248999D2}"/>
                  </a:ext>
                </a:extLst>
              </p:cNvPr>
              <p:cNvSpPr>
                <a:spLocks noChangeArrowheads="1"/>
              </p:cNvSpPr>
              <p:nvPr/>
            </p:nvSpPr>
            <p:spPr bwMode="auto">
              <a:xfrm>
                <a:off x="7122186" y="3520871"/>
                <a:ext cx="9617"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10" name="Rectangle 308">
                <a:extLst>
                  <a:ext uri="{FF2B5EF4-FFF2-40B4-BE49-F238E27FC236}">
                    <a16:creationId xmlns:a16="http://schemas.microsoft.com/office/drawing/2014/main" id="{7CC8A340-72D6-094F-99C6-7D877A83F85F}"/>
                  </a:ext>
                </a:extLst>
              </p:cNvPr>
              <p:cNvSpPr>
                <a:spLocks noChangeArrowheads="1"/>
              </p:cNvSpPr>
              <p:nvPr/>
            </p:nvSpPr>
            <p:spPr bwMode="auto">
              <a:xfrm>
                <a:off x="7122186" y="3518466"/>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11" name="Rectangle 309">
                <a:extLst>
                  <a:ext uri="{FF2B5EF4-FFF2-40B4-BE49-F238E27FC236}">
                    <a16:creationId xmlns:a16="http://schemas.microsoft.com/office/drawing/2014/main" id="{F808B17D-7388-344A-9E94-B58BFA04FB7E}"/>
                  </a:ext>
                </a:extLst>
              </p:cNvPr>
              <p:cNvSpPr>
                <a:spLocks noChangeArrowheads="1"/>
              </p:cNvSpPr>
              <p:nvPr/>
            </p:nvSpPr>
            <p:spPr bwMode="auto">
              <a:xfrm>
                <a:off x="7122186" y="3516062"/>
                <a:ext cx="8415" cy="24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12" name="Rectangle 310">
                <a:extLst>
                  <a:ext uri="{FF2B5EF4-FFF2-40B4-BE49-F238E27FC236}">
                    <a16:creationId xmlns:a16="http://schemas.microsoft.com/office/drawing/2014/main" id="{FC0173A7-643E-9B44-9183-F0589FA1572E}"/>
                  </a:ext>
                </a:extLst>
              </p:cNvPr>
              <p:cNvSpPr>
                <a:spLocks noChangeArrowheads="1"/>
              </p:cNvSpPr>
              <p:nvPr/>
            </p:nvSpPr>
            <p:spPr bwMode="auto">
              <a:xfrm>
                <a:off x="7122186" y="3513658"/>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13" name="Rectangle 311">
                <a:extLst>
                  <a:ext uri="{FF2B5EF4-FFF2-40B4-BE49-F238E27FC236}">
                    <a16:creationId xmlns:a16="http://schemas.microsoft.com/office/drawing/2014/main" id="{D7E34411-1A5D-744E-8966-F76B85F02CDE}"/>
                  </a:ext>
                </a:extLst>
              </p:cNvPr>
              <p:cNvSpPr>
                <a:spLocks noChangeArrowheads="1"/>
              </p:cNvSpPr>
              <p:nvPr/>
            </p:nvSpPr>
            <p:spPr bwMode="auto">
              <a:xfrm>
                <a:off x="7122186" y="3511253"/>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14" name="Rectangle 312">
                <a:extLst>
                  <a:ext uri="{FF2B5EF4-FFF2-40B4-BE49-F238E27FC236}">
                    <a16:creationId xmlns:a16="http://schemas.microsoft.com/office/drawing/2014/main" id="{5612B0F7-A44D-B34C-8CDB-C73ECE47898D}"/>
                  </a:ext>
                </a:extLst>
              </p:cNvPr>
              <p:cNvSpPr>
                <a:spLocks noChangeArrowheads="1"/>
              </p:cNvSpPr>
              <p:nvPr/>
            </p:nvSpPr>
            <p:spPr bwMode="auto">
              <a:xfrm>
                <a:off x="7122186" y="3508849"/>
                <a:ext cx="16830"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15" name="Rectangle 313">
                <a:extLst>
                  <a:ext uri="{FF2B5EF4-FFF2-40B4-BE49-F238E27FC236}">
                    <a16:creationId xmlns:a16="http://schemas.microsoft.com/office/drawing/2014/main" id="{9116D3EA-C118-4448-9A93-2D2AEBE9B959}"/>
                  </a:ext>
                </a:extLst>
              </p:cNvPr>
              <p:cNvSpPr>
                <a:spLocks noChangeArrowheads="1"/>
              </p:cNvSpPr>
              <p:nvPr/>
            </p:nvSpPr>
            <p:spPr bwMode="auto">
              <a:xfrm>
                <a:off x="7122186" y="3506445"/>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16" name="Rectangle 314">
                <a:extLst>
                  <a:ext uri="{FF2B5EF4-FFF2-40B4-BE49-F238E27FC236}">
                    <a16:creationId xmlns:a16="http://schemas.microsoft.com/office/drawing/2014/main" id="{CB010774-447F-A74E-B7F3-1E153D82A955}"/>
                  </a:ext>
                </a:extLst>
              </p:cNvPr>
              <p:cNvSpPr>
                <a:spLocks noChangeArrowheads="1"/>
              </p:cNvSpPr>
              <p:nvPr/>
            </p:nvSpPr>
            <p:spPr bwMode="auto">
              <a:xfrm>
                <a:off x="7122186" y="3504041"/>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17" name="Rectangle 315">
                <a:extLst>
                  <a:ext uri="{FF2B5EF4-FFF2-40B4-BE49-F238E27FC236}">
                    <a16:creationId xmlns:a16="http://schemas.microsoft.com/office/drawing/2014/main" id="{7F43F24B-9803-714E-963D-92436C7B8F29}"/>
                  </a:ext>
                </a:extLst>
              </p:cNvPr>
              <p:cNvSpPr>
                <a:spLocks noChangeArrowheads="1"/>
              </p:cNvSpPr>
              <p:nvPr/>
            </p:nvSpPr>
            <p:spPr bwMode="auto">
              <a:xfrm>
                <a:off x="7122186" y="3500435"/>
                <a:ext cx="8415" cy="24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18" name="Rectangle 316">
                <a:extLst>
                  <a:ext uri="{FF2B5EF4-FFF2-40B4-BE49-F238E27FC236}">
                    <a16:creationId xmlns:a16="http://schemas.microsoft.com/office/drawing/2014/main" id="{62F11D42-BBE7-4943-AA47-CBEE3652AE6F}"/>
                  </a:ext>
                </a:extLst>
              </p:cNvPr>
              <p:cNvSpPr>
                <a:spLocks noChangeArrowheads="1"/>
              </p:cNvSpPr>
              <p:nvPr/>
            </p:nvSpPr>
            <p:spPr bwMode="auto">
              <a:xfrm>
                <a:off x="7122186" y="3499232"/>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19" name="Rectangle 317">
                <a:extLst>
                  <a:ext uri="{FF2B5EF4-FFF2-40B4-BE49-F238E27FC236}">
                    <a16:creationId xmlns:a16="http://schemas.microsoft.com/office/drawing/2014/main" id="{56774136-0127-FE44-A21E-887D3970C257}"/>
                  </a:ext>
                </a:extLst>
              </p:cNvPr>
              <p:cNvSpPr>
                <a:spLocks noChangeArrowheads="1"/>
              </p:cNvSpPr>
              <p:nvPr/>
            </p:nvSpPr>
            <p:spPr bwMode="auto">
              <a:xfrm>
                <a:off x="7122186" y="3496828"/>
                <a:ext cx="9617"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20" name="Rectangle 318">
                <a:extLst>
                  <a:ext uri="{FF2B5EF4-FFF2-40B4-BE49-F238E27FC236}">
                    <a16:creationId xmlns:a16="http://schemas.microsoft.com/office/drawing/2014/main" id="{DE652BFE-37FB-124D-A314-B6C9A46F8D14}"/>
                  </a:ext>
                </a:extLst>
              </p:cNvPr>
              <p:cNvSpPr>
                <a:spLocks noChangeArrowheads="1"/>
              </p:cNvSpPr>
              <p:nvPr/>
            </p:nvSpPr>
            <p:spPr bwMode="auto">
              <a:xfrm>
                <a:off x="7122186" y="3493222"/>
                <a:ext cx="8415" cy="24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21" name="Rectangle 319">
                <a:extLst>
                  <a:ext uri="{FF2B5EF4-FFF2-40B4-BE49-F238E27FC236}">
                    <a16:creationId xmlns:a16="http://schemas.microsoft.com/office/drawing/2014/main" id="{796F6B60-0B7A-0F49-827C-ED6CE52AFF59}"/>
                  </a:ext>
                </a:extLst>
              </p:cNvPr>
              <p:cNvSpPr>
                <a:spLocks noChangeArrowheads="1"/>
              </p:cNvSpPr>
              <p:nvPr/>
            </p:nvSpPr>
            <p:spPr bwMode="auto">
              <a:xfrm>
                <a:off x="7122186" y="3490818"/>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22" name="Rectangle 320">
                <a:extLst>
                  <a:ext uri="{FF2B5EF4-FFF2-40B4-BE49-F238E27FC236}">
                    <a16:creationId xmlns:a16="http://schemas.microsoft.com/office/drawing/2014/main" id="{D0ADECB5-6B27-2F43-BD79-608ACFAD7D4E}"/>
                  </a:ext>
                </a:extLst>
              </p:cNvPr>
              <p:cNvSpPr>
                <a:spLocks noChangeArrowheads="1"/>
              </p:cNvSpPr>
              <p:nvPr/>
            </p:nvSpPr>
            <p:spPr bwMode="auto">
              <a:xfrm>
                <a:off x="7122186" y="3489615"/>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23" name="Rectangle 321">
                <a:extLst>
                  <a:ext uri="{FF2B5EF4-FFF2-40B4-BE49-F238E27FC236}">
                    <a16:creationId xmlns:a16="http://schemas.microsoft.com/office/drawing/2014/main" id="{867F9A67-DE3E-034B-A093-E0BFB786E8B4}"/>
                  </a:ext>
                </a:extLst>
              </p:cNvPr>
              <p:cNvSpPr>
                <a:spLocks noChangeArrowheads="1"/>
              </p:cNvSpPr>
              <p:nvPr/>
            </p:nvSpPr>
            <p:spPr bwMode="auto">
              <a:xfrm>
                <a:off x="7122186" y="3487211"/>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24" name="Rectangle 322">
                <a:extLst>
                  <a:ext uri="{FF2B5EF4-FFF2-40B4-BE49-F238E27FC236}">
                    <a16:creationId xmlns:a16="http://schemas.microsoft.com/office/drawing/2014/main" id="{F251043A-DCB7-4E48-BF7D-2DAF31ABC17F}"/>
                  </a:ext>
                </a:extLst>
              </p:cNvPr>
              <p:cNvSpPr>
                <a:spLocks noChangeArrowheads="1"/>
              </p:cNvSpPr>
              <p:nvPr/>
            </p:nvSpPr>
            <p:spPr bwMode="auto">
              <a:xfrm>
                <a:off x="7122186" y="3483605"/>
                <a:ext cx="16830"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25" name="Rectangle 323">
                <a:extLst>
                  <a:ext uri="{FF2B5EF4-FFF2-40B4-BE49-F238E27FC236}">
                    <a16:creationId xmlns:a16="http://schemas.microsoft.com/office/drawing/2014/main" id="{4601206C-774B-ED4C-A4BC-B29E84137F02}"/>
                  </a:ext>
                </a:extLst>
              </p:cNvPr>
              <p:cNvSpPr>
                <a:spLocks noChangeArrowheads="1"/>
              </p:cNvSpPr>
              <p:nvPr/>
            </p:nvSpPr>
            <p:spPr bwMode="auto">
              <a:xfrm>
                <a:off x="7122186" y="3481200"/>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26" name="Rectangle 324">
                <a:extLst>
                  <a:ext uri="{FF2B5EF4-FFF2-40B4-BE49-F238E27FC236}">
                    <a16:creationId xmlns:a16="http://schemas.microsoft.com/office/drawing/2014/main" id="{19B6CEA8-916F-D840-9EF6-250E2093136F}"/>
                  </a:ext>
                </a:extLst>
              </p:cNvPr>
              <p:cNvSpPr>
                <a:spLocks noChangeArrowheads="1"/>
              </p:cNvSpPr>
              <p:nvPr/>
            </p:nvSpPr>
            <p:spPr bwMode="auto">
              <a:xfrm>
                <a:off x="7122186" y="3479998"/>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27" name="Rectangle 325">
                <a:extLst>
                  <a:ext uri="{FF2B5EF4-FFF2-40B4-BE49-F238E27FC236}">
                    <a16:creationId xmlns:a16="http://schemas.microsoft.com/office/drawing/2014/main" id="{4C510B20-DFAF-D54A-9EA0-739983919AD2}"/>
                  </a:ext>
                </a:extLst>
              </p:cNvPr>
              <p:cNvSpPr>
                <a:spLocks noChangeArrowheads="1"/>
              </p:cNvSpPr>
              <p:nvPr/>
            </p:nvSpPr>
            <p:spPr bwMode="auto">
              <a:xfrm>
                <a:off x="7122186" y="3476392"/>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28" name="Rectangle 326">
                <a:extLst>
                  <a:ext uri="{FF2B5EF4-FFF2-40B4-BE49-F238E27FC236}">
                    <a16:creationId xmlns:a16="http://schemas.microsoft.com/office/drawing/2014/main" id="{351E48C3-3F8A-434E-A8DD-F3E29022C2DA}"/>
                  </a:ext>
                </a:extLst>
              </p:cNvPr>
              <p:cNvSpPr>
                <a:spLocks noChangeArrowheads="1"/>
              </p:cNvSpPr>
              <p:nvPr/>
            </p:nvSpPr>
            <p:spPr bwMode="auto">
              <a:xfrm>
                <a:off x="7122186" y="3473988"/>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29" name="Rectangle 327">
                <a:extLst>
                  <a:ext uri="{FF2B5EF4-FFF2-40B4-BE49-F238E27FC236}">
                    <a16:creationId xmlns:a16="http://schemas.microsoft.com/office/drawing/2014/main" id="{8043117B-F079-9B4E-884E-4016F096E0F2}"/>
                  </a:ext>
                </a:extLst>
              </p:cNvPr>
              <p:cNvSpPr>
                <a:spLocks noChangeArrowheads="1"/>
              </p:cNvSpPr>
              <p:nvPr/>
            </p:nvSpPr>
            <p:spPr bwMode="auto">
              <a:xfrm>
                <a:off x="7122186" y="3472785"/>
                <a:ext cx="9617"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30" name="Rectangle 328">
                <a:extLst>
                  <a:ext uri="{FF2B5EF4-FFF2-40B4-BE49-F238E27FC236}">
                    <a16:creationId xmlns:a16="http://schemas.microsoft.com/office/drawing/2014/main" id="{1EAB6BBF-32FE-164B-B4D0-BEA828D56A2B}"/>
                  </a:ext>
                </a:extLst>
              </p:cNvPr>
              <p:cNvSpPr>
                <a:spLocks noChangeArrowheads="1"/>
              </p:cNvSpPr>
              <p:nvPr/>
            </p:nvSpPr>
            <p:spPr bwMode="auto">
              <a:xfrm>
                <a:off x="7122186" y="3469179"/>
                <a:ext cx="8415" cy="24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31" name="Rectangle 329">
                <a:extLst>
                  <a:ext uri="{FF2B5EF4-FFF2-40B4-BE49-F238E27FC236}">
                    <a16:creationId xmlns:a16="http://schemas.microsoft.com/office/drawing/2014/main" id="{BE07D4F6-8F67-FE4C-A9CB-777B497A5662}"/>
                  </a:ext>
                </a:extLst>
              </p:cNvPr>
              <p:cNvSpPr>
                <a:spLocks noChangeArrowheads="1"/>
              </p:cNvSpPr>
              <p:nvPr/>
            </p:nvSpPr>
            <p:spPr bwMode="auto">
              <a:xfrm>
                <a:off x="7122186" y="3466775"/>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32" name="Rectangle 330">
                <a:extLst>
                  <a:ext uri="{FF2B5EF4-FFF2-40B4-BE49-F238E27FC236}">
                    <a16:creationId xmlns:a16="http://schemas.microsoft.com/office/drawing/2014/main" id="{AEDA661A-16CC-414B-8270-A6804E05B25B}"/>
                  </a:ext>
                </a:extLst>
              </p:cNvPr>
              <p:cNvSpPr>
                <a:spLocks noChangeArrowheads="1"/>
              </p:cNvSpPr>
              <p:nvPr/>
            </p:nvSpPr>
            <p:spPr bwMode="auto">
              <a:xfrm>
                <a:off x="7122186" y="3464371"/>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33" name="Rectangle 331">
                <a:extLst>
                  <a:ext uri="{FF2B5EF4-FFF2-40B4-BE49-F238E27FC236}">
                    <a16:creationId xmlns:a16="http://schemas.microsoft.com/office/drawing/2014/main" id="{2162E9F1-7C1D-094B-BD2E-4BBA98910561}"/>
                  </a:ext>
                </a:extLst>
              </p:cNvPr>
              <p:cNvSpPr>
                <a:spLocks noChangeArrowheads="1"/>
              </p:cNvSpPr>
              <p:nvPr/>
            </p:nvSpPr>
            <p:spPr bwMode="auto">
              <a:xfrm>
                <a:off x="7122186" y="3463168"/>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34" name="Rectangle 332">
                <a:extLst>
                  <a:ext uri="{FF2B5EF4-FFF2-40B4-BE49-F238E27FC236}">
                    <a16:creationId xmlns:a16="http://schemas.microsoft.com/office/drawing/2014/main" id="{4C4BCBDE-2172-6940-B032-574297D5732F}"/>
                  </a:ext>
                </a:extLst>
              </p:cNvPr>
              <p:cNvSpPr>
                <a:spLocks noChangeArrowheads="1"/>
              </p:cNvSpPr>
              <p:nvPr/>
            </p:nvSpPr>
            <p:spPr bwMode="auto">
              <a:xfrm>
                <a:off x="7122186" y="3459562"/>
                <a:ext cx="16830"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35" name="Rectangle 333">
                <a:extLst>
                  <a:ext uri="{FF2B5EF4-FFF2-40B4-BE49-F238E27FC236}">
                    <a16:creationId xmlns:a16="http://schemas.microsoft.com/office/drawing/2014/main" id="{90D97B75-36A4-E643-8CB8-C3223AB1DFFB}"/>
                  </a:ext>
                </a:extLst>
              </p:cNvPr>
              <p:cNvSpPr>
                <a:spLocks noChangeArrowheads="1"/>
              </p:cNvSpPr>
              <p:nvPr/>
            </p:nvSpPr>
            <p:spPr bwMode="auto">
              <a:xfrm>
                <a:off x="7122186" y="3457158"/>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36" name="Rectangle 334">
                <a:extLst>
                  <a:ext uri="{FF2B5EF4-FFF2-40B4-BE49-F238E27FC236}">
                    <a16:creationId xmlns:a16="http://schemas.microsoft.com/office/drawing/2014/main" id="{FF7E0E26-2594-D243-BE67-3E0A9437ADE4}"/>
                  </a:ext>
                </a:extLst>
              </p:cNvPr>
              <p:cNvSpPr>
                <a:spLocks noChangeArrowheads="1"/>
              </p:cNvSpPr>
              <p:nvPr/>
            </p:nvSpPr>
            <p:spPr bwMode="auto">
              <a:xfrm>
                <a:off x="7122186" y="3453551"/>
                <a:ext cx="8415" cy="24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37" name="Rectangle 335">
                <a:extLst>
                  <a:ext uri="{FF2B5EF4-FFF2-40B4-BE49-F238E27FC236}">
                    <a16:creationId xmlns:a16="http://schemas.microsoft.com/office/drawing/2014/main" id="{EAD481FF-15BB-6642-9E6C-F864F66C8DB6}"/>
                  </a:ext>
                </a:extLst>
              </p:cNvPr>
              <p:cNvSpPr>
                <a:spLocks noChangeArrowheads="1"/>
              </p:cNvSpPr>
              <p:nvPr/>
            </p:nvSpPr>
            <p:spPr bwMode="auto">
              <a:xfrm>
                <a:off x="7122186" y="3452349"/>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38" name="Rectangle 336">
                <a:extLst>
                  <a:ext uri="{FF2B5EF4-FFF2-40B4-BE49-F238E27FC236}">
                    <a16:creationId xmlns:a16="http://schemas.microsoft.com/office/drawing/2014/main" id="{62231C3C-AF33-8849-B130-431C522BFD27}"/>
                  </a:ext>
                </a:extLst>
              </p:cNvPr>
              <p:cNvSpPr>
                <a:spLocks noChangeArrowheads="1"/>
              </p:cNvSpPr>
              <p:nvPr/>
            </p:nvSpPr>
            <p:spPr bwMode="auto">
              <a:xfrm>
                <a:off x="7122186" y="3449945"/>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39" name="Rectangle 337">
                <a:extLst>
                  <a:ext uri="{FF2B5EF4-FFF2-40B4-BE49-F238E27FC236}">
                    <a16:creationId xmlns:a16="http://schemas.microsoft.com/office/drawing/2014/main" id="{114831D5-6893-4A4E-9F31-A9279382CEC8}"/>
                  </a:ext>
                </a:extLst>
              </p:cNvPr>
              <p:cNvSpPr>
                <a:spLocks noChangeArrowheads="1"/>
              </p:cNvSpPr>
              <p:nvPr/>
            </p:nvSpPr>
            <p:spPr bwMode="auto">
              <a:xfrm>
                <a:off x="7122186" y="3447541"/>
                <a:ext cx="9617"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40" name="Rectangle 338">
                <a:extLst>
                  <a:ext uri="{FF2B5EF4-FFF2-40B4-BE49-F238E27FC236}">
                    <a16:creationId xmlns:a16="http://schemas.microsoft.com/office/drawing/2014/main" id="{C4C56890-5316-264F-96C4-CC543DDC04C1}"/>
                  </a:ext>
                </a:extLst>
              </p:cNvPr>
              <p:cNvSpPr>
                <a:spLocks noChangeArrowheads="1"/>
              </p:cNvSpPr>
              <p:nvPr/>
            </p:nvSpPr>
            <p:spPr bwMode="auto">
              <a:xfrm>
                <a:off x="7122186" y="3443934"/>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41" name="Rectangle 339">
                <a:extLst>
                  <a:ext uri="{FF2B5EF4-FFF2-40B4-BE49-F238E27FC236}">
                    <a16:creationId xmlns:a16="http://schemas.microsoft.com/office/drawing/2014/main" id="{8569BD3E-0353-4247-8DDB-2E8628085306}"/>
                  </a:ext>
                </a:extLst>
              </p:cNvPr>
              <p:cNvSpPr>
                <a:spLocks noChangeArrowheads="1"/>
              </p:cNvSpPr>
              <p:nvPr/>
            </p:nvSpPr>
            <p:spPr bwMode="auto">
              <a:xfrm>
                <a:off x="7122186" y="3442732"/>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42" name="Rectangle 340">
                <a:extLst>
                  <a:ext uri="{FF2B5EF4-FFF2-40B4-BE49-F238E27FC236}">
                    <a16:creationId xmlns:a16="http://schemas.microsoft.com/office/drawing/2014/main" id="{4A9D9E4F-BFAC-3545-AFE4-6957472AFAB9}"/>
                  </a:ext>
                </a:extLst>
              </p:cNvPr>
              <p:cNvSpPr>
                <a:spLocks noChangeArrowheads="1"/>
              </p:cNvSpPr>
              <p:nvPr/>
            </p:nvSpPr>
            <p:spPr bwMode="auto">
              <a:xfrm>
                <a:off x="7122186" y="3440328"/>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43" name="Rectangle 341">
                <a:extLst>
                  <a:ext uri="{FF2B5EF4-FFF2-40B4-BE49-F238E27FC236}">
                    <a16:creationId xmlns:a16="http://schemas.microsoft.com/office/drawing/2014/main" id="{ECEB347A-E1A2-9E46-8F6C-6820BA304BED}"/>
                  </a:ext>
                </a:extLst>
              </p:cNvPr>
              <p:cNvSpPr>
                <a:spLocks noChangeArrowheads="1"/>
              </p:cNvSpPr>
              <p:nvPr/>
            </p:nvSpPr>
            <p:spPr bwMode="auto">
              <a:xfrm>
                <a:off x="7122186" y="3436721"/>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44" name="Rectangle 342">
                <a:extLst>
                  <a:ext uri="{FF2B5EF4-FFF2-40B4-BE49-F238E27FC236}">
                    <a16:creationId xmlns:a16="http://schemas.microsoft.com/office/drawing/2014/main" id="{5713C369-3D17-F94A-9F3D-521DA2200981}"/>
                  </a:ext>
                </a:extLst>
              </p:cNvPr>
              <p:cNvSpPr>
                <a:spLocks noChangeArrowheads="1"/>
              </p:cNvSpPr>
              <p:nvPr/>
            </p:nvSpPr>
            <p:spPr bwMode="auto">
              <a:xfrm>
                <a:off x="7122186" y="3435519"/>
                <a:ext cx="16830"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45" name="Rectangle 343">
                <a:extLst>
                  <a:ext uri="{FF2B5EF4-FFF2-40B4-BE49-F238E27FC236}">
                    <a16:creationId xmlns:a16="http://schemas.microsoft.com/office/drawing/2014/main" id="{93F3D9C6-9833-4D46-BA26-8E3D52AE1BB4}"/>
                  </a:ext>
                </a:extLst>
              </p:cNvPr>
              <p:cNvSpPr>
                <a:spLocks noChangeArrowheads="1"/>
              </p:cNvSpPr>
              <p:nvPr/>
            </p:nvSpPr>
            <p:spPr bwMode="auto">
              <a:xfrm>
                <a:off x="7122186" y="3433115"/>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46" name="Rectangle 344">
                <a:extLst>
                  <a:ext uri="{FF2B5EF4-FFF2-40B4-BE49-F238E27FC236}">
                    <a16:creationId xmlns:a16="http://schemas.microsoft.com/office/drawing/2014/main" id="{5366844A-B289-CE44-A3BA-ABF04ECD625F}"/>
                  </a:ext>
                </a:extLst>
              </p:cNvPr>
              <p:cNvSpPr>
                <a:spLocks noChangeArrowheads="1"/>
              </p:cNvSpPr>
              <p:nvPr/>
            </p:nvSpPr>
            <p:spPr bwMode="auto">
              <a:xfrm>
                <a:off x="7122186" y="3429508"/>
                <a:ext cx="8415" cy="24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47" name="Rectangle 345">
                <a:extLst>
                  <a:ext uri="{FF2B5EF4-FFF2-40B4-BE49-F238E27FC236}">
                    <a16:creationId xmlns:a16="http://schemas.microsoft.com/office/drawing/2014/main" id="{FE9B0BEE-168E-AF41-BEB5-E636050A5BE2}"/>
                  </a:ext>
                </a:extLst>
              </p:cNvPr>
              <p:cNvSpPr>
                <a:spLocks noChangeArrowheads="1"/>
              </p:cNvSpPr>
              <p:nvPr/>
            </p:nvSpPr>
            <p:spPr bwMode="auto">
              <a:xfrm>
                <a:off x="7122186" y="3427104"/>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48" name="Rectangle 346">
                <a:extLst>
                  <a:ext uri="{FF2B5EF4-FFF2-40B4-BE49-F238E27FC236}">
                    <a16:creationId xmlns:a16="http://schemas.microsoft.com/office/drawing/2014/main" id="{946C2583-8012-1B49-B115-B8F8E260C0A6}"/>
                  </a:ext>
                </a:extLst>
              </p:cNvPr>
              <p:cNvSpPr>
                <a:spLocks noChangeArrowheads="1"/>
              </p:cNvSpPr>
              <p:nvPr/>
            </p:nvSpPr>
            <p:spPr bwMode="auto">
              <a:xfrm>
                <a:off x="7122186" y="3425902"/>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49" name="Rectangle 347">
                <a:extLst>
                  <a:ext uri="{FF2B5EF4-FFF2-40B4-BE49-F238E27FC236}">
                    <a16:creationId xmlns:a16="http://schemas.microsoft.com/office/drawing/2014/main" id="{A06DA68E-1553-914F-B868-FFCFB329A84D}"/>
                  </a:ext>
                </a:extLst>
              </p:cNvPr>
              <p:cNvSpPr>
                <a:spLocks noChangeArrowheads="1"/>
              </p:cNvSpPr>
              <p:nvPr/>
            </p:nvSpPr>
            <p:spPr bwMode="auto">
              <a:xfrm>
                <a:off x="7122186" y="3422295"/>
                <a:ext cx="9617" cy="24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50" name="Rectangle 348">
                <a:extLst>
                  <a:ext uri="{FF2B5EF4-FFF2-40B4-BE49-F238E27FC236}">
                    <a16:creationId xmlns:a16="http://schemas.microsoft.com/office/drawing/2014/main" id="{615D31AA-0124-D44F-8D1D-82628891445F}"/>
                  </a:ext>
                </a:extLst>
              </p:cNvPr>
              <p:cNvSpPr>
                <a:spLocks noChangeArrowheads="1"/>
              </p:cNvSpPr>
              <p:nvPr/>
            </p:nvSpPr>
            <p:spPr bwMode="auto">
              <a:xfrm>
                <a:off x="7122186" y="3419891"/>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51" name="Rectangle 349">
                <a:extLst>
                  <a:ext uri="{FF2B5EF4-FFF2-40B4-BE49-F238E27FC236}">
                    <a16:creationId xmlns:a16="http://schemas.microsoft.com/office/drawing/2014/main" id="{EA2B52C4-EA22-5445-A734-ABAF83D46A37}"/>
                  </a:ext>
                </a:extLst>
              </p:cNvPr>
              <p:cNvSpPr>
                <a:spLocks noChangeArrowheads="1"/>
              </p:cNvSpPr>
              <p:nvPr/>
            </p:nvSpPr>
            <p:spPr bwMode="auto">
              <a:xfrm>
                <a:off x="7122186" y="3417487"/>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52" name="Rectangle 350">
                <a:extLst>
                  <a:ext uri="{FF2B5EF4-FFF2-40B4-BE49-F238E27FC236}">
                    <a16:creationId xmlns:a16="http://schemas.microsoft.com/office/drawing/2014/main" id="{84D37F1D-F0AB-944D-9AA8-360C34CB30BB}"/>
                  </a:ext>
                </a:extLst>
              </p:cNvPr>
              <p:cNvSpPr>
                <a:spLocks noChangeArrowheads="1"/>
              </p:cNvSpPr>
              <p:nvPr/>
            </p:nvSpPr>
            <p:spPr bwMode="auto">
              <a:xfrm>
                <a:off x="7122186" y="3416285"/>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53" name="Rectangle 351">
                <a:extLst>
                  <a:ext uri="{FF2B5EF4-FFF2-40B4-BE49-F238E27FC236}">
                    <a16:creationId xmlns:a16="http://schemas.microsoft.com/office/drawing/2014/main" id="{A66ED0F2-7924-AA4F-B78D-EB6FBB23889E}"/>
                  </a:ext>
                </a:extLst>
              </p:cNvPr>
              <p:cNvSpPr>
                <a:spLocks noChangeArrowheads="1"/>
              </p:cNvSpPr>
              <p:nvPr/>
            </p:nvSpPr>
            <p:spPr bwMode="auto">
              <a:xfrm>
                <a:off x="7122186" y="3412678"/>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54" name="Rectangle 352">
                <a:extLst>
                  <a:ext uri="{FF2B5EF4-FFF2-40B4-BE49-F238E27FC236}">
                    <a16:creationId xmlns:a16="http://schemas.microsoft.com/office/drawing/2014/main" id="{00E203E2-D3B4-DE47-8AF0-053A32488C5D}"/>
                  </a:ext>
                </a:extLst>
              </p:cNvPr>
              <p:cNvSpPr>
                <a:spLocks noChangeArrowheads="1"/>
              </p:cNvSpPr>
              <p:nvPr/>
            </p:nvSpPr>
            <p:spPr bwMode="auto">
              <a:xfrm>
                <a:off x="7122186" y="3410274"/>
                <a:ext cx="16830"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55" name="Rectangle 353">
                <a:extLst>
                  <a:ext uri="{FF2B5EF4-FFF2-40B4-BE49-F238E27FC236}">
                    <a16:creationId xmlns:a16="http://schemas.microsoft.com/office/drawing/2014/main" id="{BFAAB912-7EA9-DA46-965A-B525B4C579F1}"/>
                  </a:ext>
                </a:extLst>
              </p:cNvPr>
              <p:cNvSpPr>
                <a:spLocks noChangeArrowheads="1"/>
              </p:cNvSpPr>
              <p:nvPr/>
            </p:nvSpPr>
            <p:spPr bwMode="auto">
              <a:xfrm>
                <a:off x="7122186" y="3407870"/>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56" name="Rectangle 354">
                <a:extLst>
                  <a:ext uri="{FF2B5EF4-FFF2-40B4-BE49-F238E27FC236}">
                    <a16:creationId xmlns:a16="http://schemas.microsoft.com/office/drawing/2014/main" id="{D2628F5E-3878-C34D-AEE2-8E92BDF07D20}"/>
                  </a:ext>
                </a:extLst>
              </p:cNvPr>
              <p:cNvSpPr>
                <a:spLocks noChangeArrowheads="1"/>
              </p:cNvSpPr>
              <p:nvPr/>
            </p:nvSpPr>
            <p:spPr bwMode="auto">
              <a:xfrm>
                <a:off x="7122186" y="3405466"/>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57" name="Rectangle 355">
                <a:extLst>
                  <a:ext uri="{FF2B5EF4-FFF2-40B4-BE49-F238E27FC236}">
                    <a16:creationId xmlns:a16="http://schemas.microsoft.com/office/drawing/2014/main" id="{6B51AEC5-3D06-B242-B6E9-109ACCD93D37}"/>
                  </a:ext>
                </a:extLst>
              </p:cNvPr>
              <p:cNvSpPr>
                <a:spLocks noChangeArrowheads="1"/>
              </p:cNvSpPr>
              <p:nvPr/>
            </p:nvSpPr>
            <p:spPr bwMode="auto">
              <a:xfrm>
                <a:off x="7122186" y="3403061"/>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58" name="Rectangle 356">
                <a:extLst>
                  <a:ext uri="{FF2B5EF4-FFF2-40B4-BE49-F238E27FC236}">
                    <a16:creationId xmlns:a16="http://schemas.microsoft.com/office/drawing/2014/main" id="{0B70CB24-EAF9-084E-BAA6-7EF5094742CA}"/>
                  </a:ext>
                </a:extLst>
              </p:cNvPr>
              <p:cNvSpPr>
                <a:spLocks noChangeArrowheads="1"/>
              </p:cNvSpPr>
              <p:nvPr/>
            </p:nvSpPr>
            <p:spPr bwMode="auto">
              <a:xfrm>
                <a:off x="7122186" y="3400657"/>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59" name="Rectangle 357">
                <a:extLst>
                  <a:ext uri="{FF2B5EF4-FFF2-40B4-BE49-F238E27FC236}">
                    <a16:creationId xmlns:a16="http://schemas.microsoft.com/office/drawing/2014/main" id="{8309867B-8984-ED4C-9596-69FB14A9B77E}"/>
                  </a:ext>
                </a:extLst>
              </p:cNvPr>
              <p:cNvSpPr>
                <a:spLocks noChangeArrowheads="1"/>
              </p:cNvSpPr>
              <p:nvPr/>
            </p:nvSpPr>
            <p:spPr bwMode="auto">
              <a:xfrm>
                <a:off x="7122186" y="3397051"/>
                <a:ext cx="9617"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60" name="Rectangle 358">
                <a:extLst>
                  <a:ext uri="{FF2B5EF4-FFF2-40B4-BE49-F238E27FC236}">
                    <a16:creationId xmlns:a16="http://schemas.microsoft.com/office/drawing/2014/main" id="{FD3ADE0C-CFAB-824A-A78B-686172799880}"/>
                  </a:ext>
                </a:extLst>
              </p:cNvPr>
              <p:cNvSpPr>
                <a:spLocks noChangeArrowheads="1"/>
              </p:cNvSpPr>
              <p:nvPr/>
            </p:nvSpPr>
            <p:spPr bwMode="auto">
              <a:xfrm>
                <a:off x="7122186" y="3395848"/>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61" name="Rectangle 359">
                <a:extLst>
                  <a:ext uri="{FF2B5EF4-FFF2-40B4-BE49-F238E27FC236}">
                    <a16:creationId xmlns:a16="http://schemas.microsoft.com/office/drawing/2014/main" id="{31E88C6C-7A21-F547-A463-187C909FBC82}"/>
                  </a:ext>
                </a:extLst>
              </p:cNvPr>
              <p:cNvSpPr>
                <a:spLocks noChangeArrowheads="1"/>
              </p:cNvSpPr>
              <p:nvPr/>
            </p:nvSpPr>
            <p:spPr bwMode="auto">
              <a:xfrm>
                <a:off x="7122186" y="3393444"/>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62" name="Rectangle 360">
                <a:extLst>
                  <a:ext uri="{FF2B5EF4-FFF2-40B4-BE49-F238E27FC236}">
                    <a16:creationId xmlns:a16="http://schemas.microsoft.com/office/drawing/2014/main" id="{BE30750E-0319-0540-B099-240280568843}"/>
                  </a:ext>
                </a:extLst>
              </p:cNvPr>
              <p:cNvSpPr>
                <a:spLocks noChangeArrowheads="1"/>
              </p:cNvSpPr>
              <p:nvPr/>
            </p:nvSpPr>
            <p:spPr bwMode="auto">
              <a:xfrm>
                <a:off x="7122186" y="3389838"/>
                <a:ext cx="8415" cy="24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63" name="Rectangle 361">
                <a:extLst>
                  <a:ext uri="{FF2B5EF4-FFF2-40B4-BE49-F238E27FC236}">
                    <a16:creationId xmlns:a16="http://schemas.microsoft.com/office/drawing/2014/main" id="{361CAFDD-CA0B-B54E-831E-5A90B1489FCA}"/>
                  </a:ext>
                </a:extLst>
              </p:cNvPr>
              <p:cNvSpPr>
                <a:spLocks noChangeArrowheads="1"/>
              </p:cNvSpPr>
              <p:nvPr/>
            </p:nvSpPr>
            <p:spPr bwMode="auto">
              <a:xfrm>
                <a:off x="7122186" y="3388636"/>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64" name="Rectangle 362">
                <a:extLst>
                  <a:ext uri="{FF2B5EF4-FFF2-40B4-BE49-F238E27FC236}">
                    <a16:creationId xmlns:a16="http://schemas.microsoft.com/office/drawing/2014/main" id="{BC0904C2-3128-044E-B8C7-6805B7C369E6}"/>
                  </a:ext>
                </a:extLst>
              </p:cNvPr>
              <p:cNvSpPr>
                <a:spLocks noChangeArrowheads="1"/>
              </p:cNvSpPr>
              <p:nvPr/>
            </p:nvSpPr>
            <p:spPr bwMode="auto">
              <a:xfrm>
                <a:off x="7122186" y="3386231"/>
                <a:ext cx="16830"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65" name="Rectangle 363">
                <a:extLst>
                  <a:ext uri="{FF2B5EF4-FFF2-40B4-BE49-F238E27FC236}">
                    <a16:creationId xmlns:a16="http://schemas.microsoft.com/office/drawing/2014/main" id="{BB9A725E-02B3-C54B-8827-143F7015B0D9}"/>
                  </a:ext>
                </a:extLst>
              </p:cNvPr>
              <p:cNvSpPr>
                <a:spLocks noChangeArrowheads="1"/>
              </p:cNvSpPr>
              <p:nvPr/>
            </p:nvSpPr>
            <p:spPr bwMode="auto">
              <a:xfrm>
                <a:off x="7122186" y="3382625"/>
                <a:ext cx="8415" cy="24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66" name="Rectangle 364">
                <a:extLst>
                  <a:ext uri="{FF2B5EF4-FFF2-40B4-BE49-F238E27FC236}">
                    <a16:creationId xmlns:a16="http://schemas.microsoft.com/office/drawing/2014/main" id="{1DB9C5D4-CE9F-AE45-ADF9-DF6FBBA3D294}"/>
                  </a:ext>
                </a:extLst>
              </p:cNvPr>
              <p:cNvSpPr>
                <a:spLocks noChangeArrowheads="1"/>
              </p:cNvSpPr>
              <p:nvPr/>
            </p:nvSpPr>
            <p:spPr bwMode="auto">
              <a:xfrm>
                <a:off x="7122186" y="3380221"/>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67" name="Rectangle 365">
                <a:extLst>
                  <a:ext uri="{FF2B5EF4-FFF2-40B4-BE49-F238E27FC236}">
                    <a16:creationId xmlns:a16="http://schemas.microsoft.com/office/drawing/2014/main" id="{BBC84266-BD46-4A41-BC05-35A6055B4389}"/>
                  </a:ext>
                </a:extLst>
              </p:cNvPr>
              <p:cNvSpPr>
                <a:spLocks noChangeArrowheads="1"/>
              </p:cNvSpPr>
              <p:nvPr/>
            </p:nvSpPr>
            <p:spPr bwMode="auto">
              <a:xfrm>
                <a:off x="7122186" y="3379019"/>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68" name="Rectangle 366">
                <a:extLst>
                  <a:ext uri="{FF2B5EF4-FFF2-40B4-BE49-F238E27FC236}">
                    <a16:creationId xmlns:a16="http://schemas.microsoft.com/office/drawing/2014/main" id="{DEE457A3-F256-0547-A002-EF5843BF64A5}"/>
                  </a:ext>
                </a:extLst>
              </p:cNvPr>
              <p:cNvSpPr>
                <a:spLocks noChangeArrowheads="1"/>
              </p:cNvSpPr>
              <p:nvPr/>
            </p:nvSpPr>
            <p:spPr bwMode="auto">
              <a:xfrm>
                <a:off x="7122186" y="3376614"/>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69" name="Rectangle 367">
                <a:extLst>
                  <a:ext uri="{FF2B5EF4-FFF2-40B4-BE49-F238E27FC236}">
                    <a16:creationId xmlns:a16="http://schemas.microsoft.com/office/drawing/2014/main" id="{14974F30-992B-604C-9E11-A7F7F80F3257}"/>
                  </a:ext>
                </a:extLst>
              </p:cNvPr>
              <p:cNvSpPr>
                <a:spLocks noChangeArrowheads="1"/>
              </p:cNvSpPr>
              <p:nvPr/>
            </p:nvSpPr>
            <p:spPr bwMode="auto">
              <a:xfrm>
                <a:off x="7122186" y="3373008"/>
                <a:ext cx="9617"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70" name="Rectangle 368">
                <a:extLst>
                  <a:ext uri="{FF2B5EF4-FFF2-40B4-BE49-F238E27FC236}">
                    <a16:creationId xmlns:a16="http://schemas.microsoft.com/office/drawing/2014/main" id="{F5FB2EAE-62DF-B843-8DF2-56C7F9C97423}"/>
                  </a:ext>
                </a:extLst>
              </p:cNvPr>
              <p:cNvSpPr>
                <a:spLocks noChangeArrowheads="1"/>
              </p:cNvSpPr>
              <p:nvPr/>
            </p:nvSpPr>
            <p:spPr bwMode="auto">
              <a:xfrm>
                <a:off x="7122186" y="3370604"/>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71" name="Rectangle 369">
                <a:extLst>
                  <a:ext uri="{FF2B5EF4-FFF2-40B4-BE49-F238E27FC236}">
                    <a16:creationId xmlns:a16="http://schemas.microsoft.com/office/drawing/2014/main" id="{1C8627FF-352E-9341-821B-1026EB272DC4}"/>
                  </a:ext>
                </a:extLst>
              </p:cNvPr>
              <p:cNvSpPr>
                <a:spLocks noChangeArrowheads="1"/>
              </p:cNvSpPr>
              <p:nvPr/>
            </p:nvSpPr>
            <p:spPr bwMode="auto">
              <a:xfrm>
                <a:off x="7122186" y="3369401"/>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72" name="Rectangle 370">
                <a:extLst>
                  <a:ext uri="{FF2B5EF4-FFF2-40B4-BE49-F238E27FC236}">
                    <a16:creationId xmlns:a16="http://schemas.microsoft.com/office/drawing/2014/main" id="{E6F105F1-E4EC-4646-B6FF-526B0130C208}"/>
                  </a:ext>
                </a:extLst>
              </p:cNvPr>
              <p:cNvSpPr>
                <a:spLocks noChangeArrowheads="1"/>
              </p:cNvSpPr>
              <p:nvPr/>
            </p:nvSpPr>
            <p:spPr bwMode="auto">
              <a:xfrm>
                <a:off x="7122186" y="3365795"/>
                <a:ext cx="8415" cy="24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73" name="Rectangle 371">
                <a:extLst>
                  <a:ext uri="{FF2B5EF4-FFF2-40B4-BE49-F238E27FC236}">
                    <a16:creationId xmlns:a16="http://schemas.microsoft.com/office/drawing/2014/main" id="{53507C30-1E12-5546-A608-8E43E007A968}"/>
                  </a:ext>
                </a:extLst>
              </p:cNvPr>
              <p:cNvSpPr>
                <a:spLocks noChangeArrowheads="1"/>
              </p:cNvSpPr>
              <p:nvPr/>
            </p:nvSpPr>
            <p:spPr bwMode="auto">
              <a:xfrm>
                <a:off x="7122186" y="3363391"/>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74" name="Rectangle 372">
                <a:extLst>
                  <a:ext uri="{FF2B5EF4-FFF2-40B4-BE49-F238E27FC236}">
                    <a16:creationId xmlns:a16="http://schemas.microsoft.com/office/drawing/2014/main" id="{91464DA6-3713-FC4C-A637-C3D9FDCFE345}"/>
                  </a:ext>
                </a:extLst>
              </p:cNvPr>
              <p:cNvSpPr>
                <a:spLocks noChangeArrowheads="1"/>
              </p:cNvSpPr>
              <p:nvPr/>
            </p:nvSpPr>
            <p:spPr bwMode="auto">
              <a:xfrm>
                <a:off x="7122186" y="3362189"/>
                <a:ext cx="16830"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75" name="Rectangle 373">
                <a:extLst>
                  <a:ext uri="{FF2B5EF4-FFF2-40B4-BE49-F238E27FC236}">
                    <a16:creationId xmlns:a16="http://schemas.microsoft.com/office/drawing/2014/main" id="{686D9527-1150-8A4B-9E01-B14346CA3C88}"/>
                  </a:ext>
                </a:extLst>
              </p:cNvPr>
              <p:cNvSpPr>
                <a:spLocks noChangeArrowheads="1"/>
              </p:cNvSpPr>
              <p:nvPr/>
            </p:nvSpPr>
            <p:spPr bwMode="auto">
              <a:xfrm>
                <a:off x="7122186" y="3358583"/>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76" name="Rectangle 374">
                <a:extLst>
                  <a:ext uri="{FF2B5EF4-FFF2-40B4-BE49-F238E27FC236}">
                    <a16:creationId xmlns:a16="http://schemas.microsoft.com/office/drawing/2014/main" id="{58E3768D-A84E-5148-AAA0-7B600886BF5E}"/>
                  </a:ext>
                </a:extLst>
              </p:cNvPr>
              <p:cNvSpPr>
                <a:spLocks noChangeArrowheads="1"/>
              </p:cNvSpPr>
              <p:nvPr/>
            </p:nvSpPr>
            <p:spPr bwMode="auto">
              <a:xfrm>
                <a:off x="7122186" y="3356178"/>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77" name="Rectangle 375">
                <a:extLst>
                  <a:ext uri="{FF2B5EF4-FFF2-40B4-BE49-F238E27FC236}">
                    <a16:creationId xmlns:a16="http://schemas.microsoft.com/office/drawing/2014/main" id="{6C8DBBAA-8894-A049-8E7E-1384946B3649}"/>
                  </a:ext>
                </a:extLst>
              </p:cNvPr>
              <p:cNvSpPr>
                <a:spLocks noChangeArrowheads="1"/>
              </p:cNvSpPr>
              <p:nvPr/>
            </p:nvSpPr>
            <p:spPr bwMode="auto">
              <a:xfrm>
                <a:off x="7122186" y="3353774"/>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78" name="Rectangle 376">
                <a:extLst>
                  <a:ext uri="{FF2B5EF4-FFF2-40B4-BE49-F238E27FC236}">
                    <a16:creationId xmlns:a16="http://schemas.microsoft.com/office/drawing/2014/main" id="{FAB0A2F1-1458-C443-A4DF-3F2EEA50A5B8}"/>
                  </a:ext>
                </a:extLst>
              </p:cNvPr>
              <p:cNvSpPr>
                <a:spLocks noChangeArrowheads="1"/>
              </p:cNvSpPr>
              <p:nvPr/>
            </p:nvSpPr>
            <p:spPr bwMode="auto">
              <a:xfrm>
                <a:off x="7122186" y="3352572"/>
                <a:ext cx="8415" cy="12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grpSp>
        <p:sp>
          <p:nvSpPr>
            <p:cNvPr id="32" name="Freeform 444">
              <a:extLst>
                <a:ext uri="{FF2B5EF4-FFF2-40B4-BE49-F238E27FC236}">
                  <a16:creationId xmlns:a16="http://schemas.microsoft.com/office/drawing/2014/main" id="{04687532-D806-DD4B-9FFA-83905B2F72F1}"/>
                </a:ext>
              </a:extLst>
            </p:cNvPr>
            <p:cNvSpPr>
              <a:spLocks/>
            </p:cNvSpPr>
            <p:nvPr/>
          </p:nvSpPr>
          <p:spPr bwMode="auto">
            <a:xfrm>
              <a:off x="5589462" y="2890951"/>
              <a:ext cx="983347" cy="234417"/>
            </a:xfrm>
            <a:custGeom>
              <a:avLst/>
              <a:gdLst>
                <a:gd name="T0" fmla="*/ 0 w 692"/>
                <a:gd name="T1" fmla="*/ 1 h 165"/>
                <a:gd name="T2" fmla="*/ 2 w 692"/>
                <a:gd name="T3" fmla="*/ 1 h 165"/>
                <a:gd name="T4" fmla="*/ 388 w 692"/>
                <a:gd name="T5" fmla="*/ 7 h 165"/>
                <a:gd name="T6" fmla="*/ 511 w 692"/>
                <a:gd name="T7" fmla="*/ 18 h 165"/>
                <a:gd name="T8" fmla="*/ 650 w 692"/>
                <a:gd name="T9" fmla="*/ 100 h 165"/>
                <a:gd name="T10" fmla="*/ 682 w 692"/>
                <a:gd name="T11" fmla="*/ 145 h 165"/>
                <a:gd name="T12" fmla="*/ 649 w 692"/>
                <a:gd name="T13" fmla="*/ 154 h 165"/>
                <a:gd name="T14" fmla="*/ 491 w 692"/>
                <a:gd name="T15" fmla="*/ 28 h 165"/>
                <a:gd name="T16" fmla="*/ 6 w 692"/>
                <a:gd name="T17" fmla="*/ 48 h 165"/>
                <a:gd name="T18" fmla="*/ 4 w 692"/>
                <a:gd name="T19" fmla="*/ 49 h 165"/>
                <a:gd name="T20" fmla="*/ 0 w 692"/>
                <a:gd name="T21" fmla="*/ 1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2" h="165">
                  <a:moveTo>
                    <a:pt x="0" y="1"/>
                  </a:moveTo>
                  <a:cubicBezTo>
                    <a:pt x="2" y="1"/>
                    <a:pt x="2" y="1"/>
                    <a:pt x="2" y="1"/>
                  </a:cubicBezTo>
                  <a:cubicBezTo>
                    <a:pt x="388" y="7"/>
                    <a:pt x="388" y="7"/>
                    <a:pt x="388" y="7"/>
                  </a:cubicBezTo>
                  <a:cubicBezTo>
                    <a:pt x="388" y="7"/>
                    <a:pt x="472" y="0"/>
                    <a:pt x="511" y="18"/>
                  </a:cubicBezTo>
                  <a:cubicBezTo>
                    <a:pt x="549" y="36"/>
                    <a:pt x="618" y="83"/>
                    <a:pt x="650" y="100"/>
                  </a:cubicBezTo>
                  <a:cubicBezTo>
                    <a:pt x="682" y="118"/>
                    <a:pt x="692" y="127"/>
                    <a:pt x="682" y="145"/>
                  </a:cubicBezTo>
                  <a:cubicBezTo>
                    <a:pt x="682" y="145"/>
                    <a:pt x="668" y="165"/>
                    <a:pt x="649" y="154"/>
                  </a:cubicBezTo>
                  <a:cubicBezTo>
                    <a:pt x="629" y="144"/>
                    <a:pt x="515" y="36"/>
                    <a:pt x="491" y="28"/>
                  </a:cubicBezTo>
                  <a:cubicBezTo>
                    <a:pt x="467" y="21"/>
                    <a:pt x="37" y="47"/>
                    <a:pt x="6" y="48"/>
                  </a:cubicBezTo>
                  <a:cubicBezTo>
                    <a:pt x="5" y="49"/>
                    <a:pt x="4" y="49"/>
                    <a:pt x="4" y="49"/>
                  </a:cubicBezTo>
                  <a:lnTo>
                    <a:pt x="0" y="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33" name="Freeform 445">
              <a:extLst>
                <a:ext uri="{FF2B5EF4-FFF2-40B4-BE49-F238E27FC236}">
                  <a16:creationId xmlns:a16="http://schemas.microsoft.com/office/drawing/2014/main" id="{0E78D728-5520-9C4B-808E-C626CA10FBE3}"/>
                </a:ext>
              </a:extLst>
            </p:cNvPr>
            <p:cNvSpPr>
              <a:spLocks/>
            </p:cNvSpPr>
            <p:nvPr/>
          </p:nvSpPr>
          <p:spPr bwMode="auto">
            <a:xfrm>
              <a:off x="5519738" y="2872920"/>
              <a:ext cx="973730" cy="274087"/>
            </a:xfrm>
            <a:custGeom>
              <a:avLst/>
              <a:gdLst>
                <a:gd name="T0" fmla="*/ 685 w 685"/>
                <a:gd name="T1" fmla="*/ 0 h 193"/>
                <a:gd name="T2" fmla="*/ 684 w 685"/>
                <a:gd name="T3" fmla="*/ 0 h 193"/>
                <a:gd name="T4" fmla="*/ 298 w 685"/>
                <a:gd name="T5" fmla="*/ 23 h 193"/>
                <a:gd name="T6" fmla="*/ 176 w 685"/>
                <a:gd name="T7" fmla="*/ 39 h 193"/>
                <a:gd name="T8" fmla="*/ 40 w 685"/>
                <a:gd name="T9" fmla="*/ 128 h 193"/>
                <a:gd name="T10" fmla="*/ 11 w 685"/>
                <a:gd name="T11" fmla="*/ 174 h 193"/>
                <a:gd name="T12" fmla="*/ 44 w 685"/>
                <a:gd name="T13" fmla="*/ 182 h 193"/>
                <a:gd name="T14" fmla="*/ 196 w 685"/>
                <a:gd name="T15" fmla="*/ 49 h 193"/>
                <a:gd name="T16" fmla="*/ 681 w 685"/>
                <a:gd name="T17" fmla="*/ 48 h 193"/>
                <a:gd name="T18" fmla="*/ 683 w 685"/>
                <a:gd name="T19" fmla="*/ 48 h 193"/>
                <a:gd name="T20" fmla="*/ 685 w 685"/>
                <a:gd name="T21" fmla="*/ 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5" h="193">
                  <a:moveTo>
                    <a:pt x="685" y="0"/>
                  </a:moveTo>
                  <a:cubicBezTo>
                    <a:pt x="684" y="0"/>
                    <a:pt x="684" y="0"/>
                    <a:pt x="684" y="0"/>
                  </a:cubicBezTo>
                  <a:cubicBezTo>
                    <a:pt x="298" y="23"/>
                    <a:pt x="298" y="23"/>
                    <a:pt x="298" y="23"/>
                  </a:cubicBezTo>
                  <a:cubicBezTo>
                    <a:pt x="298" y="23"/>
                    <a:pt x="213" y="20"/>
                    <a:pt x="176" y="39"/>
                  </a:cubicBezTo>
                  <a:cubicBezTo>
                    <a:pt x="138" y="59"/>
                    <a:pt x="72" y="109"/>
                    <a:pt x="40" y="128"/>
                  </a:cubicBezTo>
                  <a:cubicBezTo>
                    <a:pt x="9" y="147"/>
                    <a:pt x="0" y="156"/>
                    <a:pt x="11" y="174"/>
                  </a:cubicBezTo>
                  <a:cubicBezTo>
                    <a:pt x="11" y="174"/>
                    <a:pt x="25" y="193"/>
                    <a:pt x="44" y="182"/>
                  </a:cubicBezTo>
                  <a:cubicBezTo>
                    <a:pt x="63" y="170"/>
                    <a:pt x="172" y="57"/>
                    <a:pt x="196" y="49"/>
                  </a:cubicBezTo>
                  <a:cubicBezTo>
                    <a:pt x="219" y="41"/>
                    <a:pt x="650" y="47"/>
                    <a:pt x="681" y="48"/>
                  </a:cubicBezTo>
                  <a:cubicBezTo>
                    <a:pt x="682" y="48"/>
                    <a:pt x="683" y="48"/>
                    <a:pt x="683" y="48"/>
                  </a:cubicBezTo>
                  <a:lnTo>
                    <a:pt x="685"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34" name="Freeform 446">
              <a:extLst>
                <a:ext uri="{FF2B5EF4-FFF2-40B4-BE49-F238E27FC236}">
                  <a16:creationId xmlns:a16="http://schemas.microsoft.com/office/drawing/2014/main" id="{8B1E5C11-CB40-C249-8BFD-C50B74E40D3B}"/>
                </a:ext>
              </a:extLst>
            </p:cNvPr>
            <p:cNvSpPr>
              <a:spLocks noEditPoints="1"/>
            </p:cNvSpPr>
            <p:nvPr/>
          </p:nvSpPr>
          <p:spPr bwMode="auto">
            <a:xfrm>
              <a:off x="5587058" y="2828440"/>
              <a:ext cx="908815" cy="314960"/>
            </a:xfrm>
            <a:custGeom>
              <a:avLst/>
              <a:gdLst>
                <a:gd name="T0" fmla="*/ 549 w 640"/>
                <a:gd name="T1" fmla="*/ 11 h 222"/>
                <a:gd name="T2" fmla="*/ 384 w 640"/>
                <a:gd name="T3" fmla="*/ 15 h 222"/>
                <a:gd name="T4" fmla="*/ 320 w 640"/>
                <a:gd name="T5" fmla="*/ 27 h 222"/>
                <a:gd name="T6" fmla="*/ 254 w 640"/>
                <a:gd name="T7" fmla="*/ 18 h 222"/>
                <a:gd name="T8" fmla="*/ 89 w 640"/>
                <a:gd name="T9" fmla="*/ 21 h 222"/>
                <a:gd name="T10" fmla="*/ 0 w 640"/>
                <a:gd name="T11" fmla="*/ 41 h 222"/>
                <a:gd name="T12" fmla="*/ 1 w 640"/>
                <a:gd name="T13" fmla="*/ 93 h 222"/>
                <a:gd name="T14" fmla="*/ 29 w 640"/>
                <a:gd name="T15" fmla="*/ 143 h 222"/>
                <a:gd name="T16" fmla="*/ 128 w 640"/>
                <a:gd name="T17" fmla="*/ 216 h 222"/>
                <a:gd name="T18" fmla="*/ 292 w 640"/>
                <a:gd name="T19" fmla="*/ 87 h 222"/>
                <a:gd name="T20" fmla="*/ 319 w 640"/>
                <a:gd name="T21" fmla="*/ 67 h 222"/>
                <a:gd name="T22" fmla="*/ 320 w 640"/>
                <a:gd name="T23" fmla="*/ 67 h 222"/>
                <a:gd name="T24" fmla="*/ 322 w 640"/>
                <a:gd name="T25" fmla="*/ 67 h 222"/>
                <a:gd name="T26" fmla="*/ 349 w 640"/>
                <a:gd name="T27" fmla="*/ 85 h 222"/>
                <a:gd name="T28" fmla="*/ 519 w 640"/>
                <a:gd name="T29" fmla="*/ 208 h 222"/>
                <a:gd name="T30" fmla="*/ 615 w 640"/>
                <a:gd name="T31" fmla="*/ 130 h 222"/>
                <a:gd name="T32" fmla="*/ 640 w 640"/>
                <a:gd name="T33" fmla="*/ 79 h 222"/>
                <a:gd name="T34" fmla="*/ 639 w 640"/>
                <a:gd name="T35" fmla="*/ 26 h 222"/>
                <a:gd name="T36" fmla="*/ 549 w 640"/>
                <a:gd name="T37" fmla="*/ 11 h 222"/>
                <a:gd name="T38" fmla="*/ 167 w 640"/>
                <a:gd name="T39" fmla="*/ 202 h 222"/>
                <a:gd name="T40" fmla="*/ 64 w 640"/>
                <a:gd name="T41" fmla="*/ 176 h 222"/>
                <a:gd name="T42" fmla="*/ 53 w 640"/>
                <a:gd name="T43" fmla="*/ 65 h 222"/>
                <a:gd name="T44" fmla="*/ 190 w 640"/>
                <a:gd name="T45" fmla="*/ 30 h 222"/>
                <a:gd name="T46" fmla="*/ 262 w 640"/>
                <a:gd name="T47" fmla="*/ 66 h 222"/>
                <a:gd name="T48" fmla="*/ 167 w 640"/>
                <a:gd name="T49" fmla="*/ 202 h 222"/>
                <a:gd name="T50" fmla="*/ 582 w 640"/>
                <a:gd name="T51" fmla="*/ 164 h 222"/>
                <a:gd name="T52" fmla="*/ 480 w 640"/>
                <a:gd name="T53" fmla="*/ 195 h 222"/>
                <a:gd name="T54" fmla="*/ 379 w 640"/>
                <a:gd name="T55" fmla="*/ 64 h 222"/>
                <a:gd name="T56" fmla="*/ 449 w 640"/>
                <a:gd name="T57" fmla="*/ 24 h 222"/>
                <a:gd name="T58" fmla="*/ 588 w 640"/>
                <a:gd name="T59" fmla="*/ 53 h 222"/>
                <a:gd name="T60" fmla="*/ 582 w 640"/>
                <a:gd name="T61" fmla="*/ 164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0" h="222">
                  <a:moveTo>
                    <a:pt x="549" y="11"/>
                  </a:moveTo>
                  <a:cubicBezTo>
                    <a:pt x="490" y="0"/>
                    <a:pt x="419" y="3"/>
                    <a:pt x="384" y="15"/>
                  </a:cubicBezTo>
                  <a:cubicBezTo>
                    <a:pt x="357" y="24"/>
                    <a:pt x="329" y="27"/>
                    <a:pt x="320" y="27"/>
                  </a:cubicBezTo>
                  <a:cubicBezTo>
                    <a:pt x="309" y="27"/>
                    <a:pt x="282" y="26"/>
                    <a:pt x="254" y="18"/>
                  </a:cubicBezTo>
                  <a:cubicBezTo>
                    <a:pt x="219" y="8"/>
                    <a:pt x="148" y="8"/>
                    <a:pt x="89" y="21"/>
                  </a:cubicBezTo>
                  <a:cubicBezTo>
                    <a:pt x="30" y="35"/>
                    <a:pt x="0" y="41"/>
                    <a:pt x="0" y="41"/>
                  </a:cubicBezTo>
                  <a:cubicBezTo>
                    <a:pt x="1" y="93"/>
                    <a:pt x="1" y="93"/>
                    <a:pt x="1" y="93"/>
                  </a:cubicBezTo>
                  <a:cubicBezTo>
                    <a:pt x="1" y="93"/>
                    <a:pt x="15" y="110"/>
                    <a:pt x="29" y="143"/>
                  </a:cubicBezTo>
                  <a:cubicBezTo>
                    <a:pt x="43" y="176"/>
                    <a:pt x="50" y="211"/>
                    <a:pt x="128" y="216"/>
                  </a:cubicBezTo>
                  <a:cubicBezTo>
                    <a:pt x="206" y="222"/>
                    <a:pt x="282" y="210"/>
                    <a:pt x="292" y="87"/>
                  </a:cubicBezTo>
                  <a:cubicBezTo>
                    <a:pt x="292" y="87"/>
                    <a:pt x="297" y="68"/>
                    <a:pt x="319" y="67"/>
                  </a:cubicBezTo>
                  <a:cubicBezTo>
                    <a:pt x="320" y="67"/>
                    <a:pt x="320" y="67"/>
                    <a:pt x="320" y="67"/>
                  </a:cubicBezTo>
                  <a:cubicBezTo>
                    <a:pt x="321" y="67"/>
                    <a:pt x="321" y="67"/>
                    <a:pt x="322" y="67"/>
                  </a:cubicBezTo>
                  <a:cubicBezTo>
                    <a:pt x="344" y="67"/>
                    <a:pt x="349" y="85"/>
                    <a:pt x="349" y="85"/>
                  </a:cubicBezTo>
                  <a:cubicBezTo>
                    <a:pt x="365" y="208"/>
                    <a:pt x="442" y="217"/>
                    <a:pt x="519" y="208"/>
                  </a:cubicBezTo>
                  <a:cubicBezTo>
                    <a:pt x="597" y="199"/>
                    <a:pt x="602" y="163"/>
                    <a:pt x="615" y="130"/>
                  </a:cubicBezTo>
                  <a:cubicBezTo>
                    <a:pt x="628" y="96"/>
                    <a:pt x="640" y="79"/>
                    <a:pt x="640" y="79"/>
                  </a:cubicBezTo>
                  <a:cubicBezTo>
                    <a:pt x="639" y="26"/>
                    <a:pt x="639" y="26"/>
                    <a:pt x="639" y="26"/>
                  </a:cubicBezTo>
                  <a:cubicBezTo>
                    <a:pt x="639" y="26"/>
                    <a:pt x="609" y="22"/>
                    <a:pt x="549" y="11"/>
                  </a:cubicBezTo>
                  <a:close/>
                  <a:moveTo>
                    <a:pt x="167" y="202"/>
                  </a:moveTo>
                  <a:cubicBezTo>
                    <a:pt x="118" y="206"/>
                    <a:pt x="77" y="192"/>
                    <a:pt x="64" y="176"/>
                  </a:cubicBezTo>
                  <a:cubicBezTo>
                    <a:pt x="50" y="160"/>
                    <a:pt x="43" y="98"/>
                    <a:pt x="53" y="65"/>
                  </a:cubicBezTo>
                  <a:cubicBezTo>
                    <a:pt x="63" y="32"/>
                    <a:pt x="134" y="28"/>
                    <a:pt x="190" y="30"/>
                  </a:cubicBezTo>
                  <a:cubicBezTo>
                    <a:pt x="247" y="32"/>
                    <a:pt x="262" y="66"/>
                    <a:pt x="262" y="66"/>
                  </a:cubicBezTo>
                  <a:cubicBezTo>
                    <a:pt x="290" y="172"/>
                    <a:pt x="215" y="198"/>
                    <a:pt x="167" y="202"/>
                  </a:cubicBezTo>
                  <a:close/>
                  <a:moveTo>
                    <a:pt x="582" y="164"/>
                  </a:moveTo>
                  <a:cubicBezTo>
                    <a:pt x="569" y="181"/>
                    <a:pt x="528" y="197"/>
                    <a:pt x="480" y="195"/>
                  </a:cubicBezTo>
                  <a:cubicBezTo>
                    <a:pt x="432" y="194"/>
                    <a:pt x="355" y="170"/>
                    <a:pt x="379" y="64"/>
                  </a:cubicBezTo>
                  <a:cubicBezTo>
                    <a:pt x="379" y="64"/>
                    <a:pt x="392" y="28"/>
                    <a:pt x="449" y="24"/>
                  </a:cubicBezTo>
                  <a:cubicBezTo>
                    <a:pt x="505" y="20"/>
                    <a:pt x="576" y="21"/>
                    <a:pt x="588" y="53"/>
                  </a:cubicBezTo>
                  <a:cubicBezTo>
                    <a:pt x="599" y="86"/>
                    <a:pt x="595" y="147"/>
                    <a:pt x="582" y="16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35" name="TextBox 34">
              <a:extLst>
                <a:ext uri="{FF2B5EF4-FFF2-40B4-BE49-F238E27FC236}">
                  <a16:creationId xmlns:a16="http://schemas.microsoft.com/office/drawing/2014/main" id="{02D9641F-A438-D743-9A89-96907E7F2F5A}"/>
                </a:ext>
              </a:extLst>
            </p:cNvPr>
            <p:cNvSpPr txBox="1"/>
            <p:nvPr/>
          </p:nvSpPr>
          <p:spPr>
            <a:xfrm>
              <a:off x="5304934" y="2392081"/>
              <a:ext cx="1465142" cy="27699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entury Gothic" panose="020B0502020202020204"/>
                  <a:ea typeface="+mn-ea"/>
                  <a:cs typeface="+mn-cs"/>
                </a:rPr>
                <a:t>Element Text</a:t>
              </a:r>
            </a:p>
          </p:txBody>
        </p:sp>
      </p:grpSp>
      <p:pic>
        <p:nvPicPr>
          <p:cNvPr id="3" name="صورة 2">
            <a:extLst>
              <a:ext uri="{FF2B5EF4-FFF2-40B4-BE49-F238E27FC236}">
                <a16:creationId xmlns:a16="http://schemas.microsoft.com/office/drawing/2014/main" id="{FCD944ED-46DC-30EF-5DE9-309CE77B33FF}"/>
              </a:ext>
            </a:extLst>
          </p:cNvPr>
          <p:cNvPicPr>
            <a:picLocks noChangeAspect="1"/>
          </p:cNvPicPr>
          <p:nvPr/>
        </p:nvPicPr>
        <p:blipFill>
          <a:blip r:embed="rId3"/>
          <a:stretch>
            <a:fillRect/>
          </a:stretch>
        </p:blipFill>
        <p:spPr>
          <a:xfrm>
            <a:off x="104049" y="321396"/>
            <a:ext cx="12192000" cy="6215207"/>
          </a:xfrm>
          <a:prstGeom prst="rect">
            <a:avLst/>
          </a:prstGeom>
        </p:spPr>
      </p:pic>
      <p:sp>
        <p:nvSpPr>
          <p:cNvPr id="300" name="مستطيل 299">
            <a:extLst>
              <a:ext uri="{FF2B5EF4-FFF2-40B4-BE49-F238E27FC236}">
                <a16:creationId xmlns:a16="http://schemas.microsoft.com/office/drawing/2014/main" id="{948F40D5-B482-14B5-2943-E89B02A555A8}"/>
              </a:ext>
            </a:extLst>
          </p:cNvPr>
          <p:cNvSpPr/>
          <p:nvPr/>
        </p:nvSpPr>
        <p:spPr>
          <a:xfrm>
            <a:off x="192266" y="1189154"/>
            <a:ext cx="6246890" cy="1566130"/>
          </a:xfrm>
          <a:prstGeom prst="rect">
            <a:avLst/>
          </a:prstGeom>
          <a:solidFill>
            <a:srgbClr val="BAE4DE"/>
          </a:solidFill>
          <a:ln>
            <a:no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ar-SA" sz="2000" b="1" i="0" u="none" strike="noStrike" kern="1200" cap="none" spc="0" normalizeH="0" baseline="0" noProof="0">
                <a:ln>
                  <a:noFill/>
                </a:ln>
                <a:solidFill>
                  <a:srgbClr val="1D545B"/>
                </a:solidFill>
                <a:effectLst/>
                <a:uLnTx/>
                <a:uFillTx/>
                <a:latin typeface="Century Gothic" panose="020B0502020202020204"/>
                <a:ea typeface="+mn-ea"/>
                <a:cs typeface="Arial" panose="020B0604020202020204" pitchFamily="34" charset="0"/>
              </a:rPr>
              <a:t>تعزيز الفهم القرائي في الرياضيات والعلوم الطبيعية</a:t>
            </a:r>
            <a:endParaRPr kumimoji="0" lang="ar-SA" sz="2000" b="1" i="0" u="none" strike="noStrike" kern="1200" cap="none" spc="0" normalizeH="0" baseline="0" noProof="0" dirty="0">
              <a:ln>
                <a:noFill/>
              </a:ln>
              <a:solidFill>
                <a:srgbClr val="1D545B"/>
              </a:solidFill>
              <a:effectLst/>
              <a:uLnTx/>
              <a:uFillTx/>
              <a:latin typeface="Century Gothic" panose="020B0502020202020204"/>
              <a:ea typeface="+mn-ea"/>
              <a:cs typeface="Arial" panose="020B0604020202020204" pitchFamily="34" charset="0"/>
            </a:endParaRPr>
          </a:p>
        </p:txBody>
      </p:sp>
      <p:sp>
        <p:nvSpPr>
          <p:cNvPr id="301" name="مستطيل 300">
            <a:extLst>
              <a:ext uri="{FF2B5EF4-FFF2-40B4-BE49-F238E27FC236}">
                <a16:creationId xmlns:a16="http://schemas.microsoft.com/office/drawing/2014/main" id="{EFA69E70-3534-7814-876F-218B76178B8E}"/>
              </a:ext>
            </a:extLst>
          </p:cNvPr>
          <p:cNvSpPr/>
          <p:nvPr/>
        </p:nvSpPr>
        <p:spPr>
          <a:xfrm>
            <a:off x="171651" y="4446533"/>
            <a:ext cx="6288120" cy="822316"/>
          </a:xfrm>
          <a:prstGeom prst="rect">
            <a:avLst/>
          </a:prstGeom>
          <a:solidFill>
            <a:srgbClr val="BAE4DE"/>
          </a:solidFill>
          <a:ln>
            <a:no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ar-SA" sz="2400" b="1" i="0" u="none" strike="noStrike" kern="1200" cap="none" spc="0" normalizeH="0" baseline="0" noProof="0" dirty="0">
                <a:ln>
                  <a:noFill/>
                </a:ln>
                <a:solidFill>
                  <a:srgbClr val="1D545B"/>
                </a:solidFill>
                <a:effectLst/>
                <a:uLnTx/>
                <a:uFillTx/>
                <a:latin typeface="Century Gothic" panose="020B0502020202020204"/>
                <a:ea typeface="+mn-ea"/>
                <a:cs typeface="Arial" panose="020B0604020202020204" pitchFamily="34" charset="0"/>
              </a:rPr>
              <a:t>أدوات التقويم المتنوعة </a:t>
            </a:r>
          </a:p>
        </p:txBody>
      </p:sp>
      <p:pic>
        <p:nvPicPr>
          <p:cNvPr id="304" name="صورة 303">
            <a:hlinkClick r:id="rId4"/>
            <a:extLst>
              <a:ext uri="{FF2B5EF4-FFF2-40B4-BE49-F238E27FC236}">
                <a16:creationId xmlns:a16="http://schemas.microsoft.com/office/drawing/2014/main" id="{EF7E07BE-C59A-BA86-2040-A74BFC13F2E9}"/>
              </a:ext>
            </a:extLst>
          </p:cNvPr>
          <p:cNvPicPr>
            <a:picLocks noChangeAspect="1"/>
          </p:cNvPicPr>
          <p:nvPr/>
        </p:nvPicPr>
        <p:blipFill>
          <a:blip r:embed="rId5"/>
          <a:stretch>
            <a:fillRect/>
          </a:stretch>
        </p:blipFill>
        <p:spPr>
          <a:xfrm>
            <a:off x="245544" y="1349938"/>
            <a:ext cx="1266510" cy="1266510"/>
          </a:xfrm>
          <a:prstGeom prst="rect">
            <a:avLst/>
          </a:prstGeom>
        </p:spPr>
      </p:pic>
      <p:pic>
        <p:nvPicPr>
          <p:cNvPr id="306" name="صورة 305">
            <a:hlinkClick r:id="rId6"/>
            <a:extLst>
              <a:ext uri="{FF2B5EF4-FFF2-40B4-BE49-F238E27FC236}">
                <a16:creationId xmlns:a16="http://schemas.microsoft.com/office/drawing/2014/main" id="{05BFF3BF-82FC-1AFC-4C25-EF1DAB79CC4C}"/>
              </a:ext>
            </a:extLst>
          </p:cNvPr>
          <p:cNvPicPr>
            <a:picLocks noChangeAspect="1"/>
          </p:cNvPicPr>
          <p:nvPr/>
        </p:nvPicPr>
        <p:blipFill>
          <a:blip r:embed="rId7"/>
          <a:stretch>
            <a:fillRect/>
          </a:stretch>
        </p:blipFill>
        <p:spPr>
          <a:xfrm>
            <a:off x="245543" y="4100189"/>
            <a:ext cx="1266511" cy="1266511"/>
          </a:xfrm>
          <a:prstGeom prst="rect">
            <a:avLst/>
          </a:prstGeom>
        </p:spPr>
      </p:pic>
      <p:pic>
        <p:nvPicPr>
          <p:cNvPr id="307" name="صورة 306" descr="صورة تحتوي على لقطة شاشة, الخط, نص, الرسومات&#10;&#10;تم إنشاء الوصف تلقائياً">
            <a:extLst>
              <a:ext uri="{FF2B5EF4-FFF2-40B4-BE49-F238E27FC236}">
                <a16:creationId xmlns:a16="http://schemas.microsoft.com/office/drawing/2014/main" id="{ADC41B72-F226-2E8A-5F8B-5FAF80A2E103}"/>
              </a:ext>
            </a:extLst>
          </p:cNvPr>
          <p:cNvPicPr>
            <a:picLocks noChangeAspect="1"/>
          </p:cNvPicPr>
          <p:nvPr/>
        </p:nvPicPr>
        <p:blipFill>
          <a:blip r:embed="rId8"/>
          <a:stretch>
            <a:fillRect/>
          </a:stretch>
        </p:blipFill>
        <p:spPr>
          <a:xfrm>
            <a:off x="59388" y="131758"/>
            <a:ext cx="1713833" cy="917972"/>
          </a:xfrm>
          <a:prstGeom prst="rect">
            <a:avLst/>
          </a:prstGeom>
        </p:spPr>
      </p:pic>
      <p:grpSp>
        <p:nvGrpSpPr>
          <p:cNvPr id="308" name="مجموعة 307">
            <a:extLst>
              <a:ext uri="{FF2B5EF4-FFF2-40B4-BE49-F238E27FC236}">
                <a16:creationId xmlns:a16="http://schemas.microsoft.com/office/drawing/2014/main" id="{EC6F162C-4699-FF61-5F53-8A3045AC498A}"/>
              </a:ext>
            </a:extLst>
          </p:cNvPr>
          <p:cNvGrpSpPr/>
          <p:nvPr/>
        </p:nvGrpSpPr>
        <p:grpSpPr>
          <a:xfrm>
            <a:off x="110568" y="5942850"/>
            <a:ext cx="12081432" cy="826402"/>
            <a:chOff x="103011" y="5950741"/>
            <a:chExt cx="10852403" cy="826402"/>
          </a:xfrm>
        </p:grpSpPr>
        <p:sp>
          <p:nvSpPr>
            <p:cNvPr id="309" name="مستطيل 308">
              <a:extLst>
                <a:ext uri="{FF2B5EF4-FFF2-40B4-BE49-F238E27FC236}">
                  <a16:creationId xmlns:a16="http://schemas.microsoft.com/office/drawing/2014/main" id="{4D45132D-D6DB-E2B6-10BE-4A62EC56C120}"/>
                </a:ext>
              </a:extLst>
            </p:cNvPr>
            <p:cNvSpPr/>
            <p:nvPr/>
          </p:nvSpPr>
          <p:spPr>
            <a:xfrm>
              <a:off x="928457" y="6575789"/>
              <a:ext cx="10026957" cy="201354"/>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ar-SA" sz="1800" b="0" i="0" u="none" strike="noStrike" kern="1200" cap="none" spc="0" normalizeH="0" baseline="0" noProof="0" dirty="0">
                <a:ln>
                  <a:noFill/>
                </a:ln>
                <a:solidFill>
                  <a:prstClr val="white"/>
                </a:solidFill>
                <a:effectLst/>
                <a:uLnTx/>
                <a:uFillTx/>
                <a:latin typeface="Century Gothic" panose="020B0502020202020204"/>
                <a:ea typeface="+mn-ea"/>
                <a:cs typeface="Arial" panose="020B0604020202020204" pitchFamily="34" charset="0"/>
              </a:endParaRPr>
            </a:p>
          </p:txBody>
        </p:sp>
        <p:sp>
          <p:nvSpPr>
            <p:cNvPr id="310" name="مثلث قائم الزاوية 309">
              <a:extLst>
                <a:ext uri="{FF2B5EF4-FFF2-40B4-BE49-F238E27FC236}">
                  <a16:creationId xmlns:a16="http://schemas.microsoft.com/office/drawing/2014/main" id="{1EFDED17-28CA-C8A2-2CAB-5406565D7C96}"/>
                </a:ext>
              </a:extLst>
            </p:cNvPr>
            <p:cNvSpPr/>
            <p:nvPr/>
          </p:nvSpPr>
          <p:spPr>
            <a:xfrm>
              <a:off x="103011" y="5950741"/>
              <a:ext cx="1141988" cy="826402"/>
            </a:xfrm>
            <a:prstGeom prst="r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1"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ar-SA" sz="1800" b="0" i="0" u="none" strike="noStrike" kern="1200" cap="none" spc="0" normalizeH="0" baseline="0" noProof="0">
                <a:ln>
                  <a:noFill/>
                </a:ln>
                <a:solidFill>
                  <a:prstClr val="white"/>
                </a:solidFill>
                <a:effectLst/>
                <a:uLnTx/>
                <a:uFillTx/>
                <a:latin typeface="Century Gothic" panose="020B0502020202020204"/>
                <a:ea typeface="+mn-ea"/>
                <a:cs typeface="Arial" panose="020B0604020202020204" pitchFamily="34" charset="0"/>
              </a:endParaRPr>
            </a:p>
          </p:txBody>
        </p:sp>
      </p:grpSp>
    </p:spTree>
    <p:extLst>
      <p:ext uri="{BB962C8B-B14F-4D97-AF65-F5344CB8AC3E}">
        <p14:creationId xmlns:p14="http://schemas.microsoft.com/office/powerpoint/2010/main" val="82345862"/>
      </p:ext>
    </p:extLst>
  </p:cSld>
  <p:clrMapOvr>
    <a:masterClrMapping/>
  </p:clrMapOvr>
  <mc:AlternateContent xmlns:mc="http://schemas.openxmlformats.org/markup-compatibility/2006" xmlns:p14="http://schemas.microsoft.com/office/powerpoint/2010/main">
    <mc:Choice Requires="p14">
      <p:transition p14:dur="10" advTm="2000"/>
    </mc:Choice>
    <mc:Fallback xmlns="">
      <p:transition advTm="20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AB8C311F-7253-4AED-9701-7FC0708C41C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E2384209-CB15-4CDF-9D31-C44FD9A3F20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2666617" y="-2666188"/>
            <a:ext cx="6858000" cy="12191233"/>
          </a:xfrm>
          <a:prstGeom prst="rect">
            <a:avLst/>
          </a:prstGeom>
          <a:gradFill>
            <a:gsLst>
              <a:gs pos="8000">
                <a:schemeClr val="accent1"/>
              </a:gs>
              <a:gs pos="100000">
                <a:schemeClr val="accent1">
                  <a:lumMod val="5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2633B3B5-CC90-43F0-8714-D31D1F3F020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2311" y="0"/>
            <a:ext cx="9070846" cy="6857572"/>
          </a:xfrm>
          <a:prstGeom prst="rect">
            <a:avLst/>
          </a:prstGeom>
          <a:gradFill>
            <a:gsLst>
              <a:gs pos="8000">
                <a:srgbClr val="000000">
                  <a:alpha val="52000"/>
                </a:srgbClr>
              </a:gs>
              <a:gs pos="100000">
                <a:schemeClr val="accent1"/>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A8D57A06-A426-446D-B02C-A2DC6B62E45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3649491" y="-1685840"/>
            <a:ext cx="4894564" cy="12193546"/>
          </a:xfrm>
          <a:prstGeom prst="rect">
            <a:avLst/>
          </a:prstGeom>
          <a:gradFill>
            <a:gsLst>
              <a:gs pos="0">
                <a:schemeClr val="accent5">
                  <a:lumMod val="60000"/>
                  <a:lumOff val="40000"/>
                  <a:alpha val="0"/>
                </a:schemeClr>
              </a:gs>
              <a:gs pos="100000">
                <a:srgbClr val="000000">
                  <a:alpha val="46000"/>
                </a:srgbClr>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 name="صورة 2">
            <a:extLst>
              <a:ext uri="{FF2B5EF4-FFF2-40B4-BE49-F238E27FC236}">
                <a16:creationId xmlns:a16="http://schemas.microsoft.com/office/drawing/2014/main" id="{A13704C9-5AE1-1388-E3D0-DC1B9526AC00}"/>
              </a:ext>
            </a:extLst>
          </p:cNvPr>
          <p:cNvPicPr>
            <a:picLocks noChangeAspect="1"/>
          </p:cNvPicPr>
          <p:nvPr/>
        </p:nvPicPr>
        <p:blipFill>
          <a:blip r:embed="rId2"/>
          <a:stretch>
            <a:fillRect/>
          </a:stretch>
        </p:blipFill>
        <p:spPr>
          <a:xfrm>
            <a:off x="2752479" y="456986"/>
            <a:ext cx="6240002" cy="5943600"/>
          </a:xfrm>
          <a:prstGeom prst="rect">
            <a:avLst/>
          </a:prstGeom>
        </p:spPr>
      </p:pic>
      <p:sp>
        <p:nvSpPr>
          <p:cNvPr id="4" name="مربع نص 3">
            <a:extLst>
              <a:ext uri="{FF2B5EF4-FFF2-40B4-BE49-F238E27FC236}">
                <a16:creationId xmlns:a16="http://schemas.microsoft.com/office/drawing/2014/main" id="{33C63AFC-EFB0-80A3-5EA8-E4B36710E5FD}"/>
              </a:ext>
            </a:extLst>
          </p:cNvPr>
          <p:cNvSpPr txBox="1"/>
          <p:nvPr/>
        </p:nvSpPr>
        <p:spPr>
          <a:xfrm>
            <a:off x="8992480" y="3013501"/>
            <a:ext cx="3198754" cy="830997"/>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ar-SA" sz="4800" b="0" i="0" u="none" strike="noStrike" kern="1200" cap="none" spc="0" normalizeH="0" baseline="0" noProof="0" dirty="0">
                <a:ln>
                  <a:noFill/>
                </a:ln>
                <a:solidFill>
                  <a:prstClr val="white"/>
                </a:solidFill>
                <a:effectLst/>
                <a:uLnTx/>
                <a:uFillTx/>
                <a:latin typeface="Century Gothic" panose="020B0502020202020204"/>
                <a:ea typeface="+mn-ea"/>
                <a:cs typeface="Arial" panose="020B0604020202020204" pitchFamily="34" charset="0"/>
              </a:rPr>
              <a:t>شكرًا لكم</a:t>
            </a:r>
          </a:p>
        </p:txBody>
      </p:sp>
    </p:spTree>
    <p:extLst>
      <p:ext uri="{BB962C8B-B14F-4D97-AF65-F5344CB8AC3E}">
        <p14:creationId xmlns:p14="http://schemas.microsoft.com/office/powerpoint/2010/main" val="11257050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3.xml.rels><?xml version="1.0" encoding="UTF-8" standalone="yes"?>
<Relationships xmlns="http://schemas.openxmlformats.org/package/2006/relationships"><Relationship Id="rId1" Type="http://schemas.openxmlformats.org/officeDocument/2006/relationships/image" Target="../media/image4.jpeg"/></Relationships>
</file>

<file path=ppt/theme/theme1.xml><?xml version="1.0" encoding="utf-8"?>
<a:theme xmlns:a="http://schemas.openxmlformats.org/drawingml/2006/main" name="نسق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heme23">
  <a:themeElements>
    <a:clrScheme name="Theme23">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Theme23">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Theme23">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مجلس إدارة أيون">
  <a:themeElements>
    <a:clrScheme name="مخصص 3">
      <a:dk1>
        <a:sysClr val="windowText" lastClr="000000"/>
      </a:dk1>
      <a:lt1>
        <a:sysClr val="window" lastClr="FFFFFF"/>
      </a:lt1>
      <a:dk2>
        <a:srgbClr val="1E5155"/>
      </a:dk2>
      <a:lt2>
        <a:srgbClr val="EBEBEB"/>
      </a:lt2>
      <a:accent1>
        <a:srgbClr val="A5CDBC"/>
      </a:accent1>
      <a:accent2>
        <a:srgbClr val="163C3F"/>
      </a:accent2>
      <a:accent3>
        <a:srgbClr val="C4E7EA"/>
      </a:accent3>
      <a:accent4>
        <a:srgbClr val="6AAC90"/>
      </a:accent4>
      <a:accent5>
        <a:srgbClr val="5F9C9D"/>
      </a:accent5>
      <a:accent6>
        <a:srgbClr val="315948"/>
      </a:accent6>
      <a:hlink>
        <a:srgbClr val="58C1BA"/>
      </a:hlink>
      <a:folHlink>
        <a:srgbClr val="9DFFCB"/>
      </a:folHlink>
    </a:clrScheme>
    <a:fontScheme name="مجلس إدارة أيون">
      <a:majorFont>
        <a:latin typeface="Century Gothic" panose="020B050202020202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B050202020202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مجلس إدارة أيون">
      <a:fillStyleLst>
        <a:solidFill>
          <a:schemeClr val="phClr"/>
        </a:solidFill>
        <a:gradFill rotWithShape="1">
          <a:gsLst>
            <a:gs pos="0">
              <a:schemeClr val="phClr">
                <a:tint val="64000"/>
                <a:lumMod val="118000"/>
              </a:schemeClr>
            </a:gs>
            <a:gs pos="100000">
              <a:schemeClr val="phClr">
                <a:tint val="92000"/>
                <a:alpha val="100000"/>
                <a:lumMod val="110000"/>
              </a:schemeClr>
            </a:gs>
          </a:gsLst>
          <a:lin ang="5400000" scaled="0"/>
        </a:gradFill>
        <a:gradFill rotWithShape="1">
          <a:gsLst>
            <a:gs pos="0">
              <a:schemeClr val="phClr">
                <a:tint val="98000"/>
                <a:lumMod val="114000"/>
              </a:schemeClr>
            </a:gs>
            <a:gs pos="100000">
              <a:schemeClr val="phClr">
                <a:shade val="90000"/>
                <a:lumMod val="84000"/>
              </a:schemeClr>
            </a:gs>
          </a:gsLst>
          <a:lin ang="5400000" scaled="0"/>
        </a:gradFill>
      </a:fillStyleLst>
      <a:lnStyleLst>
        <a:ln w="9525" cap="rnd" cmpd="sng" algn="ctr">
          <a:solidFill>
            <a:schemeClr val="phClr"/>
          </a:solidFill>
          <a:prstDash val="solid"/>
        </a:ln>
        <a:ln w="19050" cap="rnd" cmpd="sng" algn="ctr">
          <a:solidFill>
            <a:schemeClr val="phClr"/>
          </a:solidFill>
          <a:prstDash val="solid"/>
        </a:ln>
        <a:ln w="28575" cap="rnd" cmpd="sng" algn="ctr">
          <a:solidFill>
            <a:schemeClr val="phClr"/>
          </a:solidFill>
          <a:prstDash val="solid"/>
        </a:ln>
      </a:lnStyleLst>
      <a:effectStyleLst>
        <a:effectStyle>
          <a:effectLst/>
        </a:effectStyle>
        <a:effectStyle>
          <a:effectLst>
            <a:outerShdw blurRad="38100" dist="25400" dir="5400000" rotWithShape="0">
              <a:srgbClr val="000000">
                <a:alpha val="45000"/>
              </a:srgbClr>
            </a:outerShdw>
          </a:effectLst>
        </a:effectStyle>
        <a:effectStyle>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7000"/>
                <a:hueMod val="88000"/>
                <a:satMod val="130000"/>
                <a:lumMod val="124000"/>
              </a:schemeClr>
            </a:gs>
            <a:gs pos="100000">
              <a:schemeClr val="phClr">
                <a:tint val="96000"/>
                <a:shade val="88000"/>
                <a:hueMod val="108000"/>
                <a:satMod val="164000"/>
                <a:lumMod val="76000"/>
              </a:schemeClr>
            </a:gs>
          </a:gsLst>
          <a:path path="circle">
            <a:fillToRect l="45000" t="65000" r="125000" b="100000"/>
          </a:path>
        </a:gradFill>
        <a:blipFill rotWithShape="1">
          <a:blip xmlns:r="http://schemas.openxmlformats.org/officeDocument/2006/relationships" r:embed="rId1">
            <a:duotone>
              <a:schemeClr val="phClr">
                <a:shade val="69000"/>
                <a:hueMod val="108000"/>
                <a:satMod val="164000"/>
                <a:lumMod val="74000"/>
              </a:schemeClr>
              <a:schemeClr val="phClr">
                <a:tint val="96000"/>
                <a:hueMod val="88000"/>
                <a:satMod val="140000"/>
                <a:lumMod val="132000"/>
              </a:schemeClr>
            </a:duotone>
          </a:blip>
          <a:stretch/>
        </a:blipFill>
      </a:bgFillStyleLst>
    </a:fmtScheme>
  </a:themeElements>
  <a:objectDefaults/>
  <a:extraClrSchemeLst/>
  <a:extLst>
    <a:ext uri="{05A4C25C-085E-4340-85A3-A5531E510DB2}">
      <thm15:themeFamily xmlns:thm15="http://schemas.microsoft.com/office/thememl/2012/main" name="Ion Boardroom" id="{FC33163D-4339-46B1-8EED-24C834239D99}" vid="{EC7F02AD-9687-440F-A9DF-FAA6F22270D7}"/>
    </a:ext>
  </a:extLst>
</a:theme>
</file>

<file path=ppt/theme/theme4.xml><?xml version="1.0" encoding="utf-8"?>
<a:theme xmlns:a="http://schemas.openxmlformats.org/drawingml/2006/main" name="نسق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063</TotalTime>
  <Words>4784</Words>
  <Application>Microsoft Office PowerPoint</Application>
  <PresentationFormat>شاشة عريضة</PresentationFormat>
  <Paragraphs>756</Paragraphs>
  <Slides>97</Slides>
  <Notes>3</Notes>
  <HiddenSlides>0</HiddenSlides>
  <MMClips>0</MMClips>
  <ScaleCrop>false</ScaleCrop>
  <HeadingPairs>
    <vt:vector size="8" baseType="variant">
      <vt:variant>
        <vt:lpstr>الخطوط المستخدمة</vt:lpstr>
      </vt:variant>
      <vt:variant>
        <vt:i4>22</vt:i4>
      </vt:variant>
      <vt:variant>
        <vt:lpstr>نسق</vt:lpstr>
      </vt:variant>
      <vt:variant>
        <vt:i4>3</vt:i4>
      </vt:variant>
      <vt:variant>
        <vt:lpstr>خوادم OLE مضمنة</vt:lpstr>
      </vt:variant>
      <vt:variant>
        <vt:i4>1</vt:i4>
      </vt:variant>
      <vt:variant>
        <vt:lpstr>عناوين الشرائح</vt:lpstr>
      </vt:variant>
      <vt:variant>
        <vt:i4>97</vt:i4>
      </vt:variant>
    </vt:vector>
  </HeadingPairs>
  <TitlesOfParts>
    <vt:vector size="123" baseType="lpstr">
      <vt:lpstr>29LT Azer</vt:lpstr>
      <vt:lpstr>29LT Azer Black</vt:lpstr>
      <vt:lpstr>ae_AlMohanad</vt:lpstr>
      <vt:lpstr>Arial</vt:lpstr>
      <vt:lpstr>Avenir Next</vt:lpstr>
      <vt:lpstr>Bebas Neue</vt:lpstr>
      <vt:lpstr>Calibri</vt:lpstr>
      <vt:lpstr>Calibri Light</vt:lpstr>
      <vt:lpstr>Century Gothic</vt:lpstr>
      <vt:lpstr>Courier New</vt:lpstr>
      <vt:lpstr>Fira Sans Extra Condensed</vt:lpstr>
      <vt:lpstr>Georgia</vt:lpstr>
      <vt:lpstr>Miriam Libre</vt:lpstr>
      <vt:lpstr>Sakkal Majalla</vt:lpstr>
      <vt:lpstr>Samim</vt:lpstr>
      <vt:lpstr>Source Sans Pro</vt:lpstr>
      <vt:lpstr>Source Sans Pro Light</vt:lpstr>
      <vt:lpstr>Times New Roman</vt:lpstr>
      <vt:lpstr>Trebuchet MS</vt:lpstr>
      <vt:lpstr>Verdana</vt:lpstr>
      <vt:lpstr>Wingdings</vt:lpstr>
      <vt:lpstr>Wingdings 3</vt:lpstr>
      <vt:lpstr>نسق Office</vt:lpstr>
      <vt:lpstr>Theme23</vt:lpstr>
      <vt:lpstr>مجلس إدارة أيون</vt:lpstr>
      <vt:lpstr>think-cell Slide</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محاور الجلسة </vt:lpstr>
      <vt:lpstr>عرض تقديمي في PowerPoint</vt:lpstr>
      <vt:lpstr>عرض تقديمي في PowerPoint</vt:lpstr>
      <vt:lpstr>عرض تقديمي في PowerPoint</vt:lpstr>
      <vt:lpstr>عرض تقديمي في PowerPoint</vt:lpstr>
      <vt:lpstr>عرض تقديمي في PowerPoint</vt:lpstr>
      <vt:lpstr>عرض تقديمي في PowerPoint</vt:lpstr>
      <vt:lpstr>مدرسة ( ص )</vt:lpstr>
      <vt:lpstr>عرض تقديمي في PowerPoint</vt:lpstr>
      <vt:lpstr>عرض تقديمي في PowerPoint</vt:lpstr>
      <vt:lpstr>عرض تقديمي في PowerPoint</vt:lpstr>
      <vt:lpstr>عرض تقديمي في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عرض تقديمي في PowerPoint</dc:title>
  <dc:creator>fahd h</dc:creator>
  <cp:lastModifiedBy>إبراهيم بن هادي دغريري</cp:lastModifiedBy>
  <cp:revision>132</cp:revision>
  <dcterms:created xsi:type="dcterms:W3CDTF">2023-11-03T09:02:46Z</dcterms:created>
  <dcterms:modified xsi:type="dcterms:W3CDTF">2023-11-30T13:29:59Z</dcterms:modified>
</cp:coreProperties>
</file>